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notesSlides/notesSlide1.xml" ContentType="application/vnd.openxmlformats-officedocument.presentationml.notesSlide+xml"/>
  <Override PartName="/ppt/tags/tag5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9.xml" ContentType="application/vnd.openxmlformats-officedocument.presentationml.tags+xml"/>
  <Override PartName="/ppt/notesSlides/notesSlide4.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5.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6.xml" ContentType="application/vnd.openxmlformats-officedocument.presentationml.notesSlide+xml"/>
  <Override PartName="/ppt/tags/tag6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10.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11.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12.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13.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14.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15.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16.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17.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18.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19.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20.xml" ContentType="application/vnd.openxmlformats-officedocument.presentationml.notesSlide+xml"/>
  <Override PartName="/ppt/tags/tag87.xml" ContentType="application/vnd.openxmlformats-officedocument.presentationml.tags+xml"/>
  <Override PartName="/ppt/notesSlides/notesSlide21.xml" ContentType="application/vnd.openxmlformats-officedocument.presentationml.notesSlide+xml"/>
  <Override PartName="/ppt/tags/tag88.xml" ContentType="application/vnd.openxmlformats-officedocument.presentationml.tags+xml"/>
  <Override PartName="/ppt/notesSlides/notesSlide22.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23.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60" r:id="rId4"/>
    <p:sldMasterId id="2147483689" r:id="rId5"/>
    <p:sldMasterId id="2147483723" r:id="rId6"/>
  </p:sldMasterIdLst>
  <p:notesMasterIdLst>
    <p:notesMasterId r:id="rId31"/>
  </p:notesMasterIdLst>
  <p:handoutMasterIdLst>
    <p:handoutMasterId r:id="rId32"/>
  </p:handoutMasterIdLst>
  <p:sldIdLst>
    <p:sldId id="975" r:id="rId7"/>
    <p:sldId id="1611" r:id="rId8"/>
    <p:sldId id="1807" r:id="rId9"/>
    <p:sldId id="1808" r:id="rId10"/>
    <p:sldId id="1801" r:id="rId11"/>
    <p:sldId id="1812" r:id="rId12"/>
    <p:sldId id="1293" r:id="rId13"/>
    <p:sldId id="1800" r:id="rId14"/>
    <p:sldId id="1793" r:id="rId15"/>
    <p:sldId id="1617" r:id="rId16"/>
    <p:sldId id="2436" r:id="rId17"/>
    <p:sldId id="1813" r:id="rId18"/>
    <p:sldId id="1814" r:id="rId19"/>
    <p:sldId id="1815" r:id="rId20"/>
    <p:sldId id="1817" r:id="rId21"/>
    <p:sldId id="1818" r:id="rId22"/>
    <p:sldId id="2434" r:id="rId23"/>
    <p:sldId id="2435" r:id="rId24"/>
    <p:sldId id="2437" r:id="rId25"/>
    <p:sldId id="2433" r:id="rId26"/>
    <p:sldId id="1756" r:id="rId27"/>
    <p:sldId id="1792" r:id="rId28"/>
    <p:sldId id="2000" r:id="rId29"/>
    <p:sldId id="1762" r:id="rId30"/>
  </p:sldIdLst>
  <p:sldSz cx="9144000" cy="6858000" type="screen4x3"/>
  <p:notesSz cx="6794500" cy="9931400"/>
  <p:custDataLst>
    <p:tags r:id="rId3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58" userDrawn="1">
          <p15:clr>
            <a:srgbClr val="A4A3A4"/>
          </p15:clr>
        </p15:guide>
        <p15:guide id="2" pos="5307" userDrawn="1">
          <p15:clr>
            <a:srgbClr val="A4A3A4"/>
          </p15:clr>
        </p15:guide>
        <p15:guide id="7" orient="horz" pos="754" userDrawn="1">
          <p15:clr>
            <a:srgbClr val="A4A3A4"/>
          </p15:clr>
        </p15:guide>
        <p15:guide id="10" pos="453" userDrawn="1">
          <p15:clr>
            <a:srgbClr val="A4A3A4"/>
          </p15:clr>
        </p15:guide>
        <p15:guide id="11" orient="horz" pos="1026" userDrawn="1">
          <p15:clr>
            <a:srgbClr val="A4A3A4"/>
          </p15:clr>
        </p15:guide>
        <p15:guide id="12" orient="horz" pos="368" userDrawn="1">
          <p15:clr>
            <a:srgbClr val="A4A3A4"/>
          </p15:clr>
        </p15:guide>
        <p15:guide id="13" pos="839" userDrawn="1">
          <p15:clr>
            <a:srgbClr val="A4A3A4"/>
          </p15:clr>
        </p15:guide>
        <p15:guide id="14" orient="horz" pos="1684" userDrawn="1">
          <p15:clr>
            <a:srgbClr val="A4A3A4"/>
          </p15:clr>
        </p15:guide>
        <p15:guide id="15" orient="horz" pos="1389" userDrawn="1">
          <p15:clr>
            <a:srgbClr val="A4A3A4"/>
          </p15:clr>
        </p15:guide>
        <p15:guide id="16" pos="226" userDrawn="1">
          <p15:clr>
            <a:srgbClr val="A4A3A4"/>
          </p15:clr>
        </p15:guide>
        <p15:guide id="17" pos="390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sja Parby" initials="MP" lastIdx="7" clrIdx="0">
    <p:extLst>
      <p:ext uri="{19B8F6BF-5375-455C-9EA6-DF929625EA0E}">
        <p15:presenceInfo xmlns:p15="http://schemas.microsoft.com/office/powerpoint/2012/main" userId="Masja Parby" providerId="None"/>
      </p:ext>
    </p:extLst>
  </p:cmAuthor>
  <p:cmAuthor id="2" name="Stefan Willerslev - Implement Consulting Group" initials="SW-ICG" lastIdx="2" clrIdx="1">
    <p:extLst>
      <p:ext uri="{19B8F6BF-5375-455C-9EA6-DF929625EA0E}">
        <p15:presenceInfo xmlns:p15="http://schemas.microsoft.com/office/powerpoint/2012/main" userId="Stefan Willerslev - Implement Consulting Group" providerId="None"/>
      </p:ext>
    </p:extLst>
  </p:cmAuthor>
  <p:cmAuthor id="3" name="Andreas Boye Mørk" initials="ABM" lastIdx="2" clrIdx="2">
    <p:extLst>
      <p:ext uri="{19B8F6BF-5375-455C-9EA6-DF929625EA0E}">
        <p15:presenceInfo xmlns:p15="http://schemas.microsoft.com/office/powerpoint/2012/main" userId="S-1-5-21-35654138-286881152-1811762917-35405" providerId="AD"/>
      </p:ext>
    </p:extLst>
  </p:cmAuthor>
  <p:cmAuthor id="4" name="Camilla Blomquist - Implement Consulting Group" initials="CB-ICG" lastIdx="8" clrIdx="3">
    <p:extLst>
      <p:ext uri="{19B8F6BF-5375-455C-9EA6-DF929625EA0E}">
        <p15:presenceInfo xmlns:p15="http://schemas.microsoft.com/office/powerpoint/2012/main" userId="S::cabl@implement.dk::d6090c7e-e375-45de-9ab1-6bdd37c9c3ff" providerId="AD"/>
      </p:ext>
    </p:extLst>
  </p:cmAuthor>
  <p:cmAuthor id="5" name="Helle Falholt - Implement Consulting Group" initials="HF-ICG" lastIdx="1" clrIdx="4">
    <p:extLst>
      <p:ext uri="{19B8F6BF-5375-455C-9EA6-DF929625EA0E}">
        <p15:presenceInfo xmlns:p15="http://schemas.microsoft.com/office/powerpoint/2012/main" userId="S::hefa@implement.dk::d2639285-5a28-4454-8626-5a7d01508dd5" providerId="AD"/>
      </p:ext>
    </p:extLst>
  </p:cmAuthor>
  <p:cmAuthor id="6" name="Masja Parby" initials="MP [2]" lastIdx="37" clrIdx="5">
    <p:extLst>
      <p:ext uri="{19B8F6BF-5375-455C-9EA6-DF929625EA0E}">
        <p15:presenceInfo xmlns:p15="http://schemas.microsoft.com/office/powerpoint/2012/main" userId="S::masjap@digit.dk::8c910c30-0c6b-4356-a714-69848910c700" providerId="AD"/>
      </p:ext>
    </p:extLst>
  </p:cmAuthor>
  <p:cmAuthor id="7" name="Sabrina Mai Bendjazia - Implement Consulting Group" initials="SMB-ICG" lastIdx="35" clrIdx="6">
    <p:extLst>
      <p:ext uri="{19B8F6BF-5375-455C-9EA6-DF929625EA0E}">
        <p15:presenceInfo xmlns:p15="http://schemas.microsoft.com/office/powerpoint/2012/main" userId="S::sabe@implement.dk::43e2be64-200b-4d2e-98a7-d94ffe72fdcd" providerId="AD"/>
      </p:ext>
    </p:extLst>
  </p:cmAuthor>
  <p:cmAuthor id="8" name="Michael de Fine Strand - Implement Consulting Group" initials="MdFS-ICG" lastIdx="4" clrIdx="7">
    <p:extLst>
      <p:ext uri="{19B8F6BF-5375-455C-9EA6-DF929625EA0E}">
        <p15:presenceInfo xmlns:p15="http://schemas.microsoft.com/office/powerpoint/2012/main" userId="Michael de Fine Strand - Implement Consulting Group" providerId="None"/>
      </p:ext>
    </p:extLst>
  </p:cmAuthor>
  <p:cmAuthor id="9" name="Malene Barman Rasmussen" initials="MR" lastIdx="2" clrIdx="8">
    <p:extLst>
      <p:ext uri="{19B8F6BF-5375-455C-9EA6-DF929625EA0E}">
        <p15:presenceInfo xmlns:p15="http://schemas.microsoft.com/office/powerpoint/2012/main" userId="S::malenebr@digit.dk::2c7d0f72-0ce7-4a31-8d10-fb707e6f2c09" providerId="AD"/>
      </p:ext>
    </p:extLst>
  </p:cmAuthor>
  <p:cmAuthor id="10" name="Thomas Martinsen" initials="TM" lastIdx="2" clrIdx="9">
    <p:extLst>
      <p:ext uri="{19B8F6BF-5375-455C-9EA6-DF929625EA0E}">
        <p15:presenceInfo xmlns:p15="http://schemas.microsoft.com/office/powerpoint/2012/main" userId="S::thomasm@digit.dk::bd40960a-7209-4fff-b0f0-04864ac4ed26" providerId="AD"/>
      </p:ext>
    </p:extLst>
  </p:cmAuthor>
  <p:cmAuthor id="11" name="Martin H. Bjerre - Implement Consulting Group" initials="MG" lastIdx="2" clrIdx="10">
    <p:extLst>
      <p:ext uri="{19B8F6BF-5375-455C-9EA6-DF929625EA0E}">
        <p15:presenceInfo xmlns:p15="http://schemas.microsoft.com/office/powerpoint/2012/main" userId="S::mabj@implement.dk::04707fdc-186c-46bc-a37d-e40a1cbf3911" providerId="AD"/>
      </p:ext>
    </p:extLst>
  </p:cmAuthor>
  <p:cmAuthor id="12" name="Søren Amstrup - Implement Consulting Group" initials="SA-ICG" lastIdx="1" clrIdx="11">
    <p:extLst>
      <p:ext uri="{19B8F6BF-5375-455C-9EA6-DF929625EA0E}">
        <p15:presenceInfo xmlns:p15="http://schemas.microsoft.com/office/powerpoint/2012/main" userId="S::sam@implement.dk::ba99f0c8-60af-46e2-a44c-d05b578b67bb" providerId="AD"/>
      </p:ext>
    </p:extLst>
  </p:cmAuthor>
  <p:cmAuthor id="13" name="Stefan Willerslev - Implement Consulting Group" initials="SW-ICG [2]" lastIdx="8" clrIdx="12">
    <p:extLst>
      <p:ext uri="{19B8F6BF-5375-455C-9EA6-DF929625EA0E}">
        <p15:presenceInfo xmlns:p15="http://schemas.microsoft.com/office/powerpoint/2012/main" userId="S::swi@implement.dk::6426f0cf-1949-4b03-9a32-0a94870f96a0" providerId="AD"/>
      </p:ext>
    </p:extLst>
  </p:cmAuthor>
  <p:cmAuthor id="14" name="Philip Schwalm - Implement Consulting Group" initials="PS-ICG" lastIdx="7" clrIdx="13">
    <p:extLst>
      <p:ext uri="{19B8F6BF-5375-455C-9EA6-DF929625EA0E}">
        <p15:presenceInfo xmlns:p15="http://schemas.microsoft.com/office/powerpoint/2012/main" userId="S::psc@implement.dk::d8c6e447-3f75-4ce8-a51c-5acd77354f2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AA299"/>
    <a:srgbClr val="FBF9F1"/>
    <a:srgbClr val="40615F"/>
    <a:srgbClr val="C3CFCB"/>
    <a:srgbClr val="E2DED9"/>
    <a:srgbClr val="F2F2F2"/>
    <a:srgbClr val="9DAEAD"/>
    <a:srgbClr val="EEEBE8"/>
    <a:srgbClr val="C3D69B"/>
    <a:srgbClr val="BCE2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llemlayout 2 - Markerin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5071" autoAdjust="0"/>
  </p:normalViewPr>
  <p:slideViewPr>
    <p:cSldViewPr snapToGrid="0">
      <p:cViewPr varScale="1">
        <p:scale>
          <a:sx n="88" d="100"/>
          <a:sy n="88" d="100"/>
        </p:scale>
        <p:origin x="1306" y="62"/>
      </p:cViewPr>
      <p:guideLst>
        <p:guide orient="horz" pos="3158"/>
        <p:guide pos="5307"/>
        <p:guide orient="horz" pos="754"/>
        <p:guide pos="453"/>
        <p:guide orient="horz" pos="1026"/>
        <p:guide orient="horz" pos="368"/>
        <p:guide pos="839"/>
        <p:guide orient="horz" pos="1684"/>
        <p:guide orient="horz" pos="1389"/>
        <p:guide pos="226"/>
        <p:guide pos="3901"/>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openxmlformats.org/officeDocument/2006/relationships/theme" Target="theme/theme1.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hilip Schwalm - Implement Consulting Group" userId="d8c6e447-3f75-4ce8-a51c-5acd77354f2f" providerId="ADAL" clId="{4308D8EE-CAB5-4B03-8E9B-8DB144421E15}"/>
    <pc:docChg chg="delSld modSld">
      <pc:chgData name="Philip Schwalm - Implement Consulting Group" userId="d8c6e447-3f75-4ce8-a51c-5acd77354f2f" providerId="ADAL" clId="{4308D8EE-CAB5-4B03-8E9B-8DB144421E15}" dt="2020-09-23T13:38:05.119" v="12" actId="47"/>
      <pc:docMkLst>
        <pc:docMk/>
      </pc:docMkLst>
      <pc:sldChg chg="del">
        <pc:chgData name="Philip Schwalm - Implement Consulting Group" userId="d8c6e447-3f75-4ce8-a51c-5acd77354f2f" providerId="ADAL" clId="{4308D8EE-CAB5-4B03-8E9B-8DB144421E15}" dt="2020-09-23T13:38:05.119" v="12" actId="47"/>
        <pc:sldMkLst>
          <pc:docMk/>
          <pc:sldMk cId="570067494" sldId="1612"/>
        </pc:sldMkLst>
      </pc:sldChg>
      <pc:sldChg chg="del">
        <pc:chgData name="Philip Schwalm - Implement Consulting Group" userId="d8c6e447-3f75-4ce8-a51c-5acd77354f2f" providerId="ADAL" clId="{4308D8EE-CAB5-4B03-8E9B-8DB144421E15}" dt="2020-09-23T13:38:05.119" v="12" actId="47"/>
        <pc:sldMkLst>
          <pc:docMk/>
          <pc:sldMk cId="1089109608" sldId="1616"/>
        </pc:sldMkLst>
      </pc:sldChg>
      <pc:sldChg chg="modSp mod">
        <pc:chgData name="Philip Schwalm - Implement Consulting Group" userId="d8c6e447-3f75-4ce8-a51c-5acd77354f2f" providerId="ADAL" clId="{4308D8EE-CAB5-4B03-8E9B-8DB144421E15}" dt="2020-09-23T13:37:43.358" v="9" actId="1036"/>
        <pc:sldMkLst>
          <pc:docMk/>
          <pc:sldMk cId="650609260" sldId="1762"/>
        </pc:sldMkLst>
        <pc:spChg chg="mod">
          <ac:chgData name="Philip Schwalm - Implement Consulting Group" userId="d8c6e447-3f75-4ce8-a51c-5acd77354f2f" providerId="ADAL" clId="{4308D8EE-CAB5-4B03-8E9B-8DB144421E15}" dt="2020-09-23T13:37:43.358" v="9" actId="1036"/>
          <ac:spMkLst>
            <pc:docMk/>
            <pc:sldMk cId="650609260" sldId="1762"/>
            <ac:spMk id="170" creationId="{4479661E-5F13-4D3D-A14A-4D03821B09AD}"/>
          </ac:spMkLst>
        </pc:spChg>
      </pc:sldChg>
      <pc:sldChg chg="del">
        <pc:chgData name="Philip Schwalm - Implement Consulting Group" userId="d8c6e447-3f75-4ce8-a51c-5acd77354f2f" providerId="ADAL" clId="{4308D8EE-CAB5-4B03-8E9B-8DB144421E15}" dt="2020-09-23T13:37:59.952" v="10" actId="47"/>
        <pc:sldMkLst>
          <pc:docMk/>
          <pc:sldMk cId="3397189792" sldId="1774"/>
        </pc:sldMkLst>
      </pc:sldChg>
      <pc:sldChg chg="del">
        <pc:chgData name="Philip Schwalm - Implement Consulting Group" userId="d8c6e447-3f75-4ce8-a51c-5acd77354f2f" providerId="ADAL" clId="{4308D8EE-CAB5-4B03-8E9B-8DB144421E15}" dt="2020-09-23T13:38:05.119" v="12" actId="47"/>
        <pc:sldMkLst>
          <pc:docMk/>
          <pc:sldMk cId="4165870717" sldId="1777"/>
        </pc:sldMkLst>
      </pc:sldChg>
      <pc:sldChg chg="del">
        <pc:chgData name="Philip Schwalm - Implement Consulting Group" userId="d8c6e447-3f75-4ce8-a51c-5acd77354f2f" providerId="ADAL" clId="{4308D8EE-CAB5-4B03-8E9B-8DB144421E15}" dt="2020-09-23T13:38:05.119" v="12" actId="47"/>
        <pc:sldMkLst>
          <pc:docMk/>
          <pc:sldMk cId="2039858749" sldId="1783"/>
        </pc:sldMkLst>
      </pc:sldChg>
      <pc:sldChg chg="del">
        <pc:chgData name="Philip Schwalm - Implement Consulting Group" userId="d8c6e447-3f75-4ce8-a51c-5acd77354f2f" providerId="ADAL" clId="{4308D8EE-CAB5-4B03-8E9B-8DB144421E15}" dt="2020-09-23T13:38:05.119" v="12" actId="47"/>
        <pc:sldMkLst>
          <pc:docMk/>
          <pc:sldMk cId="1109219873" sldId="1784"/>
        </pc:sldMkLst>
      </pc:sldChg>
      <pc:sldChg chg="del">
        <pc:chgData name="Philip Schwalm - Implement Consulting Group" userId="d8c6e447-3f75-4ce8-a51c-5acd77354f2f" providerId="ADAL" clId="{4308D8EE-CAB5-4B03-8E9B-8DB144421E15}" dt="2020-09-23T13:38:05.119" v="12" actId="47"/>
        <pc:sldMkLst>
          <pc:docMk/>
          <pc:sldMk cId="3842934935" sldId="1785"/>
        </pc:sldMkLst>
      </pc:sldChg>
      <pc:sldChg chg="del">
        <pc:chgData name="Philip Schwalm - Implement Consulting Group" userId="d8c6e447-3f75-4ce8-a51c-5acd77354f2f" providerId="ADAL" clId="{4308D8EE-CAB5-4B03-8E9B-8DB144421E15}" dt="2020-09-23T13:38:05.119" v="12" actId="47"/>
        <pc:sldMkLst>
          <pc:docMk/>
          <pc:sldMk cId="3275295613" sldId="1786"/>
        </pc:sldMkLst>
      </pc:sldChg>
      <pc:sldChg chg="del">
        <pc:chgData name="Philip Schwalm - Implement Consulting Group" userId="d8c6e447-3f75-4ce8-a51c-5acd77354f2f" providerId="ADAL" clId="{4308D8EE-CAB5-4B03-8E9B-8DB144421E15}" dt="2020-09-23T13:38:05.119" v="12" actId="47"/>
        <pc:sldMkLst>
          <pc:docMk/>
          <pc:sldMk cId="2446034512" sldId="1787"/>
        </pc:sldMkLst>
      </pc:sldChg>
      <pc:sldChg chg="del">
        <pc:chgData name="Philip Schwalm - Implement Consulting Group" userId="d8c6e447-3f75-4ce8-a51c-5acd77354f2f" providerId="ADAL" clId="{4308D8EE-CAB5-4B03-8E9B-8DB144421E15}" dt="2020-09-23T13:38:05.119" v="12" actId="47"/>
        <pc:sldMkLst>
          <pc:docMk/>
          <pc:sldMk cId="861883626" sldId="1789"/>
        </pc:sldMkLst>
      </pc:sldChg>
      <pc:sldChg chg="del">
        <pc:chgData name="Philip Schwalm - Implement Consulting Group" userId="d8c6e447-3f75-4ce8-a51c-5acd77354f2f" providerId="ADAL" clId="{4308D8EE-CAB5-4B03-8E9B-8DB144421E15}" dt="2020-09-23T13:38:05.119" v="12" actId="47"/>
        <pc:sldMkLst>
          <pc:docMk/>
          <pc:sldMk cId="3628061943" sldId="1790"/>
        </pc:sldMkLst>
      </pc:sldChg>
      <pc:sldChg chg="del">
        <pc:chgData name="Philip Schwalm - Implement Consulting Group" userId="d8c6e447-3f75-4ce8-a51c-5acd77354f2f" providerId="ADAL" clId="{4308D8EE-CAB5-4B03-8E9B-8DB144421E15}" dt="2020-09-23T13:38:05.119" v="12" actId="47"/>
        <pc:sldMkLst>
          <pc:docMk/>
          <pc:sldMk cId="2013676186" sldId="1791"/>
        </pc:sldMkLst>
      </pc:sldChg>
      <pc:sldChg chg="del">
        <pc:chgData name="Philip Schwalm - Implement Consulting Group" userId="d8c6e447-3f75-4ce8-a51c-5acd77354f2f" providerId="ADAL" clId="{4308D8EE-CAB5-4B03-8E9B-8DB144421E15}" dt="2020-09-23T13:38:05.119" v="12" actId="47"/>
        <pc:sldMkLst>
          <pc:docMk/>
          <pc:sldMk cId="827008352" sldId="1794"/>
        </pc:sldMkLst>
      </pc:sldChg>
      <pc:sldChg chg="del">
        <pc:chgData name="Philip Schwalm - Implement Consulting Group" userId="d8c6e447-3f75-4ce8-a51c-5acd77354f2f" providerId="ADAL" clId="{4308D8EE-CAB5-4B03-8E9B-8DB144421E15}" dt="2020-09-23T13:38:05.119" v="12" actId="47"/>
        <pc:sldMkLst>
          <pc:docMk/>
          <pc:sldMk cId="2866773404" sldId="1795"/>
        </pc:sldMkLst>
      </pc:sldChg>
      <pc:sldChg chg="del">
        <pc:chgData name="Philip Schwalm - Implement Consulting Group" userId="d8c6e447-3f75-4ce8-a51c-5acd77354f2f" providerId="ADAL" clId="{4308D8EE-CAB5-4B03-8E9B-8DB144421E15}" dt="2020-09-23T13:38:05.119" v="12" actId="47"/>
        <pc:sldMkLst>
          <pc:docMk/>
          <pc:sldMk cId="2351932266" sldId="1796"/>
        </pc:sldMkLst>
      </pc:sldChg>
      <pc:sldChg chg="del">
        <pc:chgData name="Philip Schwalm - Implement Consulting Group" userId="d8c6e447-3f75-4ce8-a51c-5acd77354f2f" providerId="ADAL" clId="{4308D8EE-CAB5-4B03-8E9B-8DB144421E15}" dt="2020-09-23T13:38:05.119" v="12" actId="47"/>
        <pc:sldMkLst>
          <pc:docMk/>
          <pc:sldMk cId="2474661600" sldId="1797"/>
        </pc:sldMkLst>
      </pc:sldChg>
      <pc:sldChg chg="del">
        <pc:chgData name="Philip Schwalm - Implement Consulting Group" userId="d8c6e447-3f75-4ce8-a51c-5acd77354f2f" providerId="ADAL" clId="{4308D8EE-CAB5-4B03-8E9B-8DB144421E15}" dt="2020-09-23T13:38:05.119" v="12" actId="47"/>
        <pc:sldMkLst>
          <pc:docMk/>
          <pc:sldMk cId="4023999082" sldId="1802"/>
        </pc:sldMkLst>
      </pc:sldChg>
      <pc:sldChg chg="del">
        <pc:chgData name="Philip Schwalm - Implement Consulting Group" userId="d8c6e447-3f75-4ce8-a51c-5acd77354f2f" providerId="ADAL" clId="{4308D8EE-CAB5-4B03-8E9B-8DB144421E15}" dt="2020-09-23T13:38:05.119" v="12" actId="47"/>
        <pc:sldMkLst>
          <pc:docMk/>
          <pc:sldMk cId="3779531817" sldId="1803"/>
        </pc:sldMkLst>
      </pc:sldChg>
      <pc:sldChg chg="del">
        <pc:chgData name="Philip Schwalm - Implement Consulting Group" userId="d8c6e447-3f75-4ce8-a51c-5acd77354f2f" providerId="ADAL" clId="{4308D8EE-CAB5-4B03-8E9B-8DB144421E15}" dt="2020-09-23T13:38:05.119" v="12" actId="47"/>
        <pc:sldMkLst>
          <pc:docMk/>
          <pc:sldMk cId="4206183638" sldId="1804"/>
        </pc:sldMkLst>
      </pc:sldChg>
      <pc:sldChg chg="del">
        <pc:chgData name="Philip Schwalm - Implement Consulting Group" userId="d8c6e447-3f75-4ce8-a51c-5acd77354f2f" providerId="ADAL" clId="{4308D8EE-CAB5-4B03-8E9B-8DB144421E15}" dt="2020-09-23T13:38:05.119" v="12" actId="47"/>
        <pc:sldMkLst>
          <pc:docMk/>
          <pc:sldMk cId="2905908667" sldId="1809"/>
        </pc:sldMkLst>
      </pc:sldChg>
      <pc:sldChg chg="del">
        <pc:chgData name="Philip Schwalm - Implement Consulting Group" userId="d8c6e447-3f75-4ce8-a51c-5acd77354f2f" providerId="ADAL" clId="{4308D8EE-CAB5-4B03-8E9B-8DB144421E15}" dt="2020-09-23T13:38:05.119" v="12" actId="47"/>
        <pc:sldMkLst>
          <pc:docMk/>
          <pc:sldMk cId="3156100574" sldId="1810"/>
        </pc:sldMkLst>
      </pc:sldChg>
      <pc:sldChg chg="del">
        <pc:chgData name="Philip Schwalm - Implement Consulting Group" userId="d8c6e447-3f75-4ce8-a51c-5acd77354f2f" providerId="ADAL" clId="{4308D8EE-CAB5-4B03-8E9B-8DB144421E15}" dt="2020-09-23T13:38:05.119" v="12" actId="47"/>
        <pc:sldMkLst>
          <pc:docMk/>
          <pc:sldMk cId="2073799695" sldId="1811"/>
        </pc:sldMkLst>
      </pc:sldChg>
      <pc:sldChg chg="del">
        <pc:chgData name="Philip Schwalm - Implement Consulting Group" userId="d8c6e447-3f75-4ce8-a51c-5acd77354f2f" providerId="ADAL" clId="{4308D8EE-CAB5-4B03-8E9B-8DB144421E15}" dt="2020-09-23T13:38:01.318" v="11" actId="47"/>
        <pc:sldMkLst>
          <pc:docMk/>
          <pc:sldMk cId="363202514" sldId="1816"/>
        </pc:sldMkLst>
      </pc:sldChg>
      <pc:sldMasterChg chg="delSldLayout">
        <pc:chgData name="Philip Schwalm - Implement Consulting Group" userId="d8c6e447-3f75-4ce8-a51c-5acd77354f2f" providerId="ADAL" clId="{4308D8EE-CAB5-4B03-8E9B-8DB144421E15}" dt="2020-09-23T13:38:05.119" v="12" actId="47"/>
        <pc:sldMasterMkLst>
          <pc:docMk/>
          <pc:sldMasterMk cId="3505183130" sldId="2147483660"/>
        </pc:sldMasterMkLst>
        <pc:sldLayoutChg chg="del">
          <pc:chgData name="Philip Schwalm - Implement Consulting Group" userId="d8c6e447-3f75-4ce8-a51c-5acd77354f2f" providerId="ADAL" clId="{4308D8EE-CAB5-4B03-8E9B-8DB144421E15}" dt="2020-09-23T13:38:05.119" v="12" actId="47"/>
          <pc:sldLayoutMkLst>
            <pc:docMk/>
            <pc:sldMasterMk cId="3505183130" sldId="2147483660"/>
            <pc:sldLayoutMk cId="3108919042" sldId="2147483767"/>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1"/>
            <a:ext cx="2945659" cy="498056"/>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sz="quarter" idx="1"/>
          </p:nvPr>
        </p:nvSpPr>
        <p:spPr>
          <a:xfrm>
            <a:off x="3850444" y="1"/>
            <a:ext cx="2945659" cy="498056"/>
          </a:xfrm>
          <a:prstGeom prst="rect">
            <a:avLst/>
          </a:prstGeom>
        </p:spPr>
        <p:txBody>
          <a:bodyPr vert="horz" lIns="91440" tIns="45720" rIns="91440" bIns="45720" rtlCol="0"/>
          <a:lstStyle>
            <a:lvl1pPr algn="r">
              <a:defRPr sz="1200"/>
            </a:lvl1pPr>
          </a:lstStyle>
          <a:p>
            <a:fld id="{311DED29-9729-4991-B892-978E3908E408}" type="datetimeFigureOut">
              <a:rPr lang="da-DK" smtClean="0"/>
              <a:t>01-10-2020</a:t>
            </a:fld>
            <a:endParaRPr lang="da-DK"/>
          </a:p>
        </p:txBody>
      </p:sp>
      <p:sp>
        <p:nvSpPr>
          <p:cNvPr id="4" name="Pladsholder til sidefod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da-DK"/>
          </a:p>
        </p:txBody>
      </p:sp>
      <p:sp>
        <p:nvSpPr>
          <p:cNvPr id="5" name="Pladsholder til slidenummer 4"/>
          <p:cNvSpPr>
            <a:spLocks noGrp="1"/>
          </p:cNvSpPr>
          <p:nvPr>
            <p:ph type="sldNum" sz="quarter" idx="3"/>
          </p:nvPr>
        </p:nvSpPr>
        <p:spPr>
          <a:xfrm>
            <a:off x="3850444" y="9428584"/>
            <a:ext cx="2945659" cy="498055"/>
          </a:xfrm>
          <a:prstGeom prst="rect">
            <a:avLst/>
          </a:prstGeom>
        </p:spPr>
        <p:txBody>
          <a:bodyPr vert="horz" lIns="91440" tIns="45720" rIns="91440" bIns="45720" rtlCol="0" anchor="b"/>
          <a:lstStyle>
            <a:lvl1pPr algn="r">
              <a:defRPr sz="1200"/>
            </a:lvl1pPr>
          </a:lstStyle>
          <a:p>
            <a:fld id="{04C950E9-A753-4B40-9393-A3C45D9B276B}" type="slidenum">
              <a:rPr lang="da-DK" smtClean="0"/>
              <a:t>‹nr.›</a:t>
            </a:fld>
            <a:endParaRPr lang="da-DK"/>
          </a:p>
        </p:txBody>
      </p:sp>
    </p:spTree>
    <p:extLst>
      <p:ext uri="{BB962C8B-B14F-4D97-AF65-F5344CB8AC3E}">
        <p14:creationId xmlns:p14="http://schemas.microsoft.com/office/powerpoint/2010/main" val="24146988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1"/>
            <a:ext cx="2945659" cy="498056"/>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0444" y="1"/>
            <a:ext cx="2945659" cy="498056"/>
          </a:xfrm>
          <a:prstGeom prst="rect">
            <a:avLst/>
          </a:prstGeom>
        </p:spPr>
        <p:txBody>
          <a:bodyPr vert="horz" lIns="91440" tIns="45720" rIns="91440" bIns="45720" rtlCol="0"/>
          <a:lstStyle>
            <a:lvl1pPr algn="r">
              <a:defRPr sz="1200"/>
            </a:lvl1pPr>
          </a:lstStyle>
          <a:p>
            <a:fld id="{47789A78-DCAF-48D5-905C-6CB4EF87F0E4}" type="datetimeFigureOut">
              <a:rPr lang="da-DK" smtClean="0"/>
              <a:t>01-10-2020</a:t>
            </a:fld>
            <a:endParaRPr lang="da-DK"/>
          </a:p>
        </p:txBody>
      </p:sp>
      <p:sp>
        <p:nvSpPr>
          <p:cNvPr id="4" name="Pladsholder til slidebillede 3"/>
          <p:cNvSpPr>
            <a:spLocks noGrp="1" noRot="1" noChangeAspect="1"/>
          </p:cNvSpPr>
          <p:nvPr>
            <p:ph type="sldImg" idx="2"/>
          </p:nvPr>
        </p:nvSpPr>
        <p:spPr>
          <a:xfrm>
            <a:off x="1165225" y="1241425"/>
            <a:ext cx="4467225" cy="3349625"/>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79768" y="4777195"/>
            <a:ext cx="5438140" cy="3908614"/>
          </a:xfrm>
          <a:prstGeom prst="rect">
            <a:avLst/>
          </a:prstGeom>
        </p:spPr>
        <p:txBody>
          <a:bodyPr vert="horz" lIns="91440" tIns="45720" rIns="91440" bIns="45720" rtlCol="0"/>
          <a:lstStyle/>
          <a:p>
            <a:pPr lvl="0"/>
            <a:endParaRPr lang="da-DK"/>
          </a:p>
        </p:txBody>
      </p:sp>
      <p:sp>
        <p:nvSpPr>
          <p:cNvPr id="6" name="Pladsholder til sidefod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50444" y="9428584"/>
            <a:ext cx="2945659" cy="498055"/>
          </a:xfrm>
          <a:prstGeom prst="rect">
            <a:avLst/>
          </a:prstGeom>
        </p:spPr>
        <p:txBody>
          <a:bodyPr vert="horz" lIns="91440" tIns="45720" rIns="91440" bIns="45720" rtlCol="0" anchor="b"/>
          <a:lstStyle>
            <a:lvl1pPr algn="r">
              <a:defRPr sz="1200"/>
            </a:lvl1pPr>
          </a:lstStyle>
          <a:p>
            <a:fld id="{8ABF9682-CF9D-4B48-A281-B60C359215A7}" type="slidenum">
              <a:rPr lang="da-DK" smtClean="0"/>
              <a:t>‹nr.›</a:t>
            </a:fld>
            <a:endParaRPr lang="da-DK"/>
          </a:p>
        </p:txBody>
      </p:sp>
    </p:spTree>
    <p:extLst>
      <p:ext uri="{BB962C8B-B14F-4D97-AF65-F5344CB8AC3E}">
        <p14:creationId xmlns:p14="http://schemas.microsoft.com/office/powerpoint/2010/main" val="38478896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A16CFAD1-D197-4A88-B173-A6412E995EE5}" type="slidenum">
              <a:rPr lang="da-DK" smtClean="0"/>
              <a:pPr/>
              <a:t>0</a:t>
            </a:fld>
            <a:endParaRPr lang="da-DK"/>
          </a:p>
        </p:txBody>
      </p:sp>
    </p:spTree>
    <p:extLst>
      <p:ext uri="{BB962C8B-B14F-4D97-AF65-F5344CB8AC3E}">
        <p14:creationId xmlns:p14="http://schemas.microsoft.com/office/powerpoint/2010/main" val="30075189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8ABF9682-CF9D-4B48-A281-B60C359215A7}" type="slidenum">
              <a:rPr lang="da-DK" smtClean="0"/>
              <a:t>9</a:t>
            </a:fld>
            <a:endParaRPr lang="da-DK"/>
          </a:p>
        </p:txBody>
      </p:sp>
    </p:spTree>
    <p:extLst>
      <p:ext uri="{BB962C8B-B14F-4D97-AF65-F5344CB8AC3E}">
        <p14:creationId xmlns:p14="http://schemas.microsoft.com/office/powerpoint/2010/main" val="33074581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8ABF9682-CF9D-4B48-A281-B60C359215A7}" type="slidenum">
              <a:rPr lang="da-DK" smtClean="0"/>
              <a:t>10</a:t>
            </a:fld>
            <a:endParaRPr lang="da-DK"/>
          </a:p>
        </p:txBody>
      </p:sp>
    </p:spTree>
    <p:extLst>
      <p:ext uri="{BB962C8B-B14F-4D97-AF65-F5344CB8AC3E}">
        <p14:creationId xmlns:p14="http://schemas.microsoft.com/office/powerpoint/2010/main" val="21339747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8ABF9682-CF9D-4B48-A281-B60C359215A7}" type="slidenum">
              <a:rPr lang="da-DK" smtClean="0"/>
              <a:t>11</a:t>
            </a:fld>
            <a:endParaRPr lang="da-DK"/>
          </a:p>
        </p:txBody>
      </p:sp>
    </p:spTree>
    <p:extLst>
      <p:ext uri="{BB962C8B-B14F-4D97-AF65-F5344CB8AC3E}">
        <p14:creationId xmlns:p14="http://schemas.microsoft.com/office/powerpoint/2010/main" val="13460342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8ABF9682-CF9D-4B48-A281-B60C359215A7}" type="slidenum">
              <a:rPr lang="da-DK" smtClean="0"/>
              <a:t>12</a:t>
            </a:fld>
            <a:endParaRPr lang="da-DK"/>
          </a:p>
        </p:txBody>
      </p:sp>
    </p:spTree>
    <p:extLst>
      <p:ext uri="{BB962C8B-B14F-4D97-AF65-F5344CB8AC3E}">
        <p14:creationId xmlns:p14="http://schemas.microsoft.com/office/powerpoint/2010/main" val="41579053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8ABF9682-CF9D-4B48-A281-B60C359215A7}" type="slidenum">
              <a:rPr lang="da-DK" smtClean="0"/>
              <a:t>13</a:t>
            </a:fld>
            <a:endParaRPr lang="da-DK"/>
          </a:p>
        </p:txBody>
      </p:sp>
    </p:spTree>
    <p:extLst>
      <p:ext uri="{BB962C8B-B14F-4D97-AF65-F5344CB8AC3E}">
        <p14:creationId xmlns:p14="http://schemas.microsoft.com/office/powerpoint/2010/main" val="6382221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8ABF9682-CF9D-4B48-A281-B60C359215A7}" type="slidenum">
              <a:rPr lang="da-DK" smtClean="0"/>
              <a:t>14</a:t>
            </a:fld>
            <a:endParaRPr lang="da-DK"/>
          </a:p>
        </p:txBody>
      </p:sp>
    </p:spTree>
    <p:extLst>
      <p:ext uri="{BB962C8B-B14F-4D97-AF65-F5344CB8AC3E}">
        <p14:creationId xmlns:p14="http://schemas.microsoft.com/office/powerpoint/2010/main" val="16341044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8ABF9682-CF9D-4B48-A281-B60C359215A7}" type="slidenum">
              <a:rPr lang="da-DK" smtClean="0"/>
              <a:t>15</a:t>
            </a:fld>
            <a:endParaRPr lang="da-DK"/>
          </a:p>
        </p:txBody>
      </p:sp>
    </p:spTree>
    <p:extLst>
      <p:ext uri="{BB962C8B-B14F-4D97-AF65-F5344CB8AC3E}">
        <p14:creationId xmlns:p14="http://schemas.microsoft.com/office/powerpoint/2010/main" val="3923930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8ABF9682-CF9D-4B48-A281-B60C359215A7}" type="slidenum">
              <a:rPr lang="da-DK" smtClean="0"/>
              <a:t>16</a:t>
            </a:fld>
            <a:endParaRPr lang="da-DK"/>
          </a:p>
        </p:txBody>
      </p:sp>
    </p:spTree>
    <p:extLst>
      <p:ext uri="{BB962C8B-B14F-4D97-AF65-F5344CB8AC3E}">
        <p14:creationId xmlns:p14="http://schemas.microsoft.com/office/powerpoint/2010/main" val="17321256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8ABF9682-CF9D-4B48-A281-B60C359215A7}" type="slidenum">
              <a:rPr lang="da-DK" smtClean="0"/>
              <a:t>17</a:t>
            </a:fld>
            <a:endParaRPr lang="da-DK"/>
          </a:p>
        </p:txBody>
      </p:sp>
    </p:spTree>
    <p:extLst>
      <p:ext uri="{BB962C8B-B14F-4D97-AF65-F5344CB8AC3E}">
        <p14:creationId xmlns:p14="http://schemas.microsoft.com/office/powerpoint/2010/main" val="37732798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8ABF9682-CF9D-4B48-A281-B60C359215A7}" type="slidenum">
              <a:rPr lang="da-DK" smtClean="0"/>
              <a:t>18</a:t>
            </a:fld>
            <a:endParaRPr lang="da-DK"/>
          </a:p>
        </p:txBody>
      </p:sp>
    </p:spTree>
    <p:extLst>
      <p:ext uri="{BB962C8B-B14F-4D97-AF65-F5344CB8AC3E}">
        <p14:creationId xmlns:p14="http://schemas.microsoft.com/office/powerpoint/2010/main" val="25343118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8ABF9682-CF9D-4B48-A281-B60C359215A7}" type="slidenum">
              <a:rPr lang="da-DK" smtClean="0"/>
              <a:t>1</a:t>
            </a:fld>
            <a:endParaRPr lang="da-DK"/>
          </a:p>
        </p:txBody>
      </p:sp>
    </p:spTree>
    <p:extLst>
      <p:ext uri="{BB962C8B-B14F-4D97-AF65-F5344CB8AC3E}">
        <p14:creationId xmlns:p14="http://schemas.microsoft.com/office/powerpoint/2010/main" val="12247541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8ABF9682-CF9D-4B48-A281-B60C359215A7}" type="slidenum">
              <a:rPr lang="da-DK" smtClean="0"/>
              <a:t>19</a:t>
            </a:fld>
            <a:endParaRPr lang="da-DK"/>
          </a:p>
        </p:txBody>
      </p:sp>
    </p:spTree>
    <p:extLst>
      <p:ext uri="{BB962C8B-B14F-4D97-AF65-F5344CB8AC3E}">
        <p14:creationId xmlns:p14="http://schemas.microsoft.com/office/powerpoint/2010/main" val="11767430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8ABF9682-CF9D-4B48-A281-B60C359215A7}" type="slidenum">
              <a:rPr lang="da-DK" smtClean="0"/>
              <a:t>20</a:t>
            </a:fld>
            <a:endParaRPr lang="da-DK"/>
          </a:p>
        </p:txBody>
      </p:sp>
    </p:spTree>
    <p:extLst>
      <p:ext uri="{BB962C8B-B14F-4D97-AF65-F5344CB8AC3E}">
        <p14:creationId xmlns:p14="http://schemas.microsoft.com/office/powerpoint/2010/main" val="8354755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8ABF9682-CF9D-4B48-A281-B60C359215A7}" type="slidenum">
              <a:rPr lang="da-DK" smtClean="0"/>
              <a:t>21</a:t>
            </a:fld>
            <a:endParaRPr lang="da-DK"/>
          </a:p>
        </p:txBody>
      </p:sp>
    </p:spTree>
    <p:extLst>
      <p:ext uri="{BB962C8B-B14F-4D97-AF65-F5344CB8AC3E}">
        <p14:creationId xmlns:p14="http://schemas.microsoft.com/office/powerpoint/2010/main" val="6845559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5BA9D5-BDED-4338-B92A-8B46595DFD93}" type="slidenum">
              <a:rPr kumimoji="0" lang="da-DK" sz="13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a-DK" sz="1300" b="0" i="0" u="none" strike="noStrike" kern="1200" cap="none" spc="0" normalizeH="0" baseline="0" noProof="0">
              <a:ln>
                <a:noFill/>
              </a:ln>
              <a:solidFill>
                <a:prstClr val="black"/>
              </a:solidFill>
              <a:effectLst/>
              <a:uLnTx/>
              <a:uFillTx/>
              <a:latin typeface="Arial"/>
              <a:ea typeface="+mn-ea"/>
              <a:cs typeface="+mn-cs"/>
            </a:endParaRPr>
          </a:p>
        </p:txBody>
      </p:sp>
      <p:sp>
        <p:nvSpPr>
          <p:cNvPr id="52227" name="Rectangle 2"/>
          <p:cNvSpPr>
            <a:spLocks noGrp="1" noRot="1" noChangeAspect="1" noChangeArrowheads="1" noTextEdit="1"/>
          </p:cNvSpPr>
          <p:nvPr>
            <p:ph type="sldImg"/>
          </p:nvPr>
        </p:nvSpPr>
        <p:spPr>
          <a:xfrm>
            <a:off x="468313" y="908050"/>
            <a:ext cx="6035675" cy="4525963"/>
          </a:xfrm>
          <a:ln/>
        </p:spPr>
      </p:sp>
      <p:sp>
        <p:nvSpPr>
          <p:cNvPr id="52228" name="Rectangle 3"/>
          <p:cNvSpPr>
            <a:spLocks noGrp="1" noChangeArrowheads="1"/>
          </p:cNvSpPr>
          <p:nvPr>
            <p:ph type="body" idx="1"/>
          </p:nvPr>
        </p:nvSpPr>
        <p:spPr>
          <a:xfrm>
            <a:off x="696521" y="5736333"/>
            <a:ext cx="5575401" cy="222038"/>
          </a:xfrm>
          <a:noFill/>
          <a:ln/>
        </p:spPr>
        <p:txBody>
          <a:bodyPr>
            <a:normAutofit fontScale="85000" lnSpcReduction="20000"/>
          </a:bodyPr>
          <a:lstStyle/>
          <a:p>
            <a:pPr eaLnBrk="1" hangingPunct="1"/>
            <a:endParaRPr lang="da-DK">
              <a:latin typeface="Arial"/>
            </a:endParaRPr>
          </a:p>
        </p:txBody>
      </p:sp>
    </p:spTree>
    <p:extLst>
      <p:ext uri="{BB962C8B-B14F-4D97-AF65-F5344CB8AC3E}">
        <p14:creationId xmlns:p14="http://schemas.microsoft.com/office/powerpoint/2010/main" val="24743339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8ABF9682-CF9D-4B48-A281-B60C359215A7}" type="slidenum">
              <a:rPr lang="da-DK" smtClean="0"/>
              <a:t>23</a:t>
            </a:fld>
            <a:endParaRPr lang="da-DK"/>
          </a:p>
        </p:txBody>
      </p:sp>
    </p:spTree>
    <p:extLst>
      <p:ext uri="{BB962C8B-B14F-4D97-AF65-F5344CB8AC3E}">
        <p14:creationId xmlns:p14="http://schemas.microsoft.com/office/powerpoint/2010/main" val="33173788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8ABF9682-CF9D-4B48-A281-B60C359215A7}" type="slidenum">
              <a:rPr lang="da-DK" smtClean="0"/>
              <a:t>2</a:t>
            </a:fld>
            <a:endParaRPr lang="da-DK"/>
          </a:p>
        </p:txBody>
      </p:sp>
    </p:spTree>
    <p:extLst>
      <p:ext uri="{BB962C8B-B14F-4D97-AF65-F5344CB8AC3E}">
        <p14:creationId xmlns:p14="http://schemas.microsoft.com/office/powerpoint/2010/main" val="18747593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8ABF9682-CF9D-4B48-A281-B60C359215A7}" type="slidenum">
              <a:rPr lang="da-DK" smtClean="0"/>
              <a:t>3</a:t>
            </a:fld>
            <a:endParaRPr lang="da-DK"/>
          </a:p>
        </p:txBody>
      </p:sp>
    </p:spTree>
    <p:extLst>
      <p:ext uri="{BB962C8B-B14F-4D97-AF65-F5344CB8AC3E}">
        <p14:creationId xmlns:p14="http://schemas.microsoft.com/office/powerpoint/2010/main" val="17854300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8ABF9682-CF9D-4B48-A281-B60C359215A7}" type="slidenum">
              <a:rPr lang="da-DK" smtClean="0"/>
              <a:t>4</a:t>
            </a:fld>
            <a:endParaRPr lang="da-DK"/>
          </a:p>
        </p:txBody>
      </p:sp>
    </p:spTree>
    <p:extLst>
      <p:ext uri="{BB962C8B-B14F-4D97-AF65-F5344CB8AC3E}">
        <p14:creationId xmlns:p14="http://schemas.microsoft.com/office/powerpoint/2010/main" val="12421687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8ABF9682-CF9D-4B48-A281-B60C359215A7}" type="slidenum">
              <a:rPr lang="da-DK" smtClean="0"/>
              <a:t>5</a:t>
            </a:fld>
            <a:endParaRPr lang="da-DK"/>
          </a:p>
        </p:txBody>
      </p:sp>
    </p:spTree>
    <p:extLst>
      <p:ext uri="{BB962C8B-B14F-4D97-AF65-F5344CB8AC3E}">
        <p14:creationId xmlns:p14="http://schemas.microsoft.com/office/powerpoint/2010/main" val="33844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a:p>
        </p:txBody>
      </p:sp>
      <p:sp>
        <p:nvSpPr>
          <p:cNvPr id="4" name="Slide Number Placeholder 3"/>
          <p:cNvSpPr>
            <a:spLocks noGrp="1"/>
          </p:cNvSpPr>
          <p:nvPr>
            <p:ph type="sldNum" sz="quarter" idx="10"/>
          </p:nvPr>
        </p:nvSpPr>
        <p:spPr/>
        <p:txBody>
          <a:bodyPr/>
          <a:lstStyle/>
          <a:p>
            <a:fld id="{A16CFAD1-D197-4A88-B173-A6412E995EE5}" type="slidenum">
              <a:rPr lang="en-GB" smtClean="0"/>
              <a:pPr/>
              <a:t>6</a:t>
            </a:fld>
            <a:endParaRPr lang="en-GB"/>
          </a:p>
        </p:txBody>
      </p:sp>
    </p:spTree>
    <p:extLst>
      <p:ext uri="{BB962C8B-B14F-4D97-AF65-F5344CB8AC3E}">
        <p14:creationId xmlns:p14="http://schemas.microsoft.com/office/powerpoint/2010/main" val="42693988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8ABF9682-CF9D-4B48-A281-B60C359215A7}" type="slidenum">
              <a:rPr lang="da-DK" smtClean="0"/>
              <a:t>7</a:t>
            </a:fld>
            <a:endParaRPr lang="da-DK"/>
          </a:p>
        </p:txBody>
      </p:sp>
    </p:spTree>
    <p:extLst>
      <p:ext uri="{BB962C8B-B14F-4D97-AF65-F5344CB8AC3E}">
        <p14:creationId xmlns:p14="http://schemas.microsoft.com/office/powerpoint/2010/main" val="4521192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8ABF9682-CF9D-4B48-A281-B60C359215A7}" type="slidenum">
              <a:rPr lang="da-DK" smtClean="0"/>
              <a:t>8</a:t>
            </a:fld>
            <a:endParaRPr lang="da-DK"/>
          </a:p>
        </p:txBody>
      </p:sp>
    </p:spTree>
    <p:extLst>
      <p:ext uri="{BB962C8B-B14F-4D97-AF65-F5344CB8AC3E}">
        <p14:creationId xmlns:p14="http://schemas.microsoft.com/office/powerpoint/2010/main" val="22023834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7.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8.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9.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0.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2.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7.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9.xml"/><Relationship Id="rId7" Type="http://schemas.openxmlformats.org/officeDocument/2006/relationships/image" Target="../media/image7.emf"/><Relationship Id="rId2" Type="http://schemas.openxmlformats.org/officeDocument/2006/relationships/tags" Target="../tags/tag38.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6.emf"/><Relationship Id="rId2" Type="http://schemas.openxmlformats.org/officeDocument/2006/relationships/tags" Target="../tags/tag4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3.xml"/><Relationship Id="rId4" Type="http://schemas.openxmlformats.org/officeDocument/2006/relationships/tags" Target="../tags/tag42.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6.emf"/><Relationship Id="rId2" Type="http://schemas.openxmlformats.org/officeDocument/2006/relationships/tags" Target="../tags/tag4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3.xml"/><Relationship Id="rId4" Type="http://schemas.openxmlformats.org/officeDocument/2006/relationships/tags" Target="../tags/tag45.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6.emf"/><Relationship Id="rId2" Type="http://schemas.openxmlformats.org/officeDocument/2006/relationships/tags" Target="../tags/tag4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3.xml"/><Relationship Id="rId4" Type="http://schemas.openxmlformats.org/officeDocument/2006/relationships/tags" Target="../tags/tag48.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6.emf"/><Relationship Id="rId2" Type="http://schemas.openxmlformats.org/officeDocument/2006/relationships/tags" Target="../tags/tag49.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3.xml"/><Relationship Id="rId4" Type="http://schemas.openxmlformats.org/officeDocument/2006/relationships/tags" Target="../tags/tag51.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2.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6.emf"/><Relationship Id="rId2" Type="http://schemas.openxmlformats.org/officeDocument/2006/relationships/tags" Target="../tags/tag53.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3.xml"/><Relationship Id="rId4" Type="http://schemas.openxmlformats.org/officeDocument/2006/relationships/tags" Target="../tags/tag5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p:bg>
      <p:bgPr>
        <a:solidFill>
          <a:schemeClr val="bg1"/>
        </a:solidFill>
        <a:effectLst/>
      </p:bgPr>
    </p:bg>
    <p:spTree>
      <p:nvGrpSpPr>
        <p:cNvPr id="1" name=""/>
        <p:cNvGrpSpPr/>
        <p:nvPr/>
      </p:nvGrpSpPr>
      <p:grpSpPr>
        <a:xfrm>
          <a:off x="0" y="0"/>
          <a:ext cx="0" cy="0"/>
          <a:chOff x="0" y="0"/>
          <a:chExt cx="0" cy="0"/>
        </a:xfrm>
      </p:grpSpPr>
      <p:sp>
        <p:nvSpPr>
          <p:cNvPr id="8" name="Rektangel 7"/>
          <p:cNvSpPr/>
          <p:nvPr userDrawn="1"/>
        </p:nvSpPr>
        <p:spPr>
          <a:xfrm>
            <a:off x="0" y="3869559"/>
            <a:ext cx="9144000" cy="5350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da-DK">
              <a:solidFill>
                <a:srgbClr val="8DC26A"/>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ktangel 10"/>
          <p:cNvSpPr/>
          <p:nvPr userDrawn="1"/>
        </p:nvSpPr>
        <p:spPr>
          <a:xfrm>
            <a:off x="-1" y="4705350"/>
            <a:ext cx="9144000" cy="21526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2"/>
              </a:solidFill>
            </a:endParaRPr>
          </a:p>
        </p:txBody>
      </p:sp>
      <p:sp>
        <p:nvSpPr>
          <p:cNvPr id="12" name="Rektangel 11"/>
          <p:cNvSpPr/>
          <p:nvPr userDrawn="1"/>
        </p:nvSpPr>
        <p:spPr>
          <a:xfrm>
            <a:off x="-1" y="2574288"/>
            <a:ext cx="9144000" cy="127299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da-DK">
              <a:solidFill>
                <a:srgbClr val="8DC26A"/>
              </a:solidFill>
              <a:latin typeface="Verdana" panose="020B0604030504040204" pitchFamily="34" charset="0"/>
              <a:ea typeface="Verdana" panose="020B0604030504040204" pitchFamily="34" charset="0"/>
              <a:cs typeface="Verdana" panose="020B0604030504040204" pitchFamily="34" charset="0"/>
            </a:endParaRPr>
          </a:p>
        </p:txBody>
      </p:sp>
      <p:sp>
        <p:nvSpPr>
          <p:cNvPr id="7" name="Pladsholder til indhold 4"/>
          <p:cNvSpPr>
            <a:spLocks noGrp="1"/>
          </p:cNvSpPr>
          <p:nvPr>
            <p:ph sz="quarter" idx="10" hasCustomPrompt="1"/>
          </p:nvPr>
        </p:nvSpPr>
        <p:spPr>
          <a:xfrm>
            <a:off x="628649" y="3854242"/>
            <a:ext cx="7886700" cy="550354"/>
          </a:xfrm>
          <a:prstGeom prst="rect">
            <a:avLst/>
          </a:prstGeom>
        </p:spPr>
        <p:txBody>
          <a:bodyPr anchor="ctr"/>
          <a:lstStyle>
            <a:lvl1pPr marL="0" indent="0" algn="l">
              <a:lnSpc>
                <a:spcPct val="100000"/>
              </a:lnSpc>
              <a:buNone/>
              <a:defRPr sz="2000" i="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da-DK"/>
              <a:t>Undertitel på slideshow</a:t>
            </a:r>
          </a:p>
        </p:txBody>
      </p:sp>
      <p:pic>
        <p:nvPicPr>
          <p:cNvPr id="13" name="Billede 1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541264" y="5243253"/>
            <a:ext cx="3220972" cy="1251083"/>
          </a:xfrm>
          <a:prstGeom prst="rect">
            <a:avLst/>
          </a:prstGeom>
        </p:spPr>
      </p:pic>
      <p:sp>
        <p:nvSpPr>
          <p:cNvPr id="14" name="Titel 23"/>
          <p:cNvSpPr>
            <a:spLocks noGrp="1"/>
          </p:cNvSpPr>
          <p:nvPr>
            <p:ph type="title" hasCustomPrompt="1"/>
          </p:nvPr>
        </p:nvSpPr>
        <p:spPr>
          <a:xfrm>
            <a:off x="628649" y="2831740"/>
            <a:ext cx="7886700" cy="984321"/>
          </a:xfrm>
          <a:prstGeom prst="rect">
            <a:avLst/>
          </a:prstGeom>
        </p:spPr>
        <p:txBody>
          <a:bodyPr anchor="ctr"/>
          <a:lstStyle>
            <a:lvl1pPr algn="l">
              <a:defRPr sz="3200" b="1" cap="all" spc="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da-DK"/>
              <a:t>TITEL PÅ SLIDESHOW</a:t>
            </a:r>
          </a:p>
        </p:txBody>
      </p:sp>
      <p:sp>
        <p:nvSpPr>
          <p:cNvPr id="15" name="Pladsholder til dato 3"/>
          <p:cNvSpPr>
            <a:spLocks noGrp="1"/>
          </p:cNvSpPr>
          <p:nvPr>
            <p:ph type="dt" sz="half" idx="11"/>
          </p:nvPr>
        </p:nvSpPr>
        <p:spPr>
          <a:xfrm>
            <a:off x="628650" y="6129211"/>
            <a:ext cx="2039007" cy="365125"/>
          </a:xfrm>
          <a:prstGeom prst="rect">
            <a:avLst/>
          </a:prstGeom>
        </p:spPr>
        <p:txBody>
          <a:bodyPr/>
          <a:lstStyle>
            <a:lvl1pPr algn="ctr">
              <a:defRPr sz="16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endParaRPr lang="da-DK"/>
          </a:p>
        </p:txBody>
      </p:sp>
      <p:sp>
        <p:nvSpPr>
          <p:cNvPr id="9" name="Rektangel 8"/>
          <p:cNvSpPr/>
          <p:nvPr userDrawn="1"/>
        </p:nvSpPr>
        <p:spPr>
          <a:xfrm>
            <a:off x="-1" y="4445540"/>
            <a:ext cx="9144000" cy="22859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da-DK">
              <a:solidFill>
                <a:srgbClr val="8DC26A"/>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623858586"/>
      </p:ext>
    </p:extLst>
  </p:cSld>
  <p:clrMapOvr>
    <a:masterClrMapping/>
  </p:clrMapOvr>
  <p:transition spd="slow">
    <p:push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Background 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410D80-6244-43D7-9BCA-4FF4C69D0B08}"/>
              </a:ext>
            </a:extLst>
          </p:cNvPr>
          <p:cNvSpPr/>
          <p:nvPr userDrawn="1"/>
        </p:nvSpPr>
        <p:spPr>
          <a:xfrm>
            <a:off x="0" y="1627188"/>
            <a:ext cx="7855399" cy="5230812"/>
          </a:xfrm>
          <a:prstGeom prst="rect">
            <a:avLst/>
          </a:prstGeom>
          <a:solidFill>
            <a:srgbClr val="FBF9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t" anchorCtr="0" forceAA="0" compatLnSpc="1">
            <a:prstTxWarp prst="textNoShape">
              <a:avLst/>
            </a:prstTxWarp>
            <a:noAutofit/>
          </a:bodyPr>
          <a:lstStyle/>
          <a:p>
            <a:pPr algn="l"/>
            <a:endParaRPr lang="da-DK" sz="923" noProof="0">
              <a:solidFill>
                <a:srgbClr val="1F2023"/>
              </a:solidFill>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49116" y="1878016"/>
            <a:ext cx="7347438" cy="4452807"/>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0" name="Title 1">
            <a:extLst>
              <a:ext uri="{FF2B5EF4-FFF2-40B4-BE49-F238E27FC236}">
                <a16:creationId xmlns:a16="http://schemas.microsoft.com/office/drawing/2014/main" id="{28CE8CB5-0C5C-4F82-93BB-A3CC2466A32C}"/>
              </a:ext>
            </a:extLst>
          </p:cNvPr>
          <p:cNvSpPr>
            <a:spLocks noGrp="1"/>
          </p:cNvSpPr>
          <p:nvPr>
            <p:ph type="title"/>
          </p:nvPr>
        </p:nvSpPr>
        <p:spPr>
          <a:xfrm>
            <a:off x="249116" y="269876"/>
            <a:ext cx="7606283"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5" name="Text Placeholder 12">
            <a:extLst>
              <a:ext uri="{FF2B5EF4-FFF2-40B4-BE49-F238E27FC236}">
                <a16:creationId xmlns:a16="http://schemas.microsoft.com/office/drawing/2014/main" id="{3C651A19-21C7-43A0-87F7-B33CAB065148}"/>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 </a:t>
            </a:r>
          </a:p>
          <a:p>
            <a:pPr lvl="1"/>
            <a:r>
              <a:rPr lang="da-DK"/>
              <a:t>Notes </a:t>
            </a:r>
          </a:p>
          <a:p>
            <a:pPr lvl="2"/>
            <a:r>
              <a:rPr lang="da-DK"/>
              <a:t>Notes </a:t>
            </a:r>
          </a:p>
          <a:p>
            <a:pPr lvl="3"/>
            <a:r>
              <a:rPr lang="da-DK"/>
              <a:t>Notes </a:t>
            </a:r>
          </a:p>
        </p:txBody>
      </p:sp>
      <p:sp>
        <p:nvSpPr>
          <p:cNvPr id="17" name="FLD_PresentationTitle">
            <a:extLst>
              <a:ext uri="{FF2B5EF4-FFF2-40B4-BE49-F238E27FC236}">
                <a16:creationId xmlns:a16="http://schemas.microsoft.com/office/drawing/2014/main" id="{D1553913-EAC6-4C11-80E0-83E41E8667BA}"/>
              </a:ext>
            </a:extLst>
          </p:cNvPr>
          <p:cNvSpPr>
            <a:spLocks noGrp="1"/>
          </p:cNvSpPr>
          <p:nvPr>
            <p:ph type="ftr" sz="quarter" idx="3"/>
          </p:nvPr>
        </p:nvSpPr>
        <p:spPr>
          <a:xfrm>
            <a:off x="5370763" y="6502394"/>
            <a:ext cx="1103685" cy="106116"/>
          </a:xfrm>
          <a:prstGeom prst="rect">
            <a:avLst/>
          </a:prstGeom>
        </p:spPr>
        <p:txBody>
          <a:bodyPr vert="horz" lIns="0" tIns="0" rIns="0" bIns="0" rtlCol="0" anchor="b" anchorCtr="0"/>
          <a:lstStyle>
            <a:lvl1pPr marL="0" indent="0" algn="r">
              <a:buFont typeface="Arial" panose="020B0604020202020204" pitchFamily="34" charset="0"/>
              <a:buNone/>
              <a:defRPr sz="600" cap="none" spc="0" baseline="0">
                <a:solidFill>
                  <a:srgbClr val="1F2023"/>
                </a:solidFill>
              </a:defRPr>
            </a:lvl1pPr>
          </a:lstStyle>
          <a:p>
            <a:r>
              <a:rPr lang="da-DK" err="1"/>
              <a:t>Footer</a:t>
            </a:r>
            <a:endParaRPr lang="da-DK"/>
          </a:p>
        </p:txBody>
      </p:sp>
      <p:sp>
        <p:nvSpPr>
          <p:cNvPr id="13" name="Text Placeholder 3">
            <a:extLst>
              <a:ext uri="{FF2B5EF4-FFF2-40B4-BE49-F238E27FC236}">
                <a16:creationId xmlns:a16="http://schemas.microsoft.com/office/drawing/2014/main" id="{C10B5418-1C83-44F1-AB0B-3628C15B4C2A}"/>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6" name="Slide Number Placeholder 4">
            <a:extLst>
              <a:ext uri="{FF2B5EF4-FFF2-40B4-BE49-F238E27FC236}">
                <a16:creationId xmlns:a16="http://schemas.microsoft.com/office/drawing/2014/main" id="{4FBE63A3-E191-4F2C-B1EA-A032441BA822}"/>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12" name="Date_GeneralDate" hidden="1">
            <a:extLst>
              <a:ext uri="{FF2B5EF4-FFF2-40B4-BE49-F238E27FC236}">
                <a16:creationId xmlns:a16="http://schemas.microsoft.com/office/drawing/2014/main" id="{1DDF63FA-A507-49EB-8773-728F33759C3A}"/>
              </a:ext>
            </a:extLst>
          </p:cNvPr>
          <p:cNvSpPr>
            <a:spLocks noGrp="1"/>
          </p:cNvSpPr>
          <p:nvPr>
            <p:ph type="dt" sz="half" idx="10"/>
          </p:nvPr>
        </p:nvSpPr>
        <p:spPr>
          <a:xfrm>
            <a:off x="0" y="6912000"/>
            <a:ext cx="0" cy="0"/>
          </a:xfrm>
        </p:spPr>
        <p:txBody>
          <a:bodyPr/>
          <a:lstStyle>
            <a:lvl1pPr algn="l">
              <a:defRPr sz="100" cap="all" spc="150" baseline="0">
                <a:noFill/>
              </a:defRPr>
            </a:lvl1pPr>
          </a:lstStyle>
          <a:p>
            <a:fld id="{8A6E0422-6ECB-43C9-8CFE-4C39AC685875}" type="datetime1">
              <a:rPr lang="da-DK" smtClean="0"/>
              <a:pPr/>
              <a:t>01-10-2020</a:t>
            </a:fld>
            <a:endParaRPr lang="da-DK"/>
          </a:p>
        </p:txBody>
      </p:sp>
    </p:spTree>
    <p:extLst>
      <p:ext uri="{BB962C8B-B14F-4D97-AF65-F5344CB8AC3E}">
        <p14:creationId xmlns:p14="http://schemas.microsoft.com/office/powerpoint/2010/main" val="1977067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ver Dark">
    <p:spTree>
      <p:nvGrpSpPr>
        <p:cNvPr id="1" name=""/>
        <p:cNvGrpSpPr/>
        <p:nvPr/>
      </p:nvGrpSpPr>
      <p:grpSpPr>
        <a:xfrm>
          <a:off x="0" y="0"/>
          <a:ext cx="0" cy="0"/>
          <a:chOff x="0" y="0"/>
          <a:chExt cx="0" cy="0"/>
        </a:xfrm>
      </p:grpSpPr>
      <p:sp>
        <p:nvSpPr>
          <p:cNvPr id="23" name="object 2">
            <a:extLst>
              <a:ext uri="{FF2B5EF4-FFF2-40B4-BE49-F238E27FC236}">
                <a16:creationId xmlns:a16="http://schemas.microsoft.com/office/drawing/2014/main" id="{A81EE220-AC53-4153-A0FE-1F2219FBF428}"/>
              </a:ext>
            </a:extLst>
          </p:cNvPr>
          <p:cNvSpPr/>
          <p:nvPr userDrawn="1"/>
        </p:nvSpPr>
        <p:spPr>
          <a:xfrm>
            <a:off x="-10524" y="0"/>
            <a:ext cx="9154524" cy="6858000"/>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8AA299"/>
          </a:solidFill>
          <a:ln>
            <a:noFill/>
          </a:ln>
        </p:spPr>
        <p:txBody>
          <a:bodyPr wrap="square" lIns="0" tIns="0" rIns="0" bIns="0" rtlCol="0"/>
          <a:lstStyle/>
          <a:p>
            <a:pPr marL="0" marR="0" lvl="0" indent="0"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2F363B"/>
              </a:solidFill>
              <a:effectLst/>
              <a:uLnTx/>
              <a:uFillTx/>
            </a:endParaRPr>
          </a:p>
        </p:txBody>
      </p:sp>
      <p:sp>
        <p:nvSpPr>
          <p:cNvPr id="24" name="Rectangle 23">
            <a:extLst>
              <a:ext uri="{FF2B5EF4-FFF2-40B4-BE49-F238E27FC236}">
                <a16:creationId xmlns:a16="http://schemas.microsoft.com/office/drawing/2014/main" id="{468EEBBF-213D-4D68-A9CE-7CE68854BF37}"/>
              </a:ext>
            </a:extLst>
          </p:cNvPr>
          <p:cNvSpPr/>
          <p:nvPr userDrawn="1"/>
        </p:nvSpPr>
        <p:spPr>
          <a:xfrm>
            <a:off x="-10524" y="0"/>
            <a:ext cx="6630399" cy="6858000"/>
          </a:xfrm>
          <a:prstGeom prst="rect">
            <a:avLst/>
          </a:prstGeom>
          <a:solidFill>
            <a:srgbClr val="E2DED9"/>
          </a:solidFill>
          <a:ln w="25400" cap="flat" cmpd="sng" algn="ctr">
            <a:noFill/>
            <a:prstDash val="solid"/>
          </a:ln>
          <a:effectLst/>
        </p:spPr>
        <p:txBody>
          <a:bodyPr rtlCol="0" anchor="ctr"/>
          <a:lstStyle/>
          <a:p>
            <a:pPr marL="0" marR="0" lvl="0" indent="0" algn="ctr"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FFFFFF"/>
              </a:solidFill>
              <a:effectLst/>
              <a:uLnTx/>
              <a:uFillTx/>
              <a:latin typeface="Arial"/>
              <a:ea typeface="+mn-ea"/>
              <a:cs typeface="+mn-cs"/>
            </a:endParaRPr>
          </a:p>
        </p:txBody>
      </p:sp>
      <p:sp>
        <p:nvSpPr>
          <p:cNvPr id="25" name="object 3">
            <a:extLst>
              <a:ext uri="{FF2B5EF4-FFF2-40B4-BE49-F238E27FC236}">
                <a16:creationId xmlns:a16="http://schemas.microsoft.com/office/drawing/2014/main" id="{2F8E5E3C-C8FF-4ABE-B0BE-21762DA69433}"/>
              </a:ext>
            </a:extLst>
          </p:cNvPr>
          <p:cNvSpPr/>
          <p:nvPr userDrawn="1"/>
        </p:nvSpPr>
        <p:spPr>
          <a:xfrm>
            <a:off x="-10523" y="1192714"/>
            <a:ext cx="7907365" cy="5665287"/>
          </a:xfrm>
          <a:custGeom>
            <a:avLst/>
            <a:gdLst/>
            <a:ahLst/>
            <a:cxnLst/>
            <a:rect l="l" t="t" r="r" b="b"/>
            <a:pathLst>
              <a:path w="16670019" h="10303510">
                <a:moveTo>
                  <a:pt x="0" y="10303351"/>
                </a:moveTo>
                <a:lnTo>
                  <a:pt x="16669649" y="10303351"/>
                </a:lnTo>
                <a:lnTo>
                  <a:pt x="16669649" y="0"/>
                </a:lnTo>
                <a:lnTo>
                  <a:pt x="0" y="0"/>
                </a:lnTo>
                <a:lnTo>
                  <a:pt x="0" y="10303351"/>
                </a:lnTo>
                <a:close/>
              </a:path>
            </a:pathLst>
          </a:custGeom>
          <a:solidFill>
            <a:srgbClr val="30373B"/>
          </a:solidFill>
          <a:ln>
            <a:noFill/>
          </a:ln>
        </p:spPr>
        <p:txBody>
          <a:bodyPr wrap="square" lIns="0" tIns="0" rIns="0" bIns="0" rtlCol="0"/>
          <a:lstStyle/>
          <a:p>
            <a:pPr marL="0" marR="0" lvl="0" indent="0"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chemeClr val="bg2"/>
              </a:solidFill>
              <a:effectLst/>
              <a:uLnTx/>
              <a:uFillTx/>
            </a:endParaRPr>
          </a:p>
        </p:txBody>
      </p:sp>
      <p:sp>
        <p:nvSpPr>
          <p:cNvPr id="3" name="Subtitle 2"/>
          <p:cNvSpPr>
            <a:spLocks noGrp="1"/>
          </p:cNvSpPr>
          <p:nvPr>
            <p:ph type="subTitle" idx="1"/>
          </p:nvPr>
        </p:nvSpPr>
        <p:spPr>
          <a:xfrm>
            <a:off x="249230" y="5463128"/>
            <a:ext cx="5393354" cy="863537"/>
          </a:xfrm>
        </p:spPr>
        <p:txBody>
          <a:bodyPr anchor="b" anchorCtr="0"/>
          <a:lstStyle>
            <a:lvl1pPr marL="0" indent="0" algn="l">
              <a:spcBef>
                <a:spcPts val="0"/>
              </a:spcBef>
              <a:buFont typeface="Arial" panose="020B0604020202020204" pitchFamily="34" charset="0"/>
              <a:buChar char="​"/>
              <a:defRPr sz="831">
                <a:solidFill>
                  <a:srgbClr val="F8F5E7"/>
                </a:solidFill>
              </a:defRPr>
            </a:lvl1pPr>
            <a:lvl2pPr marL="0" indent="0" algn="l">
              <a:buFont typeface="Arial" panose="020B0604020202020204" pitchFamily="34" charset="0"/>
              <a:buNone/>
              <a:defRPr sz="825">
                <a:solidFill>
                  <a:schemeClr val="accent2"/>
                </a:solidFill>
              </a:defRPr>
            </a:lvl2pPr>
            <a:lvl3pPr marL="0" indent="0" algn="l">
              <a:buFont typeface="Arial" panose="020B0604020202020204" pitchFamily="34" charset="0"/>
              <a:buChar char="​"/>
              <a:defRPr sz="1500">
                <a:solidFill>
                  <a:schemeClr val="bg1"/>
                </a:solidFill>
              </a:defRPr>
            </a:lvl3pPr>
            <a:lvl4pPr marL="0" indent="0" algn="l">
              <a:buFont typeface="Arial" panose="020B0604020202020204" pitchFamily="34" charset="0"/>
              <a:buChar char="​"/>
              <a:defRPr sz="1500">
                <a:solidFill>
                  <a:schemeClr val="bg1"/>
                </a:solidFill>
              </a:defRPr>
            </a:lvl4pPr>
            <a:lvl5pPr marL="0" indent="0" algn="l">
              <a:buFont typeface="Arial" panose="020B0604020202020204" pitchFamily="34" charset="0"/>
              <a:buChar char="​"/>
              <a:defRPr sz="1500">
                <a:solidFill>
                  <a:schemeClr val="bg1"/>
                </a:solidFill>
              </a:defRPr>
            </a:lvl5pPr>
            <a:lvl6pPr marL="0" indent="0" algn="l">
              <a:buFont typeface="Arial" panose="020B0604020202020204" pitchFamily="34" charset="0"/>
              <a:buChar char="​"/>
              <a:defRPr sz="1500">
                <a:solidFill>
                  <a:schemeClr val="bg1"/>
                </a:solidFill>
              </a:defRPr>
            </a:lvl6pPr>
            <a:lvl7pPr marL="0" indent="0" algn="l">
              <a:buFont typeface="Arial" panose="020B0604020202020204" pitchFamily="34" charset="0"/>
              <a:buChar char="​"/>
              <a:defRPr sz="1500">
                <a:solidFill>
                  <a:schemeClr val="bg1"/>
                </a:solidFill>
              </a:defRPr>
            </a:lvl7pPr>
            <a:lvl8pPr marL="0" indent="0" algn="l">
              <a:buFont typeface="Arial" panose="020B0604020202020204" pitchFamily="34" charset="0"/>
              <a:buChar char="​"/>
              <a:defRPr sz="1500">
                <a:solidFill>
                  <a:schemeClr val="bg1"/>
                </a:solidFill>
              </a:defRPr>
            </a:lvl8pPr>
            <a:lvl9pPr marL="0" indent="0" algn="l">
              <a:buFont typeface="Arial" panose="020B0604020202020204" pitchFamily="34" charset="0"/>
              <a:buChar char="​"/>
              <a:defRPr sz="1500">
                <a:solidFill>
                  <a:schemeClr val="bg1"/>
                </a:solidFill>
              </a:defRPr>
            </a:lvl9pPr>
          </a:lstStyle>
          <a:p>
            <a:r>
              <a:rPr lang="da-DK" err="1"/>
              <a:t>Click</a:t>
            </a:r>
            <a:r>
              <a:rPr lang="da-DK"/>
              <a:t> to </a:t>
            </a:r>
            <a:r>
              <a:rPr lang="da-DK" err="1"/>
              <a:t>edit</a:t>
            </a:r>
            <a:r>
              <a:rPr lang="da-DK"/>
              <a:t> Master </a:t>
            </a:r>
            <a:r>
              <a:rPr lang="da-DK" err="1"/>
              <a:t>subtitle</a:t>
            </a:r>
            <a:r>
              <a:rPr lang="da-DK"/>
              <a:t> style</a:t>
            </a:r>
          </a:p>
        </p:txBody>
      </p:sp>
      <p:sp>
        <p:nvSpPr>
          <p:cNvPr id="2" name="Title 1"/>
          <p:cNvSpPr>
            <a:spLocks noGrp="1"/>
          </p:cNvSpPr>
          <p:nvPr>
            <p:ph type="ctrTitle"/>
          </p:nvPr>
        </p:nvSpPr>
        <p:spPr>
          <a:xfrm>
            <a:off x="249114" y="2138963"/>
            <a:ext cx="5393354" cy="2224886"/>
          </a:xfrm>
        </p:spPr>
        <p:txBody>
          <a:bodyPr anchor="t" anchorCtr="0">
            <a:noAutofit/>
          </a:bodyPr>
          <a:lstStyle>
            <a:lvl1pPr algn="l">
              <a:lnSpc>
                <a:spcPct val="83000"/>
              </a:lnSpc>
              <a:defRPr sz="6000" cap="all" baseline="0">
                <a:solidFill>
                  <a:srgbClr val="F8F5E7"/>
                </a:solidFill>
                <a:latin typeface="Impact" panose="020B0806030902050204" pitchFamily="34" charset="0"/>
              </a:defRPr>
            </a:lvl1pPr>
          </a:lstStyle>
          <a:p>
            <a:r>
              <a:rPr lang="da-DK" err="1"/>
              <a:t>Click</a:t>
            </a:r>
            <a:r>
              <a:rPr lang="da-DK"/>
              <a:t> to </a:t>
            </a:r>
            <a:r>
              <a:rPr lang="da-DK" err="1"/>
              <a:t>edit</a:t>
            </a:r>
            <a:r>
              <a:rPr lang="da-DK"/>
              <a:t> Master </a:t>
            </a:r>
            <a:r>
              <a:rPr lang="da-DK" err="1"/>
              <a:t>title</a:t>
            </a:r>
            <a:r>
              <a:rPr lang="da-DK"/>
              <a:t> style</a:t>
            </a:r>
          </a:p>
        </p:txBody>
      </p:sp>
      <p:sp>
        <p:nvSpPr>
          <p:cNvPr id="8" name="Text Placeholder 7">
            <a:extLst>
              <a:ext uri="{FF2B5EF4-FFF2-40B4-BE49-F238E27FC236}">
                <a16:creationId xmlns:a16="http://schemas.microsoft.com/office/drawing/2014/main" id="{24B46EDD-CF3B-49AB-826E-68B63D5E117C}"/>
              </a:ext>
            </a:extLst>
          </p:cNvPr>
          <p:cNvSpPr>
            <a:spLocks noGrp="1"/>
          </p:cNvSpPr>
          <p:nvPr>
            <p:ph type="body" sz="quarter" idx="13" hasCustomPrompt="1"/>
          </p:nvPr>
        </p:nvSpPr>
        <p:spPr>
          <a:xfrm>
            <a:off x="249230" y="6387016"/>
            <a:ext cx="5393354" cy="210634"/>
          </a:xfrm>
        </p:spPr>
        <p:txBody>
          <a:bodyPr rIns="0" anchor="b" anchorCtr="0"/>
          <a:lstStyle>
            <a:lvl1pPr>
              <a:defRPr sz="831">
                <a:solidFill>
                  <a:srgbClr val="F8F5E7"/>
                </a:solidFill>
              </a:defRPr>
            </a:lvl1pPr>
            <a:lvl5pPr>
              <a:defRPr/>
            </a:lvl5pPr>
          </a:lstStyle>
          <a:p>
            <a:pPr lvl="0"/>
            <a:r>
              <a:rPr lang="da-DK"/>
              <a:t>Date</a:t>
            </a:r>
          </a:p>
        </p:txBody>
      </p:sp>
      <p:sp>
        <p:nvSpPr>
          <p:cNvPr id="16" name="Freeform: Shape 15">
            <a:extLst>
              <a:ext uri="{FF2B5EF4-FFF2-40B4-BE49-F238E27FC236}">
                <a16:creationId xmlns:a16="http://schemas.microsoft.com/office/drawing/2014/main" id="{FB0748D9-B4B7-46FB-99B6-A4449CF9F500}"/>
              </a:ext>
            </a:extLst>
          </p:cNvPr>
          <p:cNvSpPr/>
          <p:nvPr userDrawn="1">
            <p:custDataLst>
              <p:tags r:id="rId1"/>
            </p:custDataLst>
          </p:nvPr>
        </p:nvSpPr>
        <p:spPr bwMode="auto">
          <a:xfrm rot="5400000">
            <a:off x="8131101" y="799617"/>
            <a:ext cx="1258889" cy="265746"/>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r>
              <a:rPr lang="da-DK" sz="1662"/>
              <a:t> </a:t>
            </a:r>
          </a:p>
        </p:txBody>
      </p:sp>
      <p:sp>
        <p:nvSpPr>
          <p:cNvPr id="13" name="Date_GeneralDate" hidden="1">
            <a:extLst>
              <a:ext uri="{FF2B5EF4-FFF2-40B4-BE49-F238E27FC236}">
                <a16:creationId xmlns:a16="http://schemas.microsoft.com/office/drawing/2014/main" id="{649F2878-DF75-476E-9321-0911D8D1FC2B}"/>
              </a:ext>
            </a:extLst>
          </p:cNvPr>
          <p:cNvSpPr>
            <a:spLocks noGrp="1"/>
          </p:cNvSpPr>
          <p:nvPr>
            <p:ph type="dt" sz="half" idx="10"/>
          </p:nvPr>
        </p:nvSpPr>
        <p:spPr>
          <a:xfrm>
            <a:off x="0" y="6912000"/>
            <a:ext cx="0" cy="0"/>
          </a:xfrm>
        </p:spPr>
        <p:txBody>
          <a:bodyPr/>
          <a:lstStyle>
            <a:lvl1pPr algn="l">
              <a:defRPr sz="100" cap="all" spc="150" baseline="0">
                <a:noFill/>
              </a:defRPr>
            </a:lvl1pPr>
          </a:lstStyle>
          <a:p>
            <a:fld id="{8A6E0422-6ECB-43C9-8CFE-4C39AC685875}" type="datetime1">
              <a:rPr lang="da-DK" smtClean="0"/>
              <a:pPr/>
              <a:t>01-10-2020</a:t>
            </a:fld>
            <a:endParaRPr lang="da-DK"/>
          </a:p>
        </p:txBody>
      </p:sp>
      <p:sp>
        <p:nvSpPr>
          <p:cNvPr id="14" name="FLD_PresentationTitle" hidden="1">
            <a:extLst>
              <a:ext uri="{FF2B5EF4-FFF2-40B4-BE49-F238E27FC236}">
                <a16:creationId xmlns:a16="http://schemas.microsoft.com/office/drawing/2014/main" id="{336355EA-6FA5-4B9D-B232-E77EBE1CA664}"/>
              </a:ext>
            </a:extLst>
          </p:cNvPr>
          <p:cNvSpPr>
            <a:spLocks noGrp="1"/>
          </p:cNvSpPr>
          <p:nvPr>
            <p:ph type="ftr" sz="quarter" idx="11"/>
          </p:nvPr>
        </p:nvSpPr>
        <p:spPr>
          <a:xfrm>
            <a:off x="0" y="6912000"/>
            <a:ext cx="0" cy="0"/>
          </a:xfrm>
        </p:spPr>
        <p:txBody>
          <a:bodyPr anchor="t" anchorCtr="0"/>
          <a:lstStyle>
            <a:lvl1pPr algn="l">
              <a:defRPr sz="100">
                <a:noFill/>
              </a:defRPr>
            </a:lvl1pPr>
          </a:lstStyle>
          <a:p>
            <a:r>
              <a:rPr lang="da-DK" err="1"/>
              <a:t>Footer</a:t>
            </a:r>
            <a:endParaRPr lang="da-DK"/>
          </a:p>
        </p:txBody>
      </p:sp>
      <p:sp>
        <p:nvSpPr>
          <p:cNvPr id="15" name="Slide Number Placeholder 5" hidden="1">
            <a:extLst>
              <a:ext uri="{FF2B5EF4-FFF2-40B4-BE49-F238E27FC236}">
                <a16:creationId xmlns:a16="http://schemas.microsoft.com/office/drawing/2014/main" id="{A280B4D8-6669-4983-ACDA-5286F766EC9F}"/>
              </a:ext>
            </a:extLst>
          </p:cNvPr>
          <p:cNvSpPr>
            <a:spLocks noGrp="1"/>
          </p:cNvSpPr>
          <p:nvPr>
            <p:ph type="sldNum" sz="quarter" idx="12"/>
          </p:nvPr>
        </p:nvSpPr>
        <p:spPr>
          <a:xfrm>
            <a:off x="0" y="6912000"/>
            <a:ext cx="0" cy="0"/>
          </a:xfrm>
        </p:spPr>
        <p:txBody>
          <a:bodyPr anchor="t" anchorCtr="0"/>
          <a:lstStyle>
            <a:lvl1pPr>
              <a:defRPr sz="100">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1092126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49117" y="1627189"/>
            <a:ext cx="8644303" cy="4689475"/>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en-GB" noProof="0"/>
              <a:t>Rediger teksttypografien i masteren</a:t>
            </a:r>
          </a:p>
          <a:p>
            <a:pPr lvl="1"/>
            <a:r>
              <a:rPr lang="en-GB" noProof="0"/>
              <a:t>Andet niveau</a:t>
            </a:r>
          </a:p>
          <a:p>
            <a:pPr lvl="2"/>
            <a:r>
              <a:rPr lang="en-GB" noProof="0"/>
              <a:t>Tredje niveau</a:t>
            </a:r>
          </a:p>
          <a:p>
            <a:pPr lvl="3"/>
            <a:r>
              <a:rPr lang="en-GB" noProof="0"/>
              <a:t>Fjerde niveau</a:t>
            </a:r>
          </a:p>
          <a:p>
            <a:pPr lvl="4"/>
            <a:r>
              <a:rPr lang="en-GB" noProof="0"/>
              <a:t>Femte niveau</a:t>
            </a:r>
          </a:p>
        </p:txBody>
      </p:sp>
      <p:sp>
        <p:nvSpPr>
          <p:cNvPr id="7" name="Text Placeholder 12">
            <a:extLst>
              <a:ext uri="{FF2B5EF4-FFF2-40B4-BE49-F238E27FC236}">
                <a16:creationId xmlns:a16="http://schemas.microsoft.com/office/drawing/2014/main" id="{DA03DEA2-B734-4E1A-989A-B985B71743C5}"/>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en-GB"/>
              <a:t>Notes </a:t>
            </a:r>
          </a:p>
          <a:p>
            <a:pPr lvl="1"/>
            <a:r>
              <a:rPr lang="en-GB"/>
              <a:t>Notes </a:t>
            </a:r>
          </a:p>
          <a:p>
            <a:pPr lvl="2"/>
            <a:r>
              <a:rPr lang="en-GB"/>
              <a:t>Notes </a:t>
            </a:r>
          </a:p>
          <a:p>
            <a:pPr lvl="3"/>
            <a:r>
              <a:rPr lang="en-GB"/>
              <a:t>Notes </a:t>
            </a:r>
          </a:p>
        </p:txBody>
      </p:sp>
      <p:sp>
        <p:nvSpPr>
          <p:cNvPr id="9" name="FLD_PresentationTitle">
            <a:extLst>
              <a:ext uri="{FF2B5EF4-FFF2-40B4-BE49-F238E27FC236}">
                <a16:creationId xmlns:a16="http://schemas.microsoft.com/office/drawing/2014/main" id="{F96BD67C-36F0-4556-97A7-4850ED294BE7}"/>
              </a:ext>
            </a:extLst>
          </p:cNvPr>
          <p:cNvSpPr>
            <a:spLocks noGrp="1"/>
          </p:cNvSpPr>
          <p:nvPr>
            <p:ph type="ftr" sz="quarter" idx="3"/>
          </p:nvPr>
        </p:nvSpPr>
        <p:spPr>
          <a:xfrm>
            <a:off x="5370763" y="6502394"/>
            <a:ext cx="1103685" cy="106116"/>
          </a:xfrm>
          <a:prstGeom prst="rect">
            <a:avLst/>
          </a:prstGeom>
        </p:spPr>
        <p:txBody>
          <a:bodyPr vert="horz" lIns="0" tIns="0" rIns="0" bIns="0" rtlCol="0" anchor="b" anchorCtr="0"/>
          <a:lstStyle>
            <a:lvl1pPr marL="0" indent="0" algn="r">
              <a:buFont typeface="Arial" panose="020B0604020202020204" pitchFamily="34" charset="0"/>
              <a:buNone/>
              <a:defRPr sz="600" cap="none" spc="0" baseline="0">
                <a:solidFill>
                  <a:srgbClr val="1F2023"/>
                </a:solidFill>
              </a:defRPr>
            </a:lvl1pPr>
          </a:lstStyle>
          <a:p>
            <a:r>
              <a:rPr lang="en-GB"/>
              <a:t>Footer</a:t>
            </a:r>
          </a:p>
        </p:txBody>
      </p:sp>
      <p:sp>
        <p:nvSpPr>
          <p:cNvPr id="12" name="Title 1">
            <a:extLst>
              <a:ext uri="{FF2B5EF4-FFF2-40B4-BE49-F238E27FC236}">
                <a16:creationId xmlns:a16="http://schemas.microsoft.com/office/drawing/2014/main" id="{6BB2F81A-A979-4992-A111-276940B6A507}"/>
              </a:ext>
            </a:extLst>
          </p:cNvPr>
          <p:cNvSpPr>
            <a:spLocks noGrp="1"/>
          </p:cNvSpPr>
          <p:nvPr>
            <p:ph type="title"/>
          </p:nvPr>
        </p:nvSpPr>
        <p:spPr>
          <a:xfrm>
            <a:off x="249116" y="269876"/>
            <a:ext cx="7606283" cy="692336"/>
          </a:xfrm>
        </p:spPr>
        <p:txBody>
          <a:bodyPr/>
          <a:lstStyle>
            <a:lvl1pPr>
              <a:defRPr>
                <a:solidFill>
                  <a:srgbClr val="1F2023"/>
                </a:solidFill>
              </a:defRPr>
            </a:lvl1pPr>
          </a:lstStyle>
          <a:p>
            <a:r>
              <a:rPr lang="en-GB"/>
              <a:t>Klik for at redigere titeltypografien i masteren</a:t>
            </a:r>
          </a:p>
        </p:txBody>
      </p:sp>
      <p:sp>
        <p:nvSpPr>
          <p:cNvPr id="4" name="Text Placeholder 3">
            <a:extLst>
              <a:ext uri="{FF2B5EF4-FFF2-40B4-BE49-F238E27FC236}">
                <a16:creationId xmlns:a16="http://schemas.microsoft.com/office/drawing/2014/main" id="{2DEE1D38-B652-484A-AA0A-9748447612D5}"/>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en-GB"/>
              <a:t>Tracker</a:t>
            </a:r>
          </a:p>
        </p:txBody>
      </p:sp>
      <p:sp>
        <p:nvSpPr>
          <p:cNvPr id="10" name="Date_GeneralDate" hidden="1">
            <a:extLst>
              <a:ext uri="{FF2B5EF4-FFF2-40B4-BE49-F238E27FC236}">
                <a16:creationId xmlns:a16="http://schemas.microsoft.com/office/drawing/2014/main" id="{C71981A8-4E99-413F-87D3-97DDE53F37BF}"/>
              </a:ext>
            </a:extLst>
          </p:cNvPr>
          <p:cNvSpPr>
            <a:spLocks noGrp="1"/>
          </p:cNvSpPr>
          <p:nvPr>
            <p:ph type="dt" sz="half" idx="10"/>
          </p:nvPr>
        </p:nvSpPr>
        <p:spPr>
          <a:xfrm>
            <a:off x="249115" y="6978509"/>
            <a:ext cx="0" cy="0"/>
          </a:xfrm>
        </p:spPr>
        <p:txBody>
          <a:bodyPr/>
          <a:lstStyle>
            <a:lvl1pPr algn="l">
              <a:defRPr sz="100" cap="all" spc="150" baseline="0">
                <a:solidFill>
                  <a:schemeClr val="bg2"/>
                </a:solidFill>
              </a:defRPr>
            </a:lvl1pPr>
          </a:lstStyle>
          <a:p>
            <a:fld id="{8A6E0422-6ECB-43C9-8CFE-4C39AC685875}" type="datetime1">
              <a:rPr lang="en-GB" smtClean="0"/>
              <a:pPr/>
              <a:t>01/10/2020</a:t>
            </a:fld>
            <a:endParaRPr lang="en-GB"/>
          </a:p>
        </p:txBody>
      </p:sp>
      <p:sp>
        <p:nvSpPr>
          <p:cNvPr id="13" name="Slide Number Placeholder 4">
            <a:extLst>
              <a:ext uri="{FF2B5EF4-FFF2-40B4-BE49-F238E27FC236}">
                <a16:creationId xmlns:a16="http://schemas.microsoft.com/office/drawing/2014/main" id="{2E7F5C2F-FF98-4B50-9EBB-04E68286A347}"/>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z="600" smtClean="0">
                <a:solidFill>
                  <a:srgbClr val="1F2023"/>
                </a:solidFill>
              </a:rPr>
              <a:pPr/>
              <a:t>‹nr.›</a:t>
            </a:fld>
            <a:endParaRPr lang="en-GB" sz="600">
              <a:solidFill>
                <a:srgbClr val="1F2023"/>
              </a:solidFill>
            </a:endParaRPr>
          </a:p>
        </p:txBody>
      </p:sp>
    </p:spTree>
    <p:extLst>
      <p:ext uri="{BB962C8B-B14F-4D97-AF65-F5344CB8AC3E}">
        <p14:creationId xmlns:p14="http://schemas.microsoft.com/office/powerpoint/2010/main" val="2423156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Ku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noProof="0"/>
              <a:t>Skriv overskrift her</a:t>
            </a:r>
            <a:br>
              <a:rPr lang="da-DK" noProof="0"/>
            </a:br>
            <a:r>
              <a:rPr lang="da-DK" noProof="0"/>
              <a:t>Maks. 2 linjer</a:t>
            </a:r>
          </a:p>
        </p:txBody>
      </p:sp>
      <p:sp>
        <p:nvSpPr>
          <p:cNvPr id="4" name="Footer Placeholder 3"/>
          <p:cNvSpPr>
            <a:spLocks noGrp="1"/>
          </p:cNvSpPr>
          <p:nvPr>
            <p:ph type="ftr" sz="quarter" idx="11"/>
          </p:nvPr>
        </p:nvSpPr>
        <p:spPr/>
        <p:txBody>
          <a:bodyPr/>
          <a:lstStyle/>
          <a:p>
            <a:endParaRPr lang="da-DK"/>
          </a:p>
        </p:txBody>
      </p:sp>
    </p:spTree>
    <p:extLst>
      <p:ext uri="{BB962C8B-B14F-4D97-AF65-F5344CB8AC3E}">
        <p14:creationId xmlns:p14="http://schemas.microsoft.com/office/powerpoint/2010/main" val="8946743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EAAE5C6-2755-4F4E-A878-43F56B65E9BB}"/>
              </a:ext>
            </a:extLst>
          </p:cNvPr>
          <p:cNvSpPr>
            <a:spLocks noGrp="1"/>
          </p:cNvSpPr>
          <p:nvPr>
            <p:ph type="title"/>
          </p:nvPr>
        </p:nvSpPr>
        <p:spPr>
          <a:xfrm>
            <a:off x="249116" y="269876"/>
            <a:ext cx="7606283"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8" name="Text Placeholder 12">
            <a:extLst>
              <a:ext uri="{FF2B5EF4-FFF2-40B4-BE49-F238E27FC236}">
                <a16:creationId xmlns:a16="http://schemas.microsoft.com/office/drawing/2014/main" id="{134F504F-A2DE-4572-9711-6650D6AA4E27}"/>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1" name="Text Placeholder 3">
            <a:extLst>
              <a:ext uri="{FF2B5EF4-FFF2-40B4-BE49-F238E27FC236}">
                <a16:creationId xmlns:a16="http://schemas.microsoft.com/office/drawing/2014/main" id="{79240DFA-E6CC-48C6-9045-36E6CF1B045E}"/>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4" name="Slide Number Placeholder 4">
            <a:extLst>
              <a:ext uri="{FF2B5EF4-FFF2-40B4-BE49-F238E27FC236}">
                <a16:creationId xmlns:a16="http://schemas.microsoft.com/office/drawing/2014/main" id="{91C6701B-F0B4-47F4-8341-77991D1F2E45}"/>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10" name="Date_GeneralDate" hidden="1">
            <a:extLst>
              <a:ext uri="{FF2B5EF4-FFF2-40B4-BE49-F238E27FC236}">
                <a16:creationId xmlns:a16="http://schemas.microsoft.com/office/drawing/2014/main" id="{3612FFCC-B791-4D3E-A268-282FC899CB72}"/>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Tree>
    <p:extLst>
      <p:ext uri="{BB962C8B-B14F-4D97-AF65-F5344CB8AC3E}">
        <p14:creationId xmlns:p14="http://schemas.microsoft.com/office/powerpoint/2010/main" val="3358389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Background 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410D80-6244-43D7-9BCA-4FF4C69D0B08}"/>
              </a:ext>
            </a:extLst>
          </p:cNvPr>
          <p:cNvSpPr/>
          <p:nvPr userDrawn="1"/>
        </p:nvSpPr>
        <p:spPr>
          <a:xfrm>
            <a:off x="0" y="1627188"/>
            <a:ext cx="7854462" cy="5230812"/>
          </a:xfrm>
          <a:prstGeom prst="rect">
            <a:avLst/>
          </a:prstGeom>
          <a:solidFill>
            <a:srgbClr val="EEEBE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t" anchorCtr="0" forceAA="0" compatLnSpc="1">
            <a:prstTxWarp prst="textNoShape">
              <a:avLst/>
            </a:prstTxWarp>
            <a:noAutofit/>
          </a:bodyPr>
          <a:lstStyle/>
          <a:p>
            <a:pPr algn="l"/>
            <a:endParaRPr lang="da-DK" sz="923" noProof="0">
              <a:solidFill>
                <a:srgbClr val="1F2023"/>
              </a:solidFill>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49116" y="1878016"/>
            <a:ext cx="7347438" cy="4452807"/>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0" name="Title 1">
            <a:extLst>
              <a:ext uri="{FF2B5EF4-FFF2-40B4-BE49-F238E27FC236}">
                <a16:creationId xmlns:a16="http://schemas.microsoft.com/office/drawing/2014/main" id="{A2471E64-BD71-4B4B-BFD1-295764AE215A}"/>
              </a:ext>
            </a:extLst>
          </p:cNvPr>
          <p:cNvSpPr>
            <a:spLocks noGrp="1"/>
          </p:cNvSpPr>
          <p:nvPr>
            <p:ph type="title"/>
          </p:nvPr>
        </p:nvSpPr>
        <p:spPr>
          <a:xfrm>
            <a:off x="249116" y="269876"/>
            <a:ext cx="7606283"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2" name="Text Placeholder 12">
            <a:extLst>
              <a:ext uri="{FF2B5EF4-FFF2-40B4-BE49-F238E27FC236}">
                <a16:creationId xmlns:a16="http://schemas.microsoft.com/office/drawing/2014/main" id="{EC4B4692-BEB0-4AB7-A6CB-4D48CDD6012E}"/>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 </a:t>
            </a:r>
          </a:p>
          <a:p>
            <a:pPr lvl="1"/>
            <a:r>
              <a:rPr lang="da-DK"/>
              <a:t>Notes </a:t>
            </a:r>
          </a:p>
          <a:p>
            <a:pPr lvl="2"/>
            <a:r>
              <a:rPr lang="da-DK"/>
              <a:t>Notes </a:t>
            </a:r>
          </a:p>
          <a:p>
            <a:pPr lvl="3"/>
            <a:r>
              <a:rPr lang="da-DK"/>
              <a:t>Notes </a:t>
            </a:r>
          </a:p>
        </p:txBody>
      </p:sp>
      <p:sp>
        <p:nvSpPr>
          <p:cNvPr id="18" name="FLD_PresentationTitle">
            <a:extLst>
              <a:ext uri="{FF2B5EF4-FFF2-40B4-BE49-F238E27FC236}">
                <a16:creationId xmlns:a16="http://schemas.microsoft.com/office/drawing/2014/main" id="{63CA1A6B-AC80-4120-B2AD-53C0CAC0F25E}"/>
              </a:ext>
            </a:extLst>
          </p:cNvPr>
          <p:cNvSpPr>
            <a:spLocks noGrp="1"/>
          </p:cNvSpPr>
          <p:nvPr>
            <p:ph type="ftr" sz="quarter" idx="3"/>
          </p:nvPr>
        </p:nvSpPr>
        <p:spPr>
          <a:xfrm>
            <a:off x="5370763" y="6502394"/>
            <a:ext cx="1103685" cy="106116"/>
          </a:xfrm>
          <a:prstGeom prst="rect">
            <a:avLst/>
          </a:prstGeom>
        </p:spPr>
        <p:txBody>
          <a:bodyPr vert="horz" lIns="0" tIns="0" rIns="0" bIns="0" rtlCol="0" anchor="b" anchorCtr="0"/>
          <a:lstStyle>
            <a:lvl1pPr marL="0" indent="0" algn="r">
              <a:buFont typeface="Arial" panose="020B0604020202020204" pitchFamily="34" charset="0"/>
              <a:buNone/>
              <a:defRPr sz="600" cap="none" spc="0" baseline="0">
                <a:solidFill>
                  <a:srgbClr val="1F2023"/>
                </a:solidFill>
              </a:defRPr>
            </a:lvl1pPr>
          </a:lstStyle>
          <a:p>
            <a:r>
              <a:rPr lang="da-DK" err="1"/>
              <a:t>Footer</a:t>
            </a:r>
            <a:endParaRPr lang="da-DK"/>
          </a:p>
        </p:txBody>
      </p:sp>
      <p:sp>
        <p:nvSpPr>
          <p:cNvPr id="13" name="Text Placeholder 3">
            <a:extLst>
              <a:ext uri="{FF2B5EF4-FFF2-40B4-BE49-F238E27FC236}">
                <a16:creationId xmlns:a16="http://schemas.microsoft.com/office/drawing/2014/main" id="{57D850F3-3BBF-4220-B296-16FF2A55D696}"/>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7" name="Slide Number Placeholder 4">
            <a:extLst>
              <a:ext uri="{FF2B5EF4-FFF2-40B4-BE49-F238E27FC236}">
                <a16:creationId xmlns:a16="http://schemas.microsoft.com/office/drawing/2014/main" id="{3BBDDE93-1FAD-4FF9-8A64-A0D71BB2BEEC}"/>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14" name="Date_GeneralDate" hidden="1">
            <a:extLst>
              <a:ext uri="{FF2B5EF4-FFF2-40B4-BE49-F238E27FC236}">
                <a16:creationId xmlns:a16="http://schemas.microsoft.com/office/drawing/2014/main" id="{AB6B870D-1CE6-4711-AA2F-67484020C690}"/>
              </a:ext>
            </a:extLst>
          </p:cNvPr>
          <p:cNvSpPr>
            <a:spLocks noGrp="1"/>
          </p:cNvSpPr>
          <p:nvPr>
            <p:ph type="dt" sz="half" idx="10"/>
          </p:nvPr>
        </p:nvSpPr>
        <p:spPr>
          <a:xfrm>
            <a:off x="0" y="6912000"/>
            <a:ext cx="0" cy="0"/>
          </a:xfrm>
        </p:spPr>
        <p:txBody>
          <a:bodyPr/>
          <a:lstStyle>
            <a:lvl1pPr algn="l">
              <a:defRPr sz="100" cap="all" spc="150" baseline="0">
                <a:noFill/>
              </a:defRPr>
            </a:lvl1pPr>
          </a:lstStyle>
          <a:p>
            <a:fld id="{8A6E0422-6ECB-43C9-8CFE-4C39AC685875}" type="datetime1">
              <a:rPr lang="da-DK" smtClean="0"/>
              <a:pPr/>
              <a:t>01-10-2020</a:t>
            </a:fld>
            <a:endParaRPr lang="da-DK"/>
          </a:p>
        </p:txBody>
      </p:sp>
    </p:spTree>
    <p:extLst>
      <p:ext uri="{BB962C8B-B14F-4D97-AF65-F5344CB8AC3E}">
        <p14:creationId xmlns:p14="http://schemas.microsoft.com/office/powerpoint/2010/main" val="3358072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Dark">
    <p:spTree>
      <p:nvGrpSpPr>
        <p:cNvPr id="1" name=""/>
        <p:cNvGrpSpPr/>
        <p:nvPr/>
      </p:nvGrpSpPr>
      <p:grpSpPr>
        <a:xfrm>
          <a:off x="0" y="0"/>
          <a:ext cx="0" cy="0"/>
          <a:chOff x="0" y="0"/>
          <a:chExt cx="0" cy="0"/>
        </a:xfrm>
      </p:grpSpPr>
      <p:sp>
        <p:nvSpPr>
          <p:cNvPr id="23" name="object 2">
            <a:extLst>
              <a:ext uri="{FF2B5EF4-FFF2-40B4-BE49-F238E27FC236}">
                <a16:creationId xmlns:a16="http://schemas.microsoft.com/office/drawing/2014/main" id="{A81EE220-AC53-4153-A0FE-1F2219FBF428}"/>
              </a:ext>
            </a:extLst>
          </p:cNvPr>
          <p:cNvSpPr/>
          <p:nvPr userDrawn="1"/>
        </p:nvSpPr>
        <p:spPr>
          <a:xfrm>
            <a:off x="-10524" y="0"/>
            <a:ext cx="9154524" cy="6858000"/>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8AA299"/>
          </a:solidFill>
          <a:ln>
            <a:noFill/>
          </a:ln>
        </p:spPr>
        <p:txBody>
          <a:bodyPr wrap="square" lIns="0" tIns="0" rIns="0" bIns="0" rtlCol="0"/>
          <a:lstStyle/>
          <a:p>
            <a:pPr marL="0" marR="0" lvl="0" indent="0"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2F363B"/>
              </a:solidFill>
              <a:effectLst/>
              <a:uLnTx/>
              <a:uFillTx/>
            </a:endParaRPr>
          </a:p>
        </p:txBody>
      </p:sp>
      <p:sp>
        <p:nvSpPr>
          <p:cNvPr id="24" name="Rectangle 23">
            <a:extLst>
              <a:ext uri="{FF2B5EF4-FFF2-40B4-BE49-F238E27FC236}">
                <a16:creationId xmlns:a16="http://schemas.microsoft.com/office/drawing/2014/main" id="{468EEBBF-213D-4D68-A9CE-7CE68854BF37}"/>
              </a:ext>
            </a:extLst>
          </p:cNvPr>
          <p:cNvSpPr/>
          <p:nvPr userDrawn="1"/>
        </p:nvSpPr>
        <p:spPr>
          <a:xfrm>
            <a:off x="-10524" y="0"/>
            <a:ext cx="6630399" cy="6858000"/>
          </a:xfrm>
          <a:prstGeom prst="rect">
            <a:avLst/>
          </a:prstGeom>
          <a:solidFill>
            <a:srgbClr val="E2DED9"/>
          </a:solidFill>
          <a:ln w="25400" cap="flat" cmpd="sng" algn="ctr">
            <a:noFill/>
            <a:prstDash val="solid"/>
          </a:ln>
          <a:effectLst/>
        </p:spPr>
        <p:txBody>
          <a:bodyPr rtlCol="0" anchor="ctr"/>
          <a:lstStyle/>
          <a:p>
            <a:pPr marL="0" marR="0" lvl="0" indent="0" algn="ctr"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FFFFFF"/>
              </a:solidFill>
              <a:effectLst/>
              <a:uLnTx/>
              <a:uFillTx/>
              <a:latin typeface="Arial"/>
              <a:ea typeface="+mn-ea"/>
              <a:cs typeface="+mn-cs"/>
            </a:endParaRPr>
          </a:p>
        </p:txBody>
      </p:sp>
      <p:sp>
        <p:nvSpPr>
          <p:cNvPr id="25" name="object 3">
            <a:extLst>
              <a:ext uri="{FF2B5EF4-FFF2-40B4-BE49-F238E27FC236}">
                <a16:creationId xmlns:a16="http://schemas.microsoft.com/office/drawing/2014/main" id="{2F8E5E3C-C8FF-4ABE-B0BE-21762DA69433}"/>
              </a:ext>
            </a:extLst>
          </p:cNvPr>
          <p:cNvSpPr/>
          <p:nvPr userDrawn="1"/>
        </p:nvSpPr>
        <p:spPr>
          <a:xfrm>
            <a:off x="-10523" y="1192714"/>
            <a:ext cx="7907365" cy="5665287"/>
          </a:xfrm>
          <a:custGeom>
            <a:avLst/>
            <a:gdLst/>
            <a:ahLst/>
            <a:cxnLst/>
            <a:rect l="l" t="t" r="r" b="b"/>
            <a:pathLst>
              <a:path w="16670019" h="10303510">
                <a:moveTo>
                  <a:pt x="0" y="10303351"/>
                </a:moveTo>
                <a:lnTo>
                  <a:pt x="16669649" y="10303351"/>
                </a:lnTo>
                <a:lnTo>
                  <a:pt x="16669649" y="0"/>
                </a:lnTo>
                <a:lnTo>
                  <a:pt x="0" y="0"/>
                </a:lnTo>
                <a:lnTo>
                  <a:pt x="0" y="10303351"/>
                </a:lnTo>
                <a:close/>
              </a:path>
            </a:pathLst>
          </a:custGeom>
          <a:solidFill>
            <a:srgbClr val="30373B"/>
          </a:solidFill>
          <a:ln>
            <a:noFill/>
          </a:ln>
        </p:spPr>
        <p:txBody>
          <a:bodyPr wrap="square" lIns="0" tIns="0" rIns="0" bIns="0" rtlCol="0"/>
          <a:lstStyle/>
          <a:p>
            <a:pPr marL="0" marR="0" lvl="0" indent="0"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chemeClr val="bg2"/>
              </a:solidFill>
              <a:effectLst/>
              <a:uLnTx/>
              <a:uFillTx/>
            </a:endParaRPr>
          </a:p>
        </p:txBody>
      </p:sp>
      <p:sp>
        <p:nvSpPr>
          <p:cNvPr id="3" name="Subtitle 2"/>
          <p:cNvSpPr>
            <a:spLocks noGrp="1"/>
          </p:cNvSpPr>
          <p:nvPr>
            <p:ph type="subTitle" idx="1"/>
          </p:nvPr>
        </p:nvSpPr>
        <p:spPr>
          <a:xfrm>
            <a:off x="249230" y="5463128"/>
            <a:ext cx="5393354" cy="863537"/>
          </a:xfrm>
        </p:spPr>
        <p:txBody>
          <a:bodyPr anchor="b" anchorCtr="0"/>
          <a:lstStyle>
            <a:lvl1pPr marL="0" indent="0" algn="l">
              <a:spcBef>
                <a:spcPts val="0"/>
              </a:spcBef>
              <a:buFont typeface="Arial" panose="020B0604020202020204" pitchFamily="34" charset="0"/>
              <a:buChar char="​"/>
              <a:defRPr sz="831">
                <a:solidFill>
                  <a:srgbClr val="F8F5E7"/>
                </a:solidFill>
              </a:defRPr>
            </a:lvl1pPr>
            <a:lvl2pPr marL="0" indent="0" algn="l">
              <a:buFont typeface="Arial" panose="020B0604020202020204" pitchFamily="34" charset="0"/>
              <a:buNone/>
              <a:defRPr sz="825">
                <a:solidFill>
                  <a:schemeClr val="accent2"/>
                </a:solidFill>
              </a:defRPr>
            </a:lvl2pPr>
            <a:lvl3pPr marL="0" indent="0" algn="l">
              <a:buFont typeface="Arial" panose="020B0604020202020204" pitchFamily="34" charset="0"/>
              <a:buChar char="​"/>
              <a:defRPr sz="1500">
                <a:solidFill>
                  <a:schemeClr val="bg1"/>
                </a:solidFill>
              </a:defRPr>
            </a:lvl3pPr>
            <a:lvl4pPr marL="0" indent="0" algn="l">
              <a:buFont typeface="Arial" panose="020B0604020202020204" pitchFamily="34" charset="0"/>
              <a:buChar char="​"/>
              <a:defRPr sz="1500">
                <a:solidFill>
                  <a:schemeClr val="bg1"/>
                </a:solidFill>
              </a:defRPr>
            </a:lvl4pPr>
            <a:lvl5pPr marL="0" indent="0" algn="l">
              <a:buFont typeface="Arial" panose="020B0604020202020204" pitchFamily="34" charset="0"/>
              <a:buChar char="​"/>
              <a:defRPr sz="1500">
                <a:solidFill>
                  <a:schemeClr val="bg1"/>
                </a:solidFill>
              </a:defRPr>
            </a:lvl5pPr>
            <a:lvl6pPr marL="0" indent="0" algn="l">
              <a:buFont typeface="Arial" panose="020B0604020202020204" pitchFamily="34" charset="0"/>
              <a:buChar char="​"/>
              <a:defRPr sz="1500">
                <a:solidFill>
                  <a:schemeClr val="bg1"/>
                </a:solidFill>
              </a:defRPr>
            </a:lvl6pPr>
            <a:lvl7pPr marL="0" indent="0" algn="l">
              <a:buFont typeface="Arial" panose="020B0604020202020204" pitchFamily="34" charset="0"/>
              <a:buChar char="​"/>
              <a:defRPr sz="1500">
                <a:solidFill>
                  <a:schemeClr val="bg1"/>
                </a:solidFill>
              </a:defRPr>
            </a:lvl7pPr>
            <a:lvl8pPr marL="0" indent="0" algn="l">
              <a:buFont typeface="Arial" panose="020B0604020202020204" pitchFamily="34" charset="0"/>
              <a:buChar char="​"/>
              <a:defRPr sz="1500">
                <a:solidFill>
                  <a:schemeClr val="bg1"/>
                </a:solidFill>
              </a:defRPr>
            </a:lvl8pPr>
            <a:lvl9pPr marL="0" indent="0" algn="l">
              <a:buFont typeface="Arial" panose="020B0604020202020204" pitchFamily="34" charset="0"/>
              <a:buChar char="​"/>
              <a:defRPr sz="1500">
                <a:solidFill>
                  <a:schemeClr val="bg1"/>
                </a:solidFill>
              </a:defRPr>
            </a:lvl9pPr>
          </a:lstStyle>
          <a:p>
            <a:r>
              <a:rPr lang="da-DK" err="1"/>
              <a:t>Click</a:t>
            </a:r>
            <a:r>
              <a:rPr lang="da-DK"/>
              <a:t> to </a:t>
            </a:r>
            <a:r>
              <a:rPr lang="da-DK" err="1"/>
              <a:t>edit</a:t>
            </a:r>
            <a:r>
              <a:rPr lang="da-DK"/>
              <a:t> Master </a:t>
            </a:r>
            <a:r>
              <a:rPr lang="da-DK" err="1"/>
              <a:t>subtitle</a:t>
            </a:r>
            <a:r>
              <a:rPr lang="da-DK"/>
              <a:t> style</a:t>
            </a:r>
          </a:p>
        </p:txBody>
      </p:sp>
      <p:sp>
        <p:nvSpPr>
          <p:cNvPr id="2" name="Title 1"/>
          <p:cNvSpPr>
            <a:spLocks noGrp="1"/>
          </p:cNvSpPr>
          <p:nvPr>
            <p:ph type="ctrTitle"/>
          </p:nvPr>
        </p:nvSpPr>
        <p:spPr>
          <a:xfrm>
            <a:off x="249114" y="2138963"/>
            <a:ext cx="5393354" cy="2224886"/>
          </a:xfrm>
        </p:spPr>
        <p:txBody>
          <a:bodyPr anchor="t" anchorCtr="0">
            <a:noAutofit/>
          </a:bodyPr>
          <a:lstStyle>
            <a:lvl1pPr algn="l">
              <a:lnSpc>
                <a:spcPct val="83000"/>
              </a:lnSpc>
              <a:defRPr sz="6000" cap="all" baseline="0">
                <a:solidFill>
                  <a:srgbClr val="F8F5E7"/>
                </a:solidFill>
                <a:latin typeface="Impact" panose="020B0806030902050204" pitchFamily="34" charset="0"/>
              </a:defRPr>
            </a:lvl1pPr>
          </a:lstStyle>
          <a:p>
            <a:r>
              <a:rPr lang="da-DK" err="1"/>
              <a:t>Click</a:t>
            </a:r>
            <a:r>
              <a:rPr lang="da-DK"/>
              <a:t> to </a:t>
            </a:r>
            <a:r>
              <a:rPr lang="da-DK" err="1"/>
              <a:t>edit</a:t>
            </a:r>
            <a:r>
              <a:rPr lang="da-DK"/>
              <a:t> Master </a:t>
            </a:r>
            <a:r>
              <a:rPr lang="da-DK" err="1"/>
              <a:t>title</a:t>
            </a:r>
            <a:r>
              <a:rPr lang="da-DK"/>
              <a:t> style</a:t>
            </a:r>
          </a:p>
        </p:txBody>
      </p:sp>
      <p:sp>
        <p:nvSpPr>
          <p:cNvPr id="8" name="Text Placeholder 7">
            <a:extLst>
              <a:ext uri="{FF2B5EF4-FFF2-40B4-BE49-F238E27FC236}">
                <a16:creationId xmlns:a16="http://schemas.microsoft.com/office/drawing/2014/main" id="{24B46EDD-CF3B-49AB-826E-68B63D5E117C}"/>
              </a:ext>
            </a:extLst>
          </p:cNvPr>
          <p:cNvSpPr>
            <a:spLocks noGrp="1"/>
          </p:cNvSpPr>
          <p:nvPr>
            <p:ph type="body" sz="quarter" idx="13" hasCustomPrompt="1"/>
          </p:nvPr>
        </p:nvSpPr>
        <p:spPr>
          <a:xfrm>
            <a:off x="249230" y="6387016"/>
            <a:ext cx="5393354" cy="210634"/>
          </a:xfrm>
        </p:spPr>
        <p:txBody>
          <a:bodyPr rIns="0" anchor="b" anchorCtr="0"/>
          <a:lstStyle>
            <a:lvl1pPr>
              <a:defRPr sz="831">
                <a:solidFill>
                  <a:srgbClr val="F8F5E7"/>
                </a:solidFill>
              </a:defRPr>
            </a:lvl1pPr>
            <a:lvl5pPr>
              <a:defRPr/>
            </a:lvl5pPr>
          </a:lstStyle>
          <a:p>
            <a:pPr lvl="0"/>
            <a:r>
              <a:rPr lang="da-DK"/>
              <a:t>Date</a:t>
            </a:r>
          </a:p>
        </p:txBody>
      </p:sp>
      <p:sp>
        <p:nvSpPr>
          <p:cNvPr id="16" name="Freeform: Shape 15">
            <a:extLst>
              <a:ext uri="{FF2B5EF4-FFF2-40B4-BE49-F238E27FC236}">
                <a16:creationId xmlns:a16="http://schemas.microsoft.com/office/drawing/2014/main" id="{FB0748D9-B4B7-46FB-99B6-A4449CF9F500}"/>
              </a:ext>
            </a:extLst>
          </p:cNvPr>
          <p:cNvSpPr/>
          <p:nvPr userDrawn="1">
            <p:custDataLst>
              <p:tags r:id="rId1"/>
            </p:custDataLst>
          </p:nvPr>
        </p:nvSpPr>
        <p:spPr bwMode="auto">
          <a:xfrm rot="5400000">
            <a:off x="8131101" y="799617"/>
            <a:ext cx="1258889" cy="265746"/>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r>
              <a:rPr lang="da-DK" sz="1662"/>
              <a:t> </a:t>
            </a:r>
          </a:p>
        </p:txBody>
      </p:sp>
      <p:sp>
        <p:nvSpPr>
          <p:cNvPr id="13" name="Date_GeneralDate" hidden="1">
            <a:extLst>
              <a:ext uri="{FF2B5EF4-FFF2-40B4-BE49-F238E27FC236}">
                <a16:creationId xmlns:a16="http://schemas.microsoft.com/office/drawing/2014/main" id="{649F2878-DF75-476E-9321-0911D8D1FC2B}"/>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4" name="FLD_PresentationTitle" hidden="1">
            <a:extLst>
              <a:ext uri="{FF2B5EF4-FFF2-40B4-BE49-F238E27FC236}">
                <a16:creationId xmlns:a16="http://schemas.microsoft.com/office/drawing/2014/main" id="{336355EA-6FA5-4B9D-B232-E77EBE1CA664}"/>
              </a:ext>
            </a:extLst>
          </p:cNvPr>
          <p:cNvSpPr>
            <a:spLocks noGrp="1"/>
          </p:cNvSpPr>
          <p:nvPr>
            <p:ph type="ftr" sz="quarter" idx="11"/>
          </p:nvPr>
        </p:nvSpPr>
        <p:spPr>
          <a:xfrm>
            <a:off x="0" y="6912000"/>
            <a:ext cx="0" cy="0"/>
          </a:xfrm>
        </p:spPr>
        <p:txBody>
          <a:bodyPr anchor="t" anchorCtr="0"/>
          <a:lstStyle>
            <a:lvl1pPr algn="l">
              <a:defRPr sz="100">
                <a:noFill/>
              </a:defRPr>
            </a:lvl1pPr>
          </a:lstStyle>
          <a:p>
            <a:endParaRPr lang="da-DK"/>
          </a:p>
        </p:txBody>
      </p:sp>
      <p:sp>
        <p:nvSpPr>
          <p:cNvPr id="15" name="Slide Number Placeholder 5" hidden="1">
            <a:extLst>
              <a:ext uri="{FF2B5EF4-FFF2-40B4-BE49-F238E27FC236}">
                <a16:creationId xmlns:a16="http://schemas.microsoft.com/office/drawing/2014/main" id="{A280B4D8-6669-4983-ACDA-5286F766EC9F}"/>
              </a:ext>
            </a:extLst>
          </p:cNvPr>
          <p:cNvSpPr>
            <a:spLocks noGrp="1"/>
          </p:cNvSpPr>
          <p:nvPr>
            <p:ph type="sldNum" sz="quarter" idx="12"/>
          </p:nvPr>
        </p:nvSpPr>
        <p:spPr>
          <a:xfrm>
            <a:off x="0" y="6912000"/>
            <a:ext cx="0" cy="0"/>
          </a:xfrm>
        </p:spPr>
        <p:txBody>
          <a:bodyPr anchor="t" anchorCtr="0"/>
          <a:lstStyle>
            <a:lvl1pPr>
              <a:defRPr sz="100">
                <a:noFill/>
              </a:defRPr>
            </a:lvl1pPr>
          </a:lstStyle>
          <a:p>
            <a:fld id="{24C8C45C-947F-4981-8B3F-4F32E973C901}" type="slidenum">
              <a:rPr lang="da-DK" smtClean="0"/>
              <a:pPr/>
              <a:t>‹nr.›</a:t>
            </a:fld>
            <a:endParaRPr lang="da-DK"/>
          </a:p>
        </p:txBody>
      </p:sp>
      <p:sp>
        <p:nvSpPr>
          <p:cNvPr id="12" name="TextBox 11">
            <a:extLst>
              <a:ext uri="{FF2B5EF4-FFF2-40B4-BE49-F238E27FC236}">
                <a16:creationId xmlns:a16="http://schemas.microsoft.com/office/drawing/2014/main" id="{33D81281-2A14-4E3E-B226-3377EDFCB739}"/>
              </a:ext>
            </a:extLst>
          </p:cNvPr>
          <p:cNvSpPr txBox="1"/>
          <p:nvPr userDrawn="1"/>
        </p:nvSpPr>
        <p:spPr>
          <a:xfrm>
            <a:off x="8256330" y="6492630"/>
            <a:ext cx="562284" cy="127856"/>
          </a:xfrm>
          <a:prstGeom prst="rect">
            <a:avLst/>
          </a:prstGeom>
          <a:noFill/>
          <a:ln w="6350">
            <a:noFill/>
            <a:prstDash val="sysDash"/>
          </a:ln>
        </p:spPr>
        <p:txBody>
          <a:bodyPr wrap="square" lIns="0" tIns="0" rIns="0" bIns="0" rtlCol="0">
            <a:spAutoFit/>
          </a:bodyPr>
          <a:lstStyle/>
          <a:p>
            <a:pPr algn="l"/>
            <a:r>
              <a:rPr lang="da-DK" sz="831" err="1">
                <a:solidFill>
                  <a:schemeClr val="tx1"/>
                </a:solidFill>
              </a:rPr>
              <a:t>Confidential</a:t>
            </a:r>
            <a:endParaRPr lang="da-DK" sz="831">
              <a:solidFill>
                <a:schemeClr val="tx1"/>
              </a:solidFill>
            </a:endParaRPr>
          </a:p>
        </p:txBody>
      </p:sp>
    </p:spTree>
    <p:extLst>
      <p:ext uri="{BB962C8B-B14F-4D97-AF65-F5344CB8AC3E}">
        <p14:creationId xmlns:p14="http://schemas.microsoft.com/office/powerpoint/2010/main" val="3164580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Logo Image Dark A">
    <p:spTree>
      <p:nvGrpSpPr>
        <p:cNvPr id="1" name=""/>
        <p:cNvGrpSpPr/>
        <p:nvPr/>
      </p:nvGrpSpPr>
      <p:grpSpPr>
        <a:xfrm>
          <a:off x="0" y="0"/>
          <a:ext cx="0" cy="0"/>
          <a:chOff x="0" y="0"/>
          <a:chExt cx="0" cy="0"/>
        </a:xfrm>
      </p:grpSpPr>
      <p:sp>
        <p:nvSpPr>
          <p:cNvPr id="23" name="object 2">
            <a:extLst>
              <a:ext uri="{FF2B5EF4-FFF2-40B4-BE49-F238E27FC236}">
                <a16:creationId xmlns:a16="http://schemas.microsoft.com/office/drawing/2014/main" id="{A81EE220-AC53-4153-A0FE-1F2219FBF428}"/>
              </a:ext>
            </a:extLst>
          </p:cNvPr>
          <p:cNvSpPr/>
          <p:nvPr userDrawn="1"/>
        </p:nvSpPr>
        <p:spPr>
          <a:xfrm>
            <a:off x="3186569" y="0"/>
            <a:ext cx="5957431" cy="6858000"/>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E4B73B"/>
          </a:solidFill>
        </p:spPr>
        <p:txBody>
          <a:bodyPr wrap="square" lIns="0" tIns="0" rIns="0" bIns="0" rtlCol="0"/>
          <a:lstStyle/>
          <a:p>
            <a:pPr marL="0" marR="0" lvl="0" indent="0"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2F363B"/>
              </a:solidFill>
              <a:effectLst/>
              <a:uLnTx/>
              <a:uFillTx/>
            </a:endParaRPr>
          </a:p>
        </p:txBody>
      </p:sp>
      <p:sp>
        <p:nvSpPr>
          <p:cNvPr id="3" name="Rectangle 2">
            <a:extLst>
              <a:ext uri="{FF2B5EF4-FFF2-40B4-BE49-F238E27FC236}">
                <a16:creationId xmlns:a16="http://schemas.microsoft.com/office/drawing/2014/main" id="{78FF8D86-B4F2-440A-9986-8206DC5C5D54}"/>
              </a:ext>
            </a:extLst>
          </p:cNvPr>
          <p:cNvSpPr/>
          <p:nvPr userDrawn="1"/>
        </p:nvSpPr>
        <p:spPr>
          <a:xfrm>
            <a:off x="0" y="1"/>
            <a:ext cx="7896841" cy="5502275"/>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t" anchorCtr="0"/>
          <a:lstStyle/>
          <a:p>
            <a:pPr algn="l"/>
            <a:endParaRPr lang="da-DK" sz="923" noProof="0">
              <a:solidFill>
                <a:srgbClr val="2F363B"/>
              </a:solidFill>
            </a:endParaRPr>
          </a:p>
        </p:txBody>
      </p:sp>
      <p:sp>
        <p:nvSpPr>
          <p:cNvPr id="13" name="Picture Placeholder 13">
            <a:extLst>
              <a:ext uri="{FF2B5EF4-FFF2-40B4-BE49-F238E27FC236}">
                <a16:creationId xmlns:a16="http://schemas.microsoft.com/office/drawing/2014/main" id="{32CBD7CE-0C91-4290-9606-0942684C4652}"/>
              </a:ext>
            </a:extLst>
          </p:cNvPr>
          <p:cNvSpPr>
            <a:spLocks noGrp="1"/>
          </p:cNvSpPr>
          <p:nvPr>
            <p:ph type="pic" sz="quarter" idx="15"/>
          </p:nvPr>
        </p:nvSpPr>
        <p:spPr>
          <a:xfrm>
            <a:off x="3186570" y="4011118"/>
            <a:ext cx="5957431" cy="2846883"/>
          </a:xfrm>
          <a:solidFill>
            <a:srgbClr val="F3F2F0"/>
          </a:solidFill>
        </p:spPr>
        <p:txBody>
          <a:bodyPr vert="horz" lIns="0" tIns="0" rIns="0" bIns="0" rtlCol="0" anchor="ctr" anchorCtr="0">
            <a:noAutofit/>
          </a:bodyPr>
          <a:lstStyle>
            <a:lvl1pPr algn="ctr">
              <a:defRPr lang="da-DK" dirty="0"/>
            </a:lvl1pPr>
          </a:lstStyle>
          <a:p>
            <a:pPr lvl="0" algn="ctr">
              <a:buNone/>
            </a:pPr>
            <a:r>
              <a:rPr lang="da-DK" err="1"/>
              <a:t>Click</a:t>
            </a:r>
            <a:r>
              <a:rPr lang="da-DK"/>
              <a:t> </a:t>
            </a:r>
            <a:r>
              <a:rPr lang="da-DK" err="1"/>
              <a:t>icon</a:t>
            </a:r>
            <a:r>
              <a:rPr lang="da-DK"/>
              <a:t> to </a:t>
            </a:r>
            <a:r>
              <a:rPr lang="da-DK" err="1"/>
              <a:t>add</a:t>
            </a:r>
            <a:r>
              <a:rPr lang="da-DK"/>
              <a:t> </a:t>
            </a:r>
            <a:r>
              <a:rPr lang="da-DK" err="1"/>
              <a:t>picture</a:t>
            </a:r>
            <a:endParaRPr lang="da-DK"/>
          </a:p>
        </p:txBody>
      </p:sp>
      <p:sp>
        <p:nvSpPr>
          <p:cNvPr id="18" name="Subtitle 2">
            <a:extLst>
              <a:ext uri="{FF2B5EF4-FFF2-40B4-BE49-F238E27FC236}">
                <a16:creationId xmlns:a16="http://schemas.microsoft.com/office/drawing/2014/main" id="{28390A0B-0148-4E4A-997F-3FF133263F31}"/>
              </a:ext>
            </a:extLst>
          </p:cNvPr>
          <p:cNvSpPr>
            <a:spLocks noGrp="1"/>
          </p:cNvSpPr>
          <p:nvPr>
            <p:ph type="subTitle" idx="1"/>
          </p:nvPr>
        </p:nvSpPr>
        <p:spPr>
          <a:xfrm>
            <a:off x="249116" y="4011118"/>
            <a:ext cx="2599592" cy="1003221"/>
          </a:xfrm>
        </p:spPr>
        <p:txBody>
          <a:bodyPr rIns="360000" anchor="t" anchorCtr="0"/>
          <a:lstStyle>
            <a:lvl1pPr marL="0" indent="0" algn="l">
              <a:spcBef>
                <a:spcPts val="0"/>
              </a:spcBef>
              <a:buFont typeface="Arial" panose="020B0604020202020204" pitchFamily="34" charset="0"/>
              <a:buChar char="​"/>
              <a:defRPr sz="900">
                <a:solidFill>
                  <a:srgbClr val="F8F5E7"/>
                </a:solidFill>
              </a:defRPr>
            </a:lvl1pPr>
            <a:lvl2pPr marL="0" indent="0" algn="l">
              <a:buFont typeface="Arial" panose="020B0604020202020204" pitchFamily="34" charset="0"/>
              <a:buNone/>
              <a:defRPr sz="825">
                <a:solidFill>
                  <a:srgbClr val="2F363B"/>
                </a:solidFill>
              </a:defRPr>
            </a:lvl2pPr>
            <a:lvl3pPr marL="0" indent="0" algn="l">
              <a:buFont typeface="Arial" panose="020B0604020202020204" pitchFamily="34" charset="0"/>
              <a:buChar char="​"/>
              <a:defRPr sz="1500">
                <a:solidFill>
                  <a:schemeClr val="bg1"/>
                </a:solidFill>
              </a:defRPr>
            </a:lvl3pPr>
            <a:lvl4pPr marL="0" indent="0" algn="l">
              <a:buFont typeface="Arial" panose="020B0604020202020204" pitchFamily="34" charset="0"/>
              <a:buChar char="​"/>
              <a:defRPr sz="1500">
                <a:solidFill>
                  <a:schemeClr val="bg1"/>
                </a:solidFill>
              </a:defRPr>
            </a:lvl4pPr>
            <a:lvl5pPr marL="0" indent="0" algn="l">
              <a:buFont typeface="Arial" panose="020B0604020202020204" pitchFamily="34" charset="0"/>
              <a:buChar char="​"/>
              <a:defRPr sz="1500">
                <a:solidFill>
                  <a:schemeClr val="bg1"/>
                </a:solidFill>
              </a:defRPr>
            </a:lvl5pPr>
            <a:lvl6pPr marL="0" indent="0" algn="l">
              <a:buFont typeface="Arial" panose="020B0604020202020204" pitchFamily="34" charset="0"/>
              <a:buChar char="​"/>
              <a:defRPr sz="1500">
                <a:solidFill>
                  <a:schemeClr val="bg1"/>
                </a:solidFill>
              </a:defRPr>
            </a:lvl6pPr>
            <a:lvl7pPr marL="0" indent="0" algn="l">
              <a:buFont typeface="Arial" panose="020B0604020202020204" pitchFamily="34" charset="0"/>
              <a:buChar char="​"/>
              <a:defRPr sz="1500">
                <a:solidFill>
                  <a:schemeClr val="bg1"/>
                </a:solidFill>
              </a:defRPr>
            </a:lvl7pPr>
            <a:lvl8pPr marL="0" indent="0" algn="l">
              <a:buFont typeface="Arial" panose="020B0604020202020204" pitchFamily="34" charset="0"/>
              <a:buChar char="​"/>
              <a:defRPr sz="1500">
                <a:solidFill>
                  <a:schemeClr val="bg1"/>
                </a:solidFill>
              </a:defRPr>
            </a:lvl8pPr>
            <a:lvl9pPr marL="0" indent="0" algn="l">
              <a:buFont typeface="Arial" panose="020B0604020202020204" pitchFamily="34" charset="0"/>
              <a:buChar char="​"/>
              <a:defRPr sz="1500">
                <a:solidFill>
                  <a:schemeClr val="bg1"/>
                </a:solidFill>
              </a:defRPr>
            </a:lvl9pPr>
          </a:lstStyle>
          <a:p>
            <a:r>
              <a:rPr lang="da-DK" err="1"/>
              <a:t>Click</a:t>
            </a:r>
            <a:r>
              <a:rPr lang="da-DK"/>
              <a:t> to </a:t>
            </a:r>
            <a:r>
              <a:rPr lang="da-DK" err="1"/>
              <a:t>edit</a:t>
            </a:r>
            <a:r>
              <a:rPr lang="da-DK"/>
              <a:t> Master </a:t>
            </a:r>
            <a:r>
              <a:rPr lang="da-DK" err="1"/>
              <a:t>subtitle</a:t>
            </a:r>
            <a:r>
              <a:rPr lang="da-DK"/>
              <a:t> style</a:t>
            </a:r>
          </a:p>
        </p:txBody>
      </p:sp>
      <p:sp>
        <p:nvSpPr>
          <p:cNvPr id="10" name="Text Placeholder 7">
            <a:extLst>
              <a:ext uri="{FF2B5EF4-FFF2-40B4-BE49-F238E27FC236}">
                <a16:creationId xmlns:a16="http://schemas.microsoft.com/office/drawing/2014/main" id="{49585976-AA21-42CB-B82F-826F94524238}"/>
              </a:ext>
            </a:extLst>
          </p:cNvPr>
          <p:cNvSpPr>
            <a:spLocks noGrp="1"/>
          </p:cNvSpPr>
          <p:nvPr>
            <p:ph type="body" sz="quarter" idx="13" hasCustomPrompt="1"/>
          </p:nvPr>
        </p:nvSpPr>
        <p:spPr>
          <a:xfrm>
            <a:off x="249116" y="5014338"/>
            <a:ext cx="2599593" cy="210634"/>
          </a:xfrm>
        </p:spPr>
        <p:txBody>
          <a:bodyPr rIns="0" anchor="b" anchorCtr="0"/>
          <a:lstStyle>
            <a:lvl1pPr>
              <a:defRPr sz="831">
                <a:solidFill>
                  <a:srgbClr val="F8F5E7"/>
                </a:solidFill>
              </a:defRPr>
            </a:lvl1pPr>
            <a:lvl5pPr>
              <a:defRPr/>
            </a:lvl5pPr>
          </a:lstStyle>
          <a:p>
            <a:pPr lvl="0"/>
            <a:r>
              <a:rPr lang="da-DK"/>
              <a:t>Date</a:t>
            </a:r>
          </a:p>
        </p:txBody>
      </p:sp>
      <p:sp>
        <p:nvSpPr>
          <p:cNvPr id="20" name="Title 1">
            <a:extLst>
              <a:ext uri="{FF2B5EF4-FFF2-40B4-BE49-F238E27FC236}">
                <a16:creationId xmlns:a16="http://schemas.microsoft.com/office/drawing/2014/main" id="{2F6935FD-E8E7-4B35-B4B1-C7059310FDE5}"/>
              </a:ext>
            </a:extLst>
          </p:cNvPr>
          <p:cNvSpPr>
            <a:spLocks noGrp="1"/>
          </p:cNvSpPr>
          <p:nvPr>
            <p:ph type="ctrTitle"/>
          </p:nvPr>
        </p:nvSpPr>
        <p:spPr>
          <a:xfrm>
            <a:off x="249116" y="539750"/>
            <a:ext cx="5392443" cy="3194064"/>
          </a:xfrm>
        </p:spPr>
        <p:txBody>
          <a:bodyPr anchor="t" anchorCtr="0">
            <a:noAutofit/>
          </a:bodyPr>
          <a:lstStyle>
            <a:lvl1pPr algn="l">
              <a:lnSpc>
                <a:spcPct val="83000"/>
              </a:lnSpc>
              <a:defRPr sz="6000" cap="all" baseline="0">
                <a:solidFill>
                  <a:srgbClr val="F8F5E7"/>
                </a:solidFill>
                <a:latin typeface="Impact" panose="020B0806030902050204" pitchFamily="34" charset="0"/>
              </a:defRPr>
            </a:lvl1pPr>
          </a:lstStyle>
          <a:p>
            <a:r>
              <a:rPr lang="da-DK" err="1"/>
              <a:t>Click</a:t>
            </a:r>
            <a:r>
              <a:rPr lang="da-DK"/>
              <a:t> to </a:t>
            </a:r>
            <a:r>
              <a:rPr lang="da-DK" err="1"/>
              <a:t>edit</a:t>
            </a:r>
            <a:r>
              <a:rPr lang="da-DK"/>
              <a:t> Master </a:t>
            </a:r>
            <a:r>
              <a:rPr lang="da-DK" err="1"/>
              <a:t>title</a:t>
            </a:r>
            <a:r>
              <a:rPr lang="da-DK"/>
              <a:t> style</a:t>
            </a:r>
          </a:p>
        </p:txBody>
      </p:sp>
      <p:sp>
        <p:nvSpPr>
          <p:cNvPr id="12" name="Freeform: Shape 11">
            <a:extLst>
              <a:ext uri="{FF2B5EF4-FFF2-40B4-BE49-F238E27FC236}">
                <a16:creationId xmlns:a16="http://schemas.microsoft.com/office/drawing/2014/main" id="{A8E36132-A534-4EFF-8A7F-F188BAB49D88}"/>
              </a:ext>
            </a:extLst>
          </p:cNvPr>
          <p:cNvSpPr/>
          <p:nvPr userDrawn="1">
            <p:custDataLst>
              <p:tags r:id="rId1"/>
            </p:custDataLst>
          </p:nvPr>
        </p:nvSpPr>
        <p:spPr bwMode="auto">
          <a:xfrm rot="5400000">
            <a:off x="8131101" y="799617"/>
            <a:ext cx="1258889" cy="265746"/>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r>
              <a:rPr lang="da-DK" sz="1662"/>
              <a:t> </a:t>
            </a:r>
          </a:p>
        </p:txBody>
      </p:sp>
      <p:sp>
        <p:nvSpPr>
          <p:cNvPr id="14" name="Date_GeneralDate" hidden="1">
            <a:extLst>
              <a:ext uri="{FF2B5EF4-FFF2-40B4-BE49-F238E27FC236}">
                <a16:creationId xmlns:a16="http://schemas.microsoft.com/office/drawing/2014/main" id="{9406085A-C43F-4E5C-98B7-50CF54CDE2E4}"/>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5" name="FLD_PresentationTitle" hidden="1">
            <a:extLst>
              <a:ext uri="{FF2B5EF4-FFF2-40B4-BE49-F238E27FC236}">
                <a16:creationId xmlns:a16="http://schemas.microsoft.com/office/drawing/2014/main" id="{980D4307-1E30-40BF-9A20-A045D172AA96}"/>
              </a:ext>
            </a:extLst>
          </p:cNvPr>
          <p:cNvSpPr>
            <a:spLocks noGrp="1"/>
          </p:cNvSpPr>
          <p:nvPr>
            <p:ph type="ftr" sz="quarter" idx="11"/>
          </p:nvPr>
        </p:nvSpPr>
        <p:spPr>
          <a:xfrm>
            <a:off x="0" y="6912000"/>
            <a:ext cx="0" cy="0"/>
          </a:xfrm>
        </p:spPr>
        <p:txBody>
          <a:bodyPr anchor="t" anchorCtr="0"/>
          <a:lstStyle>
            <a:lvl1pPr algn="l">
              <a:defRPr sz="100">
                <a:noFill/>
              </a:defRPr>
            </a:lvl1pPr>
          </a:lstStyle>
          <a:p>
            <a:endParaRPr lang="da-DK"/>
          </a:p>
        </p:txBody>
      </p:sp>
      <p:sp>
        <p:nvSpPr>
          <p:cNvPr id="16" name="Slide Number Placeholder 5" hidden="1">
            <a:extLst>
              <a:ext uri="{FF2B5EF4-FFF2-40B4-BE49-F238E27FC236}">
                <a16:creationId xmlns:a16="http://schemas.microsoft.com/office/drawing/2014/main" id="{8A49A16C-AA42-42D1-A77B-CEC2D6C356C4}"/>
              </a:ext>
            </a:extLst>
          </p:cNvPr>
          <p:cNvSpPr>
            <a:spLocks noGrp="1"/>
          </p:cNvSpPr>
          <p:nvPr>
            <p:ph type="sldNum" sz="quarter" idx="12"/>
          </p:nvPr>
        </p:nvSpPr>
        <p:spPr>
          <a:xfrm>
            <a:off x="0" y="6912000"/>
            <a:ext cx="0" cy="0"/>
          </a:xfrm>
        </p:spPr>
        <p:txBody>
          <a:bodyPr anchor="t" anchorCtr="0"/>
          <a:lstStyle>
            <a:lvl1pPr>
              <a:defRPr sz="100">
                <a:noFill/>
              </a:defRPr>
            </a:lvl1pPr>
          </a:lstStyle>
          <a:p>
            <a:fld id="{24C8C45C-947F-4981-8B3F-4F32E973C901}" type="slidenum">
              <a:rPr lang="da-DK" smtClean="0"/>
              <a:pPr/>
              <a:t>‹nr.›</a:t>
            </a:fld>
            <a:endParaRPr lang="da-DK"/>
          </a:p>
        </p:txBody>
      </p:sp>
      <p:sp>
        <p:nvSpPr>
          <p:cNvPr id="17" name="TextBox 16">
            <a:extLst>
              <a:ext uri="{FF2B5EF4-FFF2-40B4-BE49-F238E27FC236}">
                <a16:creationId xmlns:a16="http://schemas.microsoft.com/office/drawing/2014/main" id="{98003F94-3A20-45FE-9AD7-1F0518FF10DF}"/>
              </a:ext>
            </a:extLst>
          </p:cNvPr>
          <p:cNvSpPr txBox="1"/>
          <p:nvPr userDrawn="1"/>
        </p:nvSpPr>
        <p:spPr>
          <a:xfrm>
            <a:off x="257472" y="6505496"/>
            <a:ext cx="562284" cy="127856"/>
          </a:xfrm>
          <a:prstGeom prst="rect">
            <a:avLst/>
          </a:prstGeom>
          <a:noFill/>
          <a:ln w="6350">
            <a:noFill/>
            <a:prstDash val="sysDash"/>
          </a:ln>
        </p:spPr>
        <p:txBody>
          <a:bodyPr wrap="square" lIns="0" tIns="0" rIns="0" bIns="0" rtlCol="0">
            <a:spAutoFit/>
          </a:bodyPr>
          <a:lstStyle/>
          <a:p>
            <a:pPr algn="l"/>
            <a:r>
              <a:rPr lang="da-DK" sz="831" err="1">
                <a:solidFill>
                  <a:schemeClr val="tx1"/>
                </a:solidFill>
              </a:rPr>
              <a:t>Confidential</a:t>
            </a:r>
            <a:endParaRPr lang="da-DK" sz="831">
              <a:solidFill>
                <a:schemeClr val="tx1"/>
              </a:solidFill>
            </a:endParaRPr>
          </a:p>
        </p:txBody>
      </p:sp>
    </p:spTree>
    <p:extLst>
      <p:ext uri="{BB962C8B-B14F-4D97-AF65-F5344CB8AC3E}">
        <p14:creationId xmlns:p14="http://schemas.microsoft.com/office/powerpoint/2010/main" val="248732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 Logo Image Dark B">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68EEBBF-213D-4D68-A9CE-7CE68854BF37}"/>
              </a:ext>
            </a:extLst>
          </p:cNvPr>
          <p:cNvSpPr/>
          <p:nvPr userDrawn="1"/>
        </p:nvSpPr>
        <p:spPr>
          <a:xfrm>
            <a:off x="2554423" y="0"/>
            <a:ext cx="6589577" cy="6858000"/>
          </a:xfrm>
          <a:prstGeom prst="rect">
            <a:avLst/>
          </a:prstGeom>
          <a:solidFill>
            <a:srgbClr val="E2DED9"/>
          </a:solidFill>
          <a:ln w="25400" cap="flat" cmpd="sng" algn="ctr">
            <a:noFill/>
            <a:prstDash val="solid"/>
          </a:ln>
          <a:effectLst/>
        </p:spPr>
        <p:txBody>
          <a:bodyPr rtlCol="0" anchor="ctr"/>
          <a:lstStyle/>
          <a:p>
            <a:pPr marL="0" marR="0" lvl="0" indent="0" algn="ctr"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98929087-DD0C-46A9-A049-79CBB8A516FF}"/>
              </a:ext>
            </a:extLst>
          </p:cNvPr>
          <p:cNvSpPr/>
          <p:nvPr userDrawn="1"/>
        </p:nvSpPr>
        <p:spPr>
          <a:xfrm>
            <a:off x="0" y="1192710"/>
            <a:ext cx="7896841" cy="5665290"/>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t" anchorCtr="0"/>
          <a:lstStyle/>
          <a:p>
            <a:pPr algn="l"/>
            <a:endParaRPr lang="da-DK" sz="923" noProof="0">
              <a:solidFill>
                <a:srgbClr val="2F363B"/>
              </a:solidFill>
            </a:endParaRPr>
          </a:p>
        </p:txBody>
      </p:sp>
      <p:sp>
        <p:nvSpPr>
          <p:cNvPr id="13" name="Picture Placeholder 13">
            <a:extLst>
              <a:ext uri="{FF2B5EF4-FFF2-40B4-BE49-F238E27FC236}">
                <a16:creationId xmlns:a16="http://schemas.microsoft.com/office/drawing/2014/main" id="{32CBD7CE-0C91-4290-9606-0942684C4652}"/>
              </a:ext>
            </a:extLst>
          </p:cNvPr>
          <p:cNvSpPr>
            <a:spLocks noGrp="1"/>
          </p:cNvSpPr>
          <p:nvPr>
            <p:ph type="pic" sz="quarter" idx="15"/>
          </p:nvPr>
        </p:nvSpPr>
        <p:spPr>
          <a:xfrm>
            <a:off x="5154016" y="2114551"/>
            <a:ext cx="3225054" cy="4743450"/>
          </a:xfrm>
          <a:solidFill>
            <a:srgbClr val="F3F2F0"/>
          </a:solidFill>
        </p:spPr>
        <p:txBody>
          <a:bodyPr vert="horz" lIns="0" tIns="0" rIns="0" bIns="0" rtlCol="0" anchor="ctr" anchorCtr="0">
            <a:noAutofit/>
          </a:bodyPr>
          <a:lstStyle>
            <a:lvl1pPr algn="ctr">
              <a:defRPr lang="da-DK" dirty="0"/>
            </a:lvl1pPr>
          </a:lstStyle>
          <a:p>
            <a:pPr lvl="0" algn="ctr">
              <a:buNone/>
            </a:pPr>
            <a:r>
              <a:rPr lang="da-DK" err="1"/>
              <a:t>Click</a:t>
            </a:r>
            <a:r>
              <a:rPr lang="da-DK"/>
              <a:t> </a:t>
            </a:r>
            <a:r>
              <a:rPr lang="da-DK" err="1"/>
              <a:t>icon</a:t>
            </a:r>
            <a:r>
              <a:rPr lang="da-DK"/>
              <a:t> to </a:t>
            </a:r>
            <a:r>
              <a:rPr lang="da-DK" err="1"/>
              <a:t>add</a:t>
            </a:r>
            <a:r>
              <a:rPr lang="da-DK"/>
              <a:t> </a:t>
            </a:r>
            <a:r>
              <a:rPr lang="da-DK" err="1"/>
              <a:t>picture</a:t>
            </a:r>
            <a:endParaRPr lang="da-DK"/>
          </a:p>
        </p:txBody>
      </p:sp>
      <p:sp>
        <p:nvSpPr>
          <p:cNvPr id="18" name="Subtitle 2">
            <a:extLst>
              <a:ext uri="{FF2B5EF4-FFF2-40B4-BE49-F238E27FC236}">
                <a16:creationId xmlns:a16="http://schemas.microsoft.com/office/drawing/2014/main" id="{28390A0B-0148-4E4A-997F-3FF133263F31}"/>
              </a:ext>
            </a:extLst>
          </p:cNvPr>
          <p:cNvSpPr>
            <a:spLocks noGrp="1"/>
          </p:cNvSpPr>
          <p:nvPr>
            <p:ph type="subTitle" idx="1"/>
          </p:nvPr>
        </p:nvSpPr>
        <p:spPr>
          <a:xfrm>
            <a:off x="249116" y="5359205"/>
            <a:ext cx="2599592" cy="970159"/>
          </a:xfrm>
        </p:spPr>
        <p:txBody>
          <a:bodyPr rIns="360000" anchor="t" anchorCtr="0"/>
          <a:lstStyle>
            <a:lvl1pPr marL="0" indent="0" algn="l">
              <a:spcBef>
                <a:spcPts val="0"/>
              </a:spcBef>
              <a:buFont typeface="Arial" panose="020B0604020202020204" pitchFamily="34" charset="0"/>
              <a:buChar char="​"/>
              <a:defRPr sz="900">
                <a:solidFill>
                  <a:srgbClr val="F8F5E7"/>
                </a:solidFill>
              </a:defRPr>
            </a:lvl1pPr>
            <a:lvl2pPr marL="0" indent="0" algn="l">
              <a:buFont typeface="Arial" panose="020B0604020202020204" pitchFamily="34" charset="0"/>
              <a:buNone/>
              <a:defRPr sz="825">
                <a:solidFill>
                  <a:srgbClr val="2F363B"/>
                </a:solidFill>
              </a:defRPr>
            </a:lvl2pPr>
            <a:lvl3pPr marL="0" indent="0" algn="l">
              <a:buFont typeface="Arial" panose="020B0604020202020204" pitchFamily="34" charset="0"/>
              <a:buChar char="​"/>
              <a:defRPr sz="1500">
                <a:solidFill>
                  <a:schemeClr val="bg1"/>
                </a:solidFill>
              </a:defRPr>
            </a:lvl3pPr>
            <a:lvl4pPr marL="0" indent="0" algn="l">
              <a:buFont typeface="Arial" panose="020B0604020202020204" pitchFamily="34" charset="0"/>
              <a:buChar char="​"/>
              <a:defRPr sz="1500">
                <a:solidFill>
                  <a:schemeClr val="bg1"/>
                </a:solidFill>
              </a:defRPr>
            </a:lvl4pPr>
            <a:lvl5pPr marL="0" indent="0" algn="l">
              <a:buFont typeface="Arial" panose="020B0604020202020204" pitchFamily="34" charset="0"/>
              <a:buChar char="​"/>
              <a:defRPr sz="1500">
                <a:solidFill>
                  <a:schemeClr val="bg1"/>
                </a:solidFill>
              </a:defRPr>
            </a:lvl5pPr>
            <a:lvl6pPr marL="0" indent="0" algn="l">
              <a:buFont typeface="Arial" panose="020B0604020202020204" pitchFamily="34" charset="0"/>
              <a:buChar char="​"/>
              <a:defRPr sz="1500">
                <a:solidFill>
                  <a:schemeClr val="bg1"/>
                </a:solidFill>
              </a:defRPr>
            </a:lvl6pPr>
            <a:lvl7pPr marL="0" indent="0" algn="l">
              <a:buFont typeface="Arial" panose="020B0604020202020204" pitchFamily="34" charset="0"/>
              <a:buChar char="​"/>
              <a:defRPr sz="1500">
                <a:solidFill>
                  <a:schemeClr val="bg1"/>
                </a:solidFill>
              </a:defRPr>
            </a:lvl7pPr>
            <a:lvl8pPr marL="0" indent="0" algn="l">
              <a:buFont typeface="Arial" panose="020B0604020202020204" pitchFamily="34" charset="0"/>
              <a:buChar char="​"/>
              <a:defRPr sz="1500">
                <a:solidFill>
                  <a:schemeClr val="bg1"/>
                </a:solidFill>
              </a:defRPr>
            </a:lvl8pPr>
            <a:lvl9pPr marL="0" indent="0" algn="l">
              <a:buFont typeface="Arial" panose="020B0604020202020204" pitchFamily="34" charset="0"/>
              <a:buChar char="​"/>
              <a:defRPr sz="1500">
                <a:solidFill>
                  <a:schemeClr val="bg1"/>
                </a:solidFill>
              </a:defRPr>
            </a:lvl9pPr>
          </a:lstStyle>
          <a:p>
            <a:r>
              <a:rPr lang="da-DK" err="1"/>
              <a:t>Click</a:t>
            </a:r>
            <a:r>
              <a:rPr lang="da-DK"/>
              <a:t> to </a:t>
            </a:r>
            <a:r>
              <a:rPr lang="da-DK" err="1"/>
              <a:t>edit</a:t>
            </a:r>
            <a:r>
              <a:rPr lang="da-DK"/>
              <a:t> Master </a:t>
            </a:r>
            <a:r>
              <a:rPr lang="da-DK" err="1"/>
              <a:t>subtitle</a:t>
            </a:r>
            <a:r>
              <a:rPr lang="da-DK"/>
              <a:t> style</a:t>
            </a:r>
          </a:p>
        </p:txBody>
      </p:sp>
      <p:sp>
        <p:nvSpPr>
          <p:cNvPr id="16" name="Text Placeholder 7">
            <a:extLst>
              <a:ext uri="{FF2B5EF4-FFF2-40B4-BE49-F238E27FC236}">
                <a16:creationId xmlns:a16="http://schemas.microsoft.com/office/drawing/2014/main" id="{F7B5D086-4293-476B-B8D0-257542C6E7E9}"/>
              </a:ext>
            </a:extLst>
          </p:cNvPr>
          <p:cNvSpPr>
            <a:spLocks noGrp="1"/>
          </p:cNvSpPr>
          <p:nvPr>
            <p:ph type="body" sz="quarter" idx="13" hasCustomPrompt="1"/>
          </p:nvPr>
        </p:nvSpPr>
        <p:spPr>
          <a:xfrm>
            <a:off x="249116" y="6329364"/>
            <a:ext cx="2599593" cy="268287"/>
          </a:xfrm>
        </p:spPr>
        <p:txBody>
          <a:bodyPr rIns="0" anchor="b" anchorCtr="0"/>
          <a:lstStyle>
            <a:lvl1pPr>
              <a:defRPr sz="831">
                <a:solidFill>
                  <a:srgbClr val="F8F5E7"/>
                </a:solidFill>
              </a:defRPr>
            </a:lvl1pPr>
            <a:lvl5pPr>
              <a:defRPr/>
            </a:lvl5pPr>
          </a:lstStyle>
          <a:p>
            <a:pPr lvl="0"/>
            <a:r>
              <a:rPr lang="da-DK"/>
              <a:t>Date</a:t>
            </a:r>
          </a:p>
        </p:txBody>
      </p:sp>
      <p:sp>
        <p:nvSpPr>
          <p:cNvPr id="19" name="Title 1">
            <a:extLst>
              <a:ext uri="{FF2B5EF4-FFF2-40B4-BE49-F238E27FC236}">
                <a16:creationId xmlns:a16="http://schemas.microsoft.com/office/drawing/2014/main" id="{38211AF6-4BE0-4A99-8CF3-C8D588F5D8BD}"/>
              </a:ext>
            </a:extLst>
          </p:cNvPr>
          <p:cNvSpPr>
            <a:spLocks noGrp="1"/>
          </p:cNvSpPr>
          <p:nvPr>
            <p:ph type="ctrTitle"/>
          </p:nvPr>
        </p:nvSpPr>
        <p:spPr>
          <a:xfrm>
            <a:off x="249116" y="2114551"/>
            <a:ext cx="4447443" cy="2976366"/>
          </a:xfrm>
        </p:spPr>
        <p:txBody>
          <a:bodyPr anchor="t" anchorCtr="0">
            <a:noAutofit/>
          </a:bodyPr>
          <a:lstStyle>
            <a:lvl1pPr algn="l">
              <a:lnSpc>
                <a:spcPct val="83000"/>
              </a:lnSpc>
              <a:defRPr sz="5539" cap="all" baseline="0">
                <a:solidFill>
                  <a:srgbClr val="F8F5E7"/>
                </a:solidFill>
                <a:latin typeface="Impact" panose="020B0806030902050204" pitchFamily="34" charset="0"/>
              </a:defRPr>
            </a:lvl1pPr>
          </a:lstStyle>
          <a:p>
            <a:r>
              <a:rPr lang="da-DK" err="1"/>
              <a:t>Click</a:t>
            </a:r>
            <a:r>
              <a:rPr lang="da-DK"/>
              <a:t> to </a:t>
            </a:r>
            <a:r>
              <a:rPr lang="da-DK" err="1"/>
              <a:t>edit</a:t>
            </a:r>
            <a:r>
              <a:rPr lang="da-DK"/>
              <a:t> Master </a:t>
            </a:r>
            <a:r>
              <a:rPr lang="da-DK" err="1"/>
              <a:t>title</a:t>
            </a:r>
            <a:r>
              <a:rPr lang="da-DK"/>
              <a:t> style</a:t>
            </a:r>
          </a:p>
        </p:txBody>
      </p:sp>
      <p:sp>
        <p:nvSpPr>
          <p:cNvPr id="12" name="Freeform: Shape 11">
            <a:extLst>
              <a:ext uri="{FF2B5EF4-FFF2-40B4-BE49-F238E27FC236}">
                <a16:creationId xmlns:a16="http://schemas.microsoft.com/office/drawing/2014/main" id="{C4CB8047-8AE5-4556-9F42-1F69C5AB3EC2}"/>
              </a:ext>
            </a:extLst>
          </p:cNvPr>
          <p:cNvSpPr/>
          <p:nvPr userDrawn="1">
            <p:custDataLst>
              <p:tags r:id="rId1"/>
            </p:custDataLst>
          </p:nvPr>
        </p:nvSpPr>
        <p:spPr bwMode="auto">
          <a:xfrm rot="5400000">
            <a:off x="8131101" y="799617"/>
            <a:ext cx="1258889" cy="265746"/>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r>
              <a:rPr lang="da-DK" sz="1662"/>
              <a:t> </a:t>
            </a:r>
          </a:p>
        </p:txBody>
      </p:sp>
      <p:sp>
        <p:nvSpPr>
          <p:cNvPr id="14" name="Date_GeneralDate" hidden="1">
            <a:extLst>
              <a:ext uri="{FF2B5EF4-FFF2-40B4-BE49-F238E27FC236}">
                <a16:creationId xmlns:a16="http://schemas.microsoft.com/office/drawing/2014/main" id="{55525B1C-6481-4457-B735-0C98074326AB}"/>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5" name="FLD_PresentationTitle" hidden="1">
            <a:extLst>
              <a:ext uri="{FF2B5EF4-FFF2-40B4-BE49-F238E27FC236}">
                <a16:creationId xmlns:a16="http://schemas.microsoft.com/office/drawing/2014/main" id="{E36D8C65-C021-4FD2-B069-8166D08EEAA4}"/>
              </a:ext>
            </a:extLst>
          </p:cNvPr>
          <p:cNvSpPr>
            <a:spLocks noGrp="1"/>
          </p:cNvSpPr>
          <p:nvPr>
            <p:ph type="ftr" sz="quarter" idx="11"/>
          </p:nvPr>
        </p:nvSpPr>
        <p:spPr>
          <a:xfrm>
            <a:off x="0" y="6912000"/>
            <a:ext cx="0" cy="0"/>
          </a:xfrm>
        </p:spPr>
        <p:txBody>
          <a:bodyPr anchor="t" anchorCtr="0"/>
          <a:lstStyle>
            <a:lvl1pPr algn="l">
              <a:defRPr sz="100">
                <a:noFill/>
              </a:defRPr>
            </a:lvl1pPr>
          </a:lstStyle>
          <a:p>
            <a:endParaRPr lang="da-DK"/>
          </a:p>
        </p:txBody>
      </p:sp>
      <p:sp>
        <p:nvSpPr>
          <p:cNvPr id="20" name="Slide Number Placeholder 5" hidden="1">
            <a:extLst>
              <a:ext uri="{FF2B5EF4-FFF2-40B4-BE49-F238E27FC236}">
                <a16:creationId xmlns:a16="http://schemas.microsoft.com/office/drawing/2014/main" id="{C7761D58-7419-42EE-B8DE-E33E4943808D}"/>
              </a:ext>
            </a:extLst>
          </p:cNvPr>
          <p:cNvSpPr>
            <a:spLocks noGrp="1"/>
          </p:cNvSpPr>
          <p:nvPr>
            <p:ph type="sldNum" sz="quarter" idx="12"/>
          </p:nvPr>
        </p:nvSpPr>
        <p:spPr>
          <a:xfrm>
            <a:off x="0" y="6912000"/>
            <a:ext cx="0" cy="0"/>
          </a:xfrm>
        </p:spPr>
        <p:txBody>
          <a:bodyPr anchor="t" anchorCtr="0"/>
          <a:lstStyle>
            <a:lvl1pPr>
              <a:defRPr sz="100">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3887877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3" name="object 2">
            <a:extLst>
              <a:ext uri="{FF2B5EF4-FFF2-40B4-BE49-F238E27FC236}">
                <a16:creationId xmlns:a16="http://schemas.microsoft.com/office/drawing/2014/main" id="{A81EE220-AC53-4153-A0FE-1F2219FBF428}"/>
              </a:ext>
            </a:extLst>
          </p:cNvPr>
          <p:cNvSpPr/>
          <p:nvPr userDrawn="1"/>
        </p:nvSpPr>
        <p:spPr>
          <a:xfrm>
            <a:off x="6619874" y="0"/>
            <a:ext cx="2524125" cy="6858000"/>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E0BCA6"/>
          </a:solidFill>
        </p:spPr>
        <p:txBody>
          <a:bodyPr wrap="square" lIns="0" tIns="0" rIns="0" bIns="0" rtlCol="0"/>
          <a:lstStyle/>
          <a:p>
            <a:pPr marL="0" marR="0" lvl="0" indent="0"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1F2023"/>
              </a:solidFill>
              <a:effectLst/>
              <a:uLnTx/>
              <a:uFillTx/>
            </a:endParaRPr>
          </a:p>
        </p:txBody>
      </p:sp>
      <p:sp>
        <p:nvSpPr>
          <p:cNvPr id="24" name="Rectangle 23">
            <a:extLst>
              <a:ext uri="{FF2B5EF4-FFF2-40B4-BE49-F238E27FC236}">
                <a16:creationId xmlns:a16="http://schemas.microsoft.com/office/drawing/2014/main" id="{468EEBBF-213D-4D68-A9CE-7CE68854BF37}"/>
              </a:ext>
            </a:extLst>
          </p:cNvPr>
          <p:cNvSpPr/>
          <p:nvPr userDrawn="1"/>
        </p:nvSpPr>
        <p:spPr>
          <a:xfrm>
            <a:off x="-1" y="1"/>
            <a:ext cx="6619875" cy="1632813"/>
          </a:xfrm>
          <a:prstGeom prst="rect">
            <a:avLst/>
          </a:prstGeom>
          <a:solidFill>
            <a:srgbClr val="F8F5E7"/>
          </a:solidFill>
          <a:ln w="25400" cap="flat" cmpd="sng" algn="ctr">
            <a:noFill/>
            <a:prstDash val="solid"/>
          </a:ln>
          <a:effectLst/>
        </p:spPr>
        <p:txBody>
          <a:bodyPr rtlCol="0" anchor="ctr"/>
          <a:lstStyle/>
          <a:p>
            <a:pPr marL="0" marR="0" lvl="0" indent="0" algn="ctr"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1F2023"/>
              </a:solidFill>
              <a:effectLst/>
              <a:uLnTx/>
              <a:uFillTx/>
              <a:latin typeface="Arial"/>
              <a:ea typeface="+mn-ea"/>
              <a:cs typeface="+mn-cs"/>
            </a:endParaRPr>
          </a:p>
        </p:txBody>
      </p:sp>
      <p:sp>
        <p:nvSpPr>
          <p:cNvPr id="25" name="object 3">
            <a:extLst>
              <a:ext uri="{FF2B5EF4-FFF2-40B4-BE49-F238E27FC236}">
                <a16:creationId xmlns:a16="http://schemas.microsoft.com/office/drawing/2014/main" id="{2F8E5E3C-C8FF-4ABE-B0BE-21762DA69433}"/>
              </a:ext>
            </a:extLst>
          </p:cNvPr>
          <p:cNvSpPr/>
          <p:nvPr userDrawn="1"/>
        </p:nvSpPr>
        <p:spPr>
          <a:xfrm>
            <a:off x="0" y="1355724"/>
            <a:ext cx="7896841" cy="5502275"/>
          </a:xfrm>
          <a:custGeom>
            <a:avLst/>
            <a:gdLst/>
            <a:ahLst/>
            <a:cxnLst/>
            <a:rect l="l" t="t" r="r" b="b"/>
            <a:pathLst>
              <a:path w="16670019" h="10303510">
                <a:moveTo>
                  <a:pt x="0" y="10303351"/>
                </a:moveTo>
                <a:lnTo>
                  <a:pt x="16669649" y="10303351"/>
                </a:lnTo>
                <a:lnTo>
                  <a:pt x="16669649" y="0"/>
                </a:lnTo>
                <a:lnTo>
                  <a:pt x="0" y="0"/>
                </a:lnTo>
                <a:lnTo>
                  <a:pt x="0" y="10303351"/>
                </a:lnTo>
                <a:close/>
              </a:path>
            </a:pathLst>
          </a:custGeom>
          <a:solidFill>
            <a:srgbClr val="E2DED9"/>
          </a:solidFill>
          <a:ln>
            <a:noFill/>
          </a:ln>
        </p:spPr>
        <p:txBody>
          <a:bodyPr wrap="square" lIns="0" tIns="0" rIns="0" bIns="0" rtlCol="0"/>
          <a:lstStyle/>
          <a:p>
            <a:pPr marL="0" marR="0" lvl="0" indent="0"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1F2023"/>
              </a:solidFill>
              <a:effectLst/>
              <a:uLnTx/>
              <a:uFillTx/>
            </a:endParaRPr>
          </a:p>
        </p:txBody>
      </p:sp>
      <p:sp>
        <p:nvSpPr>
          <p:cNvPr id="16" name="Title 1">
            <a:extLst>
              <a:ext uri="{FF2B5EF4-FFF2-40B4-BE49-F238E27FC236}">
                <a16:creationId xmlns:a16="http://schemas.microsoft.com/office/drawing/2014/main" id="{D4352087-9FC5-44CB-9335-2EEFDAC76577}"/>
              </a:ext>
            </a:extLst>
          </p:cNvPr>
          <p:cNvSpPr>
            <a:spLocks noGrp="1"/>
          </p:cNvSpPr>
          <p:nvPr>
            <p:ph type="ctrTitle"/>
          </p:nvPr>
        </p:nvSpPr>
        <p:spPr>
          <a:xfrm>
            <a:off x="249114" y="2138963"/>
            <a:ext cx="5393354" cy="2224886"/>
          </a:xfrm>
        </p:spPr>
        <p:txBody>
          <a:bodyPr anchor="t" anchorCtr="0">
            <a:noAutofit/>
          </a:bodyPr>
          <a:lstStyle>
            <a:lvl1pPr algn="l">
              <a:lnSpc>
                <a:spcPct val="83000"/>
              </a:lnSpc>
              <a:defRPr sz="6000" cap="all" baseline="0">
                <a:solidFill>
                  <a:srgbClr val="30373B"/>
                </a:solidFill>
                <a:latin typeface="Impact" panose="020B0806030902050204" pitchFamily="34" charset="0"/>
              </a:defRPr>
            </a:lvl1pPr>
          </a:lstStyle>
          <a:p>
            <a:r>
              <a:rPr lang="da-DK" err="1"/>
              <a:t>Click</a:t>
            </a:r>
            <a:r>
              <a:rPr lang="da-DK"/>
              <a:t> to </a:t>
            </a:r>
            <a:r>
              <a:rPr lang="da-DK" err="1"/>
              <a:t>edit</a:t>
            </a:r>
            <a:r>
              <a:rPr lang="da-DK"/>
              <a:t> Master </a:t>
            </a:r>
            <a:r>
              <a:rPr lang="da-DK" err="1"/>
              <a:t>title</a:t>
            </a:r>
            <a:r>
              <a:rPr lang="da-DK"/>
              <a:t> style</a:t>
            </a:r>
          </a:p>
        </p:txBody>
      </p:sp>
      <p:sp>
        <p:nvSpPr>
          <p:cNvPr id="21" name="Subtitle 2">
            <a:extLst>
              <a:ext uri="{FF2B5EF4-FFF2-40B4-BE49-F238E27FC236}">
                <a16:creationId xmlns:a16="http://schemas.microsoft.com/office/drawing/2014/main" id="{F4872442-83A2-43AD-891C-C24ABE274253}"/>
              </a:ext>
            </a:extLst>
          </p:cNvPr>
          <p:cNvSpPr>
            <a:spLocks noGrp="1"/>
          </p:cNvSpPr>
          <p:nvPr>
            <p:ph type="subTitle" idx="1"/>
          </p:nvPr>
        </p:nvSpPr>
        <p:spPr>
          <a:xfrm>
            <a:off x="249230" y="5463128"/>
            <a:ext cx="5393354" cy="863537"/>
          </a:xfrm>
        </p:spPr>
        <p:txBody>
          <a:bodyPr anchor="b" anchorCtr="0"/>
          <a:lstStyle>
            <a:lvl1pPr marL="0" indent="0" algn="l">
              <a:spcBef>
                <a:spcPts val="0"/>
              </a:spcBef>
              <a:buFont typeface="Arial" panose="020B0604020202020204" pitchFamily="34" charset="0"/>
              <a:buChar char="​"/>
              <a:defRPr sz="831">
                <a:solidFill>
                  <a:srgbClr val="1F2023"/>
                </a:solidFill>
              </a:defRPr>
            </a:lvl1pPr>
            <a:lvl2pPr marL="0" indent="0" algn="l">
              <a:buFont typeface="Arial" panose="020B0604020202020204" pitchFamily="34" charset="0"/>
              <a:buNone/>
              <a:defRPr sz="825">
                <a:solidFill>
                  <a:schemeClr val="accent2"/>
                </a:solidFill>
              </a:defRPr>
            </a:lvl2pPr>
            <a:lvl3pPr marL="0" indent="0" algn="l">
              <a:buFont typeface="Arial" panose="020B0604020202020204" pitchFamily="34" charset="0"/>
              <a:buChar char="​"/>
              <a:defRPr sz="1500">
                <a:solidFill>
                  <a:schemeClr val="bg1"/>
                </a:solidFill>
              </a:defRPr>
            </a:lvl3pPr>
            <a:lvl4pPr marL="0" indent="0" algn="l">
              <a:buFont typeface="Arial" panose="020B0604020202020204" pitchFamily="34" charset="0"/>
              <a:buChar char="​"/>
              <a:defRPr sz="1500">
                <a:solidFill>
                  <a:schemeClr val="bg1"/>
                </a:solidFill>
              </a:defRPr>
            </a:lvl4pPr>
            <a:lvl5pPr marL="0" indent="0" algn="l">
              <a:buFont typeface="Arial" panose="020B0604020202020204" pitchFamily="34" charset="0"/>
              <a:buChar char="​"/>
              <a:defRPr sz="1500">
                <a:solidFill>
                  <a:schemeClr val="bg1"/>
                </a:solidFill>
              </a:defRPr>
            </a:lvl5pPr>
            <a:lvl6pPr marL="0" indent="0" algn="l">
              <a:buFont typeface="Arial" panose="020B0604020202020204" pitchFamily="34" charset="0"/>
              <a:buChar char="​"/>
              <a:defRPr sz="1500">
                <a:solidFill>
                  <a:schemeClr val="bg1"/>
                </a:solidFill>
              </a:defRPr>
            </a:lvl6pPr>
            <a:lvl7pPr marL="0" indent="0" algn="l">
              <a:buFont typeface="Arial" panose="020B0604020202020204" pitchFamily="34" charset="0"/>
              <a:buChar char="​"/>
              <a:defRPr sz="1500">
                <a:solidFill>
                  <a:schemeClr val="bg1"/>
                </a:solidFill>
              </a:defRPr>
            </a:lvl7pPr>
            <a:lvl8pPr marL="0" indent="0" algn="l">
              <a:buFont typeface="Arial" panose="020B0604020202020204" pitchFamily="34" charset="0"/>
              <a:buChar char="​"/>
              <a:defRPr sz="1500">
                <a:solidFill>
                  <a:schemeClr val="bg1"/>
                </a:solidFill>
              </a:defRPr>
            </a:lvl8pPr>
            <a:lvl9pPr marL="0" indent="0" algn="l">
              <a:buFont typeface="Arial" panose="020B0604020202020204" pitchFamily="34" charset="0"/>
              <a:buChar char="​"/>
              <a:defRPr sz="1500">
                <a:solidFill>
                  <a:schemeClr val="bg1"/>
                </a:solidFill>
              </a:defRPr>
            </a:lvl9pPr>
          </a:lstStyle>
          <a:p>
            <a:r>
              <a:rPr lang="da-DK" err="1"/>
              <a:t>Click</a:t>
            </a:r>
            <a:r>
              <a:rPr lang="da-DK"/>
              <a:t> to </a:t>
            </a:r>
            <a:r>
              <a:rPr lang="da-DK" err="1"/>
              <a:t>edit</a:t>
            </a:r>
            <a:r>
              <a:rPr lang="da-DK"/>
              <a:t> Master </a:t>
            </a:r>
            <a:r>
              <a:rPr lang="da-DK" err="1"/>
              <a:t>subtitle</a:t>
            </a:r>
            <a:r>
              <a:rPr lang="da-DK"/>
              <a:t> style</a:t>
            </a:r>
          </a:p>
        </p:txBody>
      </p:sp>
      <p:sp>
        <p:nvSpPr>
          <p:cNvPr id="22" name="Text Placeholder 7">
            <a:extLst>
              <a:ext uri="{FF2B5EF4-FFF2-40B4-BE49-F238E27FC236}">
                <a16:creationId xmlns:a16="http://schemas.microsoft.com/office/drawing/2014/main" id="{E1694F14-D4CB-400F-818F-B8F113DF8AE5}"/>
              </a:ext>
            </a:extLst>
          </p:cNvPr>
          <p:cNvSpPr>
            <a:spLocks noGrp="1"/>
          </p:cNvSpPr>
          <p:nvPr>
            <p:ph type="body" sz="quarter" idx="13" hasCustomPrompt="1"/>
          </p:nvPr>
        </p:nvSpPr>
        <p:spPr>
          <a:xfrm>
            <a:off x="249230" y="6387016"/>
            <a:ext cx="5393354" cy="210634"/>
          </a:xfrm>
        </p:spPr>
        <p:txBody>
          <a:bodyPr rIns="0" anchor="b" anchorCtr="0"/>
          <a:lstStyle>
            <a:lvl1pPr>
              <a:defRPr sz="831">
                <a:solidFill>
                  <a:srgbClr val="1F2023"/>
                </a:solidFill>
              </a:defRPr>
            </a:lvl1pPr>
            <a:lvl5pPr>
              <a:defRPr/>
            </a:lvl5pPr>
          </a:lstStyle>
          <a:p>
            <a:pPr lvl="0"/>
            <a:r>
              <a:rPr lang="da-DK"/>
              <a:t>Date</a:t>
            </a:r>
          </a:p>
        </p:txBody>
      </p:sp>
      <p:sp>
        <p:nvSpPr>
          <p:cNvPr id="12" name="Freeform: Shape 11">
            <a:extLst>
              <a:ext uri="{FF2B5EF4-FFF2-40B4-BE49-F238E27FC236}">
                <a16:creationId xmlns:a16="http://schemas.microsoft.com/office/drawing/2014/main" id="{4E4074B2-7DE7-48C5-B126-35D2D5B789C6}"/>
              </a:ext>
            </a:extLst>
          </p:cNvPr>
          <p:cNvSpPr/>
          <p:nvPr userDrawn="1">
            <p:custDataLst>
              <p:tags r:id="rId1"/>
            </p:custDataLst>
          </p:nvPr>
        </p:nvSpPr>
        <p:spPr bwMode="auto">
          <a:xfrm rot="5400000">
            <a:off x="8131101" y="799617"/>
            <a:ext cx="1258889" cy="265746"/>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r>
              <a:rPr lang="da-DK" sz="1662">
                <a:solidFill>
                  <a:srgbClr val="1F2023"/>
                </a:solidFill>
              </a:rPr>
              <a:t> </a:t>
            </a:r>
          </a:p>
        </p:txBody>
      </p:sp>
      <p:sp>
        <p:nvSpPr>
          <p:cNvPr id="13" name="Date_GeneralDate" hidden="1">
            <a:extLst>
              <a:ext uri="{FF2B5EF4-FFF2-40B4-BE49-F238E27FC236}">
                <a16:creationId xmlns:a16="http://schemas.microsoft.com/office/drawing/2014/main" id="{78851DB5-0042-4C2F-91A2-C5610BBF0165}"/>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4" name="FLD_PresentationTitle" hidden="1">
            <a:extLst>
              <a:ext uri="{FF2B5EF4-FFF2-40B4-BE49-F238E27FC236}">
                <a16:creationId xmlns:a16="http://schemas.microsoft.com/office/drawing/2014/main" id="{D30AB5B8-8A8A-4E95-87C2-01B43E2A66C3}"/>
              </a:ext>
            </a:extLst>
          </p:cNvPr>
          <p:cNvSpPr>
            <a:spLocks noGrp="1"/>
          </p:cNvSpPr>
          <p:nvPr>
            <p:ph type="ftr" sz="quarter" idx="11"/>
          </p:nvPr>
        </p:nvSpPr>
        <p:spPr>
          <a:xfrm>
            <a:off x="0" y="6912000"/>
            <a:ext cx="0" cy="0"/>
          </a:xfrm>
        </p:spPr>
        <p:txBody>
          <a:bodyPr anchor="t" anchorCtr="0"/>
          <a:lstStyle>
            <a:lvl1pPr algn="l">
              <a:defRPr sz="100">
                <a:noFill/>
              </a:defRPr>
            </a:lvl1pPr>
          </a:lstStyle>
          <a:p>
            <a:endParaRPr lang="da-DK"/>
          </a:p>
        </p:txBody>
      </p:sp>
      <p:sp>
        <p:nvSpPr>
          <p:cNvPr id="15" name="Slide Number Placeholder 5" hidden="1">
            <a:extLst>
              <a:ext uri="{FF2B5EF4-FFF2-40B4-BE49-F238E27FC236}">
                <a16:creationId xmlns:a16="http://schemas.microsoft.com/office/drawing/2014/main" id="{8C191AA7-E426-428B-A07B-C69D8AA11A03}"/>
              </a:ext>
            </a:extLst>
          </p:cNvPr>
          <p:cNvSpPr>
            <a:spLocks noGrp="1"/>
          </p:cNvSpPr>
          <p:nvPr>
            <p:ph type="sldNum" sz="quarter" idx="12"/>
          </p:nvPr>
        </p:nvSpPr>
        <p:spPr>
          <a:xfrm>
            <a:off x="0" y="6912000"/>
            <a:ext cx="0" cy="0"/>
          </a:xfrm>
        </p:spPr>
        <p:txBody>
          <a:bodyPr anchor="t" anchorCtr="0"/>
          <a:lstStyle>
            <a:lvl1pPr>
              <a:defRPr sz="100">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2470316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ayout 1A (titel, startbullet)">
    <p:spTree>
      <p:nvGrpSpPr>
        <p:cNvPr id="1" name=""/>
        <p:cNvGrpSpPr/>
        <p:nvPr/>
      </p:nvGrpSpPr>
      <p:grpSpPr>
        <a:xfrm>
          <a:off x="0" y="0"/>
          <a:ext cx="0" cy="0"/>
          <a:chOff x="0" y="0"/>
          <a:chExt cx="0" cy="0"/>
        </a:xfrm>
      </p:grpSpPr>
      <p:sp>
        <p:nvSpPr>
          <p:cNvPr id="11" name="Pladsholder til indhold 2"/>
          <p:cNvSpPr>
            <a:spLocks noGrp="1"/>
          </p:cNvSpPr>
          <p:nvPr>
            <p:ph idx="10" hasCustomPrompt="1"/>
          </p:nvPr>
        </p:nvSpPr>
        <p:spPr>
          <a:xfrm>
            <a:off x="628650" y="1445966"/>
            <a:ext cx="7981950" cy="4348553"/>
          </a:xfrm>
          <a:prstGeom prst="rect">
            <a:avLst/>
          </a:prstGeom>
        </p:spPr>
        <p:txBody>
          <a:bodyPr>
            <a:normAutofit/>
          </a:bodyPr>
          <a:lstStyle>
            <a:lvl1pPr>
              <a:lnSpc>
                <a:spcPct val="150000"/>
              </a:lnSpc>
              <a:spcBef>
                <a:spcPts val="0"/>
              </a:spcBef>
              <a:defRPr sz="1800">
                <a:latin typeface="Verdana" panose="020B0604030504040204" pitchFamily="34" charset="0"/>
                <a:ea typeface="Verdana" panose="020B0604030504040204" pitchFamily="34" charset="0"/>
                <a:cs typeface="Verdana" panose="020B0604030504040204" pitchFamily="34" charset="0"/>
              </a:defRPr>
            </a:lvl1pPr>
            <a:lvl2pPr marL="800100" indent="-342900">
              <a:lnSpc>
                <a:spcPct val="150000"/>
              </a:lnSpc>
              <a:spcBef>
                <a:spcPts val="0"/>
              </a:spcBef>
              <a:buFont typeface="Courier New" panose="02070309020205020404" pitchFamily="49" charset="0"/>
              <a:buChar char="o"/>
              <a:defRPr sz="1600">
                <a:latin typeface="Verdana" panose="020B0604030504040204" pitchFamily="34" charset="0"/>
                <a:ea typeface="Verdana" panose="020B0604030504040204" pitchFamily="34" charset="0"/>
                <a:cs typeface="Verdana" panose="020B0604030504040204" pitchFamily="34" charset="0"/>
              </a:defRPr>
            </a:lvl2pPr>
            <a:lvl3pPr marL="1257300" indent="-342900">
              <a:lnSpc>
                <a:spcPct val="150000"/>
              </a:lnSpc>
              <a:spcBef>
                <a:spcPts val="0"/>
              </a:spcBef>
              <a:buFont typeface="Wingdings" panose="05000000000000000000" pitchFamily="2" charset="2"/>
              <a:buChar char="§"/>
              <a:defRPr sz="1400">
                <a:latin typeface="Verdana" panose="020B0604030504040204" pitchFamily="34" charset="0"/>
                <a:ea typeface="Verdana" panose="020B0604030504040204" pitchFamily="34" charset="0"/>
                <a:cs typeface="Verdana" panose="020B0604030504040204" pitchFamily="34" charset="0"/>
              </a:defRPr>
            </a:lvl3pPr>
            <a:lvl4pPr marL="1714500" indent="-342900">
              <a:lnSpc>
                <a:spcPct val="150000"/>
              </a:lnSpc>
              <a:spcBef>
                <a:spcPts val="0"/>
              </a:spcBef>
              <a:buFont typeface="Arial" panose="020B0604020202020204" pitchFamily="34" charset="0"/>
              <a:buChar char="•"/>
              <a:defRPr sz="1300">
                <a:latin typeface="Verdana" panose="020B0604030504040204" pitchFamily="34" charset="0"/>
                <a:ea typeface="Verdana" panose="020B0604030504040204" pitchFamily="34" charset="0"/>
                <a:cs typeface="Verdana" panose="020B0604030504040204" pitchFamily="34" charset="0"/>
              </a:defRPr>
            </a:lvl4pPr>
            <a:lvl5pPr marL="2057400" indent="-228600">
              <a:lnSpc>
                <a:spcPct val="150000"/>
              </a:lnSpc>
              <a:spcBef>
                <a:spcPts val="0"/>
              </a:spcBef>
              <a:buFont typeface="Courier New" panose="02070309020205020404" pitchFamily="49" charset="0"/>
              <a:buChar char="o"/>
              <a:defRPr sz="1100">
                <a:latin typeface="Verdana" panose="020B0604030504040204" pitchFamily="34" charset="0"/>
                <a:ea typeface="Verdana" panose="020B0604030504040204" pitchFamily="34" charset="0"/>
                <a:cs typeface="Verdana" panose="020B0604030504040204" pitchFamily="34" charset="0"/>
              </a:defRPr>
            </a:lvl5pPr>
          </a:lstStyle>
          <a:p>
            <a:pPr lvl="0"/>
            <a:r>
              <a:rPr lang="da-DK"/>
              <a:t>Klik for at indsætte indhold</a:t>
            </a:r>
          </a:p>
          <a:p>
            <a:pPr lvl="1"/>
            <a:r>
              <a:rPr lang="da-DK"/>
              <a:t>Andet niveau</a:t>
            </a:r>
          </a:p>
          <a:p>
            <a:pPr lvl="2"/>
            <a:r>
              <a:rPr lang="da-DK"/>
              <a:t>Tredje niveau</a:t>
            </a:r>
          </a:p>
          <a:p>
            <a:pPr lvl="3"/>
            <a:r>
              <a:rPr lang="da-DK"/>
              <a:t>Fjerde niveau</a:t>
            </a:r>
          </a:p>
          <a:p>
            <a:pPr lvl="4"/>
            <a:r>
              <a:rPr lang="da-DK"/>
              <a:t>Femte niveau</a:t>
            </a:r>
          </a:p>
        </p:txBody>
      </p:sp>
      <p:sp>
        <p:nvSpPr>
          <p:cNvPr id="3" name="Title 2">
            <a:extLst>
              <a:ext uri="{FF2B5EF4-FFF2-40B4-BE49-F238E27FC236}">
                <a16:creationId xmlns:a16="http://schemas.microsoft.com/office/drawing/2014/main" id="{54509300-57A9-4E93-BAC1-2E989D591082}"/>
              </a:ext>
            </a:extLst>
          </p:cNvPr>
          <p:cNvSpPr>
            <a:spLocks noGrp="1"/>
          </p:cNvSpPr>
          <p:nvPr>
            <p:ph type="title" hasCustomPrompt="1"/>
          </p:nvPr>
        </p:nvSpPr>
        <p:spPr>
          <a:xfrm>
            <a:off x="628650" y="365125"/>
            <a:ext cx="7886700" cy="1325563"/>
          </a:xfrm>
          <a:prstGeom prst="rect">
            <a:avLst/>
          </a:prstGeom>
        </p:spPr>
        <p:txBody>
          <a:bodyPr/>
          <a:lstStyle/>
          <a:p>
            <a:r>
              <a:rPr lang="da-DK"/>
              <a:t>Klik for at redigere titeltypografien i masteren</a:t>
            </a:r>
          </a:p>
        </p:txBody>
      </p:sp>
    </p:spTree>
    <p:extLst>
      <p:ext uri="{BB962C8B-B14F-4D97-AF65-F5344CB8AC3E}">
        <p14:creationId xmlns:p14="http://schemas.microsoft.com/office/powerpoint/2010/main" val="930075297"/>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Logo Image A">
    <p:spTree>
      <p:nvGrpSpPr>
        <p:cNvPr id="1" name=""/>
        <p:cNvGrpSpPr/>
        <p:nvPr/>
      </p:nvGrpSpPr>
      <p:grpSpPr>
        <a:xfrm>
          <a:off x="0" y="0"/>
          <a:ext cx="0" cy="0"/>
          <a:chOff x="0" y="0"/>
          <a:chExt cx="0" cy="0"/>
        </a:xfrm>
      </p:grpSpPr>
      <p:sp>
        <p:nvSpPr>
          <p:cNvPr id="23" name="object 2">
            <a:extLst>
              <a:ext uri="{FF2B5EF4-FFF2-40B4-BE49-F238E27FC236}">
                <a16:creationId xmlns:a16="http://schemas.microsoft.com/office/drawing/2014/main" id="{A81EE220-AC53-4153-A0FE-1F2219FBF428}"/>
              </a:ext>
            </a:extLst>
          </p:cNvPr>
          <p:cNvSpPr/>
          <p:nvPr userDrawn="1"/>
        </p:nvSpPr>
        <p:spPr>
          <a:xfrm>
            <a:off x="3186569" y="0"/>
            <a:ext cx="5957431" cy="6858000"/>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8AA299"/>
          </a:solidFill>
        </p:spPr>
        <p:txBody>
          <a:bodyPr wrap="square" lIns="0" tIns="0" rIns="0" bIns="0" rtlCol="0"/>
          <a:lstStyle/>
          <a:p>
            <a:pPr marL="0" marR="0" lvl="0" indent="0"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1F2023"/>
              </a:solidFill>
              <a:effectLst/>
              <a:uLnTx/>
              <a:uFillTx/>
            </a:endParaRPr>
          </a:p>
        </p:txBody>
      </p:sp>
      <p:sp>
        <p:nvSpPr>
          <p:cNvPr id="17" name="Rectangle 16">
            <a:extLst>
              <a:ext uri="{FF2B5EF4-FFF2-40B4-BE49-F238E27FC236}">
                <a16:creationId xmlns:a16="http://schemas.microsoft.com/office/drawing/2014/main" id="{3B014E73-AB17-436C-A15E-6880F18048C0}"/>
              </a:ext>
            </a:extLst>
          </p:cNvPr>
          <p:cNvSpPr/>
          <p:nvPr userDrawn="1"/>
        </p:nvSpPr>
        <p:spPr>
          <a:xfrm>
            <a:off x="0" y="1"/>
            <a:ext cx="7896841" cy="5502275"/>
          </a:xfrm>
          <a:prstGeom prst="rect">
            <a:avLst/>
          </a:prstGeom>
          <a:solidFill>
            <a:srgbClr val="F8F5E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t" anchorCtr="0"/>
          <a:lstStyle/>
          <a:p>
            <a:pPr algn="l"/>
            <a:endParaRPr lang="da-DK" sz="923" noProof="0">
              <a:solidFill>
                <a:srgbClr val="1F2023"/>
              </a:solidFill>
            </a:endParaRPr>
          </a:p>
        </p:txBody>
      </p:sp>
      <p:sp>
        <p:nvSpPr>
          <p:cNvPr id="18" name="Title 1">
            <a:extLst>
              <a:ext uri="{FF2B5EF4-FFF2-40B4-BE49-F238E27FC236}">
                <a16:creationId xmlns:a16="http://schemas.microsoft.com/office/drawing/2014/main" id="{13637FDB-F8B7-4F0A-9D10-989B9490783C}"/>
              </a:ext>
            </a:extLst>
          </p:cNvPr>
          <p:cNvSpPr>
            <a:spLocks noGrp="1"/>
          </p:cNvSpPr>
          <p:nvPr>
            <p:ph type="ctrTitle"/>
          </p:nvPr>
        </p:nvSpPr>
        <p:spPr>
          <a:xfrm>
            <a:off x="249116" y="539750"/>
            <a:ext cx="5392443" cy="3194064"/>
          </a:xfrm>
        </p:spPr>
        <p:txBody>
          <a:bodyPr anchor="t" anchorCtr="0">
            <a:noAutofit/>
          </a:bodyPr>
          <a:lstStyle>
            <a:lvl1pPr algn="l">
              <a:lnSpc>
                <a:spcPct val="83000"/>
              </a:lnSpc>
              <a:defRPr sz="6000" cap="all" baseline="0">
                <a:solidFill>
                  <a:srgbClr val="30373B"/>
                </a:solidFill>
                <a:latin typeface="Impact" panose="020B0806030902050204" pitchFamily="34" charset="0"/>
              </a:defRPr>
            </a:lvl1pPr>
          </a:lstStyle>
          <a:p>
            <a:r>
              <a:rPr lang="da-DK" err="1"/>
              <a:t>Click</a:t>
            </a:r>
            <a:r>
              <a:rPr lang="da-DK"/>
              <a:t> to </a:t>
            </a:r>
            <a:r>
              <a:rPr lang="da-DK" err="1"/>
              <a:t>edit</a:t>
            </a:r>
            <a:r>
              <a:rPr lang="da-DK"/>
              <a:t> Master </a:t>
            </a:r>
            <a:r>
              <a:rPr lang="da-DK" err="1"/>
              <a:t>title</a:t>
            </a:r>
            <a:r>
              <a:rPr lang="da-DK"/>
              <a:t> style</a:t>
            </a:r>
          </a:p>
        </p:txBody>
      </p:sp>
      <p:sp>
        <p:nvSpPr>
          <p:cNvPr id="3" name="Subtitle 2"/>
          <p:cNvSpPr>
            <a:spLocks noGrp="1"/>
          </p:cNvSpPr>
          <p:nvPr>
            <p:ph type="subTitle" idx="1"/>
          </p:nvPr>
        </p:nvSpPr>
        <p:spPr>
          <a:xfrm>
            <a:off x="249116" y="4011118"/>
            <a:ext cx="2599592" cy="1218483"/>
          </a:xfrm>
        </p:spPr>
        <p:txBody>
          <a:bodyPr rIns="360000" anchor="t" anchorCtr="0"/>
          <a:lstStyle>
            <a:lvl1pPr marL="0" indent="0" algn="l">
              <a:spcBef>
                <a:spcPts val="0"/>
              </a:spcBef>
              <a:buFont typeface="Arial" panose="020B0604020202020204" pitchFamily="34" charset="0"/>
              <a:buChar char="​"/>
              <a:defRPr sz="900">
                <a:solidFill>
                  <a:srgbClr val="1F2023"/>
                </a:solidFill>
              </a:defRPr>
            </a:lvl1pPr>
            <a:lvl2pPr marL="0" indent="0" algn="l">
              <a:buFont typeface="Arial" panose="020B0604020202020204" pitchFamily="34" charset="0"/>
              <a:buNone/>
              <a:defRPr sz="825">
                <a:solidFill>
                  <a:srgbClr val="2F363B"/>
                </a:solidFill>
              </a:defRPr>
            </a:lvl2pPr>
            <a:lvl3pPr marL="0" indent="0" algn="l">
              <a:buFont typeface="Arial" panose="020B0604020202020204" pitchFamily="34" charset="0"/>
              <a:buChar char="​"/>
              <a:defRPr sz="1500">
                <a:solidFill>
                  <a:schemeClr val="bg1"/>
                </a:solidFill>
              </a:defRPr>
            </a:lvl3pPr>
            <a:lvl4pPr marL="0" indent="0" algn="l">
              <a:buFont typeface="Arial" panose="020B0604020202020204" pitchFamily="34" charset="0"/>
              <a:buChar char="​"/>
              <a:defRPr sz="1500">
                <a:solidFill>
                  <a:schemeClr val="bg1"/>
                </a:solidFill>
              </a:defRPr>
            </a:lvl4pPr>
            <a:lvl5pPr marL="0" indent="0" algn="l">
              <a:buFont typeface="Arial" panose="020B0604020202020204" pitchFamily="34" charset="0"/>
              <a:buChar char="​"/>
              <a:defRPr sz="1500">
                <a:solidFill>
                  <a:schemeClr val="bg1"/>
                </a:solidFill>
              </a:defRPr>
            </a:lvl5pPr>
            <a:lvl6pPr marL="0" indent="0" algn="l">
              <a:buFont typeface="Arial" panose="020B0604020202020204" pitchFamily="34" charset="0"/>
              <a:buChar char="​"/>
              <a:defRPr sz="1500">
                <a:solidFill>
                  <a:schemeClr val="bg1"/>
                </a:solidFill>
              </a:defRPr>
            </a:lvl6pPr>
            <a:lvl7pPr marL="0" indent="0" algn="l">
              <a:buFont typeface="Arial" panose="020B0604020202020204" pitchFamily="34" charset="0"/>
              <a:buChar char="​"/>
              <a:defRPr sz="1500">
                <a:solidFill>
                  <a:schemeClr val="bg1"/>
                </a:solidFill>
              </a:defRPr>
            </a:lvl7pPr>
            <a:lvl8pPr marL="0" indent="0" algn="l">
              <a:buFont typeface="Arial" panose="020B0604020202020204" pitchFamily="34" charset="0"/>
              <a:buChar char="​"/>
              <a:defRPr sz="1500">
                <a:solidFill>
                  <a:schemeClr val="bg1"/>
                </a:solidFill>
              </a:defRPr>
            </a:lvl8pPr>
            <a:lvl9pPr marL="0" indent="0" algn="l">
              <a:buFont typeface="Arial" panose="020B0604020202020204" pitchFamily="34" charset="0"/>
              <a:buChar char="​"/>
              <a:defRPr sz="1500">
                <a:solidFill>
                  <a:schemeClr val="bg1"/>
                </a:solidFill>
              </a:defRPr>
            </a:lvl9pPr>
          </a:lstStyle>
          <a:p>
            <a:r>
              <a:rPr lang="da-DK" err="1"/>
              <a:t>Click</a:t>
            </a:r>
            <a:r>
              <a:rPr lang="da-DK"/>
              <a:t> to </a:t>
            </a:r>
            <a:r>
              <a:rPr lang="da-DK" err="1"/>
              <a:t>edit</a:t>
            </a:r>
            <a:r>
              <a:rPr lang="da-DK"/>
              <a:t> Master </a:t>
            </a:r>
            <a:r>
              <a:rPr lang="da-DK" err="1"/>
              <a:t>subtitle</a:t>
            </a:r>
            <a:r>
              <a:rPr lang="da-DK"/>
              <a:t> style</a:t>
            </a:r>
          </a:p>
        </p:txBody>
      </p:sp>
      <p:sp>
        <p:nvSpPr>
          <p:cNvPr id="15" name="Text Placeholder 7">
            <a:extLst>
              <a:ext uri="{FF2B5EF4-FFF2-40B4-BE49-F238E27FC236}">
                <a16:creationId xmlns:a16="http://schemas.microsoft.com/office/drawing/2014/main" id="{CA3D093D-0380-470D-91FD-8CF2680FA772}"/>
              </a:ext>
            </a:extLst>
          </p:cNvPr>
          <p:cNvSpPr>
            <a:spLocks noGrp="1"/>
          </p:cNvSpPr>
          <p:nvPr>
            <p:ph type="body" sz="quarter" idx="13" hasCustomPrompt="1"/>
          </p:nvPr>
        </p:nvSpPr>
        <p:spPr>
          <a:xfrm>
            <a:off x="249116" y="5014338"/>
            <a:ext cx="2599593" cy="210634"/>
          </a:xfrm>
        </p:spPr>
        <p:txBody>
          <a:bodyPr rIns="0" anchor="b" anchorCtr="0"/>
          <a:lstStyle>
            <a:lvl1pPr>
              <a:defRPr sz="831">
                <a:solidFill>
                  <a:srgbClr val="1F2023"/>
                </a:solidFill>
              </a:defRPr>
            </a:lvl1pPr>
            <a:lvl5pPr>
              <a:defRPr/>
            </a:lvl5pPr>
          </a:lstStyle>
          <a:p>
            <a:pPr lvl="0"/>
            <a:r>
              <a:rPr lang="da-DK"/>
              <a:t>Date</a:t>
            </a:r>
          </a:p>
        </p:txBody>
      </p:sp>
      <p:sp>
        <p:nvSpPr>
          <p:cNvPr id="13" name="Picture Placeholder 13">
            <a:extLst>
              <a:ext uri="{FF2B5EF4-FFF2-40B4-BE49-F238E27FC236}">
                <a16:creationId xmlns:a16="http://schemas.microsoft.com/office/drawing/2014/main" id="{32CBD7CE-0C91-4290-9606-0942684C4652}"/>
              </a:ext>
            </a:extLst>
          </p:cNvPr>
          <p:cNvSpPr>
            <a:spLocks noGrp="1"/>
          </p:cNvSpPr>
          <p:nvPr>
            <p:ph type="pic" sz="quarter" idx="15"/>
          </p:nvPr>
        </p:nvSpPr>
        <p:spPr>
          <a:xfrm>
            <a:off x="3186569" y="4011118"/>
            <a:ext cx="5957431" cy="2846883"/>
          </a:xfrm>
          <a:solidFill>
            <a:srgbClr val="F3F2F0"/>
          </a:solidFill>
        </p:spPr>
        <p:txBody>
          <a:bodyPr vert="horz" lIns="0" tIns="0" rIns="0" bIns="0" rtlCol="0" anchor="ctr" anchorCtr="0">
            <a:noAutofit/>
          </a:bodyPr>
          <a:lstStyle>
            <a:lvl1pPr algn="ctr">
              <a:defRPr lang="da-DK" dirty="0"/>
            </a:lvl1pPr>
          </a:lstStyle>
          <a:p>
            <a:pPr lvl="0" algn="ctr">
              <a:buNone/>
            </a:pPr>
            <a:r>
              <a:rPr lang="da-DK" err="1"/>
              <a:t>Click</a:t>
            </a:r>
            <a:r>
              <a:rPr lang="da-DK"/>
              <a:t> </a:t>
            </a:r>
            <a:r>
              <a:rPr lang="da-DK" err="1"/>
              <a:t>icon</a:t>
            </a:r>
            <a:r>
              <a:rPr lang="da-DK"/>
              <a:t> to </a:t>
            </a:r>
            <a:r>
              <a:rPr lang="da-DK" err="1"/>
              <a:t>add</a:t>
            </a:r>
            <a:r>
              <a:rPr lang="da-DK"/>
              <a:t> </a:t>
            </a:r>
            <a:r>
              <a:rPr lang="da-DK" err="1"/>
              <a:t>picture</a:t>
            </a:r>
            <a:endParaRPr lang="da-DK"/>
          </a:p>
        </p:txBody>
      </p:sp>
      <p:sp>
        <p:nvSpPr>
          <p:cNvPr id="12" name="Freeform: Shape 11">
            <a:extLst>
              <a:ext uri="{FF2B5EF4-FFF2-40B4-BE49-F238E27FC236}">
                <a16:creationId xmlns:a16="http://schemas.microsoft.com/office/drawing/2014/main" id="{B1D3067F-1962-46D9-86B7-08FC94B365B1}"/>
              </a:ext>
            </a:extLst>
          </p:cNvPr>
          <p:cNvSpPr/>
          <p:nvPr userDrawn="1">
            <p:custDataLst>
              <p:tags r:id="rId1"/>
            </p:custDataLst>
          </p:nvPr>
        </p:nvSpPr>
        <p:spPr bwMode="auto">
          <a:xfrm rot="5400000">
            <a:off x="8131101" y="799617"/>
            <a:ext cx="1258889" cy="265746"/>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r>
              <a:rPr lang="da-DK" sz="1662">
                <a:solidFill>
                  <a:srgbClr val="1F2023"/>
                </a:solidFill>
              </a:rPr>
              <a:t> </a:t>
            </a:r>
          </a:p>
        </p:txBody>
      </p:sp>
      <p:sp>
        <p:nvSpPr>
          <p:cNvPr id="14" name="Date_GeneralDate" hidden="1">
            <a:extLst>
              <a:ext uri="{FF2B5EF4-FFF2-40B4-BE49-F238E27FC236}">
                <a16:creationId xmlns:a16="http://schemas.microsoft.com/office/drawing/2014/main" id="{36AF7DCB-7B08-4B67-89C6-197E386CB34C}"/>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6" name="FLD_PresentationTitle" hidden="1">
            <a:extLst>
              <a:ext uri="{FF2B5EF4-FFF2-40B4-BE49-F238E27FC236}">
                <a16:creationId xmlns:a16="http://schemas.microsoft.com/office/drawing/2014/main" id="{2CD592E1-AE74-4CC3-838F-BCDDFF7EC8DD}"/>
              </a:ext>
            </a:extLst>
          </p:cNvPr>
          <p:cNvSpPr>
            <a:spLocks noGrp="1"/>
          </p:cNvSpPr>
          <p:nvPr>
            <p:ph type="ftr" sz="quarter" idx="11"/>
          </p:nvPr>
        </p:nvSpPr>
        <p:spPr>
          <a:xfrm>
            <a:off x="0" y="6912000"/>
            <a:ext cx="0" cy="0"/>
          </a:xfrm>
        </p:spPr>
        <p:txBody>
          <a:bodyPr anchor="t" anchorCtr="0"/>
          <a:lstStyle>
            <a:lvl1pPr algn="l">
              <a:defRPr sz="100">
                <a:noFill/>
              </a:defRPr>
            </a:lvl1pPr>
          </a:lstStyle>
          <a:p>
            <a:endParaRPr lang="da-DK"/>
          </a:p>
        </p:txBody>
      </p:sp>
      <p:sp>
        <p:nvSpPr>
          <p:cNvPr id="19" name="Slide Number Placeholder 5" hidden="1">
            <a:extLst>
              <a:ext uri="{FF2B5EF4-FFF2-40B4-BE49-F238E27FC236}">
                <a16:creationId xmlns:a16="http://schemas.microsoft.com/office/drawing/2014/main" id="{BD316983-99AE-467A-81A9-261F469719E7}"/>
              </a:ext>
            </a:extLst>
          </p:cNvPr>
          <p:cNvSpPr>
            <a:spLocks noGrp="1"/>
          </p:cNvSpPr>
          <p:nvPr>
            <p:ph type="sldNum" sz="quarter" idx="12"/>
          </p:nvPr>
        </p:nvSpPr>
        <p:spPr>
          <a:xfrm>
            <a:off x="0" y="6912000"/>
            <a:ext cx="0" cy="0"/>
          </a:xfrm>
        </p:spPr>
        <p:txBody>
          <a:bodyPr anchor="t" anchorCtr="0"/>
          <a:lstStyle>
            <a:lvl1pPr>
              <a:defRPr sz="100">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2874242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 Logo Image B">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68EEBBF-213D-4D68-A9CE-7CE68854BF37}"/>
              </a:ext>
            </a:extLst>
          </p:cNvPr>
          <p:cNvSpPr/>
          <p:nvPr userDrawn="1"/>
        </p:nvSpPr>
        <p:spPr>
          <a:xfrm>
            <a:off x="2554423" y="2"/>
            <a:ext cx="6589577" cy="6857999"/>
          </a:xfrm>
          <a:prstGeom prst="rect">
            <a:avLst/>
          </a:prstGeom>
          <a:solidFill>
            <a:srgbClr val="40615F"/>
          </a:solidFill>
          <a:ln w="25400" cap="flat" cmpd="sng" algn="ctr">
            <a:noFill/>
            <a:prstDash val="solid"/>
          </a:ln>
          <a:effectLst/>
        </p:spPr>
        <p:txBody>
          <a:bodyPr rtlCol="0" anchor="ctr"/>
          <a:lstStyle/>
          <a:p>
            <a:pPr marL="0" marR="0" lvl="0" indent="0" algn="ctr"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1F2023"/>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22B6603F-4155-4540-8188-E26BD0148E04}"/>
              </a:ext>
            </a:extLst>
          </p:cNvPr>
          <p:cNvSpPr/>
          <p:nvPr userDrawn="1"/>
        </p:nvSpPr>
        <p:spPr>
          <a:xfrm>
            <a:off x="0" y="1192710"/>
            <a:ext cx="7896841" cy="5665290"/>
          </a:xfrm>
          <a:prstGeom prst="rect">
            <a:avLst/>
          </a:prstGeom>
          <a:solidFill>
            <a:srgbClr val="F8F5E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t" anchorCtr="0"/>
          <a:lstStyle/>
          <a:p>
            <a:pPr algn="l"/>
            <a:endParaRPr lang="da-DK" sz="923" noProof="0">
              <a:solidFill>
                <a:srgbClr val="1F2023"/>
              </a:solidFill>
            </a:endParaRPr>
          </a:p>
        </p:txBody>
      </p:sp>
      <p:sp>
        <p:nvSpPr>
          <p:cNvPr id="16" name="Subtitle 2">
            <a:extLst>
              <a:ext uri="{FF2B5EF4-FFF2-40B4-BE49-F238E27FC236}">
                <a16:creationId xmlns:a16="http://schemas.microsoft.com/office/drawing/2014/main" id="{D91FE0B5-9691-44AE-8658-63DACE043914}"/>
              </a:ext>
            </a:extLst>
          </p:cNvPr>
          <p:cNvSpPr>
            <a:spLocks noGrp="1"/>
          </p:cNvSpPr>
          <p:nvPr>
            <p:ph type="subTitle" idx="1"/>
          </p:nvPr>
        </p:nvSpPr>
        <p:spPr>
          <a:xfrm>
            <a:off x="249116" y="5359205"/>
            <a:ext cx="2599592" cy="970159"/>
          </a:xfrm>
        </p:spPr>
        <p:txBody>
          <a:bodyPr rIns="360000" anchor="t" anchorCtr="0"/>
          <a:lstStyle>
            <a:lvl1pPr marL="0" indent="0" algn="l">
              <a:spcBef>
                <a:spcPts val="0"/>
              </a:spcBef>
              <a:buFont typeface="Arial" panose="020B0604020202020204" pitchFamily="34" charset="0"/>
              <a:buChar char="​"/>
              <a:defRPr sz="900">
                <a:solidFill>
                  <a:srgbClr val="1F2023"/>
                </a:solidFill>
              </a:defRPr>
            </a:lvl1pPr>
            <a:lvl2pPr marL="0" indent="0" algn="l">
              <a:buFont typeface="Arial" panose="020B0604020202020204" pitchFamily="34" charset="0"/>
              <a:buNone/>
              <a:defRPr sz="825">
                <a:solidFill>
                  <a:srgbClr val="2F363B"/>
                </a:solidFill>
              </a:defRPr>
            </a:lvl2pPr>
            <a:lvl3pPr marL="0" indent="0" algn="l">
              <a:buFont typeface="Arial" panose="020B0604020202020204" pitchFamily="34" charset="0"/>
              <a:buChar char="​"/>
              <a:defRPr sz="1500">
                <a:solidFill>
                  <a:schemeClr val="bg1"/>
                </a:solidFill>
              </a:defRPr>
            </a:lvl3pPr>
            <a:lvl4pPr marL="0" indent="0" algn="l">
              <a:buFont typeface="Arial" panose="020B0604020202020204" pitchFamily="34" charset="0"/>
              <a:buChar char="​"/>
              <a:defRPr sz="1500">
                <a:solidFill>
                  <a:schemeClr val="bg1"/>
                </a:solidFill>
              </a:defRPr>
            </a:lvl4pPr>
            <a:lvl5pPr marL="0" indent="0" algn="l">
              <a:buFont typeface="Arial" panose="020B0604020202020204" pitchFamily="34" charset="0"/>
              <a:buChar char="​"/>
              <a:defRPr sz="1500">
                <a:solidFill>
                  <a:schemeClr val="bg1"/>
                </a:solidFill>
              </a:defRPr>
            </a:lvl5pPr>
            <a:lvl6pPr marL="0" indent="0" algn="l">
              <a:buFont typeface="Arial" panose="020B0604020202020204" pitchFamily="34" charset="0"/>
              <a:buChar char="​"/>
              <a:defRPr sz="1500">
                <a:solidFill>
                  <a:schemeClr val="bg1"/>
                </a:solidFill>
              </a:defRPr>
            </a:lvl6pPr>
            <a:lvl7pPr marL="0" indent="0" algn="l">
              <a:buFont typeface="Arial" panose="020B0604020202020204" pitchFamily="34" charset="0"/>
              <a:buChar char="​"/>
              <a:defRPr sz="1500">
                <a:solidFill>
                  <a:schemeClr val="bg1"/>
                </a:solidFill>
              </a:defRPr>
            </a:lvl7pPr>
            <a:lvl8pPr marL="0" indent="0" algn="l">
              <a:buFont typeface="Arial" panose="020B0604020202020204" pitchFamily="34" charset="0"/>
              <a:buChar char="​"/>
              <a:defRPr sz="1500">
                <a:solidFill>
                  <a:schemeClr val="bg1"/>
                </a:solidFill>
              </a:defRPr>
            </a:lvl8pPr>
            <a:lvl9pPr marL="0" indent="0" algn="l">
              <a:buFont typeface="Arial" panose="020B0604020202020204" pitchFamily="34" charset="0"/>
              <a:buChar char="​"/>
              <a:defRPr sz="1500">
                <a:solidFill>
                  <a:schemeClr val="bg1"/>
                </a:solidFill>
              </a:defRPr>
            </a:lvl9pPr>
          </a:lstStyle>
          <a:p>
            <a:r>
              <a:rPr lang="da-DK" err="1"/>
              <a:t>Click</a:t>
            </a:r>
            <a:r>
              <a:rPr lang="da-DK"/>
              <a:t> to </a:t>
            </a:r>
            <a:r>
              <a:rPr lang="da-DK" err="1"/>
              <a:t>edit</a:t>
            </a:r>
            <a:r>
              <a:rPr lang="da-DK"/>
              <a:t> Master </a:t>
            </a:r>
            <a:r>
              <a:rPr lang="da-DK" err="1"/>
              <a:t>subtitle</a:t>
            </a:r>
            <a:r>
              <a:rPr lang="da-DK"/>
              <a:t> style</a:t>
            </a:r>
          </a:p>
        </p:txBody>
      </p:sp>
      <p:sp>
        <p:nvSpPr>
          <p:cNvPr id="17" name="Text Placeholder 7">
            <a:extLst>
              <a:ext uri="{FF2B5EF4-FFF2-40B4-BE49-F238E27FC236}">
                <a16:creationId xmlns:a16="http://schemas.microsoft.com/office/drawing/2014/main" id="{B0209D8F-BA6F-43E8-8163-332BF66A1716}"/>
              </a:ext>
            </a:extLst>
          </p:cNvPr>
          <p:cNvSpPr>
            <a:spLocks noGrp="1"/>
          </p:cNvSpPr>
          <p:nvPr>
            <p:ph type="body" sz="quarter" idx="13" hasCustomPrompt="1"/>
          </p:nvPr>
        </p:nvSpPr>
        <p:spPr>
          <a:xfrm>
            <a:off x="249116" y="6329364"/>
            <a:ext cx="2599593" cy="268287"/>
          </a:xfrm>
        </p:spPr>
        <p:txBody>
          <a:bodyPr rIns="0" anchor="b" anchorCtr="0"/>
          <a:lstStyle>
            <a:lvl1pPr>
              <a:defRPr sz="831">
                <a:solidFill>
                  <a:srgbClr val="1F2023"/>
                </a:solidFill>
              </a:defRPr>
            </a:lvl1pPr>
            <a:lvl5pPr>
              <a:defRPr/>
            </a:lvl5pPr>
          </a:lstStyle>
          <a:p>
            <a:pPr lvl="0"/>
            <a:r>
              <a:rPr lang="da-DK"/>
              <a:t>Date</a:t>
            </a:r>
          </a:p>
        </p:txBody>
      </p:sp>
      <p:sp>
        <p:nvSpPr>
          <p:cNvPr id="19" name="Picture Placeholder 13">
            <a:extLst>
              <a:ext uri="{FF2B5EF4-FFF2-40B4-BE49-F238E27FC236}">
                <a16:creationId xmlns:a16="http://schemas.microsoft.com/office/drawing/2014/main" id="{FF4E0258-33E3-4EA6-82D5-DF8741A7A7DA}"/>
              </a:ext>
            </a:extLst>
          </p:cNvPr>
          <p:cNvSpPr>
            <a:spLocks noGrp="1"/>
          </p:cNvSpPr>
          <p:nvPr>
            <p:ph type="pic" sz="quarter" idx="15"/>
          </p:nvPr>
        </p:nvSpPr>
        <p:spPr>
          <a:xfrm>
            <a:off x="5154016" y="2114551"/>
            <a:ext cx="3225054" cy="4743448"/>
          </a:xfrm>
          <a:solidFill>
            <a:srgbClr val="F3F2F0"/>
          </a:solidFill>
        </p:spPr>
        <p:txBody>
          <a:bodyPr vert="horz" lIns="0" tIns="0" rIns="0" bIns="0" rtlCol="0" anchor="ctr" anchorCtr="0">
            <a:noAutofit/>
          </a:bodyPr>
          <a:lstStyle>
            <a:lvl1pPr algn="ctr">
              <a:defRPr lang="da-DK" dirty="0"/>
            </a:lvl1pPr>
          </a:lstStyle>
          <a:p>
            <a:pPr lvl="0" algn="ctr">
              <a:buNone/>
            </a:pPr>
            <a:r>
              <a:rPr lang="da-DK" err="1"/>
              <a:t>Click</a:t>
            </a:r>
            <a:r>
              <a:rPr lang="da-DK"/>
              <a:t> </a:t>
            </a:r>
            <a:r>
              <a:rPr lang="da-DK" err="1"/>
              <a:t>icon</a:t>
            </a:r>
            <a:r>
              <a:rPr lang="da-DK"/>
              <a:t> to </a:t>
            </a:r>
            <a:r>
              <a:rPr lang="da-DK" err="1"/>
              <a:t>add</a:t>
            </a:r>
            <a:r>
              <a:rPr lang="da-DK"/>
              <a:t> </a:t>
            </a:r>
            <a:r>
              <a:rPr lang="da-DK" err="1"/>
              <a:t>picture</a:t>
            </a:r>
            <a:endParaRPr lang="da-DK"/>
          </a:p>
        </p:txBody>
      </p:sp>
      <p:sp>
        <p:nvSpPr>
          <p:cNvPr id="20" name="Title 1">
            <a:extLst>
              <a:ext uri="{FF2B5EF4-FFF2-40B4-BE49-F238E27FC236}">
                <a16:creationId xmlns:a16="http://schemas.microsoft.com/office/drawing/2014/main" id="{0EBAF0D6-94B2-4C1D-A1F8-F94F8FD39F51}"/>
              </a:ext>
            </a:extLst>
          </p:cNvPr>
          <p:cNvSpPr>
            <a:spLocks noGrp="1"/>
          </p:cNvSpPr>
          <p:nvPr>
            <p:ph type="ctrTitle"/>
          </p:nvPr>
        </p:nvSpPr>
        <p:spPr>
          <a:xfrm>
            <a:off x="249116" y="2114551"/>
            <a:ext cx="4447443" cy="2976366"/>
          </a:xfrm>
        </p:spPr>
        <p:txBody>
          <a:bodyPr anchor="t" anchorCtr="0">
            <a:noAutofit/>
          </a:bodyPr>
          <a:lstStyle>
            <a:lvl1pPr algn="l">
              <a:lnSpc>
                <a:spcPct val="83000"/>
              </a:lnSpc>
              <a:defRPr sz="5539" cap="all" baseline="0">
                <a:solidFill>
                  <a:srgbClr val="30373B"/>
                </a:solidFill>
                <a:latin typeface="Impact" panose="020B0806030902050204" pitchFamily="34" charset="0"/>
              </a:defRPr>
            </a:lvl1pPr>
          </a:lstStyle>
          <a:p>
            <a:r>
              <a:rPr lang="da-DK" err="1"/>
              <a:t>Click</a:t>
            </a:r>
            <a:r>
              <a:rPr lang="da-DK"/>
              <a:t> to </a:t>
            </a:r>
            <a:r>
              <a:rPr lang="da-DK" err="1"/>
              <a:t>edit</a:t>
            </a:r>
            <a:r>
              <a:rPr lang="da-DK"/>
              <a:t> Master </a:t>
            </a:r>
            <a:r>
              <a:rPr lang="da-DK" err="1"/>
              <a:t>title</a:t>
            </a:r>
            <a:r>
              <a:rPr lang="da-DK"/>
              <a:t> style</a:t>
            </a:r>
          </a:p>
        </p:txBody>
      </p:sp>
      <p:sp>
        <p:nvSpPr>
          <p:cNvPr id="12" name="Freeform: Shape 11">
            <a:extLst>
              <a:ext uri="{FF2B5EF4-FFF2-40B4-BE49-F238E27FC236}">
                <a16:creationId xmlns:a16="http://schemas.microsoft.com/office/drawing/2014/main" id="{EF6276E3-5B28-4A6A-B1CA-832827DD36EB}"/>
              </a:ext>
            </a:extLst>
          </p:cNvPr>
          <p:cNvSpPr/>
          <p:nvPr userDrawn="1">
            <p:custDataLst>
              <p:tags r:id="rId1"/>
            </p:custDataLst>
          </p:nvPr>
        </p:nvSpPr>
        <p:spPr bwMode="auto">
          <a:xfrm rot="5400000">
            <a:off x="8131101" y="799617"/>
            <a:ext cx="1258889" cy="265746"/>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r>
              <a:rPr lang="da-DK" sz="1662">
                <a:solidFill>
                  <a:srgbClr val="1F2023"/>
                </a:solidFill>
              </a:rPr>
              <a:t> </a:t>
            </a:r>
          </a:p>
        </p:txBody>
      </p:sp>
      <p:sp>
        <p:nvSpPr>
          <p:cNvPr id="13" name="Date_GeneralDate" hidden="1">
            <a:extLst>
              <a:ext uri="{FF2B5EF4-FFF2-40B4-BE49-F238E27FC236}">
                <a16:creationId xmlns:a16="http://schemas.microsoft.com/office/drawing/2014/main" id="{3D746332-4FED-48AA-8EA3-E32A610EAB2E}"/>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4" name="FLD_PresentationTitle" hidden="1">
            <a:extLst>
              <a:ext uri="{FF2B5EF4-FFF2-40B4-BE49-F238E27FC236}">
                <a16:creationId xmlns:a16="http://schemas.microsoft.com/office/drawing/2014/main" id="{F84058E3-5063-469B-85AD-813BDB17DDC0}"/>
              </a:ext>
            </a:extLst>
          </p:cNvPr>
          <p:cNvSpPr>
            <a:spLocks noGrp="1"/>
          </p:cNvSpPr>
          <p:nvPr>
            <p:ph type="ftr" sz="quarter" idx="11"/>
          </p:nvPr>
        </p:nvSpPr>
        <p:spPr>
          <a:xfrm>
            <a:off x="0" y="6912000"/>
            <a:ext cx="0" cy="0"/>
          </a:xfrm>
        </p:spPr>
        <p:txBody>
          <a:bodyPr anchor="t" anchorCtr="0"/>
          <a:lstStyle>
            <a:lvl1pPr algn="l">
              <a:defRPr sz="100">
                <a:noFill/>
              </a:defRPr>
            </a:lvl1pPr>
          </a:lstStyle>
          <a:p>
            <a:endParaRPr lang="da-DK"/>
          </a:p>
        </p:txBody>
      </p:sp>
      <p:sp>
        <p:nvSpPr>
          <p:cNvPr id="15" name="Slide Number Placeholder 5" hidden="1">
            <a:extLst>
              <a:ext uri="{FF2B5EF4-FFF2-40B4-BE49-F238E27FC236}">
                <a16:creationId xmlns:a16="http://schemas.microsoft.com/office/drawing/2014/main" id="{41578D3E-544A-47FC-970D-96B403E372B6}"/>
              </a:ext>
            </a:extLst>
          </p:cNvPr>
          <p:cNvSpPr>
            <a:spLocks noGrp="1"/>
          </p:cNvSpPr>
          <p:nvPr>
            <p:ph type="sldNum" sz="quarter" idx="12"/>
          </p:nvPr>
        </p:nvSpPr>
        <p:spPr>
          <a:xfrm>
            <a:off x="0" y="6912000"/>
            <a:ext cx="0" cy="0"/>
          </a:xfrm>
        </p:spPr>
        <p:txBody>
          <a:bodyPr anchor="t" anchorCtr="0"/>
          <a:lstStyle>
            <a:lvl1pPr>
              <a:defRPr sz="100">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323253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856EE887-ADBF-4AB0-BE63-21972C5B1663}"/>
              </a:ext>
            </a:extLst>
          </p:cNvPr>
          <p:cNvSpPr>
            <a:spLocks noGrp="1"/>
          </p:cNvSpPr>
          <p:nvPr>
            <p:ph idx="1" hasCustomPrompt="1"/>
          </p:nvPr>
        </p:nvSpPr>
        <p:spPr>
          <a:xfrm>
            <a:off x="249117" y="1627189"/>
            <a:ext cx="8644303" cy="4689475"/>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7" name="Text Placeholder 12">
            <a:extLst>
              <a:ext uri="{FF2B5EF4-FFF2-40B4-BE49-F238E27FC236}">
                <a16:creationId xmlns:a16="http://schemas.microsoft.com/office/drawing/2014/main" id="{DA03DEA2-B734-4E1A-989A-B985B71743C5}"/>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2" name="Title 1">
            <a:extLst>
              <a:ext uri="{FF2B5EF4-FFF2-40B4-BE49-F238E27FC236}">
                <a16:creationId xmlns:a16="http://schemas.microsoft.com/office/drawing/2014/main" id="{6BB2F81A-A979-4992-A111-276940B6A507}"/>
              </a:ext>
            </a:extLst>
          </p:cNvPr>
          <p:cNvSpPr>
            <a:spLocks noGrp="1"/>
          </p:cNvSpPr>
          <p:nvPr>
            <p:ph type="title"/>
          </p:nvPr>
        </p:nvSpPr>
        <p:spPr>
          <a:xfrm>
            <a:off x="249116" y="269876"/>
            <a:ext cx="7606283"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4" name="Text Placeholder 3">
            <a:extLst>
              <a:ext uri="{FF2B5EF4-FFF2-40B4-BE49-F238E27FC236}">
                <a16:creationId xmlns:a16="http://schemas.microsoft.com/office/drawing/2014/main" id="{2DEE1D38-B652-484A-AA0A-9748447612D5}"/>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3" name="Slide Number Placeholder 4">
            <a:extLst>
              <a:ext uri="{FF2B5EF4-FFF2-40B4-BE49-F238E27FC236}">
                <a16:creationId xmlns:a16="http://schemas.microsoft.com/office/drawing/2014/main" id="{2E7F5C2F-FF98-4B50-9EBB-04E68286A347}"/>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10" name="Date_GeneralDate" hidden="1">
            <a:extLst>
              <a:ext uri="{FF2B5EF4-FFF2-40B4-BE49-F238E27FC236}">
                <a16:creationId xmlns:a16="http://schemas.microsoft.com/office/drawing/2014/main" id="{C71981A8-4E99-413F-87D3-97DDE53F37BF}"/>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Tree>
    <p:extLst>
      <p:ext uri="{BB962C8B-B14F-4D97-AF65-F5344CB8AC3E}">
        <p14:creationId xmlns:p14="http://schemas.microsoft.com/office/powerpoint/2010/main" val="1241052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Light">
    <p:spTree>
      <p:nvGrpSpPr>
        <p:cNvPr id="1" name=""/>
        <p:cNvGrpSpPr/>
        <p:nvPr/>
      </p:nvGrpSpPr>
      <p:grpSpPr>
        <a:xfrm>
          <a:off x="0" y="0"/>
          <a:ext cx="0" cy="0"/>
          <a:chOff x="0" y="0"/>
          <a:chExt cx="0" cy="0"/>
        </a:xfrm>
      </p:grpSpPr>
      <p:sp>
        <p:nvSpPr>
          <p:cNvPr id="11" name="Rectangle 1">
            <a:extLst>
              <a:ext uri="{FF2B5EF4-FFF2-40B4-BE49-F238E27FC236}">
                <a16:creationId xmlns:a16="http://schemas.microsoft.com/office/drawing/2014/main" id="{ED07D2CD-9B04-4C57-A9D6-B77ACEE0EB56}"/>
              </a:ext>
            </a:extLst>
          </p:cNvPr>
          <p:cNvSpPr/>
          <p:nvPr userDrawn="1"/>
        </p:nvSpPr>
        <p:spPr>
          <a:xfrm>
            <a:off x="0" y="0"/>
            <a:ext cx="9144000" cy="6858000"/>
          </a:xfrm>
          <a:prstGeom prst="rect">
            <a:avLst/>
          </a:prstGeom>
          <a:solidFill>
            <a:srgbClr val="EEEBE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t" anchorCtr="0" forceAA="0" compatLnSpc="1">
            <a:prstTxWarp prst="textNoShape">
              <a:avLst/>
            </a:prstTxWarp>
            <a:noAutofit/>
          </a:bodyPr>
          <a:lstStyle/>
          <a:p>
            <a:pPr algn="l"/>
            <a:endParaRPr lang="da-DK" sz="923" noProof="0">
              <a:solidFill>
                <a:srgbClr val="1F2023"/>
              </a:solidFill>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hasCustomPrompt="1"/>
          </p:nvPr>
        </p:nvSpPr>
        <p:spPr>
          <a:xfrm>
            <a:off x="249117" y="1627189"/>
            <a:ext cx="8644303" cy="4689475"/>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7" name="Text Placeholder 12">
            <a:extLst>
              <a:ext uri="{FF2B5EF4-FFF2-40B4-BE49-F238E27FC236}">
                <a16:creationId xmlns:a16="http://schemas.microsoft.com/office/drawing/2014/main" id="{DA03DEA2-B734-4E1A-989A-B985B71743C5}"/>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2" name="Title 1">
            <a:extLst>
              <a:ext uri="{FF2B5EF4-FFF2-40B4-BE49-F238E27FC236}">
                <a16:creationId xmlns:a16="http://schemas.microsoft.com/office/drawing/2014/main" id="{6BB2F81A-A979-4992-A111-276940B6A507}"/>
              </a:ext>
            </a:extLst>
          </p:cNvPr>
          <p:cNvSpPr>
            <a:spLocks noGrp="1"/>
          </p:cNvSpPr>
          <p:nvPr>
            <p:ph type="title"/>
          </p:nvPr>
        </p:nvSpPr>
        <p:spPr>
          <a:xfrm>
            <a:off x="249116" y="269876"/>
            <a:ext cx="7606283"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4" name="Text Placeholder 3">
            <a:extLst>
              <a:ext uri="{FF2B5EF4-FFF2-40B4-BE49-F238E27FC236}">
                <a16:creationId xmlns:a16="http://schemas.microsoft.com/office/drawing/2014/main" id="{2DEE1D38-B652-484A-AA0A-9748447612D5}"/>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3" name="Slide Number Placeholder 4">
            <a:extLst>
              <a:ext uri="{FF2B5EF4-FFF2-40B4-BE49-F238E27FC236}">
                <a16:creationId xmlns:a16="http://schemas.microsoft.com/office/drawing/2014/main" id="{2E7F5C2F-FF98-4B50-9EBB-04E68286A347}"/>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14" name="Freeform: Shape 21">
            <a:extLst>
              <a:ext uri="{FF2B5EF4-FFF2-40B4-BE49-F238E27FC236}">
                <a16:creationId xmlns:a16="http://schemas.microsoft.com/office/drawing/2014/main" id="{00C678A1-BF2C-44A8-B098-7D1A8D4CF191}"/>
              </a:ext>
            </a:extLst>
          </p:cNvPr>
          <p:cNvSpPr/>
          <p:nvPr userDrawn="1">
            <p:custDataLst>
              <p:tags r:id="rId1"/>
            </p:custDataLst>
          </p:nvPr>
        </p:nvSpPr>
        <p:spPr bwMode="auto">
          <a:xfrm rot="5400000">
            <a:off x="8646962" y="406758"/>
            <a:ext cx="350168" cy="142743"/>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endParaRPr lang="da-DK" sz="1662"/>
          </a:p>
        </p:txBody>
      </p:sp>
      <p:sp>
        <p:nvSpPr>
          <p:cNvPr id="15" name="Date_GeneralDate" hidden="1">
            <a:extLst>
              <a:ext uri="{FF2B5EF4-FFF2-40B4-BE49-F238E27FC236}">
                <a16:creationId xmlns:a16="http://schemas.microsoft.com/office/drawing/2014/main" id="{9D0EE7E6-6F87-4154-8F56-AD5EE507B020}"/>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Tree>
    <p:extLst>
      <p:ext uri="{BB962C8B-B14F-4D97-AF65-F5344CB8AC3E}">
        <p14:creationId xmlns:p14="http://schemas.microsoft.com/office/powerpoint/2010/main" val="984136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Colo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D13ED75-03D3-4C55-BEDE-F1C0F8F4CFEF}"/>
              </a:ext>
            </a:extLst>
          </p:cNvPr>
          <p:cNvSpPr/>
          <p:nvPr userDrawn="1"/>
        </p:nvSpPr>
        <p:spPr>
          <a:xfrm>
            <a:off x="0" y="2"/>
            <a:ext cx="9144000" cy="6857999"/>
          </a:xfrm>
          <a:prstGeom prst="rect">
            <a:avLst/>
          </a:prstGeom>
          <a:solidFill>
            <a:srgbClr val="30373B"/>
          </a:solidFill>
          <a:ln w="25400" cap="flat" cmpd="sng" algn="ctr">
            <a:noFill/>
            <a:prstDash val="solid"/>
          </a:ln>
          <a:effectLst/>
        </p:spPr>
        <p:txBody>
          <a:bodyPr rtlCol="0" anchor="ctr"/>
          <a:lstStyle/>
          <a:p>
            <a:pPr marL="0" marR="0" lvl="0" indent="0" algn="ctr"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1F2023"/>
              </a:solidFill>
              <a:effectLst/>
              <a:uLnTx/>
              <a:uFillTx/>
              <a:latin typeface="Arial"/>
              <a:ea typeface="+mn-ea"/>
              <a:cs typeface="+mn-cs"/>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hasCustomPrompt="1"/>
          </p:nvPr>
        </p:nvSpPr>
        <p:spPr>
          <a:xfrm>
            <a:off x="249117" y="1627189"/>
            <a:ext cx="8644303" cy="4689475"/>
          </a:xfrm>
        </p:spPr>
        <p:txBody>
          <a:bodyPr rIns="0"/>
          <a:lstStyle>
            <a:lvl1pPr>
              <a:defRPr>
                <a:solidFill>
                  <a:srgbClr val="F8F5E7"/>
                </a:solidFill>
              </a:defRPr>
            </a:lvl1pPr>
            <a:lvl2pPr>
              <a:defRPr>
                <a:solidFill>
                  <a:srgbClr val="F8F5E7"/>
                </a:solidFill>
              </a:defRPr>
            </a:lvl2pPr>
            <a:lvl3pPr>
              <a:defRPr>
                <a:solidFill>
                  <a:srgbClr val="F8F5E7"/>
                </a:solidFill>
              </a:defRPr>
            </a:lvl3pPr>
            <a:lvl4pPr>
              <a:defRPr>
                <a:solidFill>
                  <a:srgbClr val="F8F5E7"/>
                </a:solidFill>
              </a:defRPr>
            </a:lvl4pPr>
            <a:lvl5pPr>
              <a:defRPr>
                <a:solidFill>
                  <a:srgbClr val="F8F5E7"/>
                </a:solidFill>
              </a:defRPr>
            </a:lvl5pPr>
            <a:lvl6pPr>
              <a:defRPr>
                <a:solidFill>
                  <a:srgbClr val="F8F5E7"/>
                </a:solidFill>
              </a:defRPr>
            </a:lvl6pPr>
            <a:lvl7pPr>
              <a:defRPr>
                <a:solidFill>
                  <a:srgbClr val="F8F5E7"/>
                </a:solidFill>
              </a:defRPr>
            </a:lvl7pPr>
            <a:lvl8pPr>
              <a:defRPr>
                <a:solidFill>
                  <a:srgbClr val="F8F5E7"/>
                </a:solidFill>
              </a:defRPr>
            </a:lvl8pPr>
            <a:lvl9pPr>
              <a:defRPr>
                <a:solidFill>
                  <a:srgbClr val="F8F5E7"/>
                </a:solidFill>
              </a:defRPr>
            </a:lvl9pPr>
          </a:lstStyle>
          <a:p>
            <a:pPr lvl="0"/>
            <a:r>
              <a:rPr lang="da-DK" noProof="0"/>
              <a:t>Edi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a:p>
            <a:pPr lvl="5"/>
            <a:r>
              <a:rPr lang="da-DK" noProof="0"/>
              <a:t>6</a:t>
            </a:r>
          </a:p>
          <a:p>
            <a:pPr lvl="6"/>
            <a:r>
              <a:rPr lang="da-DK" noProof="0"/>
              <a:t>7</a:t>
            </a:r>
          </a:p>
          <a:p>
            <a:pPr lvl="7"/>
            <a:r>
              <a:rPr lang="da-DK" noProof="0"/>
              <a:t>8</a:t>
            </a:r>
          </a:p>
          <a:p>
            <a:pPr lvl="8"/>
            <a:r>
              <a:rPr lang="da-DK" noProof="0"/>
              <a:t>9</a:t>
            </a:r>
          </a:p>
        </p:txBody>
      </p:sp>
      <p:sp>
        <p:nvSpPr>
          <p:cNvPr id="7" name="Text Placeholder 12">
            <a:extLst>
              <a:ext uri="{FF2B5EF4-FFF2-40B4-BE49-F238E27FC236}">
                <a16:creationId xmlns:a16="http://schemas.microsoft.com/office/drawing/2014/main" id="{DA03DEA2-B734-4E1A-989A-B985B71743C5}"/>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F8F5E7"/>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F8F5E7"/>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F8F5E7"/>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F8F5E7"/>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2" name="Title 1">
            <a:extLst>
              <a:ext uri="{FF2B5EF4-FFF2-40B4-BE49-F238E27FC236}">
                <a16:creationId xmlns:a16="http://schemas.microsoft.com/office/drawing/2014/main" id="{6BB2F81A-A979-4992-A111-276940B6A507}"/>
              </a:ext>
            </a:extLst>
          </p:cNvPr>
          <p:cNvSpPr>
            <a:spLocks noGrp="1"/>
          </p:cNvSpPr>
          <p:nvPr>
            <p:ph type="title"/>
          </p:nvPr>
        </p:nvSpPr>
        <p:spPr>
          <a:xfrm>
            <a:off x="249116" y="269876"/>
            <a:ext cx="7606283" cy="692336"/>
          </a:xfrm>
        </p:spPr>
        <p:txBody>
          <a:bodyPr/>
          <a:lstStyle>
            <a:lvl1pPr>
              <a:defRPr>
                <a:solidFill>
                  <a:srgbClr val="F8F5E7"/>
                </a:solidFill>
              </a:defRPr>
            </a:lvl1pPr>
          </a:lstStyle>
          <a:p>
            <a:r>
              <a:rPr lang="da-DK" err="1"/>
              <a:t>Click</a:t>
            </a:r>
            <a:r>
              <a:rPr lang="da-DK"/>
              <a:t> to </a:t>
            </a:r>
            <a:r>
              <a:rPr lang="da-DK" err="1"/>
              <a:t>edit</a:t>
            </a:r>
            <a:r>
              <a:rPr lang="da-DK"/>
              <a:t> Master </a:t>
            </a:r>
            <a:r>
              <a:rPr lang="da-DK" err="1"/>
              <a:t>title</a:t>
            </a:r>
            <a:r>
              <a:rPr lang="da-DK"/>
              <a:t> style</a:t>
            </a:r>
          </a:p>
        </p:txBody>
      </p:sp>
      <p:sp>
        <p:nvSpPr>
          <p:cNvPr id="4" name="Text Placeholder 3">
            <a:extLst>
              <a:ext uri="{FF2B5EF4-FFF2-40B4-BE49-F238E27FC236}">
                <a16:creationId xmlns:a16="http://schemas.microsoft.com/office/drawing/2014/main" id="{2DEE1D38-B652-484A-AA0A-9748447612D5}"/>
              </a:ext>
            </a:extLst>
          </p:cNvPr>
          <p:cNvSpPr>
            <a:spLocks noGrp="1"/>
          </p:cNvSpPr>
          <p:nvPr>
            <p:ph type="body" sz="quarter" idx="14" hasCustomPrompt="1"/>
          </p:nvPr>
        </p:nvSpPr>
        <p:spPr>
          <a:xfrm>
            <a:off x="6654815" y="6504110"/>
            <a:ext cx="1826642" cy="106116"/>
          </a:xfrm>
        </p:spPr>
        <p:txBody>
          <a:bodyPr rIns="0"/>
          <a:lstStyle>
            <a:lvl1pPr algn="r">
              <a:defRPr sz="600">
                <a:solidFill>
                  <a:srgbClr val="F8F5E7"/>
                </a:solidFill>
              </a:defRPr>
            </a:lvl1pPr>
            <a:lvl2pPr>
              <a:defRPr sz="600"/>
            </a:lvl2pPr>
            <a:lvl3pPr>
              <a:defRPr sz="600"/>
            </a:lvl3pPr>
            <a:lvl4pPr>
              <a:defRPr sz="600"/>
            </a:lvl4pPr>
            <a:lvl5pPr>
              <a:defRPr sz="600"/>
            </a:lvl5pPr>
          </a:lstStyle>
          <a:p>
            <a:pPr lvl="0"/>
            <a:r>
              <a:rPr lang="da-DK"/>
              <a:t>Tracker</a:t>
            </a:r>
          </a:p>
        </p:txBody>
      </p:sp>
      <p:sp>
        <p:nvSpPr>
          <p:cNvPr id="13" name="Slide Number Placeholder 4">
            <a:extLst>
              <a:ext uri="{FF2B5EF4-FFF2-40B4-BE49-F238E27FC236}">
                <a16:creationId xmlns:a16="http://schemas.microsoft.com/office/drawing/2014/main" id="{2E7F5C2F-FF98-4B50-9EBB-04E68286A347}"/>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F8F5E7"/>
                </a:solidFill>
              </a:rPr>
              <a:pPr/>
              <a:t>‹nr.›</a:t>
            </a:fld>
            <a:endParaRPr lang="da-DK" sz="600">
              <a:solidFill>
                <a:srgbClr val="F8F5E7"/>
              </a:solidFill>
            </a:endParaRPr>
          </a:p>
        </p:txBody>
      </p:sp>
      <p:sp>
        <p:nvSpPr>
          <p:cNvPr id="14" name="Freeform: Shape 13">
            <a:extLst>
              <a:ext uri="{FF2B5EF4-FFF2-40B4-BE49-F238E27FC236}">
                <a16:creationId xmlns:a16="http://schemas.microsoft.com/office/drawing/2014/main" id="{BB1C1348-B6E2-4EA8-8EA4-11925D5339C3}"/>
              </a:ext>
            </a:extLst>
          </p:cNvPr>
          <p:cNvSpPr/>
          <p:nvPr userDrawn="1">
            <p:custDataLst>
              <p:tags r:id="rId1"/>
            </p:custDataLst>
          </p:nvPr>
        </p:nvSpPr>
        <p:spPr bwMode="auto">
          <a:xfrm rot="5400000">
            <a:off x="8646962" y="406758"/>
            <a:ext cx="350168" cy="142743"/>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bg1"/>
          </a:solidFill>
          <a:ln>
            <a:noFill/>
          </a:ln>
        </p:spPr>
        <p:txBody>
          <a:bodyPr vert="horz" wrap="square" lIns="84406" tIns="42203" rIns="84406" bIns="42203" numCol="1" anchor="t" anchorCtr="0" compatLnSpc="1">
            <a:prstTxWarp prst="textNoShape">
              <a:avLst/>
            </a:prstTxWarp>
            <a:noAutofit/>
          </a:bodyPr>
          <a:lstStyle/>
          <a:p>
            <a:endParaRPr lang="da-DK" sz="1662"/>
          </a:p>
        </p:txBody>
      </p:sp>
      <p:sp>
        <p:nvSpPr>
          <p:cNvPr id="15" name="Date_GeneralDate" hidden="1">
            <a:extLst>
              <a:ext uri="{FF2B5EF4-FFF2-40B4-BE49-F238E27FC236}">
                <a16:creationId xmlns:a16="http://schemas.microsoft.com/office/drawing/2014/main" id="{4207D1EA-57BB-4882-8533-FB5A90B4EDDE}"/>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Tree>
    <p:extLst>
      <p:ext uri="{BB962C8B-B14F-4D97-AF65-F5344CB8AC3E}">
        <p14:creationId xmlns:p14="http://schemas.microsoft.com/office/powerpoint/2010/main" val="1884767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856EE887-ADBF-4AB0-BE63-21972C5B1663}"/>
              </a:ext>
            </a:extLst>
          </p:cNvPr>
          <p:cNvSpPr>
            <a:spLocks noGrp="1"/>
          </p:cNvSpPr>
          <p:nvPr>
            <p:ph idx="1" hasCustomPrompt="1"/>
          </p:nvPr>
        </p:nvSpPr>
        <p:spPr>
          <a:xfrm>
            <a:off x="249117" y="1627189"/>
            <a:ext cx="4196861" cy="4689474"/>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0" name="Title 1">
            <a:extLst>
              <a:ext uri="{FF2B5EF4-FFF2-40B4-BE49-F238E27FC236}">
                <a16:creationId xmlns:a16="http://schemas.microsoft.com/office/drawing/2014/main" id="{97A9E787-61B5-4260-BC71-92D5DEB35268}"/>
              </a:ext>
            </a:extLst>
          </p:cNvPr>
          <p:cNvSpPr>
            <a:spLocks noGrp="1"/>
          </p:cNvSpPr>
          <p:nvPr>
            <p:ph type="title"/>
          </p:nvPr>
        </p:nvSpPr>
        <p:spPr>
          <a:xfrm>
            <a:off x="249116" y="269876"/>
            <a:ext cx="7606283"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1" name="Text Placeholder 12">
            <a:extLst>
              <a:ext uri="{FF2B5EF4-FFF2-40B4-BE49-F238E27FC236}">
                <a16:creationId xmlns:a16="http://schemas.microsoft.com/office/drawing/2014/main" id="{95833392-58BF-48C2-B298-2E1AF269A67D}"/>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3" name="Text Placeholder 3">
            <a:extLst>
              <a:ext uri="{FF2B5EF4-FFF2-40B4-BE49-F238E27FC236}">
                <a16:creationId xmlns:a16="http://schemas.microsoft.com/office/drawing/2014/main" id="{8B1FBC85-E132-41F0-AED2-E8AFB9F92624}"/>
              </a:ext>
            </a:extLst>
          </p:cNvPr>
          <p:cNvSpPr>
            <a:spLocks noGrp="1"/>
          </p:cNvSpPr>
          <p:nvPr>
            <p:ph type="body" sz="quarter" idx="15"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5" name="Slide Number Placeholder 4">
            <a:extLst>
              <a:ext uri="{FF2B5EF4-FFF2-40B4-BE49-F238E27FC236}">
                <a16:creationId xmlns:a16="http://schemas.microsoft.com/office/drawing/2014/main" id="{68CE74C1-A0C4-40F1-BDD9-6CF6D8BB73C5}"/>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16" name="Content Placeholder 2">
            <a:extLst>
              <a:ext uri="{FF2B5EF4-FFF2-40B4-BE49-F238E27FC236}">
                <a16:creationId xmlns:a16="http://schemas.microsoft.com/office/drawing/2014/main" id="{AACDC629-F4C4-4E34-8615-03DAA38947D9}"/>
              </a:ext>
            </a:extLst>
          </p:cNvPr>
          <p:cNvSpPr>
            <a:spLocks noGrp="1"/>
          </p:cNvSpPr>
          <p:nvPr>
            <p:ph idx="16" hasCustomPrompt="1"/>
          </p:nvPr>
        </p:nvSpPr>
        <p:spPr>
          <a:xfrm>
            <a:off x="4696558" y="1627189"/>
            <a:ext cx="4196861" cy="4689474"/>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7" name="Date_GeneralDate" hidden="1">
            <a:extLst>
              <a:ext uri="{FF2B5EF4-FFF2-40B4-BE49-F238E27FC236}">
                <a16:creationId xmlns:a16="http://schemas.microsoft.com/office/drawing/2014/main" id="{D9DF96F7-16E4-4798-B632-8C0B52A9F0AE}"/>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Tree>
    <p:extLst>
      <p:ext uri="{BB962C8B-B14F-4D97-AF65-F5344CB8AC3E}">
        <p14:creationId xmlns:p14="http://schemas.microsoft.com/office/powerpoint/2010/main" val="3275687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856EE887-ADBF-4AB0-BE63-21972C5B1663}"/>
              </a:ext>
            </a:extLst>
          </p:cNvPr>
          <p:cNvSpPr>
            <a:spLocks noGrp="1"/>
          </p:cNvSpPr>
          <p:nvPr>
            <p:ph idx="1" hasCustomPrompt="1"/>
          </p:nvPr>
        </p:nvSpPr>
        <p:spPr>
          <a:xfrm>
            <a:off x="249117" y="1627189"/>
            <a:ext cx="6419850" cy="4689474"/>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0" name="Title 1">
            <a:extLst>
              <a:ext uri="{FF2B5EF4-FFF2-40B4-BE49-F238E27FC236}">
                <a16:creationId xmlns:a16="http://schemas.microsoft.com/office/drawing/2014/main" id="{491C5999-EC85-4330-9F46-B0688F0B19DF}"/>
              </a:ext>
            </a:extLst>
          </p:cNvPr>
          <p:cNvSpPr>
            <a:spLocks noGrp="1"/>
          </p:cNvSpPr>
          <p:nvPr>
            <p:ph type="title"/>
          </p:nvPr>
        </p:nvSpPr>
        <p:spPr>
          <a:xfrm>
            <a:off x="249116" y="269876"/>
            <a:ext cx="7606283"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1" name="Text Placeholder 12">
            <a:extLst>
              <a:ext uri="{FF2B5EF4-FFF2-40B4-BE49-F238E27FC236}">
                <a16:creationId xmlns:a16="http://schemas.microsoft.com/office/drawing/2014/main" id="{E3DCC377-0280-401A-965D-56293C16EC32}"/>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4" name="Text Placeholder 3">
            <a:extLst>
              <a:ext uri="{FF2B5EF4-FFF2-40B4-BE49-F238E27FC236}">
                <a16:creationId xmlns:a16="http://schemas.microsoft.com/office/drawing/2014/main" id="{9EDDAF85-3BF3-423A-AAA1-867083C13F51}"/>
              </a:ext>
            </a:extLst>
          </p:cNvPr>
          <p:cNvSpPr>
            <a:spLocks noGrp="1"/>
          </p:cNvSpPr>
          <p:nvPr>
            <p:ph type="body" sz="quarter" idx="15"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6" name="Slide Number Placeholder 4">
            <a:extLst>
              <a:ext uri="{FF2B5EF4-FFF2-40B4-BE49-F238E27FC236}">
                <a16:creationId xmlns:a16="http://schemas.microsoft.com/office/drawing/2014/main" id="{5C089156-5054-4E47-8D5B-FCAA519DEAC2}"/>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18" name="Content Placeholder 2">
            <a:extLst>
              <a:ext uri="{FF2B5EF4-FFF2-40B4-BE49-F238E27FC236}">
                <a16:creationId xmlns:a16="http://schemas.microsoft.com/office/drawing/2014/main" id="{0DCD6769-8933-4028-9ACD-431F38F7D409}"/>
              </a:ext>
            </a:extLst>
          </p:cNvPr>
          <p:cNvSpPr>
            <a:spLocks noGrp="1"/>
          </p:cNvSpPr>
          <p:nvPr>
            <p:ph idx="16" hasCustomPrompt="1"/>
          </p:nvPr>
        </p:nvSpPr>
        <p:spPr>
          <a:xfrm>
            <a:off x="6919545" y="1627189"/>
            <a:ext cx="1973874" cy="4689474"/>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Date_GeneralDate" hidden="1">
            <a:extLst>
              <a:ext uri="{FF2B5EF4-FFF2-40B4-BE49-F238E27FC236}">
                <a16:creationId xmlns:a16="http://schemas.microsoft.com/office/drawing/2014/main" id="{E8EC64DB-194A-4D45-A9E9-C2C0A37B016C}"/>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Tree>
    <p:extLst>
      <p:ext uri="{BB962C8B-B14F-4D97-AF65-F5344CB8AC3E}">
        <p14:creationId xmlns:p14="http://schemas.microsoft.com/office/powerpoint/2010/main" val="1050020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EAAE5C6-2755-4F4E-A878-43F56B65E9BB}"/>
              </a:ext>
            </a:extLst>
          </p:cNvPr>
          <p:cNvSpPr>
            <a:spLocks noGrp="1"/>
          </p:cNvSpPr>
          <p:nvPr>
            <p:ph type="title"/>
          </p:nvPr>
        </p:nvSpPr>
        <p:spPr>
          <a:xfrm>
            <a:off x="249116" y="269876"/>
            <a:ext cx="7606283"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8" name="Text Placeholder 12">
            <a:extLst>
              <a:ext uri="{FF2B5EF4-FFF2-40B4-BE49-F238E27FC236}">
                <a16:creationId xmlns:a16="http://schemas.microsoft.com/office/drawing/2014/main" id="{134F504F-A2DE-4572-9711-6650D6AA4E27}"/>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1" name="Text Placeholder 3">
            <a:extLst>
              <a:ext uri="{FF2B5EF4-FFF2-40B4-BE49-F238E27FC236}">
                <a16:creationId xmlns:a16="http://schemas.microsoft.com/office/drawing/2014/main" id="{79240DFA-E6CC-48C6-9045-36E6CF1B045E}"/>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4" name="Slide Number Placeholder 4">
            <a:extLst>
              <a:ext uri="{FF2B5EF4-FFF2-40B4-BE49-F238E27FC236}">
                <a16:creationId xmlns:a16="http://schemas.microsoft.com/office/drawing/2014/main" id="{91C6701B-F0B4-47F4-8341-77991D1F2E45}"/>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10" name="Date_GeneralDate" hidden="1">
            <a:extLst>
              <a:ext uri="{FF2B5EF4-FFF2-40B4-BE49-F238E27FC236}">
                <a16:creationId xmlns:a16="http://schemas.microsoft.com/office/drawing/2014/main" id="{3612FFCC-B791-4D3E-A268-282FC899CB72}"/>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Tree>
    <p:extLst>
      <p:ext uri="{BB962C8B-B14F-4D97-AF65-F5344CB8AC3E}">
        <p14:creationId xmlns:p14="http://schemas.microsoft.com/office/powerpoint/2010/main" val="2193571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A">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856EE887-ADBF-4AB0-BE63-21972C5B1663}"/>
              </a:ext>
            </a:extLst>
          </p:cNvPr>
          <p:cNvSpPr>
            <a:spLocks noGrp="1"/>
          </p:cNvSpPr>
          <p:nvPr>
            <p:ph idx="1" hasCustomPrompt="1"/>
          </p:nvPr>
        </p:nvSpPr>
        <p:spPr>
          <a:xfrm>
            <a:off x="249117" y="1627189"/>
            <a:ext cx="4196861" cy="4689475"/>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0" name="Picture Placeholder 13">
            <a:extLst>
              <a:ext uri="{FF2B5EF4-FFF2-40B4-BE49-F238E27FC236}">
                <a16:creationId xmlns:a16="http://schemas.microsoft.com/office/drawing/2014/main" id="{96EDC17A-116C-4E16-A3DE-2E5F4B894B8C}"/>
              </a:ext>
            </a:extLst>
          </p:cNvPr>
          <p:cNvSpPr>
            <a:spLocks noGrp="1"/>
          </p:cNvSpPr>
          <p:nvPr>
            <p:ph type="pic" sz="quarter" idx="15"/>
          </p:nvPr>
        </p:nvSpPr>
        <p:spPr>
          <a:xfrm>
            <a:off x="4696561" y="269877"/>
            <a:ext cx="3947744" cy="3568047"/>
          </a:xfrm>
          <a:solidFill>
            <a:srgbClr val="F3F2F0"/>
          </a:solidFill>
        </p:spPr>
        <p:txBody>
          <a:bodyPr rIns="0" anchor="ctr" anchorCtr="0"/>
          <a:lstStyle>
            <a:lvl1pPr marL="0" indent="0" algn="ctr">
              <a:buNone/>
              <a:defRPr>
                <a:solidFill>
                  <a:srgbClr val="1F2023"/>
                </a:solidFill>
              </a:defRPr>
            </a:lvl1pPr>
          </a:lstStyle>
          <a:p>
            <a:r>
              <a:rPr lang="da-DK" err="1"/>
              <a:t>Click</a:t>
            </a:r>
            <a:r>
              <a:rPr lang="da-DK"/>
              <a:t> </a:t>
            </a:r>
            <a:r>
              <a:rPr lang="da-DK" err="1"/>
              <a:t>icon</a:t>
            </a:r>
            <a:r>
              <a:rPr lang="da-DK"/>
              <a:t> to </a:t>
            </a:r>
            <a:r>
              <a:rPr lang="da-DK" err="1"/>
              <a:t>add</a:t>
            </a:r>
            <a:r>
              <a:rPr lang="da-DK"/>
              <a:t> </a:t>
            </a:r>
            <a:r>
              <a:rPr lang="da-DK" err="1"/>
              <a:t>picture</a:t>
            </a:r>
            <a:endParaRPr lang="da-DK"/>
          </a:p>
        </p:txBody>
      </p:sp>
      <p:sp>
        <p:nvSpPr>
          <p:cNvPr id="11" name="Title 1">
            <a:extLst>
              <a:ext uri="{FF2B5EF4-FFF2-40B4-BE49-F238E27FC236}">
                <a16:creationId xmlns:a16="http://schemas.microsoft.com/office/drawing/2014/main" id="{71B800F5-D353-40A2-B9C9-A29ACB6135C1}"/>
              </a:ext>
            </a:extLst>
          </p:cNvPr>
          <p:cNvSpPr>
            <a:spLocks noGrp="1"/>
          </p:cNvSpPr>
          <p:nvPr>
            <p:ph type="title"/>
          </p:nvPr>
        </p:nvSpPr>
        <p:spPr>
          <a:xfrm>
            <a:off x="249116" y="269876"/>
            <a:ext cx="4196860"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2" name="Text Placeholder 12">
            <a:extLst>
              <a:ext uri="{FF2B5EF4-FFF2-40B4-BE49-F238E27FC236}">
                <a16:creationId xmlns:a16="http://schemas.microsoft.com/office/drawing/2014/main" id="{9B2F0609-B28D-4E90-9A79-7A5ED798D973}"/>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6" name="Text Placeholder 3">
            <a:extLst>
              <a:ext uri="{FF2B5EF4-FFF2-40B4-BE49-F238E27FC236}">
                <a16:creationId xmlns:a16="http://schemas.microsoft.com/office/drawing/2014/main" id="{AB449F3A-748D-4A5A-BF30-2662AC65CBFF}"/>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7" name="Slide Number Placeholder 4">
            <a:extLst>
              <a:ext uri="{FF2B5EF4-FFF2-40B4-BE49-F238E27FC236}">
                <a16:creationId xmlns:a16="http://schemas.microsoft.com/office/drawing/2014/main" id="{37FED4D4-B73B-4019-BEF0-D6F31824FF9A}"/>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20" name="Content Placeholder 2">
            <a:extLst>
              <a:ext uri="{FF2B5EF4-FFF2-40B4-BE49-F238E27FC236}">
                <a16:creationId xmlns:a16="http://schemas.microsoft.com/office/drawing/2014/main" id="{8C5BF74F-DDC9-4227-9B0E-E848E85850DD}"/>
              </a:ext>
            </a:extLst>
          </p:cNvPr>
          <p:cNvSpPr>
            <a:spLocks noGrp="1"/>
          </p:cNvSpPr>
          <p:nvPr>
            <p:ph idx="17" hasCustomPrompt="1"/>
          </p:nvPr>
        </p:nvSpPr>
        <p:spPr>
          <a:xfrm>
            <a:off x="4696558" y="4110811"/>
            <a:ext cx="4196861" cy="2205853"/>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4" name="Date_GeneralDate" hidden="1">
            <a:extLst>
              <a:ext uri="{FF2B5EF4-FFF2-40B4-BE49-F238E27FC236}">
                <a16:creationId xmlns:a16="http://schemas.microsoft.com/office/drawing/2014/main" id="{BB51C436-51CA-47BE-8C5C-B668EA83CBE2}"/>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Tree>
    <p:extLst>
      <p:ext uri="{BB962C8B-B14F-4D97-AF65-F5344CB8AC3E}">
        <p14:creationId xmlns:p14="http://schemas.microsoft.com/office/powerpoint/2010/main" val="11502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B">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6712821-3480-4567-B81B-23EDA2374ED8}"/>
              </a:ext>
            </a:extLst>
          </p:cNvPr>
          <p:cNvSpPr/>
          <p:nvPr userDrawn="1"/>
        </p:nvSpPr>
        <p:spPr>
          <a:xfrm>
            <a:off x="5202176" y="2301552"/>
            <a:ext cx="3941825" cy="4556449"/>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t" anchorCtr="0" forceAA="0" compatLnSpc="1">
            <a:prstTxWarp prst="textNoShape">
              <a:avLst/>
            </a:prstTxWarp>
            <a:noAutofit/>
          </a:bodyPr>
          <a:lstStyle/>
          <a:p>
            <a:pPr algn="l"/>
            <a:endParaRPr lang="da-DK" sz="923" noProof="0">
              <a:solidFill>
                <a:srgbClr val="1F2023"/>
              </a:solidFill>
            </a:endParaRPr>
          </a:p>
        </p:txBody>
      </p:sp>
      <p:sp>
        <p:nvSpPr>
          <p:cNvPr id="10" name="Picture Placeholder 13">
            <a:extLst>
              <a:ext uri="{FF2B5EF4-FFF2-40B4-BE49-F238E27FC236}">
                <a16:creationId xmlns:a16="http://schemas.microsoft.com/office/drawing/2014/main" id="{96EDC17A-116C-4E16-A3DE-2E5F4B894B8C}"/>
              </a:ext>
            </a:extLst>
          </p:cNvPr>
          <p:cNvSpPr>
            <a:spLocks noGrp="1"/>
          </p:cNvSpPr>
          <p:nvPr>
            <p:ph type="pic" sz="quarter" idx="15"/>
          </p:nvPr>
        </p:nvSpPr>
        <p:spPr>
          <a:xfrm>
            <a:off x="4696560" y="1627189"/>
            <a:ext cx="4196860" cy="4689475"/>
          </a:xfrm>
          <a:solidFill>
            <a:srgbClr val="F3F2F0"/>
          </a:solidFill>
        </p:spPr>
        <p:txBody>
          <a:bodyPr rIns="0" anchor="ctr" anchorCtr="0"/>
          <a:lstStyle>
            <a:lvl1pPr marL="0" indent="0" algn="ctr">
              <a:buNone/>
              <a:defRPr>
                <a:solidFill>
                  <a:srgbClr val="1F2023"/>
                </a:solidFill>
              </a:defRPr>
            </a:lvl1pPr>
          </a:lstStyle>
          <a:p>
            <a:r>
              <a:rPr lang="da-DK" err="1"/>
              <a:t>Click</a:t>
            </a:r>
            <a:r>
              <a:rPr lang="da-DK"/>
              <a:t> </a:t>
            </a:r>
            <a:r>
              <a:rPr lang="da-DK" err="1"/>
              <a:t>icon</a:t>
            </a:r>
            <a:r>
              <a:rPr lang="da-DK"/>
              <a:t> to </a:t>
            </a:r>
            <a:r>
              <a:rPr lang="da-DK" err="1"/>
              <a:t>add</a:t>
            </a:r>
            <a:r>
              <a:rPr lang="da-DK"/>
              <a:t> </a:t>
            </a:r>
            <a:r>
              <a:rPr lang="da-DK" err="1"/>
              <a:t>picture</a:t>
            </a:r>
            <a:endParaRPr lang="da-DK"/>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hasCustomPrompt="1"/>
          </p:nvPr>
        </p:nvSpPr>
        <p:spPr>
          <a:xfrm>
            <a:off x="249117" y="1627189"/>
            <a:ext cx="4196861" cy="4689475"/>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1" name="Title 1">
            <a:extLst>
              <a:ext uri="{FF2B5EF4-FFF2-40B4-BE49-F238E27FC236}">
                <a16:creationId xmlns:a16="http://schemas.microsoft.com/office/drawing/2014/main" id="{974DEA22-79A0-4DFC-AA38-DAC569B1F7B6}"/>
              </a:ext>
            </a:extLst>
          </p:cNvPr>
          <p:cNvSpPr>
            <a:spLocks noGrp="1"/>
          </p:cNvSpPr>
          <p:nvPr>
            <p:ph type="title"/>
          </p:nvPr>
        </p:nvSpPr>
        <p:spPr>
          <a:xfrm>
            <a:off x="249116" y="269876"/>
            <a:ext cx="7606283"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2" name="Text Placeholder 12">
            <a:extLst>
              <a:ext uri="{FF2B5EF4-FFF2-40B4-BE49-F238E27FC236}">
                <a16:creationId xmlns:a16="http://schemas.microsoft.com/office/drawing/2014/main" id="{2FBC88B6-08B7-43F9-8247-DD84EEDEFA98}"/>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5" name="Text Placeholder 3">
            <a:extLst>
              <a:ext uri="{FF2B5EF4-FFF2-40B4-BE49-F238E27FC236}">
                <a16:creationId xmlns:a16="http://schemas.microsoft.com/office/drawing/2014/main" id="{CCE0DF6D-B57F-49F8-9638-8524ECED6BEB}"/>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7" name="Slide Number Placeholder 4">
            <a:extLst>
              <a:ext uri="{FF2B5EF4-FFF2-40B4-BE49-F238E27FC236}">
                <a16:creationId xmlns:a16="http://schemas.microsoft.com/office/drawing/2014/main" id="{6D45C55E-65EB-4E8B-85C6-E52DEA2DE199}"/>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14" name="Date_GeneralDate" hidden="1">
            <a:extLst>
              <a:ext uri="{FF2B5EF4-FFF2-40B4-BE49-F238E27FC236}">
                <a16:creationId xmlns:a16="http://schemas.microsoft.com/office/drawing/2014/main" id="{507B51D4-B972-4CB7-9F33-F08FA8F0F7F4}"/>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Tree>
    <p:extLst>
      <p:ext uri="{BB962C8B-B14F-4D97-AF65-F5344CB8AC3E}">
        <p14:creationId xmlns:p14="http://schemas.microsoft.com/office/powerpoint/2010/main" val="3235958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ayout 1B (titel, undertitel, startbulle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365127"/>
            <a:ext cx="7981950" cy="689476"/>
          </a:xfrm>
          <a:prstGeom prst="rect">
            <a:avLst/>
          </a:prstGeom>
          <a:noFill/>
        </p:spPr>
        <p:txBody>
          <a:bodyPr anchor="b">
            <a:normAutofit/>
          </a:bodyPr>
          <a:lstStyle>
            <a:lvl1pPr>
              <a:defRPr sz="2400" b="1" cap="all" baseline="0">
                <a:solidFill>
                  <a:srgbClr val="00B0F0"/>
                </a:solidFill>
                <a:latin typeface="Verdana" panose="020B0604030504040204" pitchFamily="34" charset="0"/>
                <a:ea typeface="Verdana" panose="020B0604030504040204" pitchFamily="34" charset="0"/>
                <a:cs typeface="Verdana" panose="020B0604030504040204" pitchFamily="34" charset="0"/>
              </a:defRPr>
            </a:lvl1pPr>
          </a:lstStyle>
          <a:p>
            <a:r>
              <a:rPr lang="da-DK"/>
              <a:t>KLIK FOR AT Indsætte overskrift</a:t>
            </a:r>
          </a:p>
        </p:txBody>
      </p:sp>
      <p:sp>
        <p:nvSpPr>
          <p:cNvPr id="12" name="Undertitel 2"/>
          <p:cNvSpPr>
            <a:spLocks noGrp="1"/>
          </p:cNvSpPr>
          <p:nvPr>
            <p:ph type="subTitle" idx="11" hasCustomPrompt="1"/>
          </p:nvPr>
        </p:nvSpPr>
        <p:spPr>
          <a:xfrm>
            <a:off x="628650" y="1054601"/>
            <a:ext cx="7981950" cy="391367"/>
          </a:xfrm>
          <a:prstGeom prst="rect">
            <a:avLst/>
          </a:prstGeom>
          <a:noFill/>
        </p:spPr>
        <p:txBody>
          <a:bodyPr anchor="ctr">
            <a:noAutofit/>
          </a:bodyPr>
          <a:lstStyle>
            <a:lvl1pPr marL="0" indent="0" algn="l">
              <a:buNone/>
              <a:defRPr sz="1800" b="1" i="0" u="none" baseline="0">
                <a:solidFill>
                  <a:schemeClr val="accent3">
                    <a:lumMod val="50000"/>
                  </a:schemeClr>
                </a:solidFill>
                <a:effectLst/>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indsætte underoverskrift</a:t>
            </a:r>
          </a:p>
        </p:txBody>
      </p:sp>
      <p:sp>
        <p:nvSpPr>
          <p:cNvPr id="9" name="Pladsholder til indhold 2"/>
          <p:cNvSpPr>
            <a:spLocks noGrp="1"/>
          </p:cNvSpPr>
          <p:nvPr>
            <p:ph idx="10" hasCustomPrompt="1"/>
          </p:nvPr>
        </p:nvSpPr>
        <p:spPr>
          <a:xfrm>
            <a:off x="628650" y="1445966"/>
            <a:ext cx="7981950" cy="4348553"/>
          </a:xfrm>
          <a:prstGeom prst="rect">
            <a:avLst/>
          </a:prstGeom>
        </p:spPr>
        <p:txBody>
          <a:bodyPr>
            <a:normAutofit/>
          </a:bodyPr>
          <a:lstStyle>
            <a:lvl1pPr>
              <a:lnSpc>
                <a:spcPct val="150000"/>
              </a:lnSpc>
              <a:spcBef>
                <a:spcPts val="0"/>
              </a:spcBef>
              <a:defRPr sz="1800">
                <a:latin typeface="Verdana" panose="020B0604030504040204" pitchFamily="34" charset="0"/>
                <a:ea typeface="Verdana" panose="020B0604030504040204" pitchFamily="34" charset="0"/>
                <a:cs typeface="Verdana" panose="020B0604030504040204" pitchFamily="34" charset="0"/>
              </a:defRPr>
            </a:lvl1pPr>
            <a:lvl2pPr marL="800100" indent="-342900">
              <a:lnSpc>
                <a:spcPct val="150000"/>
              </a:lnSpc>
              <a:spcBef>
                <a:spcPts val="0"/>
              </a:spcBef>
              <a:buFont typeface="Courier New" panose="02070309020205020404" pitchFamily="49" charset="0"/>
              <a:buChar char="o"/>
              <a:defRPr sz="1600">
                <a:latin typeface="Verdana" panose="020B0604030504040204" pitchFamily="34" charset="0"/>
                <a:ea typeface="Verdana" panose="020B0604030504040204" pitchFamily="34" charset="0"/>
                <a:cs typeface="Verdana" panose="020B0604030504040204" pitchFamily="34" charset="0"/>
              </a:defRPr>
            </a:lvl2pPr>
            <a:lvl3pPr marL="1257300" indent="-342900">
              <a:lnSpc>
                <a:spcPct val="150000"/>
              </a:lnSpc>
              <a:spcBef>
                <a:spcPts val="0"/>
              </a:spcBef>
              <a:buFont typeface="Wingdings" panose="05000000000000000000" pitchFamily="2" charset="2"/>
              <a:buChar char="§"/>
              <a:defRPr sz="1400">
                <a:latin typeface="Verdana" panose="020B0604030504040204" pitchFamily="34" charset="0"/>
                <a:ea typeface="Verdana" panose="020B0604030504040204" pitchFamily="34" charset="0"/>
                <a:cs typeface="Verdana" panose="020B0604030504040204" pitchFamily="34" charset="0"/>
              </a:defRPr>
            </a:lvl3pPr>
            <a:lvl4pPr marL="1714500" indent="-342900">
              <a:lnSpc>
                <a:spcPct val="150000"/>
              </a:lnSpc>
              <a:spcBef>
                <a:spcPts val="0"/>
              </a:spcBef>
              <a:buFont typeface="Arial" panose="020B0604020202020204" pitchFamily="34" charset="0"/>
              <a:buChar char="•"/>
              <a:defRPr sz="1300">
                <a:latin typeface="Verdana" panose="020B0604030504040204" pitchFamily="34" charset="0"/>
                <a:ea typeface="Verdana" panose="020B0604030504040204" pitchFamily="34" charset="0"/>
                <a:cs typeface="Verdana" panose="020B0604030504040204" pitchFamily="34" charset="0"/>
              </a:defRPr>
            </a:lvl4pPr>
            <a:lvl5pPr marL="2057400" indent="-228600">
              <a:lnSpc>
                <a:spcPct val="150000"/>
              </a:lnSpc>
              <a:spcBef>
                <a:spcPts val="0"/>
              </a:spcBef>
              <a:buFont typeface="Courier New" panose="02070309020205020404" pitchFamily="49" charset="0"/>
              <a:buChar char="o"/>
              <a:defRPr sz="1100">
                <a:latin typeface="Verdana" panose="020B0604030504040204" pitchFamily="34" charset="0"/>
                <a:ea typeface="Verdana" panose="020B0604030504040204" pitchFamily="34" charset="0"/>
                <a:cs typeface="Verdana" panose="020B0604030504040204" pitchFamily="34" charset="0"/>
              </a:defRPr>
            </a:lvl5pPr>
          </a:lstStyle>
          <a:p>
            <a:pPr lvl="0"/>
            <a:r>
              <a:rPr lang="da-DK"/>
              <a:t>Klik for at indsætte indhold</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30525212"/>
      </p:ext>
    </p:extLst>
  </p:cSld>
  <p:clrMapOvr>
    <a:masterClrMapping/>
  </p:clrMapOvr>
  <p:transition spd="slow">
    <p:push dir="u"/>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Background 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410D80-6244-43D7-9BCA-4FF4C69D0B08}"/>
              </a:ext>
            </a:extLst>
          </p:cNvPr>
          <p:cNvSpPr/>
          <p:nvPr userDrawn="1"/>
        </p:nvSpPr>
        <p:spPr>
          <a:xfrm>
            <a:off x="0" y="1627188"/>
            <a:ext cx="7854462" cy="5230812"/>
          </a:xfrm>
          <a:prstGeom prst="rect">
            <a:avLst/>
          </a:prstGeom>
          <a:solidFill>
            <a:srgbClr val="EEEBE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t" anchorCtr="0" forceAA="0" compatLnSpc="1">
            <a:prstTxWarp prst="textNoShape">
              <a:avLst/>
            </a:prstTxWarp>
            <a:noAutofit/>
          </a:bodyPr>
          <a:lstStyle/>
          <a:p>
            <a:pPr algn="l"/>
            <a:endParaRPr lang="da-DK" sz="923" noProof="0">
              <a:solidFill>
                <a:srgbClr val="1F2023"/>
              </a:solidFill>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hasCustomPrompt="1"/>
          </p:nvPr>
        </p:nvSpPr>
        <p:spPr>
          <a:xfrm>
            <a:off x="249116" y="1878016"/>
            <a:ext cx="7347438" cy="4452807"/>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0" name="Title 1">
            <a:extLst>
              <a:ext uri="{FF2B5EF4-FFF2-40B4-BE49-F238E27FC236}">
                <a16:creationId xmlns:a16="http://schemas.microsoft.com/office/drawing/2014/main" id="{A2471E64-BD71-4B4B-BFD1-295764AE215A}"/>
              </a:ext>
            </a:extLst>
          </p:cNvPr>
          <p:cNvSpPr>
            <a:spLocks noGrp="1"/>
          </p:cNvSpPr>
          <p:nvPr>
            <p:ph type="title"/>
          </p:nvPr>
        </p:nvSpPr>
        <p:spPr>
          <a:xfrm>
            <a:off x="249116" y="269876"/>
            <a:ext cx="7606283"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2" name="Text Placeholder 12">
            <a:extLst>
              <a:ext uri="{FF2B5EF4-FFF2-40B4-BE49-F238E27FC236}">
                <a16:creationId xmlns:a16="http://schemas.microsoft.com/office/drawing/2014/main" id="{EC4B4692-BEB0-4AB7-A6CB-4D48CDD6012E}"/>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3" name="Text Placeholder 3">
            <a:extLst>
              <a:ext uri="{FF2B5EF4-FFF2-40B4-BE49-F238E27FC236}">
                <a16:creationId xmlns:a16="http://schemas.microsoft.com/office/drawing/2014/main" id="{57D850F3-3BBF-4220-B296-16FF2A55D696}"/>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7" name="Slide Number Placeholder 4">
            <a:extLst>
              <a:ext uri="{FF2B5EF4-FFF2-40B4-BE49-F238E27FC236}">
                <a16:creationId xmlns:a16="http://schemas.microsoft.com/office/drawing/2014/main" id="{3BBDDE93-1FAD-4FF9-8A64-A0D71BB2BEEC}"/>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14" name="Date_GeneralDate" hidden="1">
            <a:extLst>
              <a:ext uri="{FF2B5EF4-FFF2-40B4-BE49-F238E27FC236}">
                <a16:creationId xmlns:a16="http://schemas.microsoft.com/office/drawing/2014/main" id="{AB6B870D-1CE6-4711-AA2F-67484020C690}"/>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Tree>
    <p:extLst>
      <p:ext uri="{BB962C8B-B14F-4D97-AF65-F5344CB8AC3E}">
        <p14:creationId xmlns:p14="http://schemas.microsoft.com/office/powerpoint/2010/main" val="996365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Background B">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410D80-6244-43D7-9BCA-4FF4C69D0B08}"/>
              </a:ext>
            </a:extLst>
          </p:cNvPr>
          <p:cNvSpPr/>
          <p:nvPr userDrawn="1"/>
        </p:nvSpPr>
        <p:spPr>
          <a:xfrm>
            <a:off x="0" y="1627188"/>
            <a:ext cx="7854462" cy="5230812"/>
          </a:xfrm>
          <a:prstGeom prst="rect">
            <a:avLst/>
          </a:prstGeom>
          <a:solidFill>
            <a:srgbClr val="ECD7CA"/>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t" anchorCtr="0" forceAA="0" compatLnSpc="1">
            <a:prstTxWarp prst="textNoShape">
              <a:avLst/>
            </a:prstTxWarp>
            <a:noAutofit/>
          </a:bodyPr>
          <a:lstStyle/>
          <a:p>
            <a:pPr algn="l"/>
            <a:endParaRPr lang="da-DK" sz="923" noProof="0">
              <a:solidFill>
                <a:srgbClr val="1F2023"/>
              </a:solidFill>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hasCustomPrompt="1"/>
          </p:nvPr>
        </p:nvSpPr>
        <p:spPr>
          <a:xfrm>
            <a:off x="249116" y="1878016"/>
            <a:ext cx="7347438" cy="4452807"/>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0" name="Title 1">
            <a:extLst>
              <a:ext uri="{FF2B5EF4-FFF2-40B4-BE49-F238E27FC236}">
                <a16:creationId xmlns:a16="http://schemas.microsoft.com/office/drawing/2014/main" id="{82B2B732-F934-41CD-B172-1038DE5EC931}"/>
              </a:ext>
            </a:extLst>
          </p:cNvPr>
          <p:cNvSpPr>
            <a:spLocks noGrp="1"/>
          </p:cNvSpPr>
          <p:nvPr>
            <p:ph type="title"/>
          </p:nvPr>
        </p:nvSpPr>
        <p:spPr>
          <a:xfrm>
            <a:off x="249116" y="269876"/>
            <a:ext cx="7606283"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5" name="Text Placeholder 12">
            <a:extLst>
              <a:ext uri="{FF2B5EF4-FFF2-40B4-BE49-F238E27FC236}">
                <a16:creationId xmlns:a16="http://schemas.microsoft.com/office/drawing/2014/main" id="{0AB81D70-4F8C-4F7F-A726-48723613AF50}"/>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3" name="Text Placeholder 3">
            <a:extLst>
              <a:ext uri="{FF2B5EF4-FFF2-40B4-BE49-F238E27FC236}">
                <a16:creationId xmlns:a16="http://schemas.microsoft.com/office/drawing/2014/main" id="{83109406-CC86-44FA-B86E-528712007487}"/>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6" name="Slide Number Placeholder 4">
            <a:extLst>
              <a:ext uri="{FF2B5EF4-FFF2-40B4-BE49-F238E27FC236}">
                <a16:creationId xmlns:a16="http://schemas.microsoft.com/office/drawing/2014/main" id="{F30DB934-A790-49F3-AFF2-B3561F1AA882}"/>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12" name="Date_GeneralDate" hidden="1">
            <a:extLst>
              <a:ext uri="{FF2B5EF4-FFF2-40B4-BE49-F238E27FC236}">
                <a16:creationId xmlns:a16="http://schemas.microsoft.com/office/drawing/2014/main" id="{33AAD9F2-E9EA-4CC5-9E0B-C9272E54E053}"/>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Tree>
    <p:extLst>
      <p:ext uri="{BB962C8B-B14F-4D97-AF65-F5344CB8AC3E}">
        <p14:creationId xmlns:p14="http://schemas.microsoft.com/office/powerpoint/2010/main" val="2236598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Background C">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410D80-6244-43D7-9BCA-4FF4C69D0B08}"/>
              </a:ext>
            </a:extLst>
          </p:cNvPr>
          <p:cNvSpPr/>
          <p:nvPr userDrawn="1"/>
        </p:nvSpPr>
        <p:spPr>
          <a:xfrm>
            <a:off x="0" y="1627188"/>
            <a:ext cx="7854462" cy="5230812"/>
          </a:xfrm>
          <a:prstGeom prst="rect">
            <a:avLst/>
          </a:prstGeom>
          <a:solidFill>
            <a:srgbClr val="B9C7C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t" anchorCtr="0" forceAA="0" compatLnSpc="1">
            <a:prstTxWarp prst="textNoShape">
              <a:avLst/>
            </a:prstTxWarp>
            <a:noAutofit/>
          </a:bodyPr>
          <a:lstStyle/>
          <a:p>
            <a:pPr algn="l"/>
            <a:endParaRPr lang="da-DK" sz="923" noProof="0">
              <a:solidFill>
                <a:srgbClr val="1F2023"/>
              </a:solidFill>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hasCustomPrompt="1"/>
          </p:nvPr>
        </p:nvSpPr>
        <p:spPr>
          <a:xfrm>
            <a:off x="249116" y="1878016"/>
            <a:ext cx="7347438" cy="4452807"/>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0" name="Title 1">
            <a:extLst>
              <a:ext uri="{FF2B5EF4-FFF2-40B4-BE49-F238E27FC236}">
                <a16:creationId xmlns:a16="http://schemas.microsoft.com/office/drawing/2014/main" id="{ABB2E20B-892D-4EA3-8AD4-FC00FED28DF5}"/>
              </a:ext>
            </a:extLst>
          </p:cNvPr>
          <p:cNvSpPr>
            <a:spLocks noGrp="1"/>
          </p:cNvSpPr>
          <p:nvPr>
            <p:ph type="title"/>
          </p:nvPr>
        </p:nvSpPr>
        <p:spPr>
          <a:xfrm>
            <a:off x="249116" y="269876"/>
            <a:ext cx="7606283"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5" name="Text Placeholder 12">
            <a:extLst>
              <a:ext uri="{FF2B5EF4-FFF2-40B4-BE49-F238E27FC236}">
                <a16:creationId xmlns:a16="http://schemas.microsoft.com/office/drawing/2014/main" id="{DE12DCE5-1D70-40FE-A12D-BC9D827D4FAB}"/>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3" name="Text Placeholder 3">
            <a:extLst>
              <a:ext uri="{FF2B5EF4-FFF2-40B4-BE49-F238E27FC236}">
                <a16:creationId xmlns:a16="http://schemas.microsoft.com/office/drawing/2014/main" id="{E99217A5-C5F1-43F0-8D37-FD2D14569447}"/>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6" name="Slide Number Placeholder 4">
            <a:extLst>
              <a:ext uri="{FF2B5EF4-FFF2-40B4-BE49-F238E27FC236}">
                <a16:creationId xmlns:a16="http://schemas.microsoft.com/office/drawing/2014/main" id="{DF6EDBD7-2837-4DCC-BA75-1B0096E3B003}"/>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12" name="Date_GeneralDate" hidden="1">
            <a:extLst>
              <a:ext uri="{FF2B5EF4-FFF2-40B4-BE49-F238E27FC236}">
                <a16:creationId xmlns:a16="http://schemas.microsoft.com/office/drawing/2014/main" id="{529B4580-A937-4A89-A972-47BC0D3F835B}"/>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Tree>
    <p:extLst>
      <p:ext uri="{BB962C8B-B14F-4D97-AF65-F5344CB8AC3E}">
        <p14:creationId xmlns:p14="http://schemas.microsoft.com/office/powerpoint/2010/main" val="1661468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Background 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410D80-6244-43D7-9BCA-4FF4C69D0B08}"/>
              </a:ext>
            </a:extLst>
          </p:cNvPr>
          <p:cNvSpPr/>
          <p:nvPr userDrawn="1"/>
        </p:nvSpPr>
        <p:spPr>
          <a:xfrm>
            <a:off x="0" y="1627188"/>
            <a:ext cx="7855399" cy="5230812"/>
          </a:xfrm>
          <a:prstGeom prst="rect">
            <a:avLst/>
          </a:prstGeom>
          <a:solidFill>
            <a:srgbClr val="FBF9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t" anchorCtr="0" forceAA="0" compatLnSpc="1">
            <a:prstTxWarp prst="textNoShape">
              <a:avLst/>
            </a:prstTxWarp>
            <a:noAutofit/>
          </a:bodyPr>
          <a:lstStyle/>
          <a:p>
            <a:pPr algn="l"/>
            <a:endParaRPr lang="da-DK" sz="923" noProof="0">
              <a:solidFill>
                <a:srgbClr val="1F2023"/>
              </a:solidFill>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hasCustomPrompt="1"/>
          </p:nvPr>
        </p:nvSpPr>
        <p:spPr>
          <a:xfrm>
            <a:off x="249116" y="1878016"/>
            <a:ext cx="7347438" cy="4452807"/>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0" name="Title 1">
            <a:extLst>
              <a:ext uri="{FF2B5EF4-FFF2-40B4-BE49-F238E27FC236}">
                <a16:creationId xmlns:a16="http://schemas.microsoft.com/office/drawing/2014/main" id="{28CE8CB5-0C5C-4F82-93BB-A3CC2466A32C}"/>
              </a:ext>
            </a:extLst>
          </p:cNvPr>
          <p:cNvSpPr>
            <a:spLocks noGrp="1"/>
          </p:cNvSpPr>
          <p:nvPr>
            <p:ph type="title"/>
          </p:nvPr>
        </p:nvSpPr>
        <p:spPr>
          <a:xfrm>
            <a:off x="249116" y="269876"/>
            <a:ext cx="7606283"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5" name="Text Placeholder 12">
            <a:extLst>
              <a:ext uri="{FF2B5EF4-FFF2-40B4-BE49-F238E27FC236}">
                <a16:creationId xmlns:a16="http://schemas.microsoft.com/office/drawing/2014/main" id="{3C651A19-21C7-43A0-87F7-B33CAB065148}"/>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3" name="Text Placeholder 3">
            <a:extLst>
              <a:ext uri="{FF2B5EF4-FFF2-40B4-BE49-F238E27FC236}">
                <a16:creationId xmlns:a16="http://schemas.microsoft.com/office/drawing/2014/main" id="{C10B5418-1C83-44F1-AB0B-3628C15B4C2A}"/>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6" name="Slide Number Placeholder 4">
            <a:extLst>
              <a:ext uri="{FF2B5EF4-FFF2-40B4-BE49-F238E27FC236}">
                <a16:creationId xmlns:a16="http://schemas.microsoft.com/office/drawing/2014/main" id="{4FBE63A3-E191-4F2C-B1EA-A032441BA822}"/>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12" name="Date_GeneralDate" hidden="1">
            <a:extLst>
              <a:ext uri="{FF2B5EF4-FFF2-40B4-BE49-F238E27FC236}">
                <a16:creationId xmlns:a16="http://schemas.microsoft.com/office/drawing/2014/main" id="{1DDF63FA-A507-49EB-8773-728F33759C3A}"/>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Tree>
    <p:extLst>
      <p:ext uri="{BB962C8B-B14F-4D97-AF65-F5344CB8AC3E}">
        <p14:creationId xmlns:p14="http://schemas.microsoft.com/office/powerpoint/2010/main" val="2120132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clution box vertical">
    <p:spTree>
      <p:nvGrpSpPr>
        <p:cNvPr id="1" name=""/>
        <p:cNvGrpSpPr/>
        <p:nvPr/>
      </p:nvGrpSpPr>
      <p:grpSpPr>
        <a:xfrm>
          <a:off x="0" y="0"/>
          <a:ext cx="0" cy="0"/>
          <a:chOff x="0" y="0"/>
          <a:chExt cx="0" cy="0"/>
        </a:xfrm>
      </p:grpSpPr>
      <p:sp>
        <p:nvSpPr>
          <p:cNvPr id="15" name="Rektangel 14">
            <a:extLst>
              <a:ext uri="{FF2B5EF4-FFF2-40B4-BE49-F238E27FC236}">
                <a16:creationId xmlns:a16="http://schemas.microsoft.com/office/drawing/2014/main" id="{30A3B4BE-E8CF-4315-A7DB-E771E6EF198E}"/>
              </a:ext>
            </a:extLst>
          </p:cNvPr>
          <p:cNvSpPr/>
          <p:nvPr userDrawn="1"/>
        </p:nvSpPr>
        <p:spPr>
          <a:xfrm>
            <a:off x="6598523" y="1627190"/>
            <a:ext cx="2545477" cy="5230800"/>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9692" tIns="99692" rIns="99692" bIns="99692" rtlCol="0" anchor="t" anchorCtr="0">
            <a:noAutofit/>
          </a:bodyPr>
          <a:lstStyle/>
          <a:p>
            <a:pPr algn="l"/>
            <a:endParaRPr lang="da-DK" sz="1015" noProof="0">
              <a:solidFill>
                <a:srgbClr val="2F363B"/>
              </a:solidFill>
            </a:endParaRPr>
          </a:p>
        </p:txBody>
      </p:sp>
      <p:sp>
        <p:nvSpPr>
          <p:cNvPr id="7" name="Title 1">
            <a:extLst>
              <a:ext uri="{FF2B5EF4-FFF2-40B4-BE49-F238E27FC236}">
                <a16:creationId xmlns:a16="http://schemas.microsoft.com/office/drawing/2014/main" id="{7EAAE5C6-2755-4F4E-A878-43F56B65E9BB}"/>
              </a:ext>
            </a:extLst>
          </p:cNvPr>
          <p:cNvSpPr>
            <a:spLocks noGrp="1"/>
          </p:cNvSpPr>
          <p:nvPr>
            <p:ph type="title"/>
          </p:nvPr>
        </p:nvSpPr>
        <p:spPr>
          <a:xfrm>
            <a:off x="249116" y="269876"/>
            <a:ext cx="7606283"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4" name="Pladsholder til tekst 2">
            <a:extLst>
              <a:ext uri="{FF2B5EF4-FFF2-40B4-BE49-F238E27FC236}">
                <a16:creationId xmlns:a16="http://schemas.microsoft.com/office/drawing/2014/main" id="{0191184A-EA12-4A43-A548-EF516D82ECDE}"/>
              </a:ext>
            </a:extLst>
          </p:cNvPr>
          <p:cNvSpPr>
            <a:spLocks noGrp="1"/>
          </p:cNvSpPr>
          <p:nvPr>
            <p:ph type="body" sz="quarter" idx="15" hasCustomPrompt="1"/>
          </p:nvPr>
        </p:nvSpPr>
        <p:spPr>
          <a:xfrm>
            <a:off x="6738879" y="1778174"/>
            <a:ext cx="2153074" cy="4538489"/>
          </a:xfrm>
        </p:spPr>
        <p:txBody>
          <a:body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8" name="Text Placeholder 12">
            <a:extLst>
              <a:ext uri="{FF2B5EF4-FFF2-40B4-BE49-F238E27FC236}">
                <a16:creationId xmlns:a16="http://schemas.microsoft.com/office/drawing/2014/main" id="{134F504F-A2DE-4572-9711-6650D6AA4E27}"/>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1" name="Text Placeholder 3">
            <a:extLst>
              <a:ext uri="{FF2B5EF4-FFF2-40B4-BE49-F238E27FC236}">
                <a16:creationId xmlns:a16="http://schemas.microsoft.com/office/drawing/2014/main" id="{79240DFA-E6CC-48C6-9045-36E6CF1B045E}"/>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9" name="Date_GeneralDate" hidden="1">
            <a:extLst>
              <a:ext uri="{FF2B5EF4-FFF2-40B4-BE49-F238E27FC236}">
                <a16:creationId xmlns:a16="http://schemas.microsoft.com/office/drawing/2014/main" id="{6908E312-5010-42EE-8694-8788FA4ED6FC}"/>
              </a:ext>
            </a:extLst>
          </p:cNvPr>
          <p:cNvSpPr>
            <a:spLocks noGrp="1"/>
          </p:cNvSpPr>
          <p:nvPr>
            <p:ph type="dt" sz="half" idx="10"/>
          </p:nvPr>
        </p:nvSpPr>
        <p:spPr>
          <a:xfrm>
            <a:off x="249115" y="6978509"/>
            <a:ext cx="0" cy="0"/>
          </a:xfrm>
        </p:spPr>
        <p:txBody>
          <a:bodyPr/>
          <a:lstStyle>
            <a:lvl1pPr algn="l">
              <a:defRPr sz="100" cap="all" spc="150" baseline="0">
                <a:solidFill>
                  <a:schemeClr val="bg2"/>
                </a:solidFill>
              </a:defRPr>
            </a:lvl1pPr>
          </a:lstStyle>
          <a:p>
            <a:endParaRPr lang="da-DK"/>
          </a:p>
        </p:txBody>
      </p:sp>
      <p:sp>
        <p:nvSpPr>
          <p:cNvPr id="14" name="Slide Number Placeholder 4">
            <a:extLst>
              <a:ext uri="{FF2B5EF4-FFF2-40B4-BE49-F238E27FC236}">
                <a16:creationId xmlns:a16="http://schemas.microsoft.com/office/drawing/2014/main" id="{91C6701B-F0B4-47F4-8341-77991D1F2E45}"/>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Tree>
    <p:extLst>
      <p:ext uri="{BB962C8B-B14F-4D97-AF65-F5344CB8AC3E}">
        <p14:creationId xmlns:p14="http://schemas.microsoft.com/office/powerpoint/2010/main" val="241422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clution box horisontal">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8C0BC593-88F5-4BB6-A4DB-DF070A7F512A}"/>
              </a:ext>
            </a:extLst>
          </p:cNvPr>
          <p:cNvSpPr/>
          <p:nvPr userDrawn="1"/>
        </p:nvSpPr>
        <p:spPr>
          <a:xfrm>
            <a:off x="0" y="5063872"/>
            <a:ext cx="9145108" cy="1792800"/>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9692" tIns="99692" rIns="99692" bIns="99692" rtlCol="0" anchor="t" anchorCtr="0">
            <a:noAutofit/>
          </a:bodyPr>
          <a:lstStyle/>
          <a:p>
            <a:pPr algn="l"/>
            <a:endParaRPr lang="da-DK" sz="1015" noProof="0">
              <a:solidFill>
                <a:srgbClr val="2F363B"/>
              </a:solidFill>
            </a:endParaRPr>
          </a:p>
        </p:txBody>
      </p:sp>
      <p:sp>
        <p:nvSpPr>
          <p:cNvPr id="7" name="Title 1">
            <a:extLst>
              <a:ext uri="{FF2B5EF4-FFF2-40B4-BE49-F238E27FC236}">
                <a16:creationId xmlns:a16="http://schemas.microsoft.com/office/drawing/2014/main" id="{7EAAE5C6-2755-4F4E-A878-43F56B65E9BB}"/>
              </a:ext>
            </a:extLst>
          </p:cNvPr>
          <p:cNvSpPr>
            <a:spLocks noGrp="1"/>
          </p:cNvSpPr>
          <p:nvPr>
            <p:ph type="title"/>
          </p:nvPr>
        </p:nvSpPr>
        <p:spPr>
          <a:xfrm>
            <a:off x="249116" y="269876"/>
            <a:ext cx="7606283"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5" name="Pladsholder til tekst 2">
            <a:extLst>
              <a:ext uri="{FF2B5EF4-FFF2-40B4-BE49-F238E27FC236}">
                <a16:creationId xmlns:a16="http://schemas.microsoft.com/office/drawing/2014/main" id="{70307FA8-343A-49F8-8A05-FF81EEFEA35E}"/>
              </a:ext>
            </a:extLst>
          </p:cNvPr>
          <p:cNvSpPr>
            <a:spLocks noGrp="1"/>
          </p:cNvSpPr>
          <p:nvPr>
            <p:ph type="body" sz="quarter" idx="15" hasCustomPrompt="1"/>
          </p:nvPr>
        </p:nvSpPr>
        <p:spPr>
          <a:xfrm>
            <a:off x="249115" y="5214857"/>
            <a:ext cx="4196862" cy="1101807"/>
          </a:xfrm>
        </p:spPr>
        <p:txBody>
          <a:body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6" name="Pladsholder til tekst 3">
            <a:extLst>
              <a:ext uri="{FF2B5EF4-FFF2-40B4-BE49-F238E27FC236}">
                <a16:creationId xmlns:a16="http://schemas.microsoft.com/office/drawing/2014/main" id="{FCCEAA0A-BD2E-414E-B8BD-A9A06D2A59CC}"/>
              </a:ext>
            </a:extLst>
          </p:cNvPr>
          <p:cNvSpPr>
            <a:spLocks noGrp="1"/>
          </p:cNvSpPr>
          <p:nvPr>
            <p:ph type="body" sz="quarter" idx="16" hasCustomPrompt="1"/>
          </p:nvPr>
        </p:nvSpPr>
        <p:spPr>
          <a:xfrm>
            <a:off x="4696559" y="5214857"/>
            <a:ext cx="4196862" cy="1101807"/>
          </a:xfrm>
        </p:spPr>
        <p:txBody>
          <a:body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8" name="Text Placeholder 12">
            <a:extLst>
              <a:ext uri="{FF2B5EF4-FFF2-40B4-BE49-F238E27FC236}">
                <a16:creationId xmlns:a16="http://schemas.microsoft.com/office/drawing/2014/main" id="{134F504F-A2DE-4572-9711-6650D6AA4E27}"/>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1" name="Text Placeholder 3">
            <a:extLst>
              <a:ext uri="{FF2B5EF4-FFF2-40B4-BE49-F238E27FC236}">
                <a16:creationId xmlns:a16="http://schemas.microsoft.com/office/drawing/2014/main" id="{79240DFA-E6CC-48C6-9045-36E6CF1B045E}"/>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9" name="Date_GeneralDate" hidden="1">
            <a:extLst>
              <a:ext uri="{FF2B5EF4-FFF2-40B4-BE49-F238E27FC236}">
                <a16:creationId xmlns:a16="http://schemas.microsoft.com/office/drawing/2014/main" id="{6908E312-5010-42EE-8694-8788FA4ED6FC}"/>
              </a:ext>
            </a:extLst>
          </p:cNvPr>
          <p:cNvSpPr>
            <a:spLocks noGrp="1"/>
          </p:cNvSpPr>
          <p:nvPr>
            <p:ph type="dt" sz="half" idx="10"/>
          </p:nvPr>
        </p:nvSpPr>
        <p:spPr>
          <a:xfrm>
            <a:off x="249115" y="6978509"/>
            <a:ext cx="0" cy="0"/>
          </a:xfrm>
        </p:spPr>
        <p:txBody>
          <a:bodyPr/>
          <a:lstStyle>
            <a:lvl1pPr algn="l">
              <a:defRPr sz="100" cap="all" spc="150" baseline="0">
                <a:solidFill>
                  <a:schemeClr val="bg2"/>
                </a:solidFill>
              </a:defRPr>
            </a:lvl1pPr>
          </a:lstStyle>
          <a:p>
            <a:endParaRPr lang="da-DK"/>
          </a:p>
        </p:txBody>
      </p:sp>
      <p:sp>
        <p:nvSpPr>
          <p:cNvPr id="14" name="Slide Number Placeholder 4">
            <a:extLst>
              <a:ext uri="{FF2B5EF4-FFF2-40B4-BE49-F238E27FC236}">
                <a16:creationId xmlns:a16="http://schemas.microsoft.com/office/drawing/2014/main" id="{91C6701B-F0B4-47F4-8341-77991D1F2E45}"/>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Tree>
    <p:extLst>
      <p:ext uri="{BB962C8B-B14F-4D97-AF65-F5344CB8AC3E}">
        <p14:creationId xmlns:p14="http://schemas.microsoft.com/office/powerpoint/2010/main" val="3855355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Small Dark">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CBA12CA-ADA2-4F73-9B88-D50DC1FCE512}"/>
              </a:ext>
            </a:extLst>
          </p:cNvPr>
          <p:cNvSpPr/>
          <p:nvPr userDrawn="1"/>
        </p:nvSpPr>
        <p:spPr>
          <a:xfrm>
            <a:off x="503565" y="3313867"/>
            <a:ext cx="6441522" cy="3544135"/>
          </a:xfrm>
          <a:prstGeom prst="rect">
            <a:avLst/>
          </a:prstGeom>
          <a:solidFill>
            <a:srgbClr val="E0BCA6"/>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6462" tIns="66462" rIns="66462" bIns="66462" numCol="1" spcCol="0" rtlCol="0" fromWordArt="0" anchor="ctr" anchorCtr="0" forceAA="0" compatLnSpc="1">
            <a:prstTxWarp prst="textNoShape">
              <a:avLst/>
            </a:prstTxWarp>
            <a:noAutofit/>
          </a:bodyPr>
          <a:lstStyle/>
          <a:p>
            <a:pPr algn="ctr"/>
            <a:endParaRPr lang="da-DK" sz="1015" noProof="0">
              <a:solidFill>
                <a:schemeClr val="tx1"/>
              </a:solidFill>
            </a:endParaRPr>
          </a:p>
        </p:txBody>
      </p:sp>
      <p:sp>
        <p:nvSpPr>
          <p:cNvPr id="2" name="Rectangle 1">
            <a:extLst>
              <a:ext uri="{FF2B5EF4-FFF2-40B4-BE49-F238E27FC236}">
                <a16:creationId xmlns:a16="http://schemas.microsoft.com/office/drawing/2014/main" id="{ECA92447-F633-484C-865A-7E00514C7F7C}"/>
              </a:ext>
            </a:extLst>
          </p:cNvPr>
          <p:cNvSpPr/>
          <p:nvPr userDrawn="1"/>
        </p:nvSpPr>
        <p:spPr>
          <a:xfrm>
            <a:off x="1" y="2136618"/>
            <a:ext cx="6075571" cy="4721382"/>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algn="l"/>
            <a:endParaRPr lang="da-DK" sz="923" noProof="0">
              <a:solidFill>
                <a:srgbClr val="2F363B"/>
              </a:solidFill>
            </a:endParaRPr>
          </a:p>
        </p:txBody>
      </p:sp>
      <p:sp>
        <p:nvSpPr>
          <p:cNvPr id="12" name="Text Placeholder 6">
            <a:extLst>
              <a:ext uri="{FF2B5EF4-FFF2-40B4-BE49-F238E27FC236}">
                <a16:creationId xmlns:a16="http://schemas.microsoft.com/office/drawing/2014/main" id="{1AF09253-57B7-496F-9C52-5EDA820C1B9E}"/>
              </a:ext>
            </a:extLst>
          </p:cNvPr>
          <p:cNvSpPr>
            <a:spLocks noGrp="1"/>
          </p:cNvSpPr>
          <p:nvPr>
            <p:ph type="body" sz="quarter" idx="16" hasCustomPrompt="1"/>
          </p:nvPr>
        </p:nvSpPr>
        <p:spPr>
          <a:xfrm>
            <a:off x="249115" y="2633930"/>
            <a:ext cx="4196862" cy="447301"/>
          </a:xfrm>
        </p:spPr>
        <p:txBody>
          <a:bodyPr rIns="0" anchor="b" anchorCtr="0"/>
          <a:lstStyle>
            <a:lvl1pPr marL="0" indent="0">
              <a:buNone/>
              <a:defRPr sz="2585">
                <a:solidFill>
                  <a:srgbClr val="F8F5E7"/>
                </a:solidFill>
              </a:defRPr>
            </a:lvl1pPr>
          </a:lstStyle>
          <a:p>
            <a:pPr lvl="0"/>
            <a:r>
              <a:rPr lang="da-DK"/>
              <a:t>01</a:t>
            </a:r>
          </a:p>
        </p:txBody>
      </p:sp>
      <p:sp>
        <p:nvSpPr>
          <p:cNvPr id="11" name="Title 1">
            <a:extLst>
              <a:ext uri="{FF2B5EF4-FFF2-40B4-BE49-F238E27FC236}">
                <a16:creationId xmlns:a16="http://schemas.microsoft.com/office/drawing/2014/main" id="{CDAB66FF-3B85-4BEC-B050-88BADAE9CC43}"/>
              </a:ext>
            </a:extLst>
          </p:cNvPr>
          <p:cNvSpPr>
            <a:spLocks noGrp="1"/>
          </p:cNvSpPr>
          <p:nvPr>
            <p:ph type="title" hasCustomPrompt="1"/>
          </p:nvPr>
        </p:nvSpPr>
        <p:spPr>
          <a:xfrm>
            <a:off x="249115" y="3313865"/>
            <a:ext cx="4196862" cy="3002799"/>
          </a:xfrm>
          <a:solidFill>
            <a:srgbClr val="30373B"/>
          </a:solidFill>
        </p:spPr>
        <p:txBody>
          <a:bodyPr lIns="0" tIns="0" rIns="0"/>
          <a:lstStyle>
            <a:lvl1pPr>
              <a:lnSpc>
                <a:spcPct val="83000"/>
              </a:lnSpc>
              <a:defRPr sz="4431" cap="all" baseline="0">
                <a:solidFill>
                  <a:srgbClr val="F8F5E7"/>
                </a:solidFill>
                <a:latin typeface="Impact" panose="020B0806030902050204" pitchFamily="34" charset="0"/>
              </a:defRPr>
            </a:lvl1pPr>
          </a:lstStyle>
          <a:p>
            <a:r>
              <a:rPr lang="da-DK"/>
              <a:t>CLICK TO EDIT MASTER TITLE STYLE</a:t>
            </a:r>
          </a:p>
        </p:txBody>
      </p:sp>
      <p:sp>
        <p:nvSpPr>
          <p:cNvPr id="17" name="Freeform: Shape 16">
            <a:extLst>
              <a:ext uri="{FF2B5EF4-FFF2-40B4-BE49-F238E27FC236}">
                <a16:creationId xmlns:a16="http://schemas.microsoft.com/office/drawing/2014/main" id="{54A347B2-2B04-4976-8493-17E06C8319C5}"/>
              </a:ext>
            </a:extLst>
          </p:cNvPr>
          <p:cNvSpPr/>
          <p:nvPr userDrawn="1">
            <p:custDataLst>
              <p:tags r:id="rId1"/>
            </p:custDataLst>
          </p:nvPr>
        </p:nvSpPr>
        <p:spPr bwMode="auto">
          <a:xfrm rot="5400000">
            <a:off x="8646962" y="406758"/>
            <a:ext cx="350168" cy="142743"/>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endParaRPr lang="da-DK" sz="1662"/>
          </a:p>
        </p:txBody>
      </p:sp>
      <p:sp>
        <p:nvSpPr>
          <p:cNvPr id="22" name="Slide Number Placeholder 4">
            <a:extLst>
              <a:ext uri="{FF2B5EF4-FFF2-40B4-BE49-F238E27FC236}">
                <a16:creationId xmlns:a16="http://schemas.microsoft.com/office/drawing/2014/main" id="{D8C9E7F5-0EB3-4074-B7BE-05DFE74A46CD}"/>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16" name="Date_GeneralDate" hidden="1">
            <a:extLst>
              <a:ext uri="{FF2B5EF4-FFF2-40B4-BE49-F238E27FC236}">
                <a16:creationId xmlns:a16="http://schemas.microsoft.com/office/drawing/2014/main" id="{EBCC8B2D-A669-40E9-8FE9-23DB9EFDC1CA}"/>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5" name="Text Placeholder 12">
            <a:extLst>
              <a:ext uri="{FF2B5EF4-FFF2-40B4-BE49-F238E27FC236}">
                <a16:creationId xmlns:a16="http://schemas.microsoft.com/office/drawing/2014/main" id="{84A24983-3FE3-44E0-B262-30F59419DD24}"/>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8" name="Text Placeholder 3">
            <a:extLst>
              <a:ext uri="{FF2B5EF4-FFF2-40B4-BE49-F238E27FC236}">
                <a16:creationId xmlns:a16="http://schemas.microsoft.com/office/drawing/2014/main" id="{BFBB7034-9D4A-4ED7-8413-EED87722C6C4}"/>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Tree>
    <p:extLst>
      <p:ext uri="{BB962C8B-B14F-4D97-AF65-F5344CB8AC3E}">
        <p14:creationId xmlns:p14="http://schemas.microsoft.com/office/powerpoint/2010/main" val="1825275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Smal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E59AFDB-E223-470E-8D22-64189D0DE859}"/>
              </a:ext>
            </a:extLst>
          </p:cNvPr>
          <p:cNvSpPr/>
          <p:nvPr userDrawn="1"/>
        </p:nvSpPr>
        <p:spPr>
          <a:xfrm>
            <a:off x="503565" y="3313867"/>
            <a:ext cx="6441522" cy="3544135"/>
          </a:xfrm>
          <a:prstGeom prst="rect">
            <a:avLst/>
          </a:prstGeom>
          <a:solidFill>
            <a:srgbClr val="8AA29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6462" tIns="66462" rIns="66462" bIns="66462" numCol="1" spcCol="0" rtlCol="0" fromWordArt="0" anchor="ctr" anchorCtr="0" forceAA="0" compatLnSpc="1">
            <a:prstTxWarp prst="textNoShape">
              <a:avLst/>
            </a:prstTxWarp>
            <a:noAutofit/>
          </a:bodyPr>
          <a:lstStyle/>
          <a:p>
            <a:pPr algn="ctr"/>
            <a:endParaRPr lang="da-DK" sz="1015" noProof="0">
              <a:solidFill>
                <a:srgbClr val="1F2023"/>
              </a:solidFill>
            </a:endParaRPr>
          </a:p>
        </p:txBody>
      </p:sp>
      <p:sp>
        <p:nvSpPr>
          <p:cNvPr id="19" name="Rectangle 18">
            <a:extLst>
              <a:ext uri="{FF2B5EF4-FFF2-40B4-BE49-F238E27FC236}">
                <a16:creationId xmlns:a16="http://schemas.microsoft.com/office/drawing/2014/main" id="{C3AEB493-9A07-4D62-BC33-B44675629FCD}"/>
              </a:ext>
            </a:extLst>
          </p:cNvPr>
          <p:cNvSpPr/>
          <p:nvPr userDrawn="1"/>
        </p:nvSpPr>
        <p:spPr>
          <a:xfrm>
            <a:off x="1" y="2136618"/>
            <a:ext cx="6075571" cy="4721382"/>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algn="l"/>
            <a:endParaRPr lang="da-DK" sz="923" noProof="0">
              <a:solidFill>
                <a:srgbClr val="2F363B"/>
              </a:solidFill>
            </a:endParaRPr>
          </a:p>
        </p:txBody>
      </p:sp>
      <p:sp>
        <p:nvSpPr>
          <p:cNvPr id="11" name="Title 1">
            <a:extLst>
              <a:ext uri="{FF2B5EF4-FFF2-40B4-BE49-F238E27FC236}">
                <a16:creationId xmlns:a16="http://schemas.microsoft.com/office/drawing/2014/main" id="{4A400803-DD4C-4741-BA21-295DF4FBBDD6}"/>
              </a:ext>
            </a:extLst>
          </p:cNvPr>
          <p:cNvSpPr>
            <a:spLocks noGrp="1"/>
          </p:cNvSpPr>
          <p:nvPr>
            <p:ph type="title" hasCustomPrompt="1"/>
          </p:nvPr>
        </p:nvSpPr>
        <p:spPr>
          <a:xfrm>
            <a:off x="249115" y="3313864"/>
            <a:ext cx="4196862" cy="3002800"/>
          </a:xfrm>
          <a:noFill/>
        </p:spPr>
        <p:txBody>
          <a:bodyPr lIns="0" tIns="0" rIns="0"/>
          <a:lstStyle>
            <a:lvl1pPr>
              <a:lnSpc>
                <a:spcPct val="83000"/>
              </a:lnSpc>
              <a:defRPr sz="4431" cap="all" baseline="0">
                <a:solidFill>
                  <a:srgbClr val="30373B"/>
                </a:solidFill>
                <a:latin typeface="Impact" panose="020B0806030902050204" pitchFamily="34" charset="0"/>
              </a:defRPr>
            </a:lvl1pPr>
          </a:lstStyle>
          <a:p>
            <a:r>
              <a:rPr lang="da-DK"/>
              <a:t>CLICK TO EDIT MASTER TITLE STYLE</a:t>
            </a:r>
          </a:p>
        </p:txBody>
      </p:sp>
      <p:sp>
        <p:nvSpPr>
          <p:cNvPr id="12" name="Text Placeholder 6">
            <a:extLst>
              <a:ext uri="{FF2B5EF4-FFF2-40B4-BE49-F238E27FC236}">
                <a16:creationId xmlns:a16="http://schemas.microsoft.com/office/drawing/2014/main" id="{C07714EE-7627-4E32-98B1-12A8EA78D2BF}"/>
              </a:ext>
            </a:extLst>
          </p:cNvPr>
          <p:cNvSpPr>
            <a:spLocks noGrp="1"/>
          </p:cNvSpPr>
          <p:nvPr>
            <p:ph type="body" sz="quarter" idx="16" hasCustomPrompt="1"/>
          </p:nvPr>
        </p:nvSpPr>
        <p:spPr>
          <a:xfrm>
            <a:off x="249115" y="2633930"/>
            <a:ext cx="4196862" cy="447301"/>
          </a:xfrm>
          <a:noFill/>
        </p:spPr>
        <p:txBody>
          <a:bodyPr rIns="0" anchor="b" anchorCtr="0"/>
          <a:lstStyle>
            <a:lvl1pPr marL="0" indent="0">
              <a:buNone/>
              <a:defRPr sz="2585">
                <a:solidFill>
                  <a:srgbClr val="30373B"/>
                </a:solidFill>
              </a:defRPr>
            </a:lvl1pPr>
          </a:lstStyle>
          <a:p>
            <a:pPr lvl="0"/>
            <a:r>
              <a:rPr lang="da-DK"/>
              <a:t>01</a:t>
            </a:r>
          </a:p>
        </p:txBody>
      </p:sp>
      <p:sp>
        <p:nvSpPr>
          <p:cNvPr id="16" name="Freeform: Shape 15">
            <a:extLst>
              <a:ext uri="{FF2B5EF4-FFF2-40B4-BE49-F238E27FC236}">
                <a16:creationId xmlns:a16="http://schemas.microsoft.com/office/drawing/2014/main" id="{84026F2F-C254-4600-867F-F877C37EA6DD}"/>
              </a:ext>
            </a:extLst>
          </p:cNvPr>
          <p:cNvSpPr/>
          <p:nvPr userDrawn="1">
            <p:custDataLst>
              <p:tags r:id="rId1"/>
            </p:custDataLst>
          </p:nvPr>
        </p:nvSpPr>
        <p:spPr bwMode="auto">
          <a:xfrm rot="5400000">
            <a:off x="8646962" y="406758"/>
            <a:ext cx="350168" cy="142743"/>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endParaRPr lang="da-DK" sz="1662">
              <a:solidFill>
                <a:srgbClr val="30373B"/>
              </a:solidFill>
            </a:endParaRPr>
          </a:p>
        </p:txBody>
      </p:sp>
      <p:sp>
        <p:nvSpPr>
          <p:cNvPr id="23" name="Slide Number Placeholder 4">
            <a:extLst>
              <a:ext uri="{FF2B5EF4-FFF2-40B4-BE49-F238E27FC236}">
                <a16:creationId xmlns:a16="http://schemas.microsoft.com/office/drawing/2014/main" id="{EDD2FDA3-F159-491A-A914-5D19F700E29F}"/>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15" name="Date_GeneralDate" hidden="1">
            <a:extLst>
              <a:ext uri="{FF2B5EF4-FFF2-40B4-BE49-F238E27FC236}">
                <a16:creationId xmlns:a16="http://schemas.microsoft.com/office/drawing/2014/main" id="{468647FE-6C52-44F1-BA7A-3E3EAE4AEFBB}"/>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4" name="Text Placeholder 12">
            <a:extLst>
              <a:ext uri="{FF2B5EF4-FFF2-40B4-BE49-F238E27FC236}">
                <a16:creationId xmlns:a16="http://schemas.microsoft.com/office/drawing/2014/main" id="{86543865-3BC1-4935-95C1-E497FFC75495}"/>
              </a:ext>
            </a:extLst>
          </p:cNvPr>
          <p:cNvSpPr>
            <a:spLocks noGrp="1"/>
          </p:cNvSpPr>
          <p:nvPr>
            <p:ph type="body" sz="quarter" idx="17"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8" name="Text Placeholder 3">
            <a:extLst>
              <a:ext uri="{FF2B5EF4-FFF2-40B4-BE49-F238E27FC236}">
                <a16:creationId xmlns:a16="http://schemas.microsoft.com/office/drawing/2014/main" id="{5A4369CD-5E24-463F-81D4-A841AD784848}"/>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Tree>
    <p:extLst>
      <p:ext uri="{BB962C8B-B14F-4D97-AF65-F5344CB8AC3E}">
        <p14:creationId xmlns:p14="http://schemas.microsoft.com/office/powerpoint/2010/main" val="1944280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Image Dark">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40B7F21-6889-46F7-BB5C-8FDE3B947050}"/>
              </a:ext>
            </a:extLst>
          </p:cNvPr>
          <p:cNvSpPr/>
          <p:nvPr userDrawn="1"/>
        </p:nvSpPr>
        <p:spPr>
          <a:xfrm>
            <a:off x="0" y="0"/>
            <a:ext cx="6590388" cy="5498510"/>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algn="l"/>
            <a:endParaRPr lang="da-DK" sz="923" noProof="0">
              <a:solidFill>
                <a:srgbClr val="2F363B"/>
              </a:solidFill>
            </a:endParaRPr>
          </a:p>
        </p:txBody>
      </p:sp>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249115" y="1556427"/>
            <a:ext cx="4447442" cy="3942085"/>
          </a:xfrm>
          <a:noFill/>
        </p:spPr>
        <p:txBody>
          <a:bodyPr lIns="0" tIns="0" rIns="0"/>
          <a:lstStyle>
            <a:lvl1pPr>
              <a:defRPr sz="6646" cap="all" baseline="0">
                <a:solidFill>
                  <a:srgbClr val="F8F5E7"/>
                </a:solidFill>
                <a:latin typeface="Impact" panose="020B0806030902050204" pitchFamily="34" charset="0"/>
              </a:defRPr>
            </a:lvl1pPr>
          </a:lstStyle>
          <a:p>
            <a:r>
              <a:rPr lang="da-DK"/>
              <a:t>CLICK TO EDIT MASTER TITLE STYLE</a:t>
            </a:r>
          </a:p>
        </p:txBody>
      </p:sp>
      <p:sp>
        <p:nvSpPr>
          <p:cNvPr id="7" name="Text Placeholder 6">
            <a:extLst>
              <a:ext uri="{FF2B5EF4-FFF2-40B4-BE49-F238E27FC236}">
                <a16:creationId xmlns:a16="http://schemas.microsoft.com/office/drawing/2014/main" id="{43E6A12C-68BB-4A46-AD97-9543173E4BFC}"/>
              </a:ext>
            </a:extLst>
          </p:cNvPr>
          <p:cNvSpPr>
            <a:spLocks noGrp="1"/>
          </p:cNvSpPr>
          <p:nvPr>
            <p:ph type="body" sz="quarter" idx="16" hasCustomPrompt="1"/>
          </p:nvPr>
        </p:nvSpPr>
        <p:spPr>
          <a:xfrm>
            <a:off x="249115" y="986119"/>
            <a:ext cx="4196862" cy="447301"/>
          </a:xfrm>
        </p:spPr>
        <p:txBody>
          <a:bodyPr rIns="0" anchor="b" anchorCtr="0"/>
          <a:lstStyle>
            <a:lvl1pPr marL="0" indent="0">
              <a:buNone/>
              <a:defRPr sz="2585">
                <a:solidFill>
                  <a:srgbClr val="F8F5E7"/>
                </a:solidFill>
              </a:defRPr>
            </a:lvl1pPr>
          </a:lstStyle>
          <a:p>
            <a:pPr lvl="0"/>
            <a:r>
              <a:rPr lang="da-DK"/>
              <a:t>01</a:t>
            </a:r>
          </a:p>
        </p:txBody>
      </p:sp>
      <p:sp>
        <p:nvSpPr>
          <p:cNvPr id="20" name="Picture Placeholder 19">
            <a:extLst>
              <a:ext uri="{FF2B5EF4-FFF2-40B4-BE49-F238E27FC236}">
                <a16:creationId xmlns:a16="http://schemas.microsoft.com/office/drawing/2014/main" id="{D28A0F75-809B-475F-9625-965368680003}"/>
              </a:ext>
            </a:extLst>
          </p:cNvPr>
          <p:cNvSpPr>
            <a:spLocks noGrp="1"/>
          </p:cNvSpPr>
          <p:nvPr>
            <p:ph type="pic" sz="quarter" idx="17"/>
          </p:nvPr>
        </p:nvSpPr>
        <p:spPr>
          <a:xfrm>
            <a:off x="4696557" y="3313867"/>
            <a:ext cx="4447444" cy="3544134"/>
          </a:xfrm>
          <a:custGeom>
            <a:avLst/>
            <a:gdLst>
              <a:gd name="connsiteX0" fmla="*/ 2051650 w 4818064"/>
              <a:gd name="connsiteY0" fmla="*/ 0 h 3544134"/>
              <a:gd name="connsiteX1" fmla="*/ 4818064 w 4818064"/>
              <a:gd name="connsiteY1" fmla="*/ 0 h 3544134"/>
              <a:gd name="connsiteX2" fmla="*/ 4818064 w 4818064"/>
              <a:gd name="connsiteY2" fmla="*/ 3544134 h 3544134"/>
              <a:gd name="connsiteX3" fmla="*/ 0 w 4818064"/>
              <a:gd name="connsiteY3" fmla="*/ 3544134 h 3544134"/>
              <a:gd name="connsiteX4" fmla="*/ 0 w 4818064"/>
              <a:gd name="connsiteY4" fmla="*/ 2184643 h 3544134"/>
              <a:gd name="connsiteX5" fmla="*/ 2051650 w 4818064"/>
              <a:gd name="connsiteY5" fmla="*/ 2184643 h 3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18064" h="3544134">
                <a:moveTo>
                  <a:pt x="2051650" y="0"/>
                </a:moveTo>
                <a:lnTo>
                  <a:pt x="4818064" y="0"/>
                </a:lnTo>
                <a:lnTo>
                  <a:pt x="4818064" y="3544134"/>
                </a:lnTo>
                <a:lnTo>
                  <a:pt x="0" y="3544134"/>
                </a:lnTo>
                <a:lnTo>
                  <a:pt x="0" y="2184643"/>
                </a:lnTo>
                <a:lnTo>
                  <a:pt x="2051650" y="2184643"/>
                </a:lnTo>
                <a:close/>
              </a:path>
            </a:pathLst>
          </a:custGeom>
          <a:solidFill>
            <a:srgbClr val="F3F2F0"/>
          </a:solidFill>
        </p:spPr>
        <p:txBody>
          <a:bodyPr wrap="square" tIns="0" rIns="792000" anchor="ctr" anchorCtr="0">
            <a:noAutofit/>
          </a:bodyPr>
          <a:lstStyle>
            <a:lvl1pPr marL="0" indent="0" algn="r">
              <a:buNone/>
              <a:defRPr>
                <a:solidFill>
                  <a:schemeClr val="tx1"/>
                </a:solidFill>
              </a:defRPr>
            </a:lvl1pPr>
          </a:lstStyle>
          <a:p>
            <a:r>
              <a:rPr lang="da-DK" err="1"/>
              <a:t>Click</a:t>
            </a:r>
            <a:r>
              <a:rPr lang="da-DK"/>
              <a:t> </a:t>
            </a:r>
            <a:r>
              <a:rPr lang="da-DK" err="1"/>
              <a:t>icon</a:t>
            </a:r>
            <a:r>
              <a:rPr lang="da-DK"/>
              <a:t> to </a:t>
            </a:r>
            <a:r>
              <a:rPr lang="da-DK" err="1"/>
              <a:t>add</a:t>
            </a:r>
            <a:r>
              <a:rPr lang="da-DK"/>
              <a:t> </a:t>
            </a:r>
            <a:r>
              <a:rPr lang="da-DK" err="1"/>
              <a:t>picture</a:t>
            </a:r>
            <a:endParaRPr lang="da-DK"/>
          </a:p>
        </p:txBody>
      </p:sp>
      <p:sp>
        <p:nvSpPr>
          <p:cNvPr id="22" name="Slide Number Placeholder 4">
            <a:extLst>
              <a:ext uri="{FF2B5EF4-FFF2-40B4-BE49-F238E27FC236}">
                <a16:creationId xmlns:a16="http://schemas.microsoft.com/office/drawing/2014/main" id="{6C600DB9-C370-4C2C-A591-A7F4D5B9515E}"/>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12" name="Date_GeneralDate" hidden="1">
            <a:extLst>
              <a:ext uri="{FF2B5EF4-FFF2-40B4-BE49-F238E27FC236}">
                <a16:creationId xmlns:a16="http://schemas.microsoft.com/office/drawing/2014/main" id="{72F84A8E-04B6-4AFB-8124-0C737CA3AA61}"/>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1" name="Text Placeholder 12">
            <a:extLst>
              <a:ext uri="{FF2B5EF4-FFF2-40B4-BE49-F238E27FC236}">
                <a16:creationId xmlns:a16="http://schemas.microsoft.com/office/drawing/2014/main" id="{2A57E2F6-7A9F-41E2-8D7F-40B6A933644F}"/>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5" name="Text Placeholder 3">
            <a:extLst>
              <a:ext uri="{FF2B5EF4-FFF2-40B4-BE49-F238E27FC236}">
                <a16:creationId xmlns:a16="http://schemas.microsoft.com/office/drawing/2014/main" id="{A869A39D-F552-456B-98AA-EA2E96DAAF78}"/>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Tree>
    <p:extLst>
      <p:ext uri="{BB962C8B-B14F-4D97-AF65-F5344CB8AC3E}">
        <p14:creationId xmlns:p14="http://schemas.microsoft.com/office/powerpoint/2010/main" val="2395812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Image ">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40B7F21-6889-46F7-BB5C-8FDE3B947050}"/>
              </a:ext>
            </a:extLst>
          </p:cNvPr>
          <p:cNvSpPr/>
          <p:nvPr userDrawn="1"/>
        </p:nvSpPr>
        <p:spPr>
          <a:xfrm>
            <a:off x="0" y="0"/>
            <a:ext cx="6590388" cy="5498510"/>
          </a:xfrm>
          <a:prstGeom prst="rect">
            <a:avLst/>
          </a:prstGeom>
          <a:solidFill>
            <a:srgbClr val="F8F5E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algn="l"/>
            <a:endParaRPr lang="da-DK" sz="923" noProof="0">
              <a:solidFill>
                <a:srgbClr val="2F363B"/>
              </a:solidFill>
            </a:endParaRPr>
          </a:p>
        </p:txBody>
      </p:sp>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249115" y="1556427"/>
            <a:ext cx="4447442" cy="3942085"/>
          </a:xfrm>
          <a:noFill/>
        </p:spPr>
        <p:txBody>
          <a:bodyPr lIns="0" tIns="0" rIns="0"/>
          <a:lstStyle>
            <a:lvl1pPr>
              <a:defRPr sz="6646" cap="all" baseline="0">
                <a:solidFill>
                  <a:srgbClr val="30373B"/>
                </a:solidFill>
                <a:latin typeface="Impact" panose="020B0806030902050204" pitchFamily="34" charset="0"/>
              </a:defRPr>
            </a:lvl1pPr>
          </a:lstStyle>
          <a:p>
            <a:r>
              <a:rPr lang="da-DK"/>
              <a:t>CLICK TO EDIT MASTER TITLE STYLE</a:t>
            </a:r>
          </a:p>
        </p:txBody>
      </p:sp>
      <p:sp>
        <p:nvSpPr>
          <p:cNvPr id="7" name="Text Placeholder 6">
            <a:extLst>
              <a:ext uri="{FF2B5EF4-FFF2-40B4-BE49-F238E27FC236}">
                <a16:creationId xmlns:a16="http://schemas.microsoft.com/office/drawing/2014/main" id="{43E6A12C-68BB-4A46-AD97-9543173E4BFC}"/>
              </a:ext>
            </a:extLst>
          </p:cNvPr>
          <p:cNvSpPr>
            <a:spLocks noGrp="1"/>
          </p:cNvSpPr>
          <p:nvPr>
            <p:ph type="body" sz="quarter" idx="16" hasCustomPrompt="1"/>
          </p:nvPr>
        </p:nvSpPr>
        <p:spPr>
          <a:xfrm>
            <a:off x="249115" y="986119"/>
            <a:ext cx="4196862" cy="447301"/>
          </a:xfrm>
        </p:spPr>
        <p:txBody>
          <a:bodyPr rIns="0" anchor="b" anchorCtr="0"/>
          <a:lstStyle>
            <a:lvl1pPr marL="0" indent="0">
              <a:buNone/>
              <a:defRPr sz="2585">
                <a:solidFill>
                  <a:srgbClr val="30373B"/>
                </a:solidFill>
              </a:defRPr>
            </a:lvl1pPr>
          </a:lstStyle>
          <a:p>
            <a:pPr lvl="0"/>
            <a:r>
              <a:rPr lang="da-DK"/>
              <a:t>01</a:t>
            </a:r>
          </a:p>
        </p:txBody>
      </p:sp>
      <p:sp>
        <p:nvSpPr>
          <p:cNvPr id="16" name="Picture Placeholder 15">
            <a:extLst>
              <a:ext uri="{FF2B5EF4-FFF2-40B4-BE49-F238E27FC236}">
                <a16:creationId xmlns:a16="http://schemas.microsoft.com/office/drawing/2014/main" id="{A59E3657-65EB-4AC9-A889-2F2DCA5DEF14}"/>
              </a:ext>
            </a:extLst>
          </p:cNvPr>
          <p:cNvSpPr>
            <a:spLocks noGrp="1"/>
          </p:cNvSpPr>
          <p:nvPr>
            <p:ph type="pic" sz="quarter" idx="17"/>
          </p:nvPr>
        </p:nvSpPr>
        <p:spPr>
          <a:xfrm>
            <a:off x="4696557" y="3313867"/>
            <a:ext cx="4447444" cy="3544134"/>
          </a:xfrm>
          <a:custGeom>
            <a:avLst/>
            <a:gdLst>
              <a:gd name="connsiteX0" fmla="*/ 2051650 w 4818064"/>
              <a:gd name="connsiteY0" fmla="*/ 0 h 3544134"/>
              <a:gd name="connsiteX1" fmla="*/ 4818064 w 4818064"/>
              <a:gd name="connsiteY1" fmla="*/ 0 h 3544134"/>
              <a:gd name="connsiteX2" fmla="*/ 4818064 w 4818064"/>
              <a:gd name="connsiteY2" fmla="*/ 3544134 h 3544134"/>
              <a:gd name="connsiteX3" fmla="*/ 0 w 4818064"/>
              <a:gd name="connsiteY3" fmla="*/ 3544134 h 3544134"/>
              <a:gd name="connsiteX4" fmla="*/ 0 w 4818064"/>
              <a:gd name="connsiteY4" fmla="*/ 2184643 h 3544134"/>
              <a:gd name="connsiteX5" fmla="*/ 2051650 w 4818064"/>
              <a:gd name="connsiteY5" fmla="*/ 2184643 h 3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18064" h="3544134">
                <a:moveTo>
                  <a:pt x="2051650" y="0"/>
                </a:moveTo>
                <a:lnTo>
                  <a:pt x="4818064" y="0"/>
                </a:lnTo>
                <a:lnTo>
                  <a:pt x="4818064" y="3544134"/>
                </a:lnTo>
                <a:lnTo>
                  <a:pt x="0" y="3544134"/>
                </a:lnTo>
                <a:lnTo>
                  <a:pt x="0" y="2184643"/>
                </a:lnTo>
                <a:lnTo>
                  <a:pt x="2051650" y="2184643"/>
                </a:lnTo>
                <a:close/>
              </a:path>
            </a:pathLst>
          </a:custGeom>
          <a:solidFill>
            <a:srgbClr val="F3F2F0"/>
          </a:solidFill>
        </p:spPr>
        <p:txBody>
          <a:bodyPr wrap="square" tIns="0" rIns="792000" anchor="ctr" anchorCtr="0">
            <a:noAutofit/>
          </a:bodyPr>
          <a:lstStyle>
            <a:lvl1pPr marL="0" indent="0" algn="r">
              <a:buNone/>
              <a:defRPr>
                <a:solidFill>
                  <a:schemeClr val="tx1"/>
                </a:solidFill>
              </a:defRPr>
            </a:lvl1pPr>
          </a:lstStyle>
          <a:p>
            <a:r>
              <a:rPr lang="da-DK" err="1"/>
              <a:t>Click</a:t>
            </a:r>
            <a:r>
              <a:rPr lang="da-DK"/>
              <a:t> </a:t>
            </a:r>
            <a:r>
              <a:rPr lang="da-DK" err="1"/>
              <a:t>icon</a:t>
            </a:r>
            <a:r>
              <a:rPr lang="da-DK"/>
              <a:t> to </a:t>
            </a:r>
            <a:r>
              <a:rPr lang="da-DK" err="1"/>
              <a:t>add</a:t>
            </a:r>
            <a:r>
              <a:rPr lang="da-DK"/>
              <a:t> </a:t>
            </a:r>
            <a:r>
              <a:rPr lang="da-DK" err="1"/>
              <a:t>picture</a:t>
            </a:r>
            <a:endParaRPr lang="da-DK"/>
          </a:p>
        </p:txBody>
      </p:sp>
      <p:sp>
        <p:nvSpPr>
          <p:cNvPr id="19" name="Slide Number Placeholder 4">
            <a:extLst>
              <a:ext uri="{FF2B5EF4-FFF2-40B4-BE49-F238E27FC236}">
                <a16:creationId xmlns:a16="http://schemas.microsoft.com/office/drawing/2014/main" id="{6DB02FFD-222C-4099-B892-B54C0B21BFEF}"/>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12" name="Date_GeneralDate" hidden="1">
            <a:extLst>
              <a:ext uri="{FF2B5EF4-FFF2-40B4-BE49-F238E27FC236}">
                <a16:creationId xmlns:a16="http://schemas.microsoft.com/office/drawing/2014/main" id="{3B47F6AE-B5F8-41F1-A04D-A62B205BB83C}"/>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1" name="Text Placeholder 12">
            <a:extLst>
              <a:ext uri="{FF2B5EF4-FFF2-40B4-BE49-F238E27FC236}">
                <a16:creationId xmlns:a16="http://schemas.microsoft.com/office/drawing/2014/main" id="{AAD0613F-D90D-4B42-8B85-F0BFD67C758A}"/>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5" name="Text Placeholder 3">
            <a:extLst>
              <a:ext uri="{FF2B5EF4-FFF2-40B4-BE49-F238E27FC236}">
                <a16:creationId xmlns:a16="http://schemas.microsoft.com/office/drawing/2014/main" id="{A39019BB-4948-420F-B138-15E662A37A78}"/>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Tree>
    <p:extLst>
      <p:ext uri="{BB962C8B-B14F-4D97-AF65-F5344CB8AC3E}">
        <p14:creationId xmlns:p14="http://schemas.microsoft.com/office/powerpoint/2010/main" val="362743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ayout 2A (titel)">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BE358B2-F77E-42B9-86B6-3D0748CDA9C1}"/>
              </a:ext>
            </a:extLst>
          </p:cNvPr>
          <p:cNvGraphicFramePr>
            <a:graphicFrameLocks noChangeAspect="1"/>
          </p:cNvGraphicFramePr>
          <p:nvPr userDrawn="1">
            <p:custDataLst>
              <p:tags r:id="rId2"/>
            </p:custDataLst>
            <p:extLst>
              <p:ext uri="{D42A27DB-BD31-4B8C-83A1-F6EECF244321}">
                <p14:modId xmlns:p14="http://schemas.microsoft.com/office/powerpoint/2010/main" val="409332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1" name="think-cell Slide" r:id="rId5" imgW="530" imgH="531" progId="TCLayout.ActiveDocument.1">
                  <p:embed/>
                </p:oleObj>
              </mc:Choice>
              <mc:Fallback>
                <p:oleObj name="think-cell Slide" r:id="rId5" imgW="530" imgH="531" progId="TCLayout.ActiveDocument.1">
                  <p:embed/>
                  <p:pic>
                    <p:nvPicPr>
                      <p:cNvPr id="4" name="Object 3" hidden="1">
                        <a:extLst>
                          <a:ext uri="{FF2B5EF4-FFF2-40B4-BE49-F238E27FC236}">
                            <a16:creationId xmlns:a16="http://schemas.microsoft.com/office/drawing/2014/main" id="{9BE358B2-F77E-42B9-86B6-3D0748CDA9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7BE9D45-99DE-40E4-BD20-16BC697BB9A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2400" b="1" i="0" baseline="0">
              <a:latin typeface="Verdana" panose="020B0604030504040204" pitchFamily="34" charset="0"/>
              <a:ea typeface="Verdana" panose="020B0604030504040204" pitchFamily="34" charset="0"/>
              <a:sym typeface="Verdana" panose="020B0604030504040204" pitchFamily="34" charset="0"/>
            </a:endParaRPr>
          </a:p>
        </p:txBody>
      </p:sp>
      <p:sp>
        <p:nvSpPr>
          <p:cNvPr id="2" name="Title 1"/>
          <p:cNvSpPr>
            <a:spLocks noGrp="1"/>
          </p:cNvSpPr>
          <p:nvPr>
            <p:ph type="title" hasCustomPrompt="1"/>
          </p:nvPr>
        </p:nvSpPr>
        <p:spPr>
          <a:xfrm>
            <a:off x="628650" y="365127"/>
            <a:ext cx="7981950" cy="689476"/>
          </a:xfrm>
          <a:prstGeom prst="rect">
            <a:avLst/>
          </a:prstGeom>
          <a:noFill/>
        </p:spPr>
        <p:txBody>
          <a:bodyPr anchor="b">
            <a:normAutofit/>
          </a:bodyPr>
          <a:lstStyle>
            <a:lvl1pPr>
              <a:defRPr sz="2400" b="1" cap="all" baseline="0">
                <a:solidFill>
                  <a:srgbClr val="00B0F0"/>
                </a:solidFill>
                <a:latin typeface="Verdana" panose="020B0604030504040204" pitchFamily="34" charset="0"/>
                <a:ea typeface="Verdana" panose="020B0604030504040204" pitchFamily="34" charset="0"/>
                <a:cs typeface="Verdana" panose="020B0604030504040204" pitchFamily="34" charset="0"/>
              </a:defRPr>
            </a:lvl1pPr>
          </a:lstStyle>
          <a:p>
            <a:r>
              <a:rPr lang="da-DK"/>
              <a:t>KLIK FOR AT Indsætte overskrift</a:t>
            </a:r>
          </a:p>
        </p:txBody>
      </p:sp>
      <p:sp>
        <p:nvSpPr>
          <p:cNvPr id="9" name="Pladsholder til indhold 2"/>
          <p:cNvSpPr>
            <a:spLocks noGrp="1"/>
          </p:cNvSpPr>
          <p:nvPr>
            <p:ph idx="10" hasCustomPrompt="1"/>
          </p:nvPr>
        </p:nvSpPr>
        <p:spPr>
          <a:xfrm>
            <a:off x="628650" y="1445966"/>
            <a:ext cx="7981950" cy="4348553"/>
          </a:xfrm>
          <a:prstGeom prst="rect">
            <a:avLst/>
          </a:prstGeom>
        </p:spPr>
        <p:txBody>
          <a:bodyPr>
            <a:normAutofit/>
          </a:bodyPr>
          <a:lstStyle>
            <a:lvl1pPr marL="0" indent="0">
              <a:lnSpc>
                <a:spcPct val="150000"/>
              </a:lnSpc>
              <a:spcBef>
                <a:spcPts val="0"/>
              </a:spcBef>
              <a:buNone/>
              <a:defRPr sz="1800">
                <a:latin typeface="Verdana" panose="020B0604030504040204" pitchFamily="34" charset="0"/>
                <a:ea typeface="Verdana" panose="020B0604030504040204" pitchFamily="34" charset="0"/>
                <a:cs typeface="Verdana" panose="020B0604030504040204" pitchFamily="34" charset="0"/>
              </a:defRPr>
            </a:lvl1pPr>
            <a:lvl2pPr marL="800100" indent="-342900">
              <a:lnSpc>
                <a:spcPct val="150000"/>
              </a:lnSpc>
              <a:spcBef>
                <a:spcPts val="0"/>
              </a:spcBef>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defRPr>
            </a:lvl2pPr>
            <a:lvl3pPr marL="1257300" indent="-342900">
              <a:lnSpc>
                <a:spcPct val="150000"/>
              </a:lnSpc>
              <a:spcBef>
                <a:spcPts val="0"/>
              </a:spcBef>
              <a:buFont typeface="Courier New" panose="02070309020205020404" pitchFamily="49" charset="0"/>
              <a:buChar char="o"/>
              <a:defRPr sz="1400">
                <a:latin typeface="Verdana" panose="020B0604030504040204" pitchFamily="34" charset="0"/>
                <a:ea typeface="Verdana" panose="020B0604030504040204" pitchFamily="34" charset="0"/>
                <a:cs typeface="Verdana" panose="020B0604030504040204" pitchFamily="34" charset="0"/>
              </a:defRPr>
            </a:lvl3pPr>
            <a:lvl4pPr marL="1714500" indent="-342900">
              <a:lnSpc>
                <a:spcPct val="150000"/>
              </a:lnSpc>
              <a:spcBef>
                <a:spcPts val="0"/>
              </a:spcBef>
              <a:buFont typeface="Wingdings" panose="05000000000000000000" pitchFamily="2" charset="2"/>
              <a:buChar char="§"/>
              <a:defRPr sz="1300">
                <a:latin typeface="Verdana" panose="020B0604030504040204" pitchFamily="34" charset="0"/>
                <a:ea typeface="Verdana" panose="020B0604030504040204" pitchFamily="34" charset="0"/>
                <a:cs typeface="Verdana" panose="020B0604030504040204" pitchFamily="34" charset="0"/>
              </a:defRPr>
            </a:lvl4pPr>
            <a:lvl5pPr marL="2057400" indent="-228600">
              <a:lnSpc>
                <a:spcPct val="150000"/>
              </a:lnSpc>
              <a:spcBef>
                <a:spcPts val="0"/>
              </a:spcBef>
              <a:buFont typeface="Arial" panose="020B0604020202020204" pitchFamily="34" charset="0"/>
              <a:buChar char="•"/>
              <a:defRPr sz="1100">
                <a:latin typeface="Verdana" panose="020B0604030504040204" pitchFamily="34" charset="0"/>
                <a:ea typeface="Verdana" panose="020B0604030504040204" pitchFamily="34" charset="0"/>
                <a:cs typeface="Verdana" panose="020B0604030504040204" pitchFamily="34" charset="0"/>
              </a:defRPr>
            </a:lvl5pPr>
          </a:lstStyle>
          <a:p>
            <a:pPr lvl="0"/>
            <a:r>
              <a:rPr lang="da-DK"/>
              <a:t>Klik for at indsætte indhold</a:t>
            </a:r>
          </a:p>
          <a:p>
            <a:pPr lvl="1"/>
            <a:r>
              <a:rPr lang="da-DK"/>
              <a:t>Andet niveau</a:t>
            </a:r>
          </a:p>
          <a:p>
            <a:pPr lvl="2"/>
            <a:r>
              <a:rPr lang="da-DK"/>
              <a:t>Tredje niveau</a:t>
            </a:r>
          </a:p>
          <a:p>
            <a:pPr lvl="3"/>
            <a:r>
              <a:rPr lang="da-DK"/>
              <a:t>Fjerde niveau</a:t>
            </a:r>
          </a:p>
          <a:p>
            <a:pPr lvl="4"/>
            <a:r>
              <a:rPr lang="da-DK"/>
              <a:t>Femte niveau</a:t>
            </a:r>
          </a:p>
        </p:txBody>
      </p:sp>
      <p:sp>
        <p:nvSpPr>
          <p:cNvPr id="8" name="Pladsholder til diasnummer 5"/>
          <p:cNvSpPr txBox="1">
            <a:spLocks/>
          </p:cNvSpPr>
          <p:nvPr userDrawn="1"/>
        </p:nvSpPr>
        <p:spPr>
          <a:xfrm>
            <a:off x="4124325" y="6421930"/>
            <a:ext cx="990600" cy="297265"/>
          </a:xfrm>
          <a:prstGeom prst="rect">
            <a:avLst/>
          </a:prstGeom>
        </p:spPr>
        <p:txBody>
          <a:bodyPr/>
          <a:lstStyle>
            <a:defPPr>
              <a:defRPr lang="da-DK"/>
            </a:defPPr>
            <a:lvl1pPr marL="0" algn="r" defTabSz="914400" rtl="0" eaLnBrk="1" latinLnBrk="0" hangingPunct="1">
              <a:defRPr sz="1400" kern="1200">
                <a:solidFill>
                  <a:schemeClr val="accent6"/>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900" b="0">
                <a:solidFill>
                  <a:schemeClr val="tx1"/>
                </a:solidFill>
                <a:latin typeface="Verdana" panose="020B0604030504040204" pitchFamily="34" charset="0"/>
                <a:ea typeface="Verdana" panose="020B0604030504040204" pitchFamily="34" charset="0"/>
                <a:cs typeface="Verdana" panose="020B0604030504040204" pitchFamily="34" charset="0"/>
              </a:rPr>
              <a:t>Side </a:t>
            </a:r>
            <a:fld id="{C7AC859A-AE19-4543-AC75-3D2F5ABF6574}" type="slidenum">
              <a:rPr lang="da-DK" sz="900" b="0" smtClean="0">
                <a:solidFill>
                  <a:schemeClr val="tx1"/>
                </a:solidFill>
                <a:latin typeface="Verdana" panose="020B0604030504040204" pitchFamily="34" charset="0"/>
                <a:ea typeface="Verdana" panose="020B0604030504040204" pitchFamily="34" charset="0"/>
                <a:cs typeface="Verdana" panose="020B0604030504040204" pitchFamily="34" charset="0"/>
              </a:rPr>
              <a:pPr algn="ctr"/>
              <a:t>‹nr.›</a:t>
            </a:fld>
            <a:endParaRPr lang="da-DK" sz="900" b="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059132818"/>
      </p:ext>
    </p:extLst>
  </p:cSld>
  <p:clrMapOvr>
    <a:masterClrMapping/>
  </p:clrMapOvr>
  <p:transition spd="slow">
    <p:push dir="u"/>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Dark">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40B7F21-6889-46F7-BB5C-8FDE3B947050}"/>
              </a:ext>
            </a:extLst>
          </p:cNvPr>
          <p:cNvSpPr/>
          <p:nvPr userDrawn="1"/>
        </p:nvSpPr>
        <p:spPr>
          <a:xfrm>
            <a:off x="2" y="0"/>
            <a:ext cx="9143998" cy="6858000"/>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nchorCtr="0"/>
          <a:lstStyle/>
          <a:p>
            <a:pPr algn="l"/>
            <a:endParaRPr lang="da-DK" sz="750" noProof="0">
              <a:solidFill>
                <a:srgbClr val="2F363B"/>
              </a:solidFill>
            </a:endParaRPr>
          </a:p>
        </p:txBody>
      </p:sp>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1013400" y="2228850"/>
            <a:ext cx="7117200" cy="2823894"/>
          </a:xfrm>
          <a:noFill/>
        </p:spPr>
        <p:txBody>
          <a:bodyPr lIns="0" tIns="0" rIns="0"/>
          <a:lstStyle>
            <a:lvl1pPr>
              <a:defRPr sz="5400" cap="all" baseline="0">
                <a:solidFill>
                  <a:srgbClr val="F8F5E7"/>
                </a:solidFill>
                <a:latin typeface="Impact" panose="020B0806030902050204" pitchFamily="34" charset="0"/>
              </a:defRPr>
            </a:lvl1pPr>
          </a:lstStyle>
          <a:p>
            <a:r>
              <a:rPr lang="da-DK"/>
              <a:t>CLICK TO EDIT MASTER TITLE STYLE</a:t>
            </a:r>
          </a:p>
        </p:txBody>
      </p:sp>
      <p:sp>
        <p:nvSpPr>
          <p:cNvPr id="22" name="Slide Number Placeholder 4">
            <a:extLst>
              <a:ext uri="{FF2B5EF4-FFF2-40B4-BE49-F238E27FC236}">
                <a16:creationId xmlns:a16="http://schemas.microsoft.com/office/drawing/2014/main" id="{3EB96FF2-515F-40E4-8363-35AA51DC9A44}"/>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F8F5E7"/>
                </a:solidFill>
              </a:rPr>
              <a:pPr/>
              <a:t>‹nr.›</a:t>
            </a:fld>
            <a:endParaRPr lang="da-DK" sz="600">
              <a:solidFill>
                <a:srgbClr val="F8F5E7"/>
              </a:solidFill>
            </a:endParaRPr>
          </a:p>
        </p:txBody>
      </p:sp>
      <p:sp>
        <p:nvSpPr>
          <p:cNvPr id="23" name="Freeform: Shape 13">
            <a:extLst>
              <a:ext uri="{FF2B5EF4-FFF2-40B4-BE49-F238E27FC236}">
                <a16:creationId xmlns:a16="http://schemas.microsoft.com/office/drawing/2014/main" id="{F1E411B7-9176-498E-B9E2-2DE05B18027B}"/>
              </a:ext>
            </a:extLst>
          </p:cNvPr>
          <p:cNvSpPr/>
          <p:nvPr userDrawn="1">
            <p:custDataLst>
              <p:tags r:id="rId1"/>
            </p:custDataLst>
          </p:nvPr>
        </p:nvSpPr>
        <p:spPr bwMode="auto">
          <a:xfrm rot="5400000">
            <a:off x="8646962" y="406758"/>
            <a:ext cx="350168" cy="142743"/>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bg1"/>
          </a:solidFill>
          <a:ln>
            <a:noFill/>
          </a:ln>
        </p:spPr>
        <p:txBody>
          <a:bodyPr vert="horz" wrap="square" lIns="84406" tIns="42203" rIns="84406" bIns="42203" numCol="1" anchor="t" anchorCtr="0" compatLnSpc="1">
            <a:prstTxWarp prst="textNoShape">
              <a:avLst/>
            </a:prstTxWarp>
            <a:noAutofit/>
          </a:bodyPr>
          <a:lstStyle/>
          <a:p>
            <a:endParaRPr lang="da-DK" sz="1662"/>
          </a:p>
        </p:txBody>
      </p:sp>
      <p:sp>
        <p:nvSpPr>
          <p:cNvPr id="10" name="Date_GeneralDate" hidden="1">
            <a:extLst>
              <a:ext uri="{FF2B5EF4-FFF2-40B4-BE49-F238E27FC236}">
                <a16:creationId xmlns:a16="http://schemas.microsoft.com/office/drawing/2014/main" id="{2FE83F57-F57F-4919-AE4C-5C6E98678D7E}"/>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1" name="Text Placeholder 12">
            <a:extLst>
              <a:ext uri="{FF2B5EF4-FFF2-40B4-BE49-F238E27FC236}">
                <a16:creationId xmlns:a16="http://schemas.microsoft.com/office/drawing/2014/main" id="{63D9665C-B7E6-4B35-A0AB-230AA73AD9C2}"/>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FCFBF5"/>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2" name="Text Placeholder 3">
            <a:extLst>
              <a:ext uri="{FF2B5EF4-FFF2-40B4-BE49-F238E27FC236}">
                <a16:creationId xmlns:a16="http://schemas.microsoft.com/office/drawing/2014/main" id="{EE8482A2-DDB8-496F-B351-4888137FB932}"/>
              </a:ext>
            </a:extLst>
          </p:cNvPr>
          <p:cNvSpPr>
            <a:spLocks noGrp="1"/>
          </p:cNvSpPr>
          <p:nvPr>
            <p:ph type="body" sz="quarter" idx="14" hasCustomPrompt="1"/>
          </p:nvPr>
        </p:nvSpPr>
        <p:spPr>
          <a:xfrm>
            <a:off x="6654815" y="6504110"/>
            <a:ext cx="1826642" cy="106116"/>
          </a:xfrm>
        </p:spPr>
        <p:txBody>
          <a:bodyPr rIns="0"/>
          <a:lstStyle>
            <a:lvl1pPr algn="r">
              <a:defRPr sz="600">
                <a:solidFill>
                  <a:srgbClr val="FCFBF5"/>
                </a:solidFill>
              </a:defRPr>
            </a:lvl1pPr>
            <a:lvl2pPr>
              <a:defRPr sz="600"/>
            </a:lvl2pPr>
            <a:lvl3pPr>
              <a:defRPr sz="600"/>
            </a:lvl3pPr>
            <a:lvl4pPr>
              <a:defRPr sz="600"/>
            </a:lvl4pPr>
            <a:lvl5pPr>
              <a:defRPr sz="600"/>
            </a:lvl5pPr>
          </a:lstStyle>
          <a:p>
            <a:pPr lvl="0"/>
            <a:r>
              <a:rPr lang="da-DK"/>
              <a:t>Tracker</a:t>
            </a:r>
          </a:p>
        </p:txBody>
      </p:sp>
    </p:spTree>
    <p:extLst>
      <p:ext uri="{BB962C8B-B14F-4D97-AF65-F5344CB8AC3E}">
        <p14:creationId xmlns:p14="http://schemas.microsoft.com/office/powerpoint/2010/main" val="973030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1013400" y="2228850"/>
            <a:ext cx="7117200" cy="2823894"/>
          </a:xfrm>
          <a:noFill/>
        </p:spPr>
        <p:txBody>
          <a:bodyPr lIns="0" tIns="0" rIns="0"/>
          <a:lstStyle>
            <a:lvl1pPr>
              <a:defRPr sz="5400" cap="all" baseline="0">
                <a:solidFill>
                  <a:schemeClr val="tx1"/>
                </a:solidFill>
                <a:latin typeface="Impact" panose="020B0806030902050204" pitchFamily="34" charset="0"/>
              </a:defRPr>
            </a:lvl1pPr>
          </a:lstStyle>
          <a:p>
            <a:r>
              <a:rPr lang="da-DK"/>
              <a:t>CLICK TO EDIT MASTER TITLE STYLE</a:t>
            </a:r>
          </a:p>
        </p:txBody>
      </p:sp>
      <p:sp>
        <p:nvSpPr>
          <p:cNvPr id="13" name="Slide Number Placeholder 4">
            <a:extLst>
              <a:ext uri="{FF2B5EF4-FFF2-40B4-BE49-F238E27FC236}">
                <a16:creationId xmlns:a16="http://schemas.microsoft.com/office/drawing/2014/main" id="{8833822D-73F6-4D6F-A84E-70948A102AA7}"/>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7" name="Date_GeneralDate" hidden="1">
            <a:extLst>
              <a:ext uri="{FF2B5EF4-FFF2-40B4-BE49-F238E27FC236}">
                <a16:creationId xmlns:a16="http://schemas.microsoft.com/office/drawing/2014/main" id="{BF234924-99E7-45C1-8DE2-61303ACA7E4C}"/>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8" name="Text Placeholder 12">
            <a:extLst>
              <a:ext uri="{FF2B5EF4-FFF2-40B4-BE49-F238E27FC236}">
                <a16:creationId xmlns:a16="http://schemas.microsoft.com/office/drawing/2014/main" id="{D009E80D-2147-4BBB-8420-968C489EF2BC}"/>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2" name="Text Placeholder 3">
            <a:extLst>
              <a:ext uri="{FF2B5EF4-FFF2-40B4-BE49-F238E27FC236}">
                <a16:creationId xmlns:a16="http://schemas.microsoft.com/office/drawing/2014/main" id="{19322F81-C609-45A5-8EA6-B775EFE3646B}"/>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Tree>
    <p:extLst>
      <p:ext uri="{BB962C8B-B14F-4D97-AF65-F5344CB8AC3E}">
        <p14:creationId xmlns:p14="http://schemas.microsoft.com/office/powerpoint/2010/main" val="2662645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Background Dark Text">
    <p:spTree>
      <p:nvGrpSpPr>
        <p:cNvPr id="1" name=""/>
        <p:cNvGrpSpPr/>
        <p:nvPr/>
      </p:nvGrpSpPr>
      <p:grpSpPr>
        <a:xfrm>
          <a:off x="0" y="0"/>
          <a:ext cx="0" cy="0"/>
          <a:chOff x="0" y="0"/>
          <a:chExt cx="0" cy="0"/>
        </a:xfrm>
      </p:grpSpPr>
      <p:sp>
        <p:nvSpPr>
          <p:cNvPr id="8" name="Picture Placeholder 13">
            <a:extLst>
              <a:ext uri="{FF2B5EF4-FFF2-40B4-BE49-F238E27FC236}">
                <a16:creationId xmlns:a16="http://schemas.microsoft.com/office/drawing/2014/main" id="{C4CFC32D-2211-4E39-9B91-7B77BE0D1016}"/>
              </a:ext>
            </a:extLst>
          </p:cNvPr>
          <p:cNvSpPr>
            <a:spLocks noGrp="1"/>
          </p:cNvSpPr>
          <p:nvPr>
            <p:ph type="pic" sz="quarter" idx="15"/>
          </p:nvPr>
        </p:nvSpPr>
        <p:spPr>
          <a:xfrm>
            <a:off x="0" y="1"/>
            <a:ext cx="9144001" cy="6858000"/>
          </a:xfrm>
          <a:solidFill>
            <a:srgbClr val="F3F2F0"/>
          </a:solidFill>
        </p:spPr>
        <p:txBody>
          <a:bodyPr vert="horz" lIns="0" tIns="0" rIns="0" bIns="0" rtlCol="0" anchor="ctr" anchorCtr="0">
            <a:noAutofit/>
          </a:bodyPr>
          <a:lstStyle>
            <a:lvl1pPr algn="ctr">
              <a:defRPr lang="da-DK" dirty="0"/>
            </a:lvl1pPr>
          </a:lstStyle>
          <a:p>
            <a:pPr lvl="0" algn="ctr">
              <a:buNone/>
            </a:pPr>
            <a:r>
              <a:rPr lang="da-DK" err="1"/>
              <a:t>Click</a:t>
            </a:r>
            <a:r>
              <a:rPr lang="da-DK"/>
              <a:t> </a:t>
            </a:r>
            <a:r>
              <a:rPr lang="da-DK" err="1"/>
              <a:t>icon</a:t>
            </a:r>
            <a:r>
              <a:rPr lang="da-DK"/>
              <a:t> to </a:t>
            </a:r>
            <a:r>
              <a:rPr lang="da-DK" err="1"/>
              <a:t>add</a:t>
            </a:r>
            <a:r>
              <a:rPr lang="da-DK"/>
              <a:t> </a:t>
            </a:r>
            <a:r>
              <a:rPr lang="da-DK" err="1"/>
              <a:t>picture</a:t>
            </a:r>
            <a:endParaRPr lang="da-DK"/>
          </a:p>
        </p:txBody>
      </p:sp>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249115" y="269875"/>
            <a:ext cx="8174391" cy="1912010"/>
          </a:xfrm>
          <a:noFill/>
        </p:spPr>
        <p:txBody>
          <a:bodyPr lIns="0" tIns="0" rIns="0"/>
          <a:lstStyle>
            <a:lvl1pPr>
              <a:defRPr sz="6646" cap="all" baseline="0">
                <a:solidFill>
                  <a:srgbClr val="30373B"/>
                </a:solidFill>
                <a:latin typeface="Impact" panose="020B0806030902050204" pitchFamily="34" charset="0"/>
              </a:defRPr>
            </a:lvl1pPr>
          </a:lstStyle>
          <a:p>
            <a:r>
              <a:rPr lang="da-DK"/>
              <a:t>CLICK TO EDIT MASTER TITLE STYLE</a:t>
            </a:r>
          </a:p>
        </p:txBody>
      </p:sp>
      <p:sp>
        <p:nvSpPr>
          <p:cNvPr id="13" name="Slide Number Placeholder 4">
            <a:extLst>
              <a:ext uri="{FF2B5EF4-FFF2-40B4-BE49-F238E27FC236}">
                <a16:creationId xmlns:a16="http://schemas.microsoft.com/office/drawing/2014/main" id="{2E036CC1-0BCC-4A4D-8ACA-796A2590C657}"/>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10" name="Date_GeneralDate" hidden="1">
            <a:extLst>
              <a:ext uri="{FF2B5EF4-FFF2-40B4-BE49-F238E27FC236}">
                <a16:creationId xmlns:a16="http://schemas.microsoft.com/office/drawing/2014/main" id="{C412D601-3FD7-4BFF-9C9F-D4F2C92A6EB6}"/>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9" name="Text Placeholder 12">
            <a:extLst>
              <a:ext uri="{FF2B5EF4-FFF2-40B4-BE49-F238E27FC236}">
                <a16:creationId xmlns:a16="http://schemas.microsoft.com/office/drawing/2014/main" id="{A2E889C3-04FC-42E7-9F88-55398FDB0629}"/>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4" name="Text Placeholder 3">
            <a:extLst>
              <a:ext uri="{FF2B5EF4-FFF2-40B4-BE49-F238E27FC236}">
                <a16:creationId xmlns:a16="http://schemas.microsoft.com/office/drawing/2014/main" id="{B5D1C3CB-C715-45E0-AC5A-42E060646A36}"/>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6" name="Freeform: Shape 15">
            <a:extLst>
              <a:ext uri="{FF2B5EF4-FFF2-40B4-BE49-F238E27FC236}">
                <a16:creationId xmlns:a16="http://schemas.microsoft.com/office/drawing/2014/main" id="{5F93E1F8-2CB6-4C70-ADEA-684BC3F7B0E9}"/>
              </a:ext>
            </a:extLst>
          </p:cNvPr>
          <p:cNvSpPr/>
          <p:nvPr userDrawn="1">
            <p:custDataLst>
              <p:tags r:id="rId1"/>
            </p:custDataLst>
          </p:nvPr>
        </p:nvSpPr>
        <p:spPr bwMode="auto">
          <a:xfrm rot="5400000">
            <a:off x="8646962" y="406758"/>
            <a:ext cx="350168" cy="142743"/>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endParaRPr lang="da-DK" sz="1662"/>
          </a:p>
        </p:txBody>
      </p:sp>
    </p:spTree>
    <p:extLst>
      <p:ext uri="{BB962C8B-B14F-4D97-AF65-F5344CB8AC3E}">
        <p14:creationId xmlns:p14="http://schemas.microsoft.com/office/powerpoint/2010/main" val="1318915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 Background">
    <p:spTree>
      <p:nvGrpSpPr>
        <p:cNvPr id="1" name=""/>
        <p:cNvGrpSpPr/>
        <p:nvPr/>
      </p:nvGrpSpPr>
      <p:grpSpPr>
        <a:xfrm>
          <a:off x="0" y="0"/>
          <a:ext cx="0" cy="0"/>
          <a:chOff x="0" y="0"/>
          <a:chExt cx="0" cy="0"/>
        </a:xfrm>
      </p:grpSpPr>
      <p:sp>
        <p:nvSpPr>
          <p:cNvPr id="8" name="Picture Placeholder 13">
            <a:extLst>
              <a:ext uri="{FF2B5EF4-FFF2-40B4-BE49-F238E27FC236}">
                <a16:creationId xmlns:a16="http://schemas.microsoft.com/office/drawing/2014/main" id="{C4CFC32D-2211-4E39-9B91-7B77BE0D1016}"/>
              </a:ext>
            </a:extLst>
          </p:cNvPr>
          <p:cNvSpPr>
            <a:spLocks noGrp="1"/>
          </p:cNvSpPr>
          <p:nvPr>
            <p:ph type="pic" sz="quarter" idx="15"/>
          </p:nvPr>
        </p:nvSpPr>
        <p:spPr>
          <a:xfrm>
            <a:off x="0" y="1"/>
            <a:ext cx="9144001" cy="6858000"/>
          </a:xfrm>
          <a:solidFill>
            <a:srgbClr val="F3F2F0"/>
          </a:solidFill>
        </p:spPr>
        <p:txBody>
          <a:bodyPr vert="horz" lIns="0" tIns="0" rIns="0" bIns="0" rtlCol="0" anchor="ctr" anchorCtr="0">
            <a:noAutofit/>
          </a:bodyPr>
          <a:lstStyle>
            <a:lvl1pPr algn="ctr">
              <a:defRPr lang="da-DK" dirty="0"/>
            </a:lvl1pPr>
          </a:lstStyle>
          <a:p>
            <a:pPr lvl="0" algn="ctr">
              <a:buNone/>
            </a:pPr>
            <a:r>
              <a:rPr lang="da-DK" err="1"/>
              <a:t>Click</a:t>
            </a:r>
            <a:r>
              <a:rPr lang="da-DK"/>
              <a:t> </a:t>
            </a:r>
            <a:r>
              <a:rPr lang="da-DK" err="1"/>
              <a:t>icon</a:t>
            </a:r>
            <a:r>
              <a:rPr lang="da-DK"/>
              <a:t> to </a:t>
            </a:r>
            <a:r>
              <a:rPr lang="da-DK" err="1"/>
              <a:t>add</a:t>
            </a:r>
            <a:r>
              <a:rPr lang="da-DK"/>
              <a:t> </a:t>
            </a:r>
            <a:r>
              <a:rPr lang="da-DK" err="1"/>
              <a:t>picture</a:t>
            </a:r>
            <a:endParaRPr lang="da-DK"/>
          </a:p>
        </p:txBody>
      </p:sp>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249115" y="269875"/>
            <a:ext cx="8174391" cy="1912010"/>
          </a:xfrm>
          <a:noFill/>
        </p:spPr>
        <p:txBody>
          <a:bodyPr lIns="0" tIns="0" rIns="0"/>
          <a:lstStyle>
            <a:lvl1pPr>
              <a:defRPr sz="6646" cap="all" baseline="0">
                <a:solidFill>
                  <a:schemeClr val="bg1"/>
                </a:solidFill>
                <a:latin typeface="Impact" panose="020B0806030902050204" pitchFamily="34" charset="0"/>
              </a:defRPr>
            </a:lvl1pPr>
          </a:lstStyle>
          <a:p>
            <a:r>
              <a:rPr lang="da-DK"/>
              <a:t>CLICK TO EDIT MASTER TITLE STYLE</a:t>
            </a:r>
          </a:p>
        </p:txBody>
      </p:sp>
      <p:sp>
        <p:nvSpPr>
          <p:cNvPr id="13" name="Slide Number Placeholder 4">
            <a:extLst>
              <a:ext uri="{FF2B5EF4-FFF2-40B4-BE49-F238E27FC236}">
                <a16:creationId xmlns:a16="http://schemas.microsoft.com/office/drawing/2014/main" id="{562AB11D-C043-4C66-BBDE-B59A269763FE}"/>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chemeClr val="bg1"/>
                </a:solidFill>
              </a:rPr>
              <a:pPr/>
              <a:t>‹nr.›</a:t>
            </a:fld>
            <a:endParaRPr lang="da-DK" sz="600">
              <a:solidFill>
                <a:schemeClr val="bg1"/>
              </a:solidFill>
            </a:endParaRPr>
          </a:p>
        </p:txBody>
      </p:sp>
      <p:sp>
        <p:nvSpPr>
          <p:cNvPr id="10" name="Date_GeneralDate" hidden="1">
            <a:extLst>
              <a:ext uri="{FF2B5EF4-FFF2-40B4-BE49-F238E27FC236}">
                <a16:creationId xmlns:a16="http://schemas.microsoft.com/office/drawing/2014/main" id="{0FAE2377-E2B0-4140-9CCB-1BC962EBB0E6}"/>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9" name="Text Placeholder 12">
            <a:extLst>
              <a:ext uri="{FF2B5EF4-FFF2-40B4-BE49-F238E27FC236}">
                <a16:creationId xmlns:a16="http://schemas.microsoft.com/office/drawing/2014/main" id="{B0E5CE65-C7F7-444F-9BE6-F6063981EECD}"/>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4" name="Text Placeholder 3">
            <a:extLst>
              <a:ext uri="{FF2B5EF4-FFF2-40B4-BE49-F238E27FC236}">
                <a16:creationId xmlns:a16="http://schemas.microsoft.com/office/drawing/2014/main" id="{F4EBC252-42D9-4131-8D13-05AF660AEB4E}"/>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6" name="Freeform: Shape 15">
            <a:extLst>
              <a:ext uri="{FF2B5EF4-FFF2-40B4-BE49-F238E27FC236}">
                <a16:creationId xmlns:a16="http://schemas.microsoft.com/office/drawing/2014/main" id="{D397A673-2A9C-4228-B4A3-C8AAEE348705}"/>
              </a:ext>
            </a:extLst>
          </p:cNvPr>
          <p:cNvSpPr/>
          <p:nvPr userDrawn="1">
            <p:custDataLst>
              <p:tags r:id="rId1"/>
            </p:custDataLst>
          </p:nvPr>
        </p:nvSpPr>
        <p:spPr bwMode="auto">
          <a:xfrm rot="5400000">
            <a:off x="8646962" y="406758"/>
            <a:ext cx="350168" cy="142743"/>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bg1"/>
          </a:solidFill>
          <a:ln>
            <a:noFill/>
          </a:ln>
        </p:spPr>
        <p:txBody>
          <a:bodyPr vert="horz" wrap="square" lIns="84406" tIns="42203" rIns="84406" bIns="42203" numCol="1" anchor="t" anchorCtr="0" compatLnSpc="1">
            <a:prstTxWarp prst="textNoShape">
              <a:avLst/>
            </a:prstTxWarp>
            <a:noAutofit/>
          </a:bodyPr>
          <a:lstStyle/>
          <a:p>
            <a:endParaRPr lang="da-DK" sz="1662"/>
          </a:p>
        </p:txBody>
      </p:sp>
    </p:spTree>
    <p:extLst>
      <p:ext uri="{BB962C8B-B14F-4D97-AF65-F5344CB8AC3E}">
        <p14:creationId xmlns:p14="http://schemas.microsoft.com/office/powerpoint/2010/main" val="3138346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ation Dark">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E631477-0A36-48AD-8A86-6B33026F533B}"/>
              </a:ext>
            </a:extLst>
          </p:cNvPr>
          <p:cNvSpPr/>
          <p:nvPr userDrawn="1"/>
        </p:nvSpPr>
        <p:spPr>
          <a:xfrm>
            <a:off x="0" y="269875"/>
            <a:ext cx="6075570" cy="5148792"/>
          </a:xfrm>
          <a:prstGeom prst="rect">
            <a:avLst/>
          </a:prstGeom>
          <a:solidFill>
            <a:srgbClr val="3037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46" noProof="0"/>
          </a:p>
        </p:txBody>
      </p:sp>
      <p:sp>
        <p:nvSpPr>
          <p:cNvPr id="13" name="Text Placeholder 13">
            <a:extLst>
              <a:ext uri="{FF2B5EF4-FFF2-40B4-BE49-F238E27FC236}">
                <a16:creationId xmlns:a16="http://schemas.microsoft.com/office/drawing/2014/main" id="{38767680-C6C8-4860-8F6A-B5FF8B3542D0}"/>
              </a:ext>
            </a:extLst>
          </p:cNvPr>
          <p:cNvSpPr>
            <a:spLocks noGrp="1"/>
          </p:cNvSpPr>
          <p:nvPr>
            <p:ph type="body" sz="quarter" idx="16" hasCustomPrompt="1"/>
          </p:nvPr>
        </p:nvSpPr>
        <p:spPr>
          <a:xfrm>
            <a:off x="245986" y="2092693"/>
            <a:ext cx="4201456" cy="2249014"/>
          </a:xfrm>
        </p:spPr>
        <p:txBody>
          <a:bodyPr/>
          <a:lstStyle>
            <a:lvl1pPr marL="0" indent="0">
              <a:spcBef>
                <a:spcPts val="0"/>
              </a:spcBef>
              <a:buFont typeface="Arial" panose="020B0604020202020204" pitchFamily="34" charset="0"/>
              <a:buChar char="​"/>
              <a:defRPr sz="2585">
                <a:solidFill>
                  <a:srgbClr val="F8F5E7"/>
                </a:solidFill>
              </a:defRPr>
            </a:lvl1pPr>
          </a:lstStyle>
          <a:p>
            <a:pPr lvl="0"/>
            <a:r>
              <a:rPr lang="da-DK"/>
              <a:t>Edit Master </a:t>
            </a:r>
            <a:r>
              <a:rPr lang="da-DK" err="1"/>
              <a:t>text</a:t>
            </a:r>
            <a:r>
              <a:rPr lang="da-DK"/>
              <a:t> styles</a:t>
            </a:r>
          </a:p>
        </p:txBody>
      </p:sp>
      <p:sp>
        <p:nvSpPr>
          <p:cNvPr id="4" name="Rectangle 3">
            <a:extLst>
              <a:ext uri="{FF2B5EF4-FFF2-40B4-BE49-F238E27FC236}">
                <a16:creationId xmlns:a16="http://schemas.microsoft.com/office/drawing/2014/main" id="{2B2C56D2-784D-4432-A938-43418D6C4B85}"/>
              </a:ext>
            </a:extLst>
          </p:cNvPr>
          <p:cNvSpPr/>
          <p:nvPr userDrawn="1"/>
        </p:nvSpPr>
        <p:spPr>
          <a:xfrm>
            <a:off x="0" y="1"/>
            <a:ext cx="4445977" cy="1296785"/>
          </a:xfrm>
          <a:prstGeom prst="rect">
            <a:avLst/>
          </a:prstGeom>
          <a:solidFill>
            <a:srgbClr val="E0BCA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algn="l">
              <a:buNone/>
            </a:pPr>
            <a:endParaRPr lang="da-DK" sz="923" noProof="0">
              <a:solidFill>
                <a:srgbClr val="2F363B"/>
              </a:solidFill>
            </a:endParaRPr>
          </a:p>
        </p:txBody>
      </p:sp>
      <p:sp>
        <p:nvSpPr>
          <p:cNvPr id="18" name="Text Placeholder 13">
            <a:extLst>
              <a:ext uri="{FF2B5EF4-FFF2-40B4-BE49-F238E27FC236}">
                <a16:creationId xmlns:a16="http://schemas.microsoft.com/office/drawing/2014/main" id="{E95E46A2-7940-4BAC-9759-942AABFED48A}"/>
              </a:ext>
            </a:extLst>
          </p:cNvPr>
          <p:cNvSpPr>
            <a:spLocks noGrp="1"/>
          </p:cNvSpPr>
          <p:nvPr>
            <p:ph type="body" sz="quarter" idx="17" hasCustomPrompt="1"/>
          </p:nvPr>
        </p:nvSpPr>
        <p:spPr>
          <a:xfrm>
            <a:off x="249116" y="4611581"/>
            <a:ext cx="4201456" cy="555412"/>
          </a:xfrm>
        </p:spPr>
        <p:txBody>
          <a:bodyPr anchor="b" anchorCtr="0"/>
          <a:lstStyle>
            <a:lvl1pPr marL="0" indent="0">
              <a:spcBef>
                <a:spcPts val="0"/>
              </a:spcBef>
              <a:buFont typeface="Arial" panose="020B0604020202020204" pitchFamily="34" charset="0"/>
              <a:buChar char="​"/>
              <a:defRPr sz="1015">
                <a:solidFill>
                  <a:srgbClr val="F8F5E7"/>
                </a:solidFill>
              </a:defRPr>
            </a:lvl1pPr>
          </a:lstStyle>
          <a:p>
            <a:pPr lvl="0"/>
            <a:r>
              <a:rPr lang="da-DK" err="1"/>
              <a:t>Name</a:t>
            </a:r>
            <a:endParaRPr lang="da-DK"/>
          </a:p>
        </p:txBody>
      </p:sp>
      <p:sp>
        <p:nvSpPr>
          <p:cNvPr id="3" name="TextBox 2">
            <a:extLst>
              <a:ext uri="{FF2B5EF4-FFF2-40B4-BE49-F238E27FC236}">
                <a16:creationId xmlns:a16="http://schemas.microsoft.com/office/drawing/2014/main" id="{8EE78B38-E2FC-4D90-ABDF-B7665592C118}"/>
              </a:ext>
            </a:extLst>
          </p:cNvPr>
          <p:cNvSpPr txBox="1"/>
          <p:nvPr userDrawn="1"/>
        </p:nvSpPr>
        <p:spPr>
          <a:xfrm>
            <a:off x="227085" y="490565"/>
            <a:ext cx="1870515" cy="1363771"/>
          </a:xfrm>
          <a:prstGeom prst="rect">
            <a:avLst/>
          </a:prstGeom>
          <a:noFill/>
          <a:ln w="6350">
            <a:noFill/>
            <a:prstDash val="sysDash"/>
          </a:ln>
        </p:spPr>
        <p:txBody>
          <a:bodyPr wrap="square" lIns="0" tIns="0" rIns="0" bIns="0" rtlCol="0">
            <a:spAutoFit/>
          </a:bodyPr>
          <a:lstStyle/>
          <a:p>
            <a:pPr algn="l">
              <a:buFontTx/>
              <a:buNone/>
            </a:pPr>
            <a:r>
              <a:rPr lang="da-DK" sz="8862">
                <a:solidFill>
                  <a:srgbClr val="F8F5E7"/>
                </a:solidFill>
                <a:latin typeface="Impact" panose="020B0806030902050204" pitchFamily="34" charset="0"/>
              </a:rPr>
              <a:t>«</a:t>
            </a:r>
          </a:p>
        </p:txBody>
      </p:sp>
      <p:sp>
        <p:nvSpPr>
          <p:cNvPr id="20" name="Slide Number Placeholder 4">
            <a:extLst>
              <a:ext uri="{FF2B5EF4-FFF2-40B4-BE49-F238E27FC236}">
                <a16:creationId xmlns:a16="http://schemas.microsoft.com/office/drawing/2014/main" id="{361A6182-B3CD-4CA4-935A-24F33BCBB852}"/>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14" name="Date_GeneralDate" hidden="1">
            <a:extLst>
              <a:ext uri="{FF2B5EF4-FFF2-40B4-BE49-F238E27FC236}">
                <a16:creationId xmlns:a16="http://schemas.microsoft.com/office/drawing/2014/main" id="{7DC1B9B1-594B-4FB6-921D-AD66151CE698}"/>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5" name="Text Placeholder 12">
            <a:extLst>
              <a:ext uri="{FF2B5EF4-FFF2-40B4-BE49-F238E27FC236}">
                <a16:creationId xmlns:a16="http://schemas.microsoft.com/office/drawing/2014/main" id="{824DB0EB-3C91-4347-ADB0-707482766440}"/>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21" name="Text Placeholder 3">
            <a:extLst>
              <a:ext uri="{FF2B5EF4-FFF2-40B4-BE49-F238E27FC236}">
                <a16:creationId xmlns:a16="http://schemas.microsoft.com/office/drawing/2014/main" id="{6ECB54CD-9A70-47F7-9C35-1CCC5948569B}"/>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Tree>
    <p:extLst>
      <p:ext uri="{BB962C8B-B14F-4D97-AF65-F5344CB8AC3E}">
        <p14:creationId xmlns:p14="http://schemas.microsoft.com/office/powerpoint/2010/main" val="2320240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ation">
    <p:spTree>
      <p:nvGrpSpPr>
        <p:cNvPr id="1" name=""/>
        <p:cNvGrpSpPr/>
        <p:nvPr/>
      </p:nvGrpSpPr>
      <p:grpSpPr>
        <a:xfrm>
          <a:off x="0" y="0"/>
          <a:ext cx="0" cy="0"/>
          <a:chOff x="0" y="0"/>
          <a:chExt cx="0" cy="0"/>
        </a:xfrm>
      </p:grpSpPr>
      <p:sp>
        <p:nvSpPr>
          <p:cNvPr id="13" name="Text Placeholder 13">
            <a:extLst>
              <a:ext uri="{FF2B5EF4-FFF2-40B4-BE49-F238E27FC236}">
                <a16:creationId xmlns:a16="http://schemas.microsoft.com/office/drawing/2014/main" id="{38767680-C6C8-4860-8F6A-B5FF8B3542D0}"/>
              </a:ext>
            </a:extLst>
          </p:cNvPr>
          <p:cNvSpPr>
            <a:spLocks noGrp="1"/>
          </p:cNvSpPr>
          <p:nvPr>
            <p:ph type="body" sz="quarter" idx="16" hasCustomPrompt="1"/>
          </p:nvPr>
        </p:nvSpPr>
        <p:spPr>
          <a:xfrm>
            <a:off x="245986" y="2092693"/>
            <a:ext cx="4201456" cy="2249014"/>
          </a:xfrm>
        </p:spPr>
        <p:txBody>
          <a:bodyPr/>
          <a:lstStyle>
            <a:lvl1pPr marL="0" indent="0">
              <a:spcBef>
                <a:spcPts val="0"/>
              </a:spcBef>
              <a:buFont typeface="Arial" panose="020B0604020202020204" pitchFamily="34" charset="0"/>
              <a:buChar char="​"/>
              <a:defRPr sz="2585">
                <a:solidFill>
                  <a:srgbClr val="30373B"/>
                </a:solidFill>
              </a:defRPr>
            </a:lvl1pPr>
          </a:lstStyle>
          <a:p>
            <a:pPr lvl="0"/>
            <a:r>
              <a:rPr lang="da-DK"/>
              <a:t>Edit Master </a:t>
            </a:r>
            <a:r>
              <a:rPr lang="da-DK" err="1"/>
              <a:t>text</a:t>
            </a:r>
            <a:r>
              <a:rPr lang="da-DK"/>
              <a:t> styles</a:t>
            </a:r>
          </a:p>
        </p:txBody>
      </p:sp>
      <p:sp>
        <p:nvSpPr>
          <p:cNvPr id="4" name="Rectangle 3">
            <a:extLst>
              <a:ext uri="{FF2B5EF4-FFF2-40B4-BE49-F238E27FC236}">
                <a16:creationId xmlns:a16="http://schemas.microsoft.com/office/drawing/2014/main" id="{2B2C56D2-784D-4432-A938-43418D6C4B85}"/>
              </a:ext>
            </a:extLst>
          </p:cNvPr>
          <p:cNvSpPr/>
          <p:nvPr userDrawn="1"/>
        </p:nvSpPr>
        <p:spPr>
          <a:xfrm>
            <a:off x="0" y="1"/>
            <a:ext cx="4445977" cy="1296785"/>
          </a:xfrm>
          <a:prstGeom prst="rect">
            <a:avLst/>
          </a:prstGeom>
          <a:solidFill>
            <a:srgbClr val="F8F5E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algn="l">
              <a:buNone/>
            </a:pPr>
            <a:endParaRPr lang="da-DK" sz="923" noProof="0">
              <a:solidFill>
                <a:srgbClr val="2F363B"/>
              </a:solidFill>
            </a:endParaRPr>
          </a:p>
        </p:txBody>
      </p:sp>
      <p:sp>
        <p:nvSpPr>
          <p:cNvPr id="18" name="Text Placeholder 13">
            <a:extLst>
              <a:ext uri="{FF2B5EF4-FFF2-40B4-BE49-F238E27FC236}">
                <a16:creationId xmlns:a16="http://schemas.microsoft.com/office/drawing/2014/main" id="{E95E46A2-7940-4BAC-9759-942AABFED48A}"/>
              </a:ext>
            </a:extLst>
          </p:cNvPr>
          <p:cNvSpPr>
            <a:spLocks noGrp="1"/>
          </p:cNvSpPr>
          <p:nvPr>
            <p:ph type="body" sz="quarter" idx="17" hasCustomPrompt="1"/>
          </p:nvPr>
        </p:nvSpPr>
        <p:spPr>
          <a:xfrm>
            <a:off x="249116" y="4611581"/>
            <a:ext cx="4201456" cy="555412"/>
          </a:xfrm>
        </p:spPr>
        <p:txBody>
          <a:bodyPr anchor="b" anchorCtr="0"/>
          <a:lstStyle>
            <a:lvl1pPr marL="0" indent="0">
              <a:spcBef>
                <a:spcPts val="0"/>
              </a:spcBef>
              <a:buFont typeface="Arial" panose="020B0604020202020204" pitchFamily="34" charset="0"/>
              <a:buChar char="​"/>
              <a:defRPr sz="1015">
                <a:solidFill>
                  <a:srgbClr val="30373B"/>
                </a:solidFill>
              </a:defRPr>
            </a:lvl1pPr>
          </a:lstStyle>
          <a:p>
            <a:pPr lvl="0"/>
            <a:r>
              <a:rPr lang="da-DK" err="1"/>
              <a:t>Name</a:t>
            </a:r>
            <a:endParaRPr lang="da-DK"/>
          </a:p>
        </p:txBody>
      </p:sp>
      <p:sp>
        <p:nvSpPr>
          <p:cNvPr id="3" name="TextBox 2">
            <a:extLst>
              <a:ext uri="{FF2B5EF4-FFF2-40B4-BE49-F238E27FC236}">
                <a16:creationId xmlns:a16="http://schemas.microsoft.com/office/drawing/2014/main" id="{8EE78B38-E2FC-4D90-ABDF-B7665592C118}"/>
              </a:ext>
            </a:extLst>
          </p:cNvPr>
          <p:cNvSpPr txBox="1"/>
          <p:nvPr userDrawn="1"/>
        </p:nvSpPr>
        <p:spPr>
          <a:xfrm>
            <a:off x="227085" y="490565"/>
            <a:ext cx="1870515" cy="1363771"/>
          </a:xfrm>
          <a:prstGeom prst="rect">
            <a:avLst/>
          </a:prstGeom>
          <a:noFill/>
          <a:ln w="6350">
            <a:noFill/>
            <a:prstDash val="sysDash"/>
          </a:ln>
        </p:spPr>
        <p:txBody>
          <a:bodyPr wrap="square" lIns="0" tIns="0" rIns="0" bIns="0" rtlCol="0">
            <a:spAutoFit/>
          </a:bodyPr>
          <a:lstStyle/>
          <a:p>
            <a:pPr algn="l">
              <a:buFontTx/>
              <a:buNone/>
            </a:pPr>
            <a:r>
              <a:rPr lang="da-DK" sz="8862">
                <a:solidFill>
                  <a:srgbClr val="30373B"/>
                </a:solidFill>
                <a:latin typeface="Impact" panose="020B0806030902050204" pitchFamily="34" charset="0"/>
              </a:rPr>
              <a:t>«</a:t>
            </a:r>
          </a:p>
        </p:txBody>
      </p:sp>
      <p:sp>
        <p:nvSpPr>
          <p:cNvPr id="19" name="Slide Number Placeholder 4">
            <a:extLst>
              <a:ext uri="{FF2B5EF4-FFF2-40B4-BE49-F238E27FC236}">
                <a16:creationId xmlns:a16="http://schemas.microsoft.com/office/drawing/2014/main" id="{5684BC98-00B6-47D0-8468-8432DEA0A6B4}"/>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14" name="Date_GeneralDate" hidden="1">
            <a:extLst>
              <a:ext uri="{FF2B5EF4-FFF2-40B4-BE49-F238E27FC236}">
                <a16:creationId xmlns:a16="http://schemas.microsoft.com/office/drawing/2014/main" id="{C23B4461-AF34-409D-AC22-EE0AAD2CC060}"/>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1" name="Text Placeholder 12">
            <a:extLst>
              <a:ext uri="{FF2B5EF4-FFF2-40B4-BE49-F238E27FC236}">
                <a16:creationId xmlns:a16="http://schemas.microsoft.com/office/drawing/2014/main" id="{1844B6E8-8E61-4F73-8ECC-3DB3BF126AC8}"/>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5" name="Text Placeholder 3">
            <a:extLst>
              <a:ext uri="{FF2B5EF4-FFF2-40B4-BE49-F238E27FC236}">
                <a16:creationId xmlns:a16="http://schemas.microsoft.com/office/drawing/2014/main" id="{FF55D92C-F4F7-4894-8533-8FB723220318}"/>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Tree>
    <p:extLst>
      <p:ext uri="{BB962C8B-B14F-4D97-AF65-F5344CB8AC3E}">
        <p14:creationId xmlns:p14="http://schemas.microsoft.com/office/powerpoint/2010/main" val="3149150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2" name="Slide Number Placeholder 4">
            <a:extLst>
              <a:ext uri="{FF2B5EF4-FFF2-40B4-BE49-F238E27FC236}">
                <a16:creationId xmlns:a16="http://schemas.microsoft.com/office/drawing/2014/main" id="{5744F2A6-8B38-4FEF-8EA8-A0102EC0AE07}"/>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8" name="Date_GeneralDate" hidden="1">
            <a:extLst>
              <a:ext uri="{FF2B5EF4-FFF2-40B4-BE49-F238E27FC236}">
                <a16:creationId xmlns:a16="http://schemas.microsoft.com/office/drawing/2014/main" id="{BE0C3A60-B315-4CCC-948B-3A28762D247E}"/>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7" name="Text Placeholder 12">
            <a:extLst>
              <a:ext uri="{FF2B5EF4-FFF2-40B4-BE49-F238E27FC236}">
                <a16:creationId xmlns:a16="http://schemas.microsoft.com/office/drawing/2014/main" id="{8D6D355F-17E4-46C1-8D5B-B53A3E5021ED}"/>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0" name="Text Placeholder 3">
            <a:extLst>
              <a:ext uri="{FF2B5EF4-FFF2-40B4-BE49-F238E27FC236}">
                <a16:creationId xmlns:a16="http://schemas.microsoft.com/office/drawing/2014/main" id="{F613617F-0213-43C0-8BC6-F7C548D77CD0}"/>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Tree>
    <p:extLst>
      <p:ext uri="{BB962C8B-B14F-4D97-AF65-F5344CB8AC3E}">
        <p14:creationId xmlns:p14="http://schemas.microsoft.com/office/powerpoint/2010/main" val="1933047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Grid">
    <p:spTree>
      <p:nvGrpSpPr>
        <p:cNvPr id="1" name=""/>
        <p:cNvGrpSpPr/>
        <p:nvPr/>
      </p:nvGrpSpPr>
      <p:grpSpPr>
        <a:xfrm>
          <a:off x="0" y="0"/>
          <a:ext cx="0" cy="0"/>
          <a:chOff x="0" y="0"/>
          <a:chExt cx="0" cy="0"/>
        </a:xfrm>
      </p:grpSpPr>
      <p:sp>
        <p:nvSpPr>
          <p:cNvPr id="7" name="Freeform: Shape 4">
            <a:extLst>
              <a:ext uri="{FF2B5EF4-FFF2-40B4-BE49-F238E27FC236}">
                <a16:creationId xmlns:a16="http://schemas.microsoft.com/office/drawing/2014/main" id="{14CC84DE-7E96-42BC-842C-0FB1DFA971FA}"/>
              </a:ext>
            </a:extLst>
          </p:cNvPr>
          <p:cNvSpPr/>
          <p:nvPr userDrawn="1"/>
        </p:nvSpPr>
        <p:spPr>
          <a:xfrm>
            <a:off x="249115" y="280736"/>
            <a:ext cx="8644304" cy="6327775"/>
          </a:xfrm>
          <a:custGeom>
            <a:avLst/>
            <a:gdLst>
              <a:gd name="connsiteX0" fmla="*/ 2157895 w 9586368"/>
              <a:gd name="connsiteY0" fmla="*/ 6461491 h 6479439"/>
              <a:gd name="connsiteX1" fmla="*/ 2167802 w 9586368"/>
              <a:gd name="connsiteY1" fmla="*/ 6461491 h 6479439"/>
              <a:gd name="connsiteX2" fmla="*/ 2171820 w 9586368"/>
              <a:gd name="connsiteY2" fmla="*/ 6465529 h 6479439"/>
              <a:gd name="connsiteX3" fmla="*/ 2171820 w 9586368"/>
              <a:gd name="connsiteY3" fmla="*/ 6475400 h 6479439"/>
              <a:gd name="connsiteX4" fmla="*/ 2167802 w 9586368"/>
              <a:gd name="connsiteY4" fmla="*/ 6479439 h 6479439"/>
              <a:gd name="connsiteX5" fmla="*/ 2157895 w 9586368"/>
              <a:gd name="connsiteY5" fmla="*/ 6479439 h 6479439"/>
              <a:gd name="connsiteX6" fmla="*/ 2153871 w 9586368"/>
              <a:gd name="connsiteY6" fmla="*/ 6475400 h 6479439"/>
              <a:gd name="connsiteX7" fmla="*/ 2153871 w 9586368"/>
              <a:gd name="connsiteY7" fmla="*/ 6465529 h 6479439"/>
              <a:gd name="connsiteX8" fmla="*/ 1918509 w 9586368"/>
              <a:gd name="connsiteY8" fmla="*/ 6461491 h 6479439"/>
              <a:gd name="connsiteX9" fmla="*/ 1928419 w 9586368"/>
              <a:gd name="connsiteY9" fmla="*/ 6461491 h 6479439"/>
              <a:gd name="connsiteX10" fmla="*/ 1932437 w 9586368"/>
              <a:gd name="connsiteY10" fmla="*/ 6465529 h 6479439"/>
              <a:gd name="connsiteX11" fmla="*/ 1932437 w 9586368"/>
              <a:gd name="connsiteY11" fmla="*/ 6475400 h 6479439"/>
              <a:gd name="connsiteX12" fmla="*/ 1928419 w 9586368"/>
              <a:gd name="connsiteY12" fmla="*/ 6479439 h 6479439"/>
              <a:gd name="connsiteX13" fmla="*/ 1918509 w 9586368"/>
              <a:gd name="connsiteY13" fmla="*/ 6479439 h 6479439"/>
              <a:gd name="connsiteX14" fmla="*/ 1914490 w 9586368"/>
              <a:gd name="connsiteY14" fmla="*/ 6475400 h 6479439"/>
              <a:gd name="connsiteX15" fmla="*/ 1914490 w 9586368"/>
              <a:gd name="connsiteY15" fmla="*/ 6465529 h 6479439"/>
              <a:gd name="connsiteX16" fmla="*/ 1679200 w 9586368"/>
              <a:gd name="connsiteY16" fmla="*/ 6461491 h 6479439"/>
              <a:gd name="connsiteX17" fmla="*/ 1689110 w 9586368"/>
              <a:gd name="connsiteY17" fmla="*/ 6461491 h 6479439"/>
              <a:gd name="connsiteX18" fmla="*/ 1693128 w 9586368"/>
              <a:gd name="connsiteY18" fmla="*/ 6465529 h 6479439"/>
              <a:gd name="connsiteX19" fmla="*/ 1693128 w 9586368"/>
              <a:gd name="connsiteY19" fmla="*/ 6475400 h 6479439"/>
              <a:gd name="connsiteX20" fmla="*/ 1689110 w 9586368"/>
              <a:gd name="connsiteY20" fmla="*/ 6479439 h 6479439"/>
              <a:gd name="connsiteX21" fmla="*/ 1679200 w 9586368"/>
              <a:gd name="connsiteY21" fmla="*/ 6479439 h 6479439"/>
              <a:gd name="connsiteX22" fmla="*/ 1675180 w 9586368"/>
              <a:gd name="connsiteY22" fmla="*/ 6475400 h 6479439"/>
              <a:gd name="connsiteX23" fmla="*/ 1675180 w 9586368"/>
              <a:gd name="connsiteY23" fmla="*/ 6465529 h 6479439"/>
              <a:gd name="connsiteX24" fmla="*/ 1439885 w 9586368"/>
              <a:gd name="connsiteY24" fmla="*/ 6461491 h 6479439"/>
              <a:gd name="connsiteX25" fmla="*/ 1449795 w 9586368"/>
              <a:gd name="connsiteY25" fmla="*/ 6461491 h 6479439"/>
              <a:gd name="connsiteX26" fmla="*/ 1453813 w 9586368"/>
              <a:gd name="connsiteY26" fmla="*/ 6465529 h 6479439"/>
              <a:gd name="connsiteX27" fmla="*/ 1453813 w 9586368"/>
              <a:gd name="connsiteY27" fmla="*/ 6475400 h 6479439"/>
              <a:gd name="connsiteX28" fmla="*/ 1449795 w 9586368"/>
              <a:gd name="connsiteY28" fmla="*/ 6479439 h 6479439"/>
              <a:gd name="connsiteX29" fmla="*/ 1439885 w 9586368"/>
              <a:gd name="connsiteY29" fmla="*/ 6479439 h 6479439"/>
              <a:gd name="connsiteX30" fmla="*/ 1435865 w 9586368"/>
              <a:gd name="connsiteY30" fmla="*/ 6475400 h 6479439"/>
              <a:gd name="connsiteX31" fmla="*/ 1435865 w 9586368"/>
              <a:gd name="connsiteY31" fmla="*/ 6465529 h 6479439"/>
              <a:gd name="connsiteX32" fmla="*/ 1200570 w 9586368"/>
              <a:gd name="connsiteY32" fmla="*/ 6461491 h 6479439"/>
              <a:gd name="connsiteX33" fmla="*/ 1210480 w 9586368"/>
              <a:gd name="connsiteY33" fmla="*/ 6461491 h 6479439"/>
              <a:gd name="connsiteX34" fmla="*/ 1214498 w 9586368"/>
              <a:gd name="connsiteY34" fmla="*/ 6465529 h 6479439"/>
              <a:gd name="connsiteX35" fmla="*/ 1214498 w 9586368"/>
              <a:gd name="connsiteY35" fmla="*/ 6475400 h 6479439"/>
              <a:gd name="connsiteX36" fmla="*/ 1210480 w 9586368"/>
              <a:gd name="connsiteY36" fmla="*/ 6479439 h 6479439"/>
              <a:gd name="connsiteX37" fmla="*/ 1200570 w 9586368"/>
              <a:gd name="connsiteY37" fmla="*/ 6479439 h 6479439"/>
              <a:gd name="connsiteX38" fmla="*/ 1196551 w 9586368"/>
              <a:gd name="connsiteY38" fmla="*/ 6475400 h 6479439"/>
              <a:gd name="connsiteX39" fmla="*/ 1196551 w 9586368"/>
              <a:gd name="connsiteY39" fmla="*/ 6465529 h 6479439"/>
              <a:gd name="connsiteX40" fmla="*/ 961257 w 9586368"/>
              <a:gd name="connsiteY40" fmla="*/ 6461491 h 6479439"/>
              <a:gd name="connsiteX41" fmla="*/ 971167 w 9586368"/>
              <a:gd name="connsiteY41" fmla="*/ 6461491 h 6479439"/>
              <a:gd name="connsiteX42" fmla="*/ 975186 w 9586368"/>
              <a:gd name="connsiteY42" fmla="*/ 6465529 h 6479439"/>
              <a:gd name="connsiteX43" fmla="*/ 975186 w 9586368"/>
              <a:gd name="connsiteY43" fmla="*/ 6475400 h 6479439"/>
              <a:gd name="connsiteX44" fmla="*/ 971167 w 9586368"/>
              <a:gd name="connsiteY44" fmla="*/ 6479439 h 6479439"/>
              <a:gd name="connsiteX45" fmla="*/ 961257 w 9586368"/>
              <a:gd name="connsiteY45" fmla="*/ 6479439 h 6479439"/>
              <a:gd name="connsiteX46" fmla="*/ 957238 w 9586368"/>
              <a:gd name="connsiteY46" fmla="*/ 6475400 h 6479439"/>
              <a:gd name="connsiteX47" fmla="*/ 957238 w 9586368"/>
              <a:gd name="connsiteY47" fmla="*/ 6465529 h 6479439"/>
              <a:gd name="connsiteX48" fmla="*/ 9572438 w 9586368"/>
              <a:gd name="connsiteY48" fmla="*/ 6461440 h 6479439"/>
              <a:gd name="connsiteX49" fmla="*/ 9582349 w 9586368"/>
              <a:gd name="connsiteY49" fmla="*/ 6461440 h 6479439"/>
              <a:gd name="connsiteX50" fmla="*/ 9586368 w 9586368"/>
              <a:gd name="connsiteY50" fmla="*/ 6465478 h 6479439"/>
              <a:gd name="connsiteX51" fmla="*/ 9586368 w 9586368"/>
              <a:gd name="connsiteY51" fmla="*/ 6475349 h 6479439"/>
              <a:gd name="connsiteX52" fmla="*/ 9582349 w 9586368"/>
              <a:gd name="connsiteY52" fmla="*/ 6479388 h 6479439"/>
              <a:gd name="connsiteX53" fmla="*/ 9572438 w 9586368"/>
              <a:gd name="connsiteY53" fmla="*/ 6479388 h 6479439"/>
              <a:gd name="connsiteX54" fmla="*/ 9568419 w 9586368"/>
              <a:gd name="connsiteY54" fmla="*/ 6475349 h 6479439"/>
              <a:gd name="connsiteX55" fmla="*/ 9568419 w 9586368"/>
              <a:gd name="connsiteY55" fmla="*/ 6465478 h 6479439"/>
              <a:gd name="connsiteX56" fmla="*/ 9333125 w 9586368"/>
              <a:gd name="connsiteY56" fmla="*/ 6461440 h 6479439"/>
              <a:gd name="connsiteX57" fmla="*/ 9343036 w 9586368"/>
              <a:gd name="connsiteY57" fmla="*/ 6461440 h 6479439"/>
              <a:gd name="connsiteX58" fmla="*/ 9347055 w 9586368"/>
              <a:gd name="connsiteY58" fmla="*/ 6465478 h 6479439"/>
              <a:gd name="connsiteX59" fmla="*/ 9347055 w 9586368"/>
              <a:gd name="connsiteY59" fmla="*/ 6475349 h 6479439"/>
              <a:gd name="connsiteX60" fmla="*/ 9343036 w 9586368"/>
              <a:gd name="connsiteY60" fmla="*/ 6479388 h 6479439"/>
              <a:gd name="connsiteX61" fmla="*/ 9333125 w 9586368"/>
              <a:gd name="connsiteY61" fmla="*/ 6479388 h 6479439"/>
              <a:gd name="connsiteX62" fmla="*/ 9329106 w 9586368"/>
              <a:gd name="connsiteY62" fmla="*/ 6475349 h 6479439"/>
              <a:gd name="connsiteX63" fmla="*/ 9329106 w 9586368"/>
              <a:gd name="connsiteY63" fmla="*/ 6465478 h 6479439"/>
              <a:gd name="connsiteX64" fmla="*/ 9093811 w 9586368"/>
              <a:gd name="connsiteY64" fmla="*/ 6461440 h 6479439"/>
              <a:gd name="connsiteX65" fmla="*/ 9103722 w 9586368"/>
              <a:gd name="connsiteY65" fmla="*/ 6461440 h 6479439"/>
              <a:gd name="connsiteX66" fmla="*/ 9107741 w 9586368"/>
              <a:gd name="connsiteY66" fmla="*/ 6465478 h 6479439"/>
              <a:gd name="connsiteX67" fmla="*/ 9107741 w 9586368"/>
              <a:gd name="connsiteY67" fmla="*/ 6475349 h 6479439"/>
              <a:gd name="connsiteX68" fmla="*/ 9103722 w 9586368"/>
              <a:gd name="connsiteY68" fmla="*/ 6479388 h 6479439"/>
              <a:gd name="connsiteX69" fmla="*/ 9093811 w 9586368"/>
              <a:gd name="connsiteY69" fmla="*/ 6479388 h 6479439"/>
              <a:gd name="connsiteX70" fmla="*/ 9089792 w 9586368"/>
              <a:gd name="connsiteY70" fmla="*/ 6475349 h 6479439"/>
              <a:gd name="connsiteX71" fmla="*/ 9089792 w 9586368"/>
              <a:gd name="connsiteY71" fmla="*/ 6465478 h 6479439"/>
              <a:gd name="connsiteX72" fmla="*/ 8854496 w 9586368"/>
              <a:gd name="connsiteY72" fmla="*/ 6461440 h 6479439"/>
              <a:gd name="connsiteX73" fmla="*/ 8864407 w 9586368"/>
              <a:gd name="connsiteY73" fmla="*/ 6461440 h 6479439"/>
              <a:gd name="connsiteX74" fmla="*/ 8868426 w 9586368"/>
              <a:gd name="connsiteY74" fmla="*/ 6465478 h 6479439"/>
              <a:gd name="connsiteX75" fmla="*/ 8868426 w 9586368"/>
              <a:gd name="connsiteY75" fmla="*/ 6475349 h 6479439"/>
              <a:gd name="connsiteX76" fmla="*/ 8864407 w 9586368"/>
              <a:gd name="connsiteY76" fmla="*/ 6479388 h 6479439"/>
              <a:gd name="connsiteX77" fmla="*/ 8854496 w 9586368"/>
              <a:gd name="connsiteY77" fmla="*/ 6479388 h 6479439"/>
              <a:gd name="connsiteX78" fmla="*/ 8850477 w 9586368"/>
              <a:gd name="connsiteY78" fmla="*/ 6475349 h 6479439"/>
              <a:gd name="connsiteX79" fmla="*/ 8850477 w 9586368"/>
              <a:gd name="connsiteY79" fmla="*/ 6465478 h 6479439"/>
              <a:gd name="connsiteX80" fmla="*/ 8615184 w 9586368"/>
              <a:gd name="connsiteY80" fmla="*/ 6461440 h 6479439"/>
              <a:gd name="connsiteX81" fmla="*/ 8625095 w 9586368"/>
              <a:gd name="connsiteY81" fmla="*/ 6461440 h 6479439"/>
              <a:gd name="connsiteX82" fmla="*/ 8629114 w 9586368"/>
              <a:gd name="connsiteY82" fmla="*/ 6465478 h 6479439"/>
              <a:gd name="connsiteX83" fmla="*/ 8629114 w 9586368"/>
              <a:gd name="connsiteY83" fmla="*/ 6475349 h 6479439"/>
              <a:gd name="connsiteX84" fmla="*/ 8625095 w 9586368"/>
              <a:gd name="connsiteY84" fmla="*/ 6479388 h 6479439"/>
              <a:gd name="connsiteX85" fmla="*/ 8615184 w 9586368"/>
              <a:gd name="connsiteY85" fmla="*/ 6479388 h 6479439"/>
              <a:gd name="connsiteX86" fmla="*/ 8611165 w 9586368"/>
              <a:gd name="connsiteY86" fmla="*/ 6475349 h 6479439"/>
              <a:gd name="connsiteX87" fmla="*/ 8611165 w 9586368"/>
              <a:gd name="connsiteY87" fmla="*/ 6465478 h 6479439"/>
              <a:gd name="connsiteX88" fmla="*/ 8375869 w 9586368"/>
              <a:gd name="connsiteY88" fmla="*/ 6461440 h 6479439"/>
              <a:gd name="connsiteX89" fmla="*/ 8385779 w 9586368"/>
              <a:gd name="connsiteY89" fmla="*/ 6461440 h 6479439"/>
              <a:gd name="connsiteX90" fmla="*/ 8389799 w 9586368"/>
              <a:gd name="connsiteY90" fmla="*/ 6465478 h 6479439"/>
              <a:gd name="connsiteX91" fmla="*/ 8389799 w 9586368"/>
              <a:gd name="connsiteY91" fmla="*/ 6475349 h 6479439"/>
              <a:gd name="connsiteX92" fmla="*/ 8385779 w 9586368"/>
              <a:gd name="connsiteY92" fmla="*/ 6479388 h 6479439"/>
              <a:gd name="connsiteX93" fmla="*/ 8375869 w 9586368"/>
              <a:gd name="connsiteY93" fmla="*/ 6479388 h 6479439"/>
              <a:gd name="connsiteX94" fmla="*/ 8371850 w 9586368"/>
              <a:gd name="connsiteY94" fmla="*/ 6475349 h 6479439"/>
              <a:gd name="connsiteX95" fmla="*/ 8371850 w 9586368"/>
              <a:gd name="connsiteY95" fmla="*/ 6465478 h 6479439"/>
              <a:gd name="connsiteX96" fmla="*/ 8136553 w 9586368"/>
              <a:gd name="connsiteY96" fmla="*/ 6461440 h 6479439"/>
              <a:gd name="connsiteX97" fmla="*/ 8146464 w 9586368"/>
              <a:gd name="connsiteY97" fmla="*/ 6461440 h 6479439"/>
              <a:gd name="connsiteX98" fmla="*/ 8150483 w 9586368"/>
              <a:gd name="connsiteY98" fmla="*/ 6465478 h 6479439"/>
              <a:gd name="connsiteX99" fmla="*/ 8150483 w 9586368"/>
              <a:gd name="connsiteY99" fmla="*/ 6475349 h 6479439"/>
              <a:gd name="connsiteX100" fmla="*/ 8146464 w 9586368"/>
              <a:gd name="connsiteY100" fmla="*/ 6479388 h 6479439"/>
              <a:gd name="connsiteX101" fmla="*/ 8136553 w 9586368"/>
              <a:gd name="connsiteY101" fmla="*/ 6479388 h 6479439"/>
              <a:gd name="connsiteX102" fmla="*/ 8132534 w 9586368"/>
              <a:gd name="connsiteY102" fmla="*/ 6475349 h 6479439"/>
              <a:gd name="connsiteX103" fmla="*/ 8132534 w 9586368"/>
              <a:gd name="connsiteY103" fmla="*/ 6465478 h 6479439"/>
              <a:gd name="connsiteX104" fmla="*/ 7897241 w 9586368"/>
              <a:gd name="connsiteY104" fmla="*/ 6461440 h 6479439"/>
              <a:gd name="connsiteX105" fmla="*/ 7907151 w 9586368"/>
              <a:gd name="connsiteY105" fmla="*/ 6461440 h 6479439"/>
              <a:gd name="connsiteX106" fmla="*/ 7911170 w 9586368"/>
              <a:gd name="connsiteY106" fmla="*/ 6465478 h 6479439"/>
              <a:gd name="connsiteX107" fmla="*/ 7911170 w 9586368"/>
              <a:gd name="connsiteY107" fmla="*/ 6475349 h 6479439"/>
              <a:gd name="connsiteX108" fmla="*/ 7907151 w 9586368"/>
              <a:gd name="connsiteY108" fmla="*/ 6479388 h 6479439"/>
              <a:gd name="connsiteX109" fmla="*/ 7897241 w 9586368"/>
              <a:gd name="connsiteY109" fmla="*/ 6479388 h 6479439"/>
              <a:gd name="connsiteX110" fmla="*/ 7893222 w 9586368"/>
              <a:gd name="connsiteY110" fmla="*/ 6475349 h 6479439"/>
              <a:gd name="connsiteX111" fmla="*/ 7893222 w 9586368"/>
              <a:gd name="connsiteY111" fmla="*/ 6465478 h 6479439"/>
              <a:gd name="connsiteX112" fmla="*/ 7657926 w 9586368"/>
              <a:gd name="connsiteY112" fmla="*/ 6461440 h 6479439"/>
              <a:gd name="connsiteX113" fmla="*/ 7667836 w 9586368"/>
              <a:gd name="connsiteY113" fmla="*/ 6461440 h 6479439"/>
              <a:gd name="connsiteX114" fmla="*/ 7671855 w 9586368"/>
              <a:gd name="connsiteY114" fmla="*/ 6465478 h 6479439"/>
              <a:gd name="connsiteX115" fmla="*/ 7671855 w 9586368"/>
              <a:gd name="connsiteY115" fmla="*/ 6475349 h 6479439"/>
              <a:gd name="connsiteX116" fmla="*/ 7667836 w 9586368"/>
              <a:gd name="connsiteY116" fmla="*/ 6479388 h 6479439"/>
              <a:gd name="connsiteX117" fmla="*/ 7657926 w 9586368"/>
              <a:gd name="connsiteY117" fmla="*/ 6479388 h 6479439"/>
              <a:gd name="connsiteX118" fmla="*/ 7653906 w 9586368"/>
              <a:gd name="connsiteY118" fmla="*/ 6475349 h 6479439"/>
              <a:gd name="connsiteX119" fmla="*/ 7653906 w 9586368"/>
              <a:gd name="connsiteY119" fmla="*/ 6465478 h 6479439"/>
              <a:gd name="connsiteX120" fmla="*/ 7418611 w 9586368"/>
              <a:gd name="connsiteY120" fmla="*/ 6461440 h 6479439"/>
              <a:gd name="connsiteX121" fmla="*/ 7428521 w 9586368"/>
              <a:gd name="connsiteY121" fmla="*/ 6461440 h 6479439"/>
              <a:gd name="connsiteX122" fmla="*/ 7432540 w 9586368"/>
              <a:gd name="connsiteY122" fmla="*/ 6465478 h 6479439"/>
              <a:gd name="connsiteX123" fmla="*/ 7432540 w 9586368"/>
              <a:gd name="connsiteY123" fmla="*/ 6475349 h 6479439"/>
              <a:gd name="connsiteX124" fmla="*/ 7428521 w 9586368"/>
              <a:gd name="connsiteY124" fmla="*/ 6479388 h 6479439"/>
              <a:gd name="connsiteX125" fmla="*/ 7418611 w 9586368"/>
              <a:gd name="connsiteY125" fmla="*/ 6479388 h 6479439"/>
              <a:gd name="connsiteX126" fmla="*/ 7414592 w 9586368"/>
              <a:gd name="connsiteY126" fmla="*/ 6475349 h 6479439"/>
              <a:gd name="connsiteX127" fmla="*/ 7414592 w 9586368"/>
              <a:gd name="connsiteY127" fmla="*/ 6465478 h 6479439"/>
              <a:gd name="connsiteX128" fmla="*/ 7179298 w 9586368"/>
              <a:gd name="connsiteY128" fmla="*/ 6461440 h 6479439"/>
              <a:gd name="connsiteX129" fmla="*/ 7189209 w 9586368"/>
              <a:gd name="connsiteY129" fmla="*/ 6461440 h 6479439"/>
              <a:gd name="connsiteX130" fmla="*/ 7193228 w 9586368"/>
              <a:gd name="connsiteY130" fmla="*/ 6465478 h 6479439"/>
              <a:gd name="connsiteX131" fmla="*/ 7193228 w 9586368"/>
              <a:gd name="connsiteY131" fmla="*/ 6475349 h 6479439"/>
              <a:gd name="connsiteX132" fmla="*/ 7189209 w 9586368"/>
              <a:gd name="connsiteY132" fmla="*/ 6479388 h 6479439"/>
              <a:gd name="connsiteX133" fmla="*/ 7179298 w 9586368"/>
              <a:gd name="connsiteY133" fmla="*/ 6479388 h 6479439"/>
              <a:gd name="connsiteX134" fmla="*/ 7175279 w 9586368"/>
              <a:gd name="connsiteY134" fmla="*/ 6475349 h 6479439"/>
              <a:gd name="connsiteX135" fmla="*/ 7175279 w 9586368"/>
              <a:gd name="connsiteY135" fmla="*/ 6465478 h 6479439"/>
              <a:gd name="connsiteX136" fmla="*/ 6939983 w 9586368"/>
              <a:gd name="connsiteY136" fmla="*/ 6461440 h 6479439"/>
              <a:gd name="connsiteX137" fmla="*/ 6949894 w 9586368"/>
              <a:gd name="connsiteY137" fmla="*/ 6461440 h 6479439"/>
              <a:gd name="connsiteX138" fmla="*/ 6953913 w 9586368"/>
              <a:gd name="connsiteY138" fmla="*/ 6465478 h 6479439"/>
              <a:gd name="connsiteX139" fmla="*/ 6953913 w 9586368"/>
              <a:gd name="connsiteY139" fmla="*/ 6475349 h 6479439"/>
              <a:gd name="connsiteX140" fmla="*/ 6949894 w 9586368"/>
              <a:gd name="connsiteY140" fmla="*/ 6479388 h 6479439"/>
              <a:gd name="connsiteX141" fmla="*/ 6939983 w 9586368"/>
              <a:gd name="connsiteY141" fmla="*/ 6479388 h 6479439"/>
              <a:gd name="connsiteX142" fmla="*/ 6935964 w 9586368"/>
              <a:gd name="connsiteY142" fmla="*/ 6475349 h 6479439"/>
              <a:gd name="connsiteX143" fmla="*/ 6935964 w 9586368"/>
              <a:gd name="connsiteY143" fmla="*/ 6465478 h 6479439"/>
              <a:gd name="connsiteX144" fmla="*/ 6700670 w 9586368"/>
              <a:gd name="connsiteY144" fmla="*/ 6461440 h 6479439"/>
              <a:gd name="connsiteX145" fmla="*/ 6710581 w 9586368"/>
              <a:gd name="connsiteY145" fmla="*/ 6461440 h 6479439"/>
              <a:gd name="connsiteX146" fmla="*/ 6714600 w 9586368"/>
              <a:gd name="connsiteY146" fmla="*/ 6465478 h 6479439"/>
              <a:gd name="connsiteX147" fmla="*/ 6714600 w 9586368"/>
              <a:gd name="connsiteY147" fmla="*/ 6475349 h 6479439"/>
              <a:gd name="connsiteX148" fmla="*/ 6710581 w 9586368"/>
              <a:gd name="connsiteY148" fmla="*/ 6479388 h 6479439"/>
              <a:gd name="connsiteX149" fmla="*/ 6700670 w 9586368"/>
              <a:gd name="connsiteY149" fmla="*/ 6479388 h 6479439"/>
              <a:gd name="connsiteX150" fmla="*/ 6696651 w 9586368"/>
              <a:gd name="connsiteY150" fmla="*/ 6475349 h 6479439"/>
              <a:gd name="connsiteX151" fmla="*/ 6696651 w 9586368"/>
              <a:gd name="connsiteY151" fmla="*/ 6465478 h 6479439"/>
              <a:gd name="connsiteX152" fmla="*/ 6461356 w 9586368"/>
              <a:gd name="connsiteY152" fmla="*/ 6461440 h 6479439"/>
              <a:gd name="connsiteX153" fmla="*/ 6471266 w 9586368"/>
              <a:gd name="connsiteY153" fmla="*/ 6461440 h 6479439"/>
              <a:gd name="connsiteX154" fmla="*/ 6475285 w 9586368"/>
              <a:gd name="connsiteY154" fmla="*/ 6465478 h 6479439"/>
              <a:gd name="connsiteX155" fmla="*/ 6475285 w 9586368"/>
              <a:gd name="connsiteY155" fmla="*/ 6475349 h 6479439"/>
              <a:gd name="connsiteX156" fmla="*/ 6471266 w 9586368"/>
              <a:gd name="connsiteY156" fmla="*/ 6479388 h 6479439"/>
              <a:gd name="connsiteX157" fmla="*/ 6461356 w 9586368"/>
              <a:gd name="connsiteY157" fmla="*/ 6479388 h 6479439"/>
              <a:gd name="connsiteX158" fmla="*/ 6457337 w 9586368"/>
              <a:gd name="connsiteY158" fmla="*/ 6475349 h 6479439"/>
              <a:gd name="connsiteX159" fmla="*/ 6457337 w 9586368"/>
              <a:gd name="connsiteY159" fmla="*/ 6465478 h 6479439"/>
              <a:gd name="connsiteX160" fmla="*/ 6222042 w 9586368"/>
              <a:gd name="connsiteY160" fmla="*/ 6461440 h 6479439"/>
              <a:gd name="connsiteX161" fmla="*/ 6231952 w 9586368"/>
              <a:gd name="connsiteY161" fmla="*/ 6461440 h 6479439"/>
              <a:gd name="connsiteX162" fmla="*/ 6235971 w 9586368"/>
              <a:gd name="connsiteY162" fmla="*/ 6465478 h 6479439"/>
              <a:gd name="connsiteX163" fmla="*/ 6235971 w 9586368"/>
              <a:gd name="connsiteY163" fmla="*/ 6475349 h 6479439"/>
              <a:gd name="connsiteX164" fmla="*/ 6231952 w 9586368"/>
              <a:gd name="connsiteY164" fmla="*/ 6479388 h 6479439"/>
              <a:gd name="connsiteX165" fmla="*/ 6222042 w 9586368"/>
              <a:gd name="connsiteY165" fmla="*/ 6479388 h 6479439"/>
              <a:gd name="connsiteX166" fmla="*/ 6218023 w 9586368"/>
              <a:gd name="connsiteY166" fmla="*/ 6475349 h 6479439"/>
              <a:gd name="connsiteX167" fmla="*/ 6218023 w 9586368"/>
              <a:gd name="connsiteY167" fmla="*/ 6465478 h 6479439"/>
              <a:gd name="connsiteX168" fmla="*/ 5982729 w 9586368"/>
              <a:gd name="connsiteY168" fmla="*/ 6461440 h 6479439"/>
              <a:gd name="connsiteX169" fmla="*/ 5992639 w 9586368"/>
              <a:gd name="connsiteY169" fmla="*/ 6461440 h 6479439"/>
              <a:gd name="connsiteX170" fmla="*/ 5996658 w 9586368"/>
              <a:gd name="connsiteY170" fmla="*/ 6465478 h 6479439"/>
              <a:gd name="connsiteX171" fmla="*/ 5996658 w 9586368"/>
              <a:gd name="connsiteY171" fmla="*/ 6475349 h 6479439"/>
              <a:gd name="connsiteX172" fmla="*/ 5992639 w 9586368"/>
              <a:gd name="connsiteY172" fmla="*/ 6479388 h 6479439"/>
              <a:gd name="connsiteX173" fmla="*/ 5982729 w 9586368"/>
              <a:gd name="connsiteY173" fmla="*/ 6479388 h 6479439"/>
              <a:gd name="connsiteX174" fmla="*/ 5978710 w 9586368"/>
              <a:gd name="connsiteY174" fmla="*/ 6475349 h 6479439"/>
              <a:gd name="connsiteX175" fmla="*/ 5978710 w 9586368"/>
              <a:gd name="connsiteY175" fmla="*/ 6465478 h 6479439"/>
              <a:gd name="connsiteX176" fmla="*/ 5743412 w 9586368"/>
              <a:gd name="connsiteY176" fmla="*/ 6461440 h 6479439"/>
              <a:gd name="connsiteX177" fmla="*/ 5753323 w 9586368"/>
              <a:gd name="connsiteY177" fmla="*/ 6461440 h 6479439"/>
              <a:gd name="connsiteX178" fmla="*/ 5757342 w 9586368"/>
              <a:gd name="connsiteY178" fmla="*/ 6465478 h 6479439"/>
              <a:gd name="connsiteX179" fmla="*/ 5757342 w 9586368"/>
              <a:gd name="connsiteY179" fmla="*/ 6475349 h 6479439"/>
              <a:gd name="connsiteX180" fmla="*/ 5753323 w 9586368"/>
              <a:gd name="connsiteY180" fmla="*/ 6479388 h 6479439"/>
              <a:gd name="connsiteX181" fmla="*/ 5743412 w 9586368"/>
              <a:gd name="connsiteY181" fmla="*/ 6479388 h 6479439"/>
              <a:gd name="connsiteX182" fmla="*/ 5739393 w 9586368"/>
              <a:gd name="connsiteY182" fmla="*/ 6475349 h 6479439"/>
              <a:gd name="connsiteX183" fmla="*/ 5739393 w 9586368"/>
              <a:gd name="connsiteY183" fmla="*/ 6465478 h 6479439"/>
              <a:gd name="connsiteX184" fmla="*/ 5504099 w 9586368"/>
              <a:gd name="connsiteY184" fmla="*/ 6461440 h 6479439"/>
              <a:gd name="connsiteX185" fmla="*/ 5514010 w 9586368"/>
              <a:gd name="connsiteY185" fmla="*/ 6461440 h 6479439"/>
              <a:gd name="connsiteX186" fmla="*/ 5518029 w 9586368"/>
              <a:gd name="connsiteY186" fmla="*/ 6465478 h 6479439"/>
              <a:gd name="connsiteX187" fmla="*/ 5518029 w 9586368"/>
              <a:gd name="connsiteY187" fmla="*/ 6475349 h 6479439"/>
              <a:gd name="connsiteX188" fmla="*/ 5514010 w 9586368"/>
              <a:gd name="connsiteY188" fmla="*/ 6479388 h 6479439"/>
              <a:gd name="connsiteX189" fmla="*/ 5504099 w 9586368"/>
              <a:gd name="connsiteY189" fmla="*/ 6479388 h 6479439"/>
              <a:gd name="connsiteX190" fmla="*/ 5500080 w 9586368"/>
              <a:gd name="connsiteY190" fmla="*/ 6475349 h 6479439"/>
              <a:gd name="connsiteX191" fmla="*/ 5500080 w 9586368"/>
              <a:gd name="connsiteY191" fmla="*/ 6465478 h 6479439"/>
              <a:gd name="connsiteX192" fmla="*/ 5264784 w 9586368"/>
              <a:gd name="connsiteY192" fmla="*/ 6461440 h 6479439"/>
              <a:gd name="connsiteX193" fmla="*/ 5274694 w 9586368"/>
              <a:gd name="connsiteY193" fmla="*/ 6461440 h 6479439"/>
              <a:gd name="connsiteX194" fmla="*/ 5278713 w 9586368"/>
              <a:gd name="connsiteY194" fmla="*/ 6465478 h 6479439"/>
              <a:gd name="connsiteX195" fmla="*/ 5278713 w 9586368"/>
              <a:gd name="connsiteY195" fmla="*/ 6475349 h 6479439"/>
              <a:gd name="connsiteX196" fmla="*/ 5274694 w 9586368"/>
              <a:gd name="connsiteY196" fmla="*/ 6479388 h 6479439"/>
              <a:gd name="connsiteX197" fmla="*/ 5264784 w 9586368"/>
              <a:gd name="connsiteY197" fmla="*/ 6479388 h 6479439"/>
              <a:gd name="connsiteX198" fmla="*/ 5260765 w 9586368"/>
              <a:gd name="connsiteY198" fmla="*/ 6475349 h 6479439"/>
              <a:gd name="connsiteX199" fmla="*/ 5260765 w 9586368"/>
              <a:gd name="connsiteY199" fmla="*/ 6465478 h 6479439"/>
              <a:gd name="connsiteX200" fmla="*/ 5025470 w 9586368"/>
              <a:gd name="connsiteY200" fmla="*/ 6461440 h 6479439"/>
              <a:gd name="connsiteX201" fmla="*/ 5035381 w 9586368"/>
              <a:gd name="connsiteY201" fmla="*/ 6461440 h 6479439"/>
              <a:gd name="connsiteX202" fmla="*/ 5039400 w 9586368"/>
              <a:gd name="connsiteY202" fmla="*/ 6465478 h 6479439"/>
              <a:gd name="connsiteX203" fmla="*/ 5039400 w 9586368"/>
              <a:gd name="connsiteY203" fmla="*/ 6475349 h 6479439"/>
              <a:gd name="connsiteX204" fmla="*/ 5035381 w 9586368"/>
              <a:gd name="connsiteY204" fmla="*/ 6479388 h 6479439"/>
              <a:gd name="connsiteX205" fmla="*/ 5025470 w 9586368"/>
              <a:gd name="connsiteY205" fmla="*/ 6479388 h 6479439"/>
              <a:gd name="connsiteX206" fmla="*/ 5021451 w 9586368"/>
              <a:gd name="connsiteY206" fmla="*/ 6475349 h 6479439"/>
              <a:gd name="connsiteX207" fmla="*/ 5021451 w 9586368"/>
              <a:gd name="connsiteY207" fmla="*/ 6465478 h 6479439"/>
              <a:gd name="connsiteX208" fmla="*/ 4786241 w 9586368"/>
              <a:gd name="connsiteY208" fmla="*/ 6461440 h 6479439"/>
              <a:gd name="connsiteX209" fmla="*/ 4796152 w 9586368"/>
              <a:gd name="connsiteY209" fmla="*/ 6461440 h 6479439"/>
              <a:gd name="connsiteX210" fmla="*/ 4800171 w 9586368"/>
              <a:gd name="connsiteY210" fmla="*/ 6465478 h 6479439"/>
              <a:gd name="connsiteX211" fmla="*/ 4800171 w 9586368"/>
              <a:gd name="connsiteY211" fmla="*/ 6475349 h 6479439"/>
              <a:gd name="connsiteX212" fmla="*/ 4796152 w 9586368"/>
              <a:gd name="connsiteY212" fmla="*/ 6479388 h 6479439"/>
              <a:gd name="connsiteX213" fmla="*/ 4786241 w 9586368"/>
              <a:gd name="connsiteY213" fmla="*/ 6479388 h 6479439"/>
              <a:gd name="connsiteX214" fmla="*/ 4782224 w 9586368"/>
              <a:gd name="connsiteY214" fmla="*/ 6475349 h 6479439"/>
              <a:gd name="connsiteX215" fmla="*/ 4782224 w 9586368"/>
              <a:gd name="connsiteY215" fmla="*/ 6465478 h 6479439"/>
              <a:gd name="connsiteX216" fmla="*/ 4546929 w 9586368"/>
              <a:gd name="connsiteY216" fmla="*/ 6461440 h 6479439"/>
              <a:gd name="connsiteX217" fmla="*/ 4556840 w 9586368"/>
              <a:gd name="connsiteY217" fmla="*/ 6461440 h 6479439"/>
              <a:gd name="connsiteX218" fmla="*/ 4560859 w 9586368"/>
              <a:gd name="connsiteY218" fmla="*/ 6465478 h 6479439"/>
              <a:gd name="connsiteX219" fmla="*/ 4560859 w 9586368"/>
              <a:gd name="connsiteY219" fmla="*/ 6475349 h 6479439"/>
              <a:gd name="connsiteX220" fmla="*/ 4556840 w 9586368"/>
              <a:gd name="connsiteY220" fmla="*/ 6479388 h 6479439"/>
              <a:gd name="connsiteX221" fmla="*/ 4546929 w 9586368"/>
              <a:gd name="connsiteY221" fmla="*/ 6479388 h 6479439"/>
              <a:gd name="connsiteX222" fmla="*/ 4542910 w 9586368"/>
              <a:gd name="connsiteY222" fmla="*/ 6475349 h 6479439"/>
              <a:gd name="connsiteX223" fmla="*/ 4542910 w 9586368"/>
              <a:gd name="connsiteY223" fmla="*/ 6465478 h 6479439"/>
              <a:gd name="connsiteX224" fmla="*/ 4307612 w 9586368"/>
              <a:gd name="connsiteY224" fmla="*/ 6461440 h 6479439"/>
              <a:gd name="connsiteX225" fmla="*/ 4317523 w 9586368"/>
              <a:gd name="connsiteY225" fmla="*/ 6461440 h 6479439"/>
              <a:gd name="connsiteX226" fmla="*/ 4321543 w 9586368"/>
              <a:gd name="connsiteY226" fmla="*/ 6465478 h 6479439"/>
              <a:gd name="connsiteX227" fmla="*/ 4321543 w 9586368"/>
              <a:gd name="connsiteY227" fmla="*/ 6475349 h 6479439"/>
              <a:gd name="connsiteX228" fmla="*/ 4317523 w 9586368"/>
              <a:gd name="connsiteY228" fmla="*/ 6479388 h 6479439"/>
              <a:gd name="connsiteX229" fmla="*/ 4307612 w 9586368"/>
              <a:gd name="connsiteY229" fmla="*/ 6479388 h 6479439"/>
              <a:gd name="connsiteX230" fmla="*/ 4303595 w 9586368"/>
              <a:gd name="connsiteY230" fmla="*/ 6475349 h 6479439"/>
              <a:gd name="connsiteX231" fmla="*/ 4303595 w 9586368"/>
              <a:gd name="connsiteY231" fmla="*/ 6465478 h 6479439"/>
              <a:gd name="connsiteX232" fmla="*/ 4068297 w 9586368"/>
              <a:gd name="connsiteY232" fmla="*/ 6461440 h 6479439"/>
              <a:gd name="connsiteX233" fmla="*/ 4078210 w 9586368"/>
              <a:gd name="connsiteY233" fmla="*/ 6461440 h 6479439"/>
              <a:gd name="connsiteX234" fmla="*/ 4082229 w 9586368"/>
              <a:gd name="connsiteY234" fmla="*/ 6465478 h 6479439"/>
              <a:gd name="connsiteX235" fmla="*/ 4082229 w 9586368"/>
              <a:gd name="connsiteY235" fmla="*/ 6475349 h 6479439"/>
              <a:gd name="connsiteX236" fmla="*/ 4078210 w 9586368"/>
              <a:gd name="connsiteY236" fmla="*/ 6479388 h 6479439"/>
              <a:gd name="connsiteX237" fmla="*/ 4068297 w 9586368"/>
              <a:gd name="connsiteY237" fmla="*/ 6479388 h 6479439"/>
              <a:gd name="connsiteX238" fmla="*/ 4064278 w 9586368"/>
              <a:gd name="connsiteY238" fmla="*/ 6475349 h 6479439"/>
              <a:gd name="connsiteX239" fmla="*/ 4064278 w 9586368"/>
              <a:gd name="connsiteY239" fmla="*/ 6465478 h 6479439"/>
              <a:gd name="connsiteX240" fmla="*/ 3828990 w 9586368"/>
              <a:gd name="connsiteY240" fmla="*/ 6461440 h 6479439"/>
              <a:gd name="connsiteX241" fmla="*/ 3838899 w 9586368"/>
              <a:gd name="connsiteY241" fmla="*/ 6461440 h 6479439"/>
              <a:gd name="connsiteX242" fmla="*/ 3842917 w 9586368"/>
              <a:gd name="connsiteY242" fmla="*/ 6465478 h 6479439"/>
              <a:gd name="connsiteX243" fmla="*/ 3842917 w 9586368"/>
              <a:gd name="connsiteY243" fmla="*/ 6475349 h 6479439"/>
              <a:gd name="connsiteX244" fmla="*/ 3838899 w 9586368"/>
              <a:gd name="connsiteY244" fmla="*/ 6479388 h 6479439"/>
              <a:gd name="connsiteX245" fmla="*/ 3828990 w 9586368"/>
              <a:gd name="connsiteY245" fmla="*/ 6479388 h 6479439"/>
              <a:gd name="connsiteX246" fmla="*/ 3824971 w 9586368"/>
              <a:gd name="connsiteY246" fmla="*/ 6475349 h 6479439"/>
              <a:gd name="connsiteX247" fmla="*/ 3824971 w 9586368"/>
              <a:gd name="connsiteY247" fmla="*/ 6465478 h 6479439"/>
              <a:gd name="connsiteX248" fmla="*/ 3589676 w 9586368"/>
              <a:gd name="connsiteY248" fmla="*/ 6461440 h 6479439"/>
              <a:gd name="connsiteX249" fmla="*/ 3599585 w 9586368"/>
              <a:gd name="connsiteY249" fmla="*/ 6461440 h 6479439"/>
              <a:gd name="connsiteX250" fmla="*/ 3603604 w 9586368"/>
              <a:gd name="connsiteY250" fmla="*/ 6465478 h 6479439"/>
              <a:gd name="connsiteX251" fmla="*/ 3603604 w 9586368"/>
              <a:gd name="connsiteY251" fmla="*/ 6475349 h 6479439"/>
              <a:gd name="connsiteX252" fmla="*/ 3599585 w 9586368"/>
              <a:gd name="connsiteY252" fmla="*/ 6479388 h 6479439"/>
              <a:gd name="connsiteX253" fmla="*/ 3589676 w 9586368"/>
              <a:gd name="connsiteY253" fmla="*/ 6479388 h 6479439"/>
              <a:gd name="connsiteX254" fmla="*/ 3585657 w 9586368"/>
              <a:gd name="connsiteY254" fmla="*/ 6475349 h 6479439"/>
              <a:gd name="connsiteX255" fmla="*/ 3585657 w 9586368"/>
              <a:gd name="connsiteY255" fmla="*/ 6465478 h 6479439"/>
              <a:gd name="connsiteX256" fmla="*/ 3350359 w 9586368"/>
              <a:gd name="connsiteY256" fmla="*/ 6461440 h 6479439"/>
              <a:gd name="connsiteX257" fmla="*/ 3360268 w 9586368"/>
              <a:gd name="connsiteY257" fmla="*/ 6461440 h 6479439"/>
              <a:gd name="connsiteX258" fmla="*/ 3364287 w 9586368"/>
              <a:gd name="connsiteY258" fmla="*/ 6465478 h 6479439"/>
              <a:gd name="connsiteX259" fmla="*/ 3364287 w 9586368"/>
              <a:gd name="connsiteY259" fmla="*/ 6475349 h 6479439"/>
              <a:gd name="connsiteX260" fmla="*/ 3360268 w 9586368"/>
              <a:gd name="connsiteY260" fmla="*/ 6479388 h 6479439"/>
              <a:gd name="connsiteX261" fmla="*/ 3350359 w 9586368"/>
              <a:gd name="connsiteY261" fmla="*/ 6479388 h 6479439"/>
              <a:gd name="connsiteX262" fmla="*/ 3346340 w 9586368"/>
              <a:gd name="connsiteY262" fmla="*/ 6475349 h 6479439"/>
              <a:gd name="connsiteX263" fmla="*/ 3346340 w 9586368"/>
              <a:gd name="connsiteY263" fmla="*/ 6465478 h 6479439"/>
              <a:gd name="connsiteX264" fmla="*/ 3111048 w 9586368"/>
              <a:gd name="connsiteY264" fmla="*/ 6461440 h 6479439"/>
              <a:gd name="connsiteX265" fmla="*/ 3120959 w 9586368"/>
              <a:gd name="connsiteY265" fmla="*/ 6461440 h 6479439"/>
              <a:gd name="connsiteX266" fmla="*/ 3124977 w 9586368"/>
              <a:gd name="connsiteY266" fmla="*/ 6465478 h 6479439"/>
              <a:gd name="connsiteX267" fmla="*/ 3124977 w 9586368"/>
              <a:gd name="connsiteY267" fmla="*/ 6475349 h 6479439"/>
              <a:gd name="connsiteX268" fmla="*/ 3120959 w 9586368"/>
              <a:gd name="connsiteY268" fmla="*/ 6479388 h 6479439"/>
              <a:gd name="connsiteX269" fmla="*/ 3111048 w 9586368"/>
              <a:gd name="connsiteY269" fmla="*/ 6479388 h 6479439"/>
              <a:gd name="connsiteX270" fmla="*/ 3107029 w 9586368"/>
              <a:gd name="connsiteY270" fmla="*/ 6475349 h 6479439"/>
              <a:gd name="connsiteX271" fmla="*/ 3107029 w 9586368"/>
              <a:gd name="connsiteY271" fmla="*/ 6465478 h 6479439"/>
              <a:gd name="connsiteX272" fmla="*/ 2871737 w 9586368"/>
              <a:gd name="connsiteY272" fmla="*/ 6461440 h 6479439"/>
              <a:gd name="connsiteX273" fmla="*/ 2881646 w 9586368"/>
              <a:gd name="connsiteY273" fmla="*/ 6461440 h 6479439"/>
              <a:gd name="connsiteX274" fmla="*/ 2885666 w 9586368"/>
              <a:gd name="connsiteY274" fmla="*/ 6465478 h 6479439"/>
              <a:gd name="connsiteX275" fmla="*/ 2885666 w 9586368"/>
              <a:gd name="connsiteY275" fmla="*/ 6475349 h 6479439"/>
              <a:gd name="connsiteX276" fmla="*/ 2881646 w 9586368"/>
              <a:gd name="connsiteY276" fmla="*/ 6479388 h 6479439"/>
              <a:gd name="connsiteX277" fmla="*/ 2871737 w 9586368"/>
              <a:gd name="connsiteY277" fmla="*/ 6479388 h 6479439"/>
              <a:gd name="connsiteX278" fmla="*/ 2867717 w 9586368"/>
              <a:gd name="connsiteY278" fmla="*/ 6475349 h 6479439"/>
              <a:gd name="connsiteX279" fmla="*/ 2867717 w 9586368"/>
              <a:gd name="connsiteY279" fmla="*/ 6465478 h 6479439"/>
              <a:gd name="connsiteX280" fmla="*/ 2632423 w 9586368"/>
              <a:gd name="connsiteY280" fmla="*/ 6461440 h 6479439"/>
              <a:gd name="connsiteX281" fmla="*/ 2642334 w 9586368"/>
              <a:gd name="connsiteY281" fmla="*/ 6461440 h 6479439"/>
              <a:gd name="connsiteX282" fmla="*/ 2646352 w 9586368"/>
              <a:gd name="connsiteY282" fmla="*/ 6465478 h 6479439"/>
              <a:gd name="connsiteX283" fmla="*/ 2646352 w 9586368"/>
              <a:gd name="connsiteY283" fmla="*/ 6475349 h 6479439"/>
              <a:gd name="connsiteX284" fmla="*/ 2642334 w 9586368"/>
              <a:gd name="connsiteY284" fmla="*/ 6479388 h 6479439"/>
              <a:gd name="connsiteX285" fmla="*/ 2632423 w 9586368"/>
              <a:gd name="connsiteY285" fmla="*/ 6479388 h 6479439"/>
              <a:gd name="connsiteX286" fmla="*/ 2628404 w 9586368"/>
              <a:gd name="connsiteY286" fmla="*/ 6475349 h 6479439"/>
              <a:gd name="connsiteX287" fmla="*/ 2628404 w 9586368"/>
              <a:gd name="connsiteY287" fmla="*/ 6465478 h 6479439"/>
              <a:gd name="connsiteX288" fmla="*/ 2393104 w 9586368"/>
              <a:gd name="connsiteY288" fmla="*/ 6461440 h 6479439"/>
              <a:gd name="connsiteX289" fmla="*/ 2403015 w 9586368"/>
              <a:gd name="connsiteY289" fmla="*/ 6461440 h 6479439"/>
              <a:gd name="connsiteX290" fmla="*/ 2407034 w 9586368"/>
              <a:gd name="connsiteY290" fmla="*/ 6465478 h 6479439"/>
              <a:gd name="connsiteX291" fmla="*/ 2407034 w 9586368"/>
              <a:gd name="connsiteY291" fmla="*/ 6475349 h 6479439"/>
              <a:gd name="connsiteX292" fmla="*/ 2403015 w 9586368"/>
              <a:gd name="connsiteY292" fmla="*/ 6479388 h 6479439"/>
              <a:gd name="connsiteX293" fmla="*/ 2393104 w 9586368"/>
              <a:gd name="connsiteY293" fmla="*/ 6479388 h 6479439"/>
              <a:gd name="connsiteX294" fmla="*/ 2389087 w 9586368"/>
              <a:gd name="connsiteY294" fmla="*/ 6475349 h 6479439"/>
              <a:gd name="connsiteX295" fmla="*/ 2389087 w 9586368"/>
              <a:gd name="connsiteY295" fmla="*/ 6465478 h 6479439"/>
              <a:gd name="connsiteX296" fmla="*/ 721958 w 9586368"/>
              <a:gd name="connsiteY296" fmla="*/ 6461440 h 6479439"/>
              <a:gd name="connsiteX297" fmla="*/ 731868 w 9586368"/>
              <a:gd name="connsiteY297" fmla="*/ 6461440 h 6479439"/>
              <a:gd name="connsiteX298" fmla="*/ 735887 w 9586368"/>
              <a:gd name="connsiteY298" fmla="*/ 6465478 h 6479439"/>
              <a:gd name="connsiteX299" fmla="*/ 735887 w 9586368"/>
              <a:gd name="connsiteY299" fmla="*/ 6475349 h 6479439"/>
              <a:gd name="connsiteX300" fmla="*/ 731868 w 9586368"/>
              <a:gd name="connsiteY300" fmla="*/ 6479388 h 6479439"/>
              <a:gd name="connsiteX301" fmla="*/ 721958 w 9586368"/>
              <a:gd name="connsiteY301" fmla="*/ 6479388 h 6479439"/>
              <a:gd name="connsiteX302" fmla="*/ 717939 w 9586368"/>
              <a:gd name="connsiteY302" fmla="*/ 6475349 h 6479439"/>
              <a:gd name="connsiteX303" fmla="*/ 717939 w 9586368"/>
              <a:gd name="connsiteY303" fmla="*/ 6465478 h 6479439"/>
              <a:gd name="connsiteX304" fmla="*/ 482646 w 9586368"/>
              <a:gd name="connsiteY304" fmla="*/ 6461440 h 6479439"/>
              <a:gd name="connsiteX305" fmla="*/ 492556 w 9586368"/>
              <a:gd name="connsiteY305" fmla="*/ 6461440 h 6479439"/>
              <a:gd name="connsiteX306" fmla="*/ 496575 w 9586368"/>
              <a:gd name="connsiteY306" fmla="*/ 6465478 h 6479439"/>
              <a:gd name="connsiteX307" fmla="*/ 496575 w 9586368"/>
              <a:gd name="connsiteY307" fmla="*/ 6475349 h 6479439"/>
              <a:gd name="connsiteX308" fmla="*/ 492556 w 9586368"/>
              <a:gd name="connsiteY308" fmla="*/ 6479388 h 6479439"/>
              <a:gd name="connsiteX309" fmla="*/ 482646 w 9586368"/>
              <a:gd name="connsiteY309" fmla="*/ 6479388 h 6479439"/>
              <a:gd name="connsiteX310" fmla="*/ 478627 w 9586368"/>
              <a:gd name="connsiteY310" fmla="*/ 6475349 h 6479439"/>
              <a:gd name="connsiteX311" fmla="*/ 478627 w 9586368"/>
              <a:gd name="connsiteY311" fmla="*/ 6465478 h 6479439"/>
              <a:gd name="connsiteX312" fmla="*/ 243332 w 9586368"/>
              <a:gd name="connsiteY312" fmla="*/ 6461440 h 6479439"/>
              <a:gd name="connsiteX313" fmla="*/ 253242 w 9586368"/>
              <a:gd name="connsiteY313" fmla="*/ 6461440 h 6479439"/>
              <a:gd name="connsiteX314" fmla="*/ 257261 w 9586368"/>
              <a:gd name="connsiteY314" fmla="*/ 6465478 h 6479439"/>
              <a:gd name="connsiteX315" fmla="*/ 257261 w 9586368"/>
              <a:gd name="connsiteY315" fmla="*/ 6475349 h 6479439"/>
              <a:gd name="connsiteX316" fmla="*/ 253242 w 9586368"/>
              <a:gd name="connsiteY316" fmla="*/ 6479388 h 6479439"/>
              <a:gd name="connsiteX317" fmla="*/ 243332 w 9586368"/>
              <a:gd name="connsiteY317" fmla="*/ 6479388 h 6479439"/>
              <a:gd name="connsiteX318" fmla="*/ 239313 w 9586368"/>
              <a:gd name="connsiteY318" fmla="*/ 6475349 h 6479439"/>
              <a:gd name="connsiteX319" fmla="*/ 239313 w 9586368"/>
              <a:gd name="connsiteY319" fmla="*/ 6465478 h 6479439"/>
              <a:gd name="connsiteX320" fmla="*/ 4019 w 9586368"/>
              <a:gd name="connsiteY320" fmla="*/ 6461440 h 6479439"/>
              <a:gd name="connsiteX321" fmla="*/ 13929 w 9586368"/>
              <a:gd name="connsiteY321" fmla="*/ 6461440 h 6479439"/>
              <a:gd name="connsiteX322" fmla="*/ 17949 w 9586368"/>
              <a:gd name="connsiteY322" fmla="*/ 6465478 h 6479439"/>
              <a:gd name="connsiteX323" fmla="*/ 17949 w 9586368"/>
              <a:gd name="connsiteY323" fmla="*/ 6475349 h 6479439"/>
              <a:gd name="connsiteX324" fmla="*/ 13929 w 9586368"/>
              <a:gd name="connsiteY324" fmla="*/ 6479388 h 6479439"/>
              <a:gd name="connsiteX325" fmla="*/ 4019 w 9586368"/>
              <a:gd name="connsiteY325" fmla="*/ 6479388 h 6479439"/>
              <a:gd name="connsiteX326" fmla="*/ 0 w 9586368"/>
              <a:gd name="connsiteY326" fmla="*/ 6475349 h 6479439"/>
              <a:gd name="connsiteX327" fmla="*/ 0 w 9586368"/>
              <a:gd name="connsiteY327" fmla="*/ 6465478 h 6479439"/>
              <a:gd name="connsiteX328" fmla="*/ 9572438 w 9586368"/>
              <a:gd name="connsiteY328" fmla="*/ 6222160 h 6479439"/>
              <a:gd name="connsiteX329" fmla="*/ 9582349 w 9586368"/>
              <a:gd name="connsiteY329" fmla="*/ 6222160 h 6479439"/>
              <a:gd name="connsiteX330" fmla="*/ 9586368 w 9586368"/>
              <a:gd name="connsiteY330" fmla="*/ 6226198 h 6479439"/>
              <a:gd name="connsiteX331" fmla="*/ 9586368 w 9586368"/>
              <a:gd name="connsiteY331" fmla="*/ 6236069 h 6479439"/>
              <a:gd name="connsiteX332" fmla="*/ 9582349 w 9586368"/>
              <a:gd name="connsiteY332" fmla="*/ 6240109 h 6479439"/>
              <a:gd name="connsiteX333" fmla="*/ 9572438 w 9586368"/>
              <a:gd name="connsiteY333" fmla="*/ 6240109 h 6479439"/>
              <a:gd name="connsiteX334" fmla="*/ 9568419 w 9586368"/>
              <a:gd name="connsiteY334" fmla="*/ 6236069 h 6479439"/>
              <a:gd name="connsiteX335" fmla="*/ 9568419 w 9586368"/>
              <a:gd name="connsiteY335" fmla="*/ 6226198 h 6479439"/>
              <a:gd name="connsiteX336" fmla="*/ 9333125 w 9586368"/>
              <a:gd name="connsiteY336" fmla="*/ 6222160 h 6479439"/>
              <a:gd name="connsiteX337" fmla="*/ 9343036 w 9586368"/>
              <a:gd name="connsiteY337" fmla="*/ 6222160 h 6479439"/>
              <a:gd name="connsiteX338" fmla="*/ 9347055 w 9586368"/>
              <a:gd name="connsiteY338" fmla="*/ 6226198 h 6479439"/>
              <a:gd name="connsiteX339" fmla="*/ 9347055 w 9586368"/>
              <a:gd name="connsiteY339" fmla="*/ 6236069 h 6479439"/>
              <a:gd name="connsiteX340" fmla="*/ 9343036 w 9586368"/>
              <a:gd name="connsiteY340" fmla="*/ 6240109 h 6479439"/>
              <a:gd name="connsiteX341" fmla="*/ 9333125 w 9586368"/>
              <a:gd name="connsiteY341" fmla="*/ 6240109 h 6479439"/>
              <a:gd name="connsiteX342" fmla="*/ 9329106 w 9586368"/>
              <a:gd name="connsiteY342" fmla="*/ 6236069 h 6479439"/>
              <a:gd name="connsiteX343" fmla="*/ 9329106 w 9586368"/>
              <a:gd name="connsiteY343" fmla="*/ 6226198 h 6479439"/>
              <a:gd name="connsiteX344" fmla="*/ 9093811 w 9586368"/>
              <a:gd name="connsiteY344" fmla="*/ 6222160 h 6479439"/>
              <a:gd name="connsiteX345" fmla="*/ 9103722 w 9586368"/>
              <a:gd name="connsiteY345" fmla="*/ 6222160 h 6479439"/>
              <a:gd name="connsiteX346" fmla="*/ 9107741 w 9586368"/>
              <a:gd name="connsiteY346" fmla="*/ 6226198 h 6479439"/>
              <a:gd name="connsiteX347" fmla="*/ 9107741 w 9586368"/>
              <a:gd name="connsiteY347" fmla="*/ 6236069 h 6479439"/>
              <a:gd name="connsiteX348" fmla="*/ 9103722 w 9586368"/>
              <a:gd name="connsiteY348" fmla="*/ 6240109 h 6479439"/>
              <a:gd name="connsiteX349" fmla="*/ 9093811 w 9586368"/>
              <a:gd name="connsiteY349" fmla="*/ 6240109 h 6479439"/>
              <a:gd name="connsiteX350" fmla="*/ 9089792 w 9586368"/>
              <a:gd name="connsiteY350" fmla="*/ 6236069 h 6479439"/>
              <a:gd name="connsiteX351" fmla="*/ 9089792 w 9586368"/>
              <a:gd name="connsiteY351" fmla="*/ 6226198 h 6479439"/>
              <a:gd name="connsiteX352" fmla="*/ 8854496 w 9586368"/>
              <a:gd name="connsiteY352" fmla="*/ 6222160 h 6479439"/>
              <a:gd name="connsiteX353" fmla="*/ 8864407 w 9586368"/>
              <a:gd name="connsiteY353" fmla="*/ 6222160 h 6479439"/>
              <a:gd name="connsiteX354" fmla="*/ 8868426 w 9586368"/>
              <a:gd name="connsiteY354" fmla="*/ 6226198 h 6479439"/>
              <a:gd name="connsiteX355" fmla="*/ 8868426 w 9586368"/>
              <a:gd name="connsiteY355" fmla="*/ 6236069 h 6479439"/>
              <a:gd name="connsiteX356" fmla="*/ 8864407 w 9586368"/>
              <a:gd name="connsiteY356" fmla="*/ 6240109 h 6479439"/>
              <a:gd name="connsiteX357" fmla="*/ 8854496 w 9586368"/>
              <a:gd name="connsiteY357" fmla="*/ 6240109 h 6479439"/>
              <a:gd name="connsiteX358" fmla="*/ 8850477 w 9586368"/>
              <a:gd name="connsiteY358" fmla="*/ 6236069 h 6479439"/>
              <a:gd name="connsiteX359" fmla="*/ 8850477 w 9586368"/>
              <a:gd name="connsiteY359" fmla="*/ 6226198 h 6479439"/>
              <a:gd name="connsiteX360" fmla="*/ 8615184 w 9586368"/>
              <a:gd name="connsiteY360" fmla="*/ 6222160 h 6479439"/>
              <a:gd name="connsiteX361" fmla="*/ 8625095 w 9586368"/>
              <a:gd name="connsiteY361" fmla="*/ 6222160 h 6479439"/>
              <a:gd name="connsiteX362" fmla="*/ 8629114 w 9586368"/>
              <a:gd name="connsiteY362" fmla="*/ 6226198 h 6479439"/>
              <a:gd name="connsiteX363" fmla="*/ 8629114 w 9586368"/>
              <a:gd name="connsiteY363" fmla="*/ 6236069 h 6479439"/>
              <a:gd name="connsiteX364" fmla="*/ 8625095 w 9586368"/>
              <a:gd name="connsiteY364" fmla="*/ 6240109 h 6479439"/>
              <a:gd name="connsiteX365" fmla="*/ 8615184 w 9586368"/>
              <a:gd name="connsiteY365" fmla="*/ 6240109 h 6479439"/>
              <a:gd name="connsiteX366" fmla="*/ 8611165 w 9586368"/>
              <a:gd name="connsiteY366" fmla="*/ 6236069 h 6479439"/>
              <a:gd name="connsiteX367" fmla="*/ 8611165 w 9586368"/>
              <a:gd name="connsiteY367" fmla="*/ 6226198 h 6479439"/>
              <a:gd name="connsiteX368" fmla="*/ 8375869 w 9586368"/>
              <a:gd name="connsiteY368" fmla="*/ 6222160 h 6479439"/>
              <a:gd name="connsiteX369" fmla="*/ 8385779 w 9586368"/>
              <a:gd name="connsiteY369" fmla="*/ 6222160 h 6479439"/>
              <a:gd name="connsiteX370" fmla="*/ 8389799 w 9586368"/>
              <a:gd name="connsiteY370" fmla="*/ 6226198 h 6479439"/>
              <a:gd name="connsiteX371" fmla="*/ 8389799 w 9586368"/>
              <a:gd name="connsiteY371" fmla="*/ 6236069 h 6479439"/>
              <a:gd name="connsiteX372" fmla="*/ 8385779 w 9586368"/>
              <a:gd name="connsiteY372" fmla="*/ 6240109 h 6479439"/>
              <a:gd name="connsiteX373" fmla="*/ 8375869 w 9586368"/>
              <a:gd name="connsiteY373" fmla="*/ 6240109 h 6479439"/>
              <a:gd name="connsiteX374" fmla="*/ 8371850 w 9586368"/>
              <a:gd name="connsiteY374" fmla="*/ 6236069 h 6479439"/>
              <a:gd name="connsiteX375" fmla="*/ 8371850 w 9586368"/>
              <a:gd name="connsiteY375" fmla="*/ 6226198 h 6479439"/>
              <a:gd name="connsiteX376" fmla="*/ 8136553 w 9586368"/>
              <a:gd name="connsiteY376" fmla="*/ 6222160 h 6479439"/>
              <a:gd name="connsiteX377" fmla="*/ 8146464 w 9586368"/>
              <a:gd name="connsiteY377" fmla="*/ 6222160 h 6479439"/>
              <a:gd name="connsiteX378" fmla="*/ 8150483 w 9586368"/>
              <a:gd name="connsiteY378" fmla="*/ 6226198 h 6479439"/>
              <a:gd name="connsiteX379" fmla="*/ 8150483 w 9586368"/>
              <a:gd name="connsiteY379" fmla="*/ 6236069 h 6479439"/>
              <a:gd name="connsiteX380" fmla="*/ 8146464 w 9586368"/>
              <a:gd name="connsiteY380" fmla="*/ 6240109 h 6479439"/>
              <a:gd name="connsiteX381" fmla="*/ 8136553 w 9586368"/>
              <a:gd name="connsiteY381" fmla="*/ 6240109 h 6479439"/>
              <a:gd name="connsiteX382" fmla="*/ 8132534 w 9586368"/>
              <a:gd name="connsiteY382" fmla="*/ 6236069 h 6479439"/>
              <a:gd name="connsiteX383" fmla="*/ 8132534 w 9586368"/>
              <a:gd name="connsiteY383" fmla="*/ 6226198 h 6479439"/>
              <a:gd name="connsiteX384" fmla="*/ 7897241 w 9586368"/>
              <a:gd name="connsiteY384" fmla="*/ 6222160 h 6479439"/>
              <a:gd name="connsiteX385" fmla="*/ 7907151 w 9586368"/>
              <a:gd name="connsiteY385" fmla="*/ 6222160 h 6479439"/>
              <a:gd name="connsiteX386" fmla="*/ 7911170 w 9586368"/>
              <a:gd name="connsiteY386" fmla="*/ 6226198 h 6479439"/>
              <a:gd name="connsiteX387" fmla="*/ 7911170 w 9586368"/>
              <a:gd name="connsiteY387" fmla="*/ 6236069 h 6479439"/>
              <a:gd name="connsiteX388" fmla="*/ 7907151 w 9586368"/>
              <a:gd name="connsiteY388" fmla="*/ 6240109 h 6479439"/>
              <a:gd name="connsiteX389" fmla="*/ 7897241 w 9586368"/>
              <a:gd name="connsiteY389" fmla="*/ 6240109 h 6479439"/>
              <a:gd name="connsiteX390" fmla="*/ 7893222 w 9586368"/>
              <a:gd name="connsiteY390" fmla="*/ 6236069 h 6479439"/>
              <a:gd name="connsiteX391" fmla="*/ 7893222 w 9586368"/>
              <a:gd name="connsiteY391" fmla="*/ 6226198 h 6479439"/>
              <a:gd name="connsiteX392" fmla="*/ 7657926 w 9586368"/>
              <a:gd name="connsiteY392" fmla="*/ 6222160 h 6479439"/>
              <a:gd name="connsiteX393" fmla="*/ 7667836 w 9586368"/>
              <a:gd name="connsiteY393" fmla="*/ 6222160 h 6479439"/>
              <a:gd name="connsiteX394" fmla="*/ 7671855 w 9586368"/>
              <a:gd name="connsiteY394" fmla="*/ 6226198 h 6479439"/>
              <a:gd name="connsiteX395" fmla="*/ 7671855 w 9586368"/>
              <a:gd name="connsiteY395" fmla="*/ 6236069 h 6479439"/>
              <a:gd name="connsiteX396" fmla="*/ 7667836 w 9586368"/>
              <a:gd name="connsiteY396" fmla="*/ 6240109 h 6479439"/>
              <a:gd name="connsiteX397" fmla="*/ 7657926 w 9586368"/>
              <a:gd name="connsiteY397" fmla="*/ 6240109 h 6479439"/>
              <a:gd name="connsiteX398" fmla="*/ 7653906 w 9586368"/>
              <a:gd name="connsiteY398" fmla="*/ 6236069 h 6479439"/>
              <a:gd name="connsiteX399" fmla="*/ 7653906 w 9586368"/>
              <a:gd name="connsiteY399" fmla="*/ 6226198 h 6479439"/>
              <a:gd name="connsiteX400" fmla="*/ 7418611 w 9586368"/>
              <a:gd name="connsiteY400" fmla="*/ 6222160 h 6479439"/>
              <a:gd name="connsiteX401" fmla="*/ 7428521 w 9586368"/>
              <a:gd name="connsiteY401" fmla="*/ 6222160 h 6479439"/>
              <a:gd name="connsiteX402" fmla="*/ 7432540 w 9586368"/>
              <a:gd name="connsiteY402" fmla="*/ 6226198 h 6479439"/>
              <a:gd name="connsiteX403" fmla="*/ 7432540 w 9586368"/>
              <a:gd name="connsiteY403" fmla="*/ 6236069 h 6479439"/>
              <a:gd name="connsiteX404" fmla="*/ 7428521 w 9586368"/>
              <a:gd name="connsiteY404" fmla="*/ 6240109 h 6479439"/>
              <a:gd name="connsiteX405" fmla="*/ 7418611 w 9586368"/>
              <a:gd name="connsiteY405" fmla="*/ 6240109 h 6479439"/>
              <a:gd name="connsiteX406" fmla="*/ 7414592 w 9586368"/>
              <a:gd name="connsiteY406" fmla="*/ 6236069 h 6479439"/>
              <a:gd name="connsiteX407" fmla="*/ 7414592 w 9586368"/>
              <a:gd name="connsiteY407" fmla="*/ 6226198 h 6479439"/>
              <a:gd name="connsiteX408" fmla="*/ 7179298 w 9586368"/>
              <a:gd name="connsiteY408" fmla="*/ 6222160 h 6479439"/>
              <a:gd name="connsiteX409" fmla="*/ 7189209 w 9586368"/>
              <a:gd name="connsiteY409" fmla="*/ 6222160 h 6479439"/>
              <a:gd name="connsiteX410" fmla="*/ 7193228 w 9586368"/>
              <a:gd name="connsiteY410" fmla="*/ 6226198 h 6479439"/>
              <a:gd name="connsiteX411" fmla="*/ 7193228 w 9586368"/>
              <a:gd name="connsiteY411" fmla="*/ 6236069 h 6479439"/>
              <a:gd name="connsiteX412" fmla="*/ 7189209 w 9586368"/>
              <a:gd name="connsiteY412" fmla="*/ 6240109 h 6479439"/>
              <a:gd name="connsiteX413" fmla="*/ 7179298 w 9586368"/>
              <a:gd name="connsiteY413" fmla="*/ 6240109 h 6479439"/>
              <a:gd name="connsiteX414" fmla="*/ 7175279 w 9586368"/>
              <a:gd name="connsiteY414" fmla="*/ 6236069 h 6479439"/>
              <a:gd name="connsiteX415" fmla="*/ 7175279 w 9586368"/>
              <a:gd name="connsiteY415" fmla="*/ 6226198 h 6479439"/>
              <a:gd name="connsiteX416" fmla="*/ 6939983 w 9586368"/>
              <a:gd name="connsiteY416" fmla="*/ 6222160 h 6479439"/>
              <a:gd name="connsiteX417" fmla="*/ 6949894 w 9586368"/>
              <a:gd name="connsiteY417" fmla="*/ 6222160 h 6479439"/>
              <a:gd name="connsiteX418" fmla="*/ 6953913 w 9586368"/>
              <a:gd name="connsiteY418" fmla="*/ 6226198 h 6479439"/>
              <a:gd name="connsiteX419" fmla="*/ 6953913 w 9586368"/>
              <a:gd name="connsiteY419" fmla="*/ 6236069 h 6479439"/>
              <a:gd name="connsiteX420" fmla="*/ 6949894 w 9586368"/>
              <a:gd name="connsiteY420" fmla="*/ 6240109 h 6479439"/>
              <a:gd name="connsiteX421" fmla="*/ 6939983 w 9586368"/>
              <a:gd name="connsiteY421" fmla="*/ 6240109 h 6479439"/>
              <a:gd name="connsiteX422" fmla="*/ 6935964 w 9586368"/>
              <a:gd name="connsiteY422" fmla="*/ 6236069 h 6479439"/>
              <a:gd name="connsiteX423" fmla="*/ 6935964 w 9586368"/>
              <a:gd name="connsiteY423" fmla="*/ 6226198 h 6479439"/>
              <a:gd name="connsiteX424" fmla="*/ 6700670 w 9586368"/>
              <a:gd name="connsiteY424" fmla="*/ 6222160 h 6479439"/>
              <a:gd name="connsiteX425" fmla="*/ 6710581 w 9586368"/>
              <a:gd name="connsiteY425" fmla="*/ 6222160 h 6479439"/>
              <a:gd name="connsiteX426" fmla="*/ 6714600 w 9586368"/>
              <a:gd name="connsiteY426" fmla="*/ 6226198 h 6479439"/>
              <a:gd name="connsiteX427" fmla="*/ 6714600 w 9586368"/>
              <a:gd name="connsiteY427" fmla="*/ 6236069 h 6479439"/>
              <a:gd name="connsiteX428" fmla="*/ 6710581 w 9586368"/>
              <a:gd name="connsiteY428" fmla="*/ 6240109 h 6479439"/>
              <a:gd name="connsiteX429" fmla="*/ 6700670 w 9586368"/>
              <a:gd name="connsiteY429" fmla="*/ 6240109 h 6479439"/>
              <a:gd name="connsiteX430" fmla="*/ 6696651 w 9586368"/>
              <a:gd name="connsiteY430" fmla="*/ 6236069 h 6479439"/>
              <a:gd name="connsiteX431" fmla="*/ 6696651 w 9586368"/>
              <a:gd name="connsiteY431" fmla="*/ 6226198 h 6479439"/>
              <a:gd name="connsiteX432" fmla="*/ 6461356 w 9586368"/>
              <a:gd name="connsiteY432" fmla="*/ 6222160 h 6479439"/>
              <a:gd name="connsiteX433" fmla="*/ 6471266 w 9586368"/>
              <a:gd name="connsiteY433" fmla="*/ 6222160 h 6479439"/>
              <a:gd name="connsiteX434" fmla="*/ 6475285 w 9586368"/>
              <a:gd name="connsiteY434" fmla="*/ 6226198 h 6479439"/>
              <a:gd name="connsiteX435" fmla="*/ 6475285 w 9586368"/>
              <a:gd name="connsiteY435" fmla="*/ 6236069 h 6479439"/>
              <a:gd name="connsiteX436" fmla="*/ 6471266 w 9586368"/>
              <a:gd name="connsiteY436" fmla="*/ 6240109 h 6479439"/>
              <a:gd name="connsiteX437" fmla="*/ 6461356 w 9586368"/>
              <a:gd name="connsiteY437" fmla="*/ 6240109 h 6479439"/>
              <a:gd name="connsiteX438" fmla="*/ 6457337 w 9586368"/>
              <a:gd name="connsiteY438" fmla="*/ 6236069 h 6479439"/>
              <a:gd name="connsiteX439" fmla="*/ 6457337 w 9586368"/>
              <a:gd name="connsiteY439" fmla="*/ 6226198 h 6479439"/>
              <a:gd name="connsiteX440" fmla="*/ 6222042 w 9586368"/>
              <a:gd name="connsiteY440" fmla="*/ 6222160 h 6479439"/>
              <a:gd name="connsiteX441" fmla="*/ 6231952 w 9586368"/>
              <a:gd name="connsiteY441" fmla="*/ 6222160 h 6479439"/>
              <a:gd name="connsiteX442" fmla="*/ 6235971 w 9586368"/>
              <a:gd name="connsiteY442" fmla="*/ 6226198 h 6479439"/>
              <a:gd name="connsiteX443" fmla="*/ 6235971 w 9586368"/>
              <a:gd name="connsiteY443" fmla="*/ 6236069 h 6479439"/>
              <a:gd name="connsiteX444" fmla="*/ 6231952 w 9586368"/>
              <a:gd name="connsiteY444" fmla="*/ 6240109 h 6479439"/>
              <a:gd name="connsiteX445" fmla="*/ 6222042 w 9586368"/>
              <a:gd name="connsiteY445" fmla="*/ 6240109 h 6479439"/>
              <a:gd name="connsiteX446" fmla="*/ 6218023 w 9586368"/>
              <a:gd name="connsiteY446" fmla="*/ 6236069 h 6479439"/>
              <a:gd name="connsiteX447" fmla="*/ 6218023 w 9586368"/>
              <a:gd name="connsiteY447" fmla="*/ 6226198 h 6479439"/>
              <a:gd name="connsiteX448" fmla="*/ 5982729 w 9586368"/>
              <a:gd name="connsiteY448" fmla="*/ 6222160 h 6479439"/>
              <a:gd name="connsiteX449" fmla="*/ 5992639 w 9586368"/>
              <a:gd name="connsiteY449" fmla="*/ 6222160 h 6479439"/>
              <a:gd name="connsiteX450" fmla="*/ 5996658 w 9586368"/>
              <a:gd name="connsiteY450" fmla="*/ 6226198 h 6479439"/>
              <a:gd name="connsiteX451" fmla="*/ 5996658 w 9586368"/>
              <a:gd name="connsiteY451" fmla="*/ 6236069 h 6479439"/>
              <a:gd name="connsiteX452" fmla="*/ 5992639 w 9586368"/>
              <a:gd name="connsiteY452" fmla="*/ 6240109 h 6479439"/>
              <a:gd name="connsiteX453" fmla="*/ 5982729 w 9586368"/>
              <a:gd name="connsiteY453" fmla="*/ 6240109 h 6479439"/>
              <a:gd name="connsiteX454" fmla="*/ 5978710 w 9586368"/>
              <a:gd name="connsiteY454" fmla="*/ 6236069 h 6479439"/>
              <a:gd name="connsiteX455" fmla="*/ 5978710 w 9586368"/>
              <a:gd name="connsiteY455" fmla="*/ 6226198 h 6479439"/>
              <a:gd name="connsiteX456" fmla="*/ 5743412 w 9586368"/>
              <a:gd name="connsiteY456" fmla="*/ 6222160 h 6479439"/>
              <a:gd name="connsiteX457" fmla="*/ 5753323 w 9586368"/>
              <a:gd name="connsiteY457" fmla="*/ 6222160 h 6479439"/>
              <a:gd name="connsiteX458" fmla="*/ 5757342 w 9586368"/>
              <a:gd name="connsiteY458" fmla="*/ 6226198 h 6479439"/>
              <a:gd name="connsiteX459" fmla="*/ 5757342 w 9586368"/>
              <a:gd name="connsiteY459" fmla="*/ 6236069 h 6479439"/>
              <a:gd name="connsiteX460" fmla="*/ 5753323 w 9586368"/>
              <a:gd name="connsiteY460" fmla="*/ 6240109 h 6479439"/>
              <a:gd name="connsiteX461" fmla="*/ 5743412 w 9586368"/>
              <a:gd name="connsiteY461" fmla="*/ 6240109 h 6479439"/>
              <a:gd name="connsiteX462" fmla="*/ 5739393 w 9586368"/>
              <a:gd name="connsiteY462" fmla="*/ 6236069 h 6479439"/>
              <a:gd name="connsiteX463" fmla="*/ 5739393 w 9586368"/>
              <a:gd name="connsiteY463" fmla="*/ 6226198 h 6479439"/>
              <a:gd name="connsiteX464" fmla="*/ 5504099 w 9586368"/>
              <a:gd name="connsiteY464" fmla="*/ 6222160 h 6479439"/>
              <a:gd name="connsiteX465" fmla="*/ 5514010 w 9586368"/>
              <a:gd name="connsiteY465" fmla="*/ 6222160 h 6479439"/>
              <a:gd name="connsiteX466" fmla="*/ 5518029 w 9586368"/>
              <a:gd name="connsiteY466" fmla="*/ 6226198 h 6479439"/>
              <a:gd name="connsiteX467" fmla="*/ 5518029 w 9586368"/>
              <a:gd name="connsiteY467" fmla="*/ 6236069 h 6479439"/>
              <a:gd name="connsiteX468" fmla="*/ 5514010 w 9586368"/>
              <a:gd name="connsiteY468" fmla="*/ 6240109 h 6479439"/>
              <a:gd name="connsiteX469" fmla="*/ 5504099 w 9586368"/>
              <a:gd name="connsiteY469" fmla="*/ 6240109 h 6479439"/>
              <a:gd name="connsiteX470" fmla="*/ 5500080 w 9586368"/>
              <a:gd name="connsiteY470" fmla="*/ 6236069 h 6479439"/>
              <a:gd name="connsiteX471" fmla="*/ 5500080 w 9586368"/>
              <a:gd name="connsiteY471" fmla="*/ 6226198 h 6479439"/>
              <a:gd name="connsiteX472" fmla="*/ 5264784 w 9586368"/>
              <a:gd name="connsiteY472" fmla="*/ 6222160 h 6479439"/>
              <a:gd name="connsiteX473" fmla="*/ 5274694 w 9586368"/>
              <a:gd name="connsiteY473" fmla="*/ 6222160 h 6479439"/>
              <a:gd name="connsiteX474" fmla="*/ 5278713 w 9586368"/>
              <a:gd name="connsiteY474" fmla="*/ 6226198 h 6479439"/>
              <a:gd name="connsiteX475" fmla="*/ 5278713 w 9586368"/>
              <a:gd name="connsiteY475" fmla="*/ 6236069 h 6479439"/>
              <a:gd name="connsiteX476" fmla="*/ 5274694 w 9586368"/>
              <a:gd name="connsiteY476" fmla="*/ 6240109 h 6479439"/>
              <a:gd name="connsiteX477" fmla="*/ 5264784 w 9586368"/>
              <a:gd name="connsiteY477" fmla="*/ 6240109 h 6479439"/>
              <a:gd name="connsiteX478" fmla="*/ 5260765 w 9586368"/>
              <a:gd name="connsiteY478" fmla="*/ 6236069 h 6479439"/>
              <a:gd name="connsiteX479" fmla="*/ 5260765 w 9586368"/>
              <a:gd name="connsiteY479" fmla="*/ 6226198 h 6479439"/>
              <a:gd name="connsiteX480" fmla="*/ 5025470 w 9586368"/>
              <a:gd name="connsiteY480" fmla="*/ 6222160 h 6479439"/>
              <a:gd name="connsiteX481" fmla="*/ 5035381 w 9586368"/>
              <a:gd name="connsiteY481" fmla="*/ 6222160 h 6479439"/>
              <a:gd name="connsiteX482" fmla="*/ 5039400 w 9586368"/>
              <a:gd name="connsiteY482" fmla="*/ 6226198 h 6479439"/>
              <a:gd name="connsiteX483" fmla="*/ 5039400 w 9586368"/>
              <a:gd name="connsiteY483" fmla="*/ 6236069 h 6479439"/>
              <a:gd name="connsiteX484" fmla="*/ 5035381 w 9586368"/>
              <a:gd name="connsiteY484" fmla="*/ 6240109 h 6479439"/>
              <a:gd name="connsiteX485" fmla="*/ 5025470 w 9586368"/>
              <a:gd name="connsiteY485" fmla="*/ 6240109 h 6479439"/>
              <a:gd name="connsiteX486" fmla="*/ 5021451 w 9586368"/>
              <a:gd name="connsiteY486" fmla="*/ 6236069 h 6479439"/>
              <a:gd name="connsiteX487" fmla="*/ 5021451 w 9586368"/>
              <a:gd name="connsiteY487" fmla="*/ 6226198 h 6479439"/>
              <a:gd name="connsiteX488" fmla="*/ 4786241 w 9586368"/>
              <a:gd name="connsiteY488" fmla="*/ 6222160 h 6479439"/>
              <a:gd name="connsiteX489" fmla="*/ 4796152 w 9586368"/>
              <a:gd name="connsiteY489" fmla="*/ 6222160 h 6479439"/>
              <a:gd name="connsiteX490" fmla="*/ 4800171 w 9586368"/>
              <a:gd name="connsiteY490" fmla="*/ 6226198 h 6479439"/>
              <a:gd name="connsiteX491" fmla="*/ 4800171 w 9586368"/>
              <a:gd name="connsiteY491" fmla="*/ 6236069 h 6479439"/>
              <a:gd name="connsiteX492" fmla="*/ 4796152 w 9586368"/>
              <a:gd name="connsiteY492" fmla="*/ 6240109 h 6479439"/>
              <a:gd name="connsiteX493" fmla="*/ 4786241 w 9586368"/>
              <a:gd name="connsiteY493" fmla="*/ 6240109 h 6479439"/>
              <a:gd name="connsiteX494" fmla="*/ 4782224 w 9586368"/>
              <a:gd name="connsiteY494" fmla="*/ 6236069 h 6479439"/>
              <a:gd name="connsiteX495" fmla="*/ 4782224 w 9586368"/>
              <a:gd name="connsiteY495" fmla="*/ 6226198 h 6479439"/>
              <a:gd name="connsiteX496" fmla="*/ 4546929 w 9586368"/>
              <a:gd name="connsiteY496" fmla="*/ 6222160 h 6479439"/>
              <a:gd name="connsiteX497" fmla="*/ 4556840 w 9586368"/>
              <a:gd name="connsiteY497" fmla="*/ 6222160 h 6479439"/>
              <a:gd name="connsiteX498" fmla="*/ 4560859 w 9586368"/>
              <a:gd name="connsiteY498" fmla="*/ 6226198 h 6479439"/>
              <a:gd name="connsiteX499" fmla="*/ 4560859 w 9586368"/>
              <a:gd name="connsiteY499" fmla="*/ 6236069 h 6479439"/>
              <a:gd name="connsiteX500" fmla="*/ 4556840 w 9586368"/>
              <a:gd name="connsiteY500" fmla="*/ 6240109 h 6479439"/>
              <a:gd name="connsiteX501" fmla="*/ 4546929 w 9586368"/>
              <a:gd name="connsiteY501" fmla="*/ 6240109 h 6479439"/>
              <a:gd name="connsiteX502" fmla="*/ 4542910 w 9586368"/>
              <a:gd name="connsiteY502" fmla="*/ 6236069 h 6479439"/>
              <a:gd name="connsiteX503" fmla="*/ 4542910 w 9586368"/>
              <a:gd name="connsiteY503" fmla="*/ 6226198 h 6479439"/>
              <a:gd name="connsiteX504" fmla="*/ 4307612 w 9586368"/>
              <a:gd name="connsiteY504" fmla="*/ 6222160 h 6479439"/>
              <a:gd name="connsiteX505" fmla="*/ 4317523 w 9586368"/>
              <a:gd name="connsiteY505" fmla="*/ 6222160 h 6479439"/>
              <a:gd name="connsiteX506" fmla="*/ 4321543 w 9586368"/>
              <a:gd name="connsiteY506" fmla="*/ 6226198 h 6479439"/>
              <a:gd name="connsiteX507" fmla="*/ 4321543 w 9586368"/>
              <a:gd name="connsiteY507" fmla="*/ 6236069 h 6479439"/>
              <a:gd name="connsiteX508" fmla="*/ 4317523 w 9586368"/>
              <a:gd name="connsiteY508" fmla="*/ 6240109 h 6479439"/>
              <a:gd name="connsiteX509" fmla="*/ 4307612 w 9586368"/>
              <a:gd name="connsiteY509" fmla="*/ 6240109 h 6479439"/>
              <a:gd name="connsiteX510" fmla="*/ 4303595 w 9586368"/>
              <a:gd name="connsiteY510" fmla="*/ 6236069 h 6479439"/>
              <a:gd name="connsiteX511" fmla="*/ 4303595 w 9586368"/>
              <a:gd name="connsiteY511" fmla="*/ 6226198 h 6479439"/>
              <a:gd name="connsiteX512" fmla="*/ 4068297 w 9586368"/>
              <a:gd name="connsiteY512" fmla="*/ 6222160 h 6479439"/>
              <a:gd name="connsiteX513" fmla="*/ 4078210 w 9586368"/>
              <a:gd name="connsiteY513" fmla="*/ 6222160 h 6479439"/>
              <a:gd name="connsiteX514" fmla="*/ 4082229 w 9586368"/>
              <a:gd name="connsiteY514" fmla="*/ 6226198 h 6479439"/>
              <a:gd name="connsiteX515" fmla="*/ 4082229 w 9586368"/>
              <a:gd name="connsiteY515" fmla="*/ 6236069 h 6479439"/>
              <a:gd name="connsiteX516" fmla="*/ 4078210 w 9586368"/>
              <a:gd name="connsiteY516" fmla="*/ 6240109 h 6479439"/>
              <a:gd name="connsiteX517" fmla="*/ 4068297 w 9586368"/>
              <a:gd name="connsiteY517" fmla="*/ 6240109 h 6479439"/>
              <a:gd name="connsiteX518" fmla="*/ 4064278 w 9586368"/>
              <a:gd name="connsiteY518" fmla="*/ 6236069 h 6479439"/>
              <a:gd name="connsiteX519" fmla="*/ 4064278 w 9586368"/>
              <a:gd name="connsiteY519" fmla="*/ 6226198 h 6479439"/>
              <a:gd name="connsiteX520" fmla="*/ 3828990 w 9586368"/>
              <a:gd name="connsiteY520" fmla="*/ 6222160 h 6479439"/>
              <a:gd name="connsiteX521" fmla="*/ 3838899 w 9586368"/>
              <a:gd name="connsiteY521" fmla="*/ 6222160 h 6479439"/>
              <a:gd name="connsiteX522" fmla="*/ 3842917 w 9586368"/>
              <a:gd name="connsiteY522" fmla="*/ 6226198 h 6479439"/>
              <a:gd name="connsiteX523" fmla="*/ 3842917 w 9586368"/>
              <a:gd name="connsiteY523" fmla="*/ 6236069 h 6479439"/>
              <a:gd name="connsiteX524" fmla="*/ 3838899 w 9586368"/>
              <a:gd name="connsiteY524" fmla="*/ 6240109 h 6479439"/>
              <a:gd name="connsiteX525" fmla="*/ 3828990 w 9586368"/>
              <a:gd name="connsiteY525" fmla="*/ 6240109 h 6479439"/>
              <a:gd name="connsiteX526" fmla="*/ 3824971 w 9586368"/>
              <a:gd name="connsiteY526" fmla="*/ 6236069 h 6479439"/>
              <a:gd name="connsiteX527" fmla="*/ 3824971 w 9586368"/>
              <a:gd name="connsiteY527" fmla="*/ 6226198 h 6479439"/>
              <a:gd name="connsiteX528" fmla="*/ 3589676 w 9586368"/>
              <a:gd name="connsiteY528" fmla="*/ 6222160 h 6479439"/>
              <a:gd name="connsiteX529" fmla="*/ 3599585 w 9586368"/>
              <a:gd name="connsiteY529" fmla="*/ 6222160 h 6479439"/>
              <a:gd name="connsiteX530" fmla="*/ 3603604 w 9586368"/>
              <a:gd name="connsiteY530" fmla="*/ 6226198 h 6479439"/>
              <a:gd name="connsiteX531" fmla="*/ 3603604 w 9586368"/>
              <a:gd name="connsiteY531" fmla="*/ 6236069 h 6479439"/>
              <a:gd name="connsiteX532" fmla="*/ 3599585 w 9586368"/>
              <a:gd name="connsiteY532" fmla="*/ 6240109 h 6479439"/>
              <a:gd name="connsiteX533" fmla="*/ 3589676 w 9586368"/>
              <a:gd name="connsiteY533" fmla="*/ 6240109 h 6479439"/>
              <a:gd name="connsiteX534" fmla="*/ 3585657 w 9586368"/>
              <a:gd name="connsiteY534" fmla="*/ 6236069 h 6479439"/>
              <a:gd name="connsiteX535" fmla="*/ 3585657 w 9586368"/>
              <a:gd name="connsiteY535" fmla="*/ 6226198 h 6479439"/>
              <a:gd name="connsiteX536" fmla="*/ 3350359 w 9586368"/>
              <a:gd name="connsiteY536" fmla="*/ 6222160 h 6479439"/>
              <a:gd name="connsiteX537" fmla="*/ 3360268 w 9586368"/>
              <a:gd name="connsiteY537" fmla="*/ 6222160 h 6479439"/>
              <a:gd name="connsiteX538" fmla="*/ 3364287 w 9586368"/>
              <a:gd name="connsiteY538" fmla="*/ 6226198 h 6479439"/>
              <a:gd name="connsiteX539" fmla="*/ 3364287 w 9586368"/>
              <a:gd name="connsiteY539" fmla="*/ 6236069 h 6479439"/>
              <a:gd name="connsiteX540" fmla="*/ 3360268 w 9586368"/>
              <a:gd name="connsiteY540" fmla="*/ 6240109 h 6479439"/>
              <a:gd name="connsiteX541" fmla="*/ 3350359 w 9586368"/>
              <a:gd name="connsiteY541" fmla="*/ 6240109 h 6479439"/>
              <a:gd name="connsiteX542" fmla="*/ 3346340 w 9586368"/>
              <a:gd name="connsiteY542" fmla="*/ 6236069 h 6479439"/>
              <a:gd name="connsiteX543" fmla="*/ 3346340 w 9586368"/>
              <a:gd name="connsiteY543" fmla="*/ 6226198 h 6479439"/>
              <a:gd name="connsiteX544" fmla="*/ 3111048 w 9586368"/>
              <a:gd name="connsiteY544" fmla="*/ 6222160 h 6479439"/>
              <a:gd name="connsiteX545" fmla="*/ 3120959 w 9586368"/>
              <a:gd name="connsiteY545" fmla="*/ 6222160 h 6479439"/>
              <a:gd name="connsiteX546" fmla="*/ 3124977 w 9586368"/>
              <a:gd name="connsiteY546" fmla="*/ 6226198 h 6479439"/>
              <a:gd name="connsiteX547" fmla="*/ 3124977 w 9586368"/>
              <a:gd name="connsiteY547" fmla="*/ 6236069 h 6479439"/>
              <a:gd name="connsiteX548" fmla="*/ 3120959 w 9586368"/>
              <a:gd name="connsiteY548" fmla="*/ 6240109 h 6479439"/>
              <a:gd name="connsiteX549" fmla="*/ 3111048 w 9586368"/>
              <a:gd name="connsiteY549" fmla="*/ 6240109 h 6479439"/>
              <a:gd name="connsiteX550" fmla="*/ 3107029 w 9586368"/>
              <a:gd name="connsiteY550" fmla="*/ 6236069 h 6479439"/>
              <a:gd name="connsiteX551" fmla="*/ 3107029 w 9586368"/>
              <a:gd name="connsiteY551" fmla="*/ 6226198 h 6479439"/>
              <a:gd name="connsiteX552" fmla="*/ 2871737 w 9586368"/>
              <a:gd name="connsiteY552" fmla="*/ 6222160 h 6479439"/>
              <a:gd name="connsiteX553" fmla="*/ 2881646 w 9586368"/>
              <a:gd name="connsiteY553" fmla="*/ 6222160 h 6479439"/>
              <a:gd name="connsiteX554" fmla="*/ 2885666 w 9586368"/>
              <a:gd name="connsiteY554" fmla="*/ 6226198 h 6479439"/>
              <a:gd name="connsiteX555" fmla="*/ 2885666 w 9586368"/>
              <a:gd name="connsiteY555" fmla="*/ 6236069 h 6479439"/>
              <a:gd name="connsiteX556" fmla="*/ 2881646 w 9586368"/>
              <a:gd name="connsiteY556" fmla="*/ 6240109 h 6479439"/>
              <a:gd name="connsiteX557" fmla="*/ 2871737 w 9586368"/>
              <a:gd name="connsiteY557" fmla="*/ 6240109 h 6479439"/>
              <a:gd name="connsiteX558" fmla="*/ 2867717 w 9586368"/>
              <a:gd name="connsiteY558" fmla="*/ 6236069 h 6479439"/>
              <a:gd name="connsiteX559" fmla="*/ 2867717 w 9586368"/>
              <a:gd name="connsiteY559" fmla="*/ 6226198 h 6479439"/>
              <a:gd name="connsiteX560" fmla="*/ 2632423 w 9586368"/>
              <a:gd name="connsiteY560" fmla="*/ 6222160 h 6479439"/>
              <a:gd name="connsiteX561" fmla="*/ 2642334 w 9586368"/>
              <a:gd name="connsiteY561" fmla="*/ 6222160 h 6479439"/>
              <a:gd name="connsiteX562" fmla="*/ 2646352 w 9586368"/>
              <a:gd name="connsiteY562" fmla="*/ 6226198 h 6479439"/>
              <a:gd name="connsiteX563" fmla="*/ 2646352 w 9586368"/>
              <a:gd name="connsiteY563" fmla="*/ 6236069 h 6479439"/>
              <a:gd name="connsiteX564" fmla="*/ 2642334 w 9586368"/>
              <a:gd name="connsiteY564" fmla="*/ 6240109 h 6479439"/>
              <a:gd name="connsiteX565" fmla="*/ 2632423 w 9586368"/>
              <a:gd name="connsiteY565" fmla="*/ 6240109 h 6479439"/>
              <a:gd name="connsiteX566" fmla="*/ 2628404 w 9586368"/>
              <a:gd name="connsiteY566" fmla="*/ 6236069 h 6479439"/>
              <a:gd name="connsiteX567" fmla="*/ 2628404 w 9586368"/>
              <a:gd name="connsiteY567" fmla="*/ 6226198 h 6479439"/>
              <a:gd name="connsiteX568" fmla="*/ 2393104 w 9586368"/>
              <a:gd name="connsiteY568" fmla="*/ 6222160 h 6479439"/>
              <a:gd name="connsiteX569" fmla="*/ 2403015 w 9586368"/>
              <a:gd name="connsiteY569" fmla="*/ 6222160 h 6479439"/>
              <a:gd name="connsiteX570" fmla="*/ 2407034 w 9586368"/>
              <a:gd name="connsiteY570" fmla="*/ 6226198 h 6479439"/>
              <a:gd name="connsiteX571" fmla="*/ 2407034 w 9586368"/>
              <a:gd name="connsiteY571" fmla="*/ 6236069 h 6479439"/>
              <a:gd name="connsiteX572" fmla="*/ 2403015 w 9586368"/>
              <a:gd name="connsiteY572" fmla="*/ 6240109 h 6479439"/>
              <a:gd name="connsiteX573" fmla="*/ 2393104 w 9586368"/>
              <a:gd name="connsiteY573" fmla="*/ 6240109 h 6479439"/>
              <a:gd name="connsiteX574" fmla="*/ 2389087 w 9586368"/>
              <a:gd name="connsiteY574" fmla="*/ 6236069 h 6479439"/>
              <a:gd name="connsiteX575" fmla="*/ 2389087 w 9586368"/>
              <a:gd name="connsiteY575" fmla="*/ 6226198 h 6479439"/>
              <a:gd name="connsiteX576" fmla="*/ 2157818 w 9586368"/>
              <a:gd name="connsiteY576" fmla="*/ 6222160 h 6479439"/>
              <a:gd name="connsiteX577" fmla="*/ 2167728 w 9586368"/>
              <a:gd name="connsiteY577" fmla="*/ 6222160 h 6479439"/>
              <a:gd name="connsiteX578" fmla="*/ 2171746 w 9586368"/>
              <a:gd name="connsiteY578" fmla="*/ 6226198 h 6479439"/>
              <a:gd name="connsiteX579" fmla="*/ 2171746 w 9586368"/>
              <a:gd name="connsiteY579" fmla="*/ 6236069 h 6479439"/>
              <a:gd name="connsiteX580" fmla="*/ 2167728 w 9586368"/>
              <a:gd name="connsiteY580" fmla="*/ 6240109 h 6479439"/>
              <a:gd name="connsiteX581" fmla="*/ 2157818 w 9586368"/>
              <a:gd name="connsiteY581" fmla="*/ 6240109 h 6479439"/>
              <a:gd name="connsiteX582" fmla="*/ 2153799 w 9586368"/>
              <a:gd name="connsiteY582" fmla="*/ 6236069 h 6479439"/>
              <a:gd name="connsiteX583" fmla="*/ 2153799 w 9586368"/>
              <a:gd name="connsiteY583" fmla="*/ 6226198 h 6479439"/>
              <a:gd name="connsiteX584" fmla="*/ 1918509 w 9586368"/>
              <a:gd name="connsiteY584" fmla="*/ 6222160 h 6479439"/>
              <a:gd name="connsiteX585" fmla="*/ 1928419 w 9586368"/>
              <a:gd name="connsiteY585" fmla="*/ 6222160 h 6479439"/>
              <a:gd name="connsiteX586" fmla="*/ 1932438 w 9586368"/>
              <a:gd name="connsiteY586" fmla="*/ 6226198 h 6479439"/>
              <a:gd name="connsiteX587" fmla="*/ 1932438 w 9586368"/>
              <a:gd name="connsiteY587" fmla="*/ 6236069 h 6479439"/>
              <a:gd name="connsiteX588" fmla="*/ 1928419 w 9586368"/>
              <a:gd name="connsiteY588" fmla="*/ 6240109 h 6479439"/>
              <a:gd name="connsiteX589" fmla="*/ 1918509 w 9586368"/>
              <a:gd name="connsiteY589" fmla="*/ 6240109 h 6479439"/>
              <a:gd name="connsiteX590" fmla="*/ 1914490 w 9586368"/>
              <a:gd name="connsiteY590" fmla="*/ 6236069 h 6479439"/>
              <a:gd name="connsiteX591" fmla="*/ 1914490 w 9586368"/>
              <a:gd name="connsiteY591" fmla="*/ 6226198 h 6479439"/>
              <a:gd name="connsiteX592" fmla="*/ 1679200 w 9586368"/>
              <a:gd name="connsiteY592" fmla="*/ 6222160 h 6479439"/>
              <a:gd name="connsiteX593" fmla="*/ 1689110 w 9586368"/>
              <a:gd name="connsiteY593" fmla="*/ 6222160 h 6479439"/>
              <a:gd name="connsiteX594" fmla="*/ 1693129 w 9586368"/>
              <a:gd name="connsiteY594" fmla="*/ 6226198 h 6479439"/>
              <a:gd name="connsiteX595" fmla="*/ 1693129 w 9586368"/>
              <a:gd name="connsiteY595" fmla="*/ 6236069 h 6479439"/>
              <a:gd name="connsiteX596" fmla="*/ 1689110 w 9586368"/>
              <a:gd name="connsiteY596" fmla="*/ 6240109 h 6479439"/>
              <a:gd name="connsiteX597" fmla="*/ 1679200 w 9586368"/>
              <a:gd name="connsiteY597" fmla="*/ 6240109 h 6479439"/>
              <a:gd name="connsiteX598" fmla="*/ 1675182 w 9586368"/>
              <a:gd name="connsiteY598" fmla="*/ 6236069 h 6479439"/>
              <a:gd name="connsiteX599" fmla="*/ 1675182 w 9586368"/>
              <a:gd name="connsiteY599" fmla="*/ 6226198 h 6479439"/>
              <a:gd name="connsiteX600" fmla="*/ 1439885 w 9586368"/>
              <a:gd name="connsiteY600" fmla="*/ 6222160 h 6479439"/>
              <a:gd name="connsiteX601" fmla="*/ 1449795 w 9586368"/>
              <a:gd name="connsiteY601" fmla="*/ 6222160 h 6479439"/>
              <a:gd name="connsiteX602" fmla="*/ 1453814 w 9586368"/>
              <a:gd name="connsiteY602" fmla="*/ 6226198 h 6479439"/>
              <a:gd name="connsiteX603" fmla="*/ 1453814 w 9586368"/>
              <a:gd name="connsiteY603" fmla="*/ 6236069 h 6479439"/>
              <a:gd name="connsiteX604" fmla="*/ 1449795 w 9586368"/>
              <a:gd name="connsiteY604" fmla="*/ 6240109 h 6479439"/>
              <a:gd name="connsiteX605" fmla="*/ 1439885 w 9586368"/>
              <a:gd name="connsiteY605" fmla="*/ 6240109 h 6479439"/>
              <a:gd name="connsiteX606" fmla="*/ 1435866 w 9586368"/>
              <a:gd name="connsiteY606" fmla="*/ 6236069 h 6479439"/>
              <a:gd name="connsiteX607" fmla="*/ 1435866 w 9586368"/>
              <a:gd name="connsiteY607" fmla="*/ 6226198 h 6479439"/>
              <a:gd name="connsiteX608" fmla="*/ 1200570 w 9586368"/>
              <a:gd name="connsiteY608" fmla="*/ 6222160 h 6479439"/>
              <a:gd name="connsiteX609" fmla="*/ 1210481 w 9586368"/>
              <a:gd name="connsiteY609" fmla="*/ 6222160 h 6479439"/>
              <a:gd name="connsiteX610" fmla="*/ 1214499 w 9586368"/>
              <a:gd name="connsiteY610" fmla="*/ 6226198 h 6479439"/>
              <a:gd name="connsiteX611" fmla="*/ 1214499 w 9586368"/>
              <a:gd name="connsiteY611" fmla="*/ 6236069 h 6479439"/>
              <a:gd name="connsiteX612" fmla="*/ 1210481 w 9586368"/>
              <a:gd name="connsiteY612" fmla="*/ 6240109 h 6479439"/>
              <a:gd name="connsiteX613" fmla="*/ 1200570 w 9586368"/>
              <a:gd name="connsiteY613" fmla="*/ 6240109 h 6479439"/>
              <a:gd name="connsiteX614" fmla="*/ 1196551 w 9586368"/>
              <a:gd name="connsiteY614" fmla="*/ 6236069 h 6479439"/>
              <a:gd name="connsiteX615" fmla="*/ 1196551 w 9586368"/>
              <a:gd name="connsiteY615" fmla="*/ 6226198 h 6479439"/>
              <a:gd name="connsiteX616" fmla="*/ 961258 w 9586368"/>
              <a:gd name="connsiteY616" fmla="*/ 6222160 h 6479439"/>
              <a:gd name="connsiteX617" fmla="*/ 971167 w 9586368"/>
              <a:gd name="connsiteY617" fmla="*/ 6222160 h 6479439"/>
              <a:gd name="connsiteX618" fmla="*/ 975186 w 9586368"/>
              <a:gd name="connsiteY618" fmla="*/ 6226198 h 6479439"/>
              <a:gd name="connsiteX619" fmla="*/ 975186 w 9586368"/>
              <a:gd name="connsiteY619" fmla="*/ 6236069 h 6479439"/>
              <a:gd name="connsiteX620" fmla="*/ 971167 w 9586368"/>
              <a:gd name="connsiteY620" fmla="*/ 6240109 h 6479439"/>
              <a:gd name="connsiteX621" fmla="*/ 961258 w 9586368"/>
              <a:gd name="connsiteY621" fmla="*/ 6240109 h 6479439"/>
              <a:gd name="connsiteX622" fmla="*/ 957239 w 9586368"/>
              <a:gd name="connsiteY622" fmla="*/ 6236069 h 6479439"/>
              <a:gd name="connsiteX623" fmla="*/ 957239 w 9586368"/>
              <a:gd name="connsiteY623" fmla="*/ 6226198 h 6479439"/>
              <a:gd name="connsiteX624" fmla="*/ 721959 w 9586368"/>
              <a:gd name="connsiteY624" fmla="*/ 6222160 h 6479439"/>
              <a:gd name="connsiteX625" fmla="*/ 731869 w 9586368"/>
              <a:gd name="connsiteY625" fmla="*/ 6222160 h 6479439"/>
              <a:gd name="connsiteX626" fmla="*/ 735888 w 9586368"/>
              <a:gd name="connsiteY626" fmla="*/ 6226198 h 6479439"/>
              <a:gd name="connsiteX627" fmla="*/ 735888 w 9586368"/>
              <a:gd name="connsiteY627" fmla="*/ 6236069 h 6479439"/>
              <a:gd name="connsiteX628" fmla="*/ 731869 w 9586368"/>
              <a:gd name="connsiteY628" fmla="*/ 6240109 h 6479439"/>
              <a:gd name="connsiteX629" fmla="*/ 721959 w 9586368"/>
              <a:gd name="connsiteY629" fmla="*/ 6240109 h 6479439"/>
              <a:gd name="connsiteX630" fmla="*/ 717940 w 9586368"/>
              <a:gd name="connsiteY630" fmla="*/ 6236069 h 6479439"/>
              <a:gd name="connsiteX631" fmla="*/ 717940 w 9586368"/>
              <a:gd name="connsiteY631" fmla="*/ 6226198 h 6479439"/>
              <a:gd name="connsiteX632" fmla="*/ 482646 w 9586368"/>
              <a:gd name="connsiteY632" fmla="*/ 6222160 h 6479439"/>
              <a:gd name="connsiteX633" fmla="*/ 492557 w 9586368"/>
              <a:gd name="connsiteY633" fmla="*/ 6222160 h 6479439"/>
              <a:gd name="connsiteX634" fmla="*/ 496576 w 9586368"/>
              <a:gd name="connsiteY634" fmla="*/ 6226198 h 6479439"/>
              <a:gd name="connsiteX635" fmla="*/ 496576 w 9586368"/>
              <a:gd name="connsiteY635" fmla="*/ 6236069 h 6479439"/>
              <a:gd name="connsiteX636" fmla="*/ 492557 w 9586368"/>
              <a:gd name="connsiteY636" fmla="*/ 6240109 h 6479439"/>
              <a:gd name="connsiteX637" fmla="*/ 482646 w 9586368"/>
              <a:gd name="connsiteY637" fmla="*/ 6240109 h 6479439"/>
              <a:gd name="connsiteX638" fmla="*/ 478627 w 9586368"/>
              <a:gd name="connsiteY638" fmla="*/ 6236069 h 6479439"/>
              <a:gd name="connsiteX639" fmla="*/ 478627 w 9586368"/>
              <a:gd name="connsiteY639" fmla="*/ 6226198 h 6479439"/>
              <a:gd name="connsiteX640" fmla="*/ 243333 w 9586368"/>
              <a:gd name="connsiteY640" fmla="*/ 6222160 h 6479439"/>
              <a:gd name="connsiteX641" fmla="*/ 253243 w 9586368"/>
              <a:gd name="connsiteY641" fmla="*/ 6222160 h 6479439"/>
              <a:gd name="connsiteX642" fmla="*/ 257263 w 9586368"/>
              <a:gd name="connsiteY642" fmla="*/ 6226198 h 6479439"/>
              <a:gd name="connsiteX643" fmla="*/ 257263 w 9586368"/>
              <a:gd name="connsiteY643" fmla="*/ 6236069 h 6479439"/>
              <a:gd name="connsiteX644" fmla="*/ 253243 w 9586368"/>
              <a:gd name="connsiteY644" fmla="*/ 6240109 h 6479439"/>
              <a:gd name="connsiteX645" fmla="*/ 243333 w 9586368"/>
              <a:gd name="connsiteY645" fmla="*/ 6240109 h 6479439"/>
              <a:gd name="connsiteX646" fmla="*/ 239314 w 9586368"/>
              <a:gd name="connsiteY646" fmla="*/ 6236069 h 6479439"/>
              <a:gd name="connsiteX647" fmla="*/ 239314 w 9586368"/>
              <a:gd name="connsiteY647" fmla="*/ 6226198 h 6479439"/>
              <a:gd name="connsiteX648" fmla="*/ 4020 w 9586368"/>
              <a:gd name="connsiteY648" fmla="*/ 6222160 h 6479439"/>
              <a:gd name="connsiteX649" fmla="*/ 13930 w 9586368"/>
              <a:gd name="connsiteY649" fmla="*/ 6222160 h 6479439"/>
              <a:gd name="connsiteX650" fmla="*/ 17949 w 9586368"/>
              <a:gd name="connsiteY650" fmla="*/ 6226198 h 6479439"/>
              <a:gd name="connsiteX651" fmla="*/ 17949 w 9586368"/>
              <a:gd name="connsiteY651" fmla="*/ 6236069 h 6479439"/>
              <a:gd name="connsiteX652" fmla="*/ 13930 w 9586368"/>
              <a:gd name="connsiteY652" fmla="*/ 6240109 h 6479439"/>
              <a:gd name="connsiteX653" fmla="*/ 4020 w 9586368"/>
              <a:gd name="connsiteY653" fmla="*/ 6240109 h 6479439"/>
              <a:gd name="connsiteX654" fmla="*/ 1 w 9586368"/>
              <a:gd name="connsiteY654" fmla="*/ 6236069 h 6479439"/>
              <a:gd name="connsiteX655" fmla="*/ 1 w 9586368"/>
              <a:gd name="connsiteY655" fmla="*/ 6226198 h 6479439"/>
              <a:gd name="connsiteX656" fmla="*/ 2157818 w 9586368"/>
              <a:gd name="connsiteY656" fmla="*/ 5982881 h 6479439"/>
              <a:gd name="connsiteX657" fmla="*/ 2167728 w 9586368"/>
              <a:gd name="connsiteY657" fmla="*/ 5982881 h 6479439"/>
              <a:gd name="connsiteX658" fmla="*/ 2171747 w 9586368"/>
              <a:gd name="connsiteY658" fmla="*/ 5986919 h 6479439"/>
              <a:gd name="connsiteX659" fmla="*/ 2171747 w 9586368"/>
              <a:gd name="connsiteY659" fmla="*/ 5996790 h 6479439"/>
              <a:gd name="connsiteX660" fmla="*/ 2167728 w 9586368"/>
              <a:gd name="connsiteY660" fmla="*/ 6000829 h 6479439"/>
              <a:gd name="connsiteX661" fmla="*/ 2157818 w 9586368"/>
              <a:gd name="connsiteY661" fmla="*/ 6000829 h 6479439"/>
              <a:gd name="connsiteX662" fmla="*/ 2153799 w 9586368"/>
              <a:gd name="connsiteY662" fmla="*/ 5996790 h 6479439"/>
              <a:gd name="connsiteX663" fmla="*/ 2153799 w 9586368"/>
              <a:gd name="connsiteY663" fmla="*/ 5986919 h 6479439"/>
              <a:gd name="connsiteX664" fmla="*/ 1918509 w 9586368"/>
              <a:gd name="connsiteY664" fmla="*/ 5982881 h 6479439"/>
              <a:gd name="connsiteX665" fmla="*/ 1928420 w 9586368"/>
              <a:gd name="connsiteY665" fmla="*/ 5982881 h 6479439"/>
              <a:gd name="connsiteX666" fmla="*/ 1932438 w 9586368"/>
              <a:gd name="connsiteY666" fmla="*/ 5986919 h 6479439"/>
              <a:gd name="connsiteX667" fmla="*/ 1932438 w 9586368"/>
              <a:gd name="connsiteY667" fmla="*/ 5996790 h 6479439"/>
              <a:gd name="connsiteX668" fmla="*/ 1928420 w 9586368"/>
              <a:gd name="connsiteY668" fmla="*/ 6000829 h 6479439"/>
              <a:gd name="connsiteX669" fmla="*/ 1918509 w 9586368"/>
              <a:gd name="connsiteY669" fmla="*/ 6000829 h 6479439"/>
              <a:gd name="connsiteX670" fmla="*/ 1914490 w 9586368"/>
              <a:gd name="connsiteY670" fmla="*/ 5996790 h 6479439"/>
              <a:gd name="connsiteX671" fmla="*/ 1914490 w 9586368"/>
              <a:gd name="connsiteY671" fmla="*/ 5986919 h 6479439"/>
              <a:gd name="connsiteX672" fmla="*/ 1679201 w 9586368"/>
              <a:gd name="connsiteY672" fmla="*/ 5982881 h 6479439"/>
              <a:gd name="connsiteX673" fmla="*/ 1689111 w 9586368"/>
              <a:gd name="connsiteY673" fmla="*/ 5982881 h 6479439"/>
              <a:gd name="connsiteX674" fmla="*/ 1693129 w 9586368"/>
              <a:gd name="connsiteY674" fmla="*/ 5986919 h 6479439"/>
              <a:gd name="connsiteX675" fmla="*/ 1693129 w 9586368"/>
              <a:gd name="connsiteY675" fmla="*/ 5996790 h 6479439"/>
              <a:gd name="connsiteX676" fmla="*/ 1689111 w 9586368"/>
              <a:gd name="connsiteY676" fmla="*/ 6000829 h 6479439"/>
              <a:gd name="connsiteX677" fmla="*/ 1679201 w 9586368"/>
              <a:gd name="connsiteY677" fmla="*/ 6000829 h 6479439"/>
              <a:gd name="connsiteX678" fmla="*/ 1675182 w 9586368"/>
              <a:gd name="connsiteY678" fmla="*/ 5996790 h 6479439"/>
              <a:gd name="connsiteX679" fmla="*/ 1675182 w 9586368"/>
              <a:gd name="connsiteY679" fmla="*/ 5986919 h 6479439"/>
              <a:gd name="connsiteX680" fmla="*/ 1439886 w 9586368"/>
              <a:gd name="connsiteY680" fmla="*/ 5982881 h 6479439"/>
              <a:gd name="connsiteX681" fmla="*/ 1449796 w 9586368"/>
              <a:gd name="connsiteY681" fmla="*/ 5982881 h 6479439"/>
              <a:gd name="connsiteX682" fmla="*/ 1453814 w 9586368"/>
              <a:gd name="connsiteY682" fmla="*/ 5986919 h 6479439"/>
              <a:gd name="connsiteX683" fmla="*/ 1453814 w 9586368"/>
              <a:gd name="connsiteY683" fmla="*/ 5996790 h 6479439"/>
              <a:gd name="connsiteX684" fmla="*/ 1449796 w 9586368"/>
              <a:gd name="connsiteY684" fmla="*/ 6000829 h 6479439"/>
              <a:gd name="connsiteX685" fmla="*/ 1439886 w 9586368"/>
              <a:gd name="connsiteY685" fmla="*/ 6000829 h 6479439"/>
              <a:gd name="connsiteX686" fmla="*/ 1435866 w 9586368"/>
              <a:gd name="connsiteY686" fmla="*/ 5996790 h 6479439"/>
              <a:gd name="connsiteX687" fmla="*/ 1435866 w 9586368"/>
              <a:gd name="connsiteY687" fmla="*/ 5986919 h 6479439"/>
              <a:gd name="connsiteX688" fmla="*/ 1200571 w 9586368"/>
              <a:gd name="connsiteY688" fmla="*/ 5982881 h 6479439"/>
              <a:gd name="connsiteX689" fmla="*/ 1210481 w 9586368"/>
              <a:gd name="connsiteY689" fmla="*/ 5982881 h 6479439"/>
              <a:gd name="connsiteX690" fmla="*/ 1214500 w 9586368"/>
              <a:gd name="connsiteY690" fmla="*/ 5986919 h 6479439"/>
              <a:gd name="connsiteX691" fmla="*/ 1214500 w 9586368"/>
              <a:gd name="connsiteY691" fmla="*/ 5996790 h 6479439"/>
              <a:gd name="connsiteX692" fmla="*/ 1210481 w 9586368"/>
              <a:gd name="connsiteY692" fmla="*/ 6000829 h 6479439"/>
              <a:gd name="connsiteX693" fmla="*/ 1200571 w 9586368"/>
              <a:gd name="connsiteY693" fmla="*/ 6000829 h 6479439"/>
              <a:gd name="connsiteX694" fmla="*/ 1196553 w 9586368"/>
              <a:gd name="connsiteY694" fmla="*/ 5996790 h 6479439"/>
              <a:gd name="connsiteX695" fmla="*/ 1196553 w 9586368"/>
              <a:gd name="connsiteY695" fmla="*/ 5986919 h 6479439"/>
              <a:gd name="connsiteX696" fmla="*/ 961258 w 9586368"/>
              <a:gd name="connsiteY696" fmla="*/ 5982881 h 6479439"/>
              <a:gd name="connsiteX697" fmla="*/ 971168 w 9586368"/>
              <a:gd name="connsiteY697" fmla="*/ 5982881 h 6479439"/>
              <a:gd name="connsiteX698" fmla="*/ 975187 w 9586368"/>
              <a:gd name="connsiteY698" fmla="*/ 5986919 h 6479439"/>
              <a:gd name="connsiteX699" fmla="*/ 975187 w 9586368"/>
              <a:gd name="connsiteY699" fmla="*/ 5996790 h 6479439"/>
              <a:gd name="connsiteX700" fmla="*/ 971168 w 9586368"/>
              <a:gd name="connsiteY700" fmla="*/ 6000829 h 6479439"/>
              <a:gd name="connsiteX701" fmla="*/ 961258 w 9586368"/>
              <a:gd name="connsiteY701" fmla="*/ 6000829 h 6479439"/>
              <a:gd name="connsiteX702" fmla="*/ 957239 w 9586368"/>
              <a:gd name="connsiteY702" fmla="*/ 5996790 h 6479439"/>
              <a:gd name="connsiteX703" fmla="*/ 957239 w 9586368"/>
              <a:gd name="connsiteY703" fmla="*/ 5986919 h 6479439"/>
              <a:gd name="connsiteX704" fmla="*/ 9572438 w 9586368"/>
              <a:gd name="connsiteY704" fmla="*/ 5982829 h 6479439"/>
              <a:gd name="connsiteX705" fmla="*/ 9582349 w 9586368"/>
              <a:gd name="connsiteY705" fmla="*/ 5982829 h 6479439"/>
              <a:gd name="connsiteX706" fmla="*/ 9586368 w 9586368"/>
              <a:gd name="connsiteY706" fmla="*/ 5986868 h 6479439"/>
              <a:gd name="connsiteX707" fmla="*/ 9586368 w 9586368"/>
              <a:gd name="connsiteY707" fmla="*/ 5996739 h 6479439"/>
              <a:gd name="connsiteX708" fmla="*/ 9582349 w 9586368"/>
              <a:gd name="connsiteY708" fmla="*/ 6000778 h 6479439"/>
              <a:gd name="connsiteX709" fmla="*/ 9572438 w 9586368"/>
              <a:gd name="connsiteY709" fmla="*/ 6000778 h 6479439"/>
              <a:gd name="connsiteX710" fmla="*/ 9568419 w 9586368"/>
              <a:gd name="connsiteY710" fmla="*/ 5996739 h 6479439"/>
              <a:gd name="connsiteX711" fmla="*/ 9568419 w 9586368"/>
              <a:gd name="connsiteY711" fmla="*/ 5986868 h 6479439"/>
              <a:gd name="connsiteX712" fmla="*/ 9333125 w 9586368"/>
              <a:gd name="connsiteY712" fmla="*/ 5982829 h 6479439"/>
              <a:gd name="connsiteX713" fmla="*/ 9343036 w 9586368"/>
              <a:gd name="connsiteY713" fmla="*/ 5982829 h 6479439"/>
              <a:gd name="connsiteX714" fmla="*/ 9347055 w 9586368"/>
              <a:gd name="connsiteY714" fmla="*/ 5986868 h 6479439"/>
              <a:gd name="connsiteX715" fmla="*/ 9347055 w 9586368"/>
              <a:gd name="connsiteY715" fmla="*/ 5996739 h 6479439"/>
              <a:gd name="connsiteX716" fmla="*/ 9343036 w 9586368"/>
              <a:gd name="connsiteY716" fmla="*/ 6000778 h 6479439"/>
              <a:gd name="connsiteX717" fmla="*/ 9333125 w 9586368"/>
              <a:gd name="connsiteY717" fmla="*/ 6000778 h 6479439"/>
              <a:gd name="connsiteX718" fmla="*/ 9329106 w 9586368"/>
              <a:gd name="connsiteY718" fmla="*/ 5996739 h 6479439"/>
              <a:gd name="connsiteX719" fmla="*/ 9329106 w 9586368"/>
              <a:gd name="connsiteY719" fmla="*/ 5986868 h 6479439"/>
              <a:gd name="connsiteX720" fmla="*/ 9093811 w 9586368"/>
              <a:gd name="connsiteY720" fmla="*/ 5982829 h 6479439"/>
              <a:gd name="connsiteX721" fmla="*/ 9103722 w 9586368"/>
              <a:gd name="connsiteY721" fmla="*/ 5982829 h 6479439"/>
              <a:gd name="connsiteX722" fmla="*/ 9107741 w 9586368"/>
              <a:gd name="connsiteY722" fmla="*/ 5986868 h 6479439"/>
              <a:gd name="connsiteX723" fmla="*/ 9107741 w 9586368"/>
              <a:gd name="connsiteY723" fmla="*/ 5996739 h 6479439"/>
              <a:gd name="connsiteX724" fmla="*/ 9103722 w 9586368"/>
              <a:gd name="connsiteY724" fmla="*/ 6000778 h 6479439"/>
              <a:gd name="connsiteX725" fmla="*/ 9093811 w 9586368"/>
              <a:gd name="connsiteY725" fmla="*/ 6000778 h 6479439"/>
              <a:gd name="connsiteX726" fmla="*/ 9089792 w 9586368"/>
              <a:gd name="connsiteY726" fmla="*/ 5996739 h 6479439"/>
              <a:gd name="connsiteX727" fmla="*/ 9089792 w 9586368"/>
              <a:gd name="connsiteY727" fmla="*/ 5986868 h 6479439"/>
              <a:gd name="connsiteX728" fmla="*/ 8854496 w 9586368"/>
              <a:gd name="connsiteY728" fmla="*/ 5982829 h 6479439"/>
              <a:gd name="connsiteX729" fmla="*/ 8864407 w 9586368"/>
              <a:gd name="connsiteY729" fmla="*/ 5982829 h 6479439"/>
              <a:gd name="connsiteX730" fmla="*/ 8868426 w 9586368"/>
              <a:gd name="connsiteY730" fmla="*/ 5986868 h 6479439"/>
              <a:gd name="connsiteX731" fmla="*/ 8868426 w 9586368"/>
              <a:gd name="connsiteY731" fmla="*/ 5996739 h 6479439"/>
              <a:gd name="connsiteX732" fmla="*/ 8864407 w 9586368"/>
              <a:gd name="connsiteY732" fmla="*/ 6000778 h 6479439"/>
              <a:gd name="connsiteX733" fmla="*/ 8854496 w 9586368"/>
              <a:gd name="connsiteY733" fmla="*/ 6000778 h 6479439"/>
              <a:gd name="connsiteX734" fmla="*/ 8850477 w 9586368"/>
              <a:gd name="connsiteY734" fmla="*/ 5996739 h 6479439"/>
              <a:gd name="connsiteX735" fmla="*/ 8850477 w 9586368"/>
              <a:gd name="connsiteY735" fmla="*/ 5986868 h 6479439"/>
              <a:gd name="connsiteX736" fmla="*/ 8615184 w 9586368"/>
              <a:gd name="connsiteY736" fmla="*/ 5982829 h 6479439"/>
              <a:gd name="connsiteX737" fmla="*/ 8625095 w 9586368"/>
              <a:gd name="connsiteY737" fmla="*/ 5982829 h 6479439"/>
              <a:gd name="connsiteX738" fmla="*/ 8629114 w 9586368"/>
              <a:gd name="connsiteY738" fmla="*/ 5986868 h 6479439"/>
              <a:gd name="connsiteX739" fmla="*/ 8629114 w 9586368"/>
              <a:gd name="connsiteY739" fmla="*/ 5996739 h 6479439"/>
              <a:gd name="connsiteX740" fmla="*/ 8625095 w 9586368"/>
              <a:gd name="connsiteY740" fmla="*/ 6000778 h 6479439"/>
              <a:gd name="connsiteX741" fmla="*/ 8615184 w 9586368"/>
              <a:gd name="connsiteY741" fmla="*/ 6000778 h 6479439"/>
              <a:gd name="connsiteX742" fmla="*/ 8611165 w 9586368"/>
              <a:gd name="connsiteY742" fmla="*/ 5996739 h 6479439"/>
              <a:gd name="connsiteX743" fmla="*/ 8611165 w 9586368"/>
              <a:gd name="connsiteY743" fmla="*/ 5986868 h 6479439"/>
              <a:gd name="connsiteX744" fmla="*/ 8375869 w 9586368"/>
              <a:gd name="connsiteY744" fmla="*/ 5982829 h 6479439"/>
              <a:gd name="connsiteX745" fmla="*/ 8385779 w 9586368"/>
              <a:gd name="connsiteY745" fmla="*/ 5982829 h 6479439"/>
              <a:gd name="connsiteX746" fmla="*/ 8389799 w 9586368"/>
              <a:gd name="connsiteY746" fmla="*/ 5986868 h 6479439"/>
              <a:gd name="connsiteX747" fmla="*/ 8389799 w 9586368"/>
              <a:gd name="connsiteY747" fmla="*/ 5996739 h 6479439"/>
              <a:gd name="connsiteX748" fmla="*/ 8385779 w 9586368"/>
              <a:gd name="connsiteY748" fmla="*/ 6000778 h 6479439"/>
              <a:gd name="connsiteX749" fmla="*/ 8375869 w 9586368"/>
              <a:gd name="connsiteY749" fmla="*/ 6000778 h 6479439"/>
              <a:gd name="connsiteX750" fmla="*/ 8371850 w 9586368"/>
              <a:gd name="connsiteY750" fmla="*/ 5996739 h 6479439"/>
              <a:gd name="connsiteX751" fmla="*/ 8371850 w 9586368"/>
              <a:gd name="connsiteY751" fmla="*/ 5986868 h 6479439"/>
              <a:gd name="connsiteX752" fmla="*/ 8136553 w 9586368"/>
              <a:gd name="connsiteY752" fmla="*/ 5982829 h 6479439"/>
              <a:gd name="connsiteX753" fmla="*/ 8146464 w 9586368"/>
              <a:gd name="connsiteY753" fmla="*/ 5982829 h 6479439"/>
              <a:gd name="connsiteX754" fmla="*/ 8150483 w 9586368"/>
              <a:gd name="connsiteY754" fmla="*/ 5986868 h 6479439"/>
              <a:gd name="connsiteX755" fmla="*/ 8150483 w 9586368"/>
              <a:gd name="connsiteY755" fmla="*/ 5996739 h 6479439"/>
              <a:gd name="connsiteX756" fmla="*/ 8146464 w 9586368"/>
              <a:gd name="connsiteY756" fmla="*/ 6000778 h 6479439"/>
              <a:gd name="connsiteX757" fmla="*/ 8136553 w 9586368"/>
              <a:gd name="connsiteY757" fmla="*/ 6000778 h 6479439"/>
              <a:gd name="connsiteX758" fmla="*/ 8132534 w 9586368"/>
              <a:gd name="connsiteY758" fmla="*/ 5996739 h 6479439"/>
              <a:gd name="connsiteX759" fmla="*/ 8132534 w 9586368"/>
              <a:gd name="connsiteY759" fmla="*/ 5986868 h 6479439"/>
              <a:gd name="connsiteX760" fmla="*/ 7897241 w 9586368"/>
              <a:gd name="connsiteY760" fmla="*/ 5982829 h 6479439"/>
              <a:gd name="connsiteX761" fmla="*/ 7907151 w 9586368"/>
              <a:gd name="connsiteY761" fmla="*/ 5982829 h 6479439"/>
              <a:gd name="connsiteX762" fmla="*/ 7911170 w 9586368"/>
              <a:gd name="connsiteY762" fmla="*/ 5986868 h 6479439"/>
              <a:gd name="connsiteX763" fmla="*/ 7911170 w 9586368"/>
              <a:gd name="connsiteY763" fmla="*/ 5996739 h 6479439"/>
              <a:gd name="connsiteX764" fmla="*/ 7907151 w 9586368"/>
              <a:gd name="connsiteY764" fmla="*/ 6000778 h 6479439"/>
              <a:gd name="connsiteX765" fmla="*/ 7897241 w 9586368"/>
              <a:gd name="connsiteY765" fmla="*/ 6000778 h 6479439"/>
              <a:gd name="connsiteX766" fmla="*/ 7893222 w 9586368"/>
              <a:gd name="connsiteY766" fmla="*/ 5996739 h 6479439"/>
              <a:gd name="connsiteX767" fmla="*/ 7893222 w 9586368"/>
              <a:gd name="connsiteY767" fmla="*/ 5986868 h 6479439"/>
              <a:gd name="connsiteX768" fmla="*/ 7657926 w 9586368"/>
              <a:gd name="connsiteY768" fmla="*/ 5982829 h 6479439"/>
              <a:gd name="connsiteX769" fmla="*/ 7667836 w 9586368"/>
              <a:gd name="connsiteY769" fmla="*/ 5982829 h 6479439"/>
              <a:gd name="connsiteX770" fmla="*/ 7671855 w 9586368"/>
              <a:gd name="connsiteY770" fmla="*/ 5986868 h 6479439"/>
              <a:gd name="connsiteX771" fmla="*/ 7671855 w 9586368"/>
              <a:gd name="connsiteY771" fmla="*/ 5996739 h 6479439"/>
              <a:gd name="connsiteX772" fmla="*/ 7667836 w 9586368"/>
              <a:gd name="connsiteY772" fmla="*/ 6000778 h 6479439"/>
              <a:gd name="connsiteX773" fmla="*/ 7657926 w 9586368"/>
              <a:gd name="connsiteY773" fmla="*/ 6000778 h 6479439"/>
              <a:gd name="connsiteX774" fmla="*/ 7653906 w 9586368"/>
              <a:gd name="connsiteY774" fmla="*/ 5996739 h 6479439"/>
              <a:gd name="connsiteX775" fmla="*/ 7653906 w 9586368"/>
              <a:gd name="connsiteY775" fmla="*/ 5986868 h 6479439"/>
              <a:gd name="connsiteX776" fmla="*/ 7418611 w 9586368"/>
              <a:gd name="connsiteY776" fmla="*/ 5982829 h 6479439"/>
              <a:gd name="connsiteX777" fmla="*/ 7428521 w 9586368"/>
              <a:gd name="connsiteY777" fmla="*/ 5982829 h 6479439"/>
              <a:gd name="connsiteX778" fmla="*/ 7432540 w 9586368"/>
              <a:gd name="connsiteY778" fmla="*/ 5986868 h 6479439"/>
              <a:gd name="connsiteX779" fmla="*/ 7432540 w 9586368"/>
              <a:gd name="connsiteY779" fmla="*/ 5996739 h 6479439"/>
              <a:gd name="connsiteX780" fmla="*/ 7428521 w 9586368"/>
              <a:gd name="connsiteY780" fmla="*/ 6000778 h 6479439"/>
              <a:gd name="connsiteX781" fmla="*/ 7418611 w 9586368"/>
              <a:gd name="connsiteY781" fmla="*/ 6000778 h 6479439"/>
              <a:gd name="connsiteX782" fmla="*/ 7414592 w 9586368"/>
              <a:gd name="connsiteY782" fmla="*/ 5996739 h 6479439"/>
              <a:gd name="connsiteX783" fmla="*/ 7414592 w 9586368"/>
              <a:gd name="connsiteY783" fmla="*/ 5986868 h 6479439"/>
              <a:gd name="connsiteX784" fmla="*/ 7179298 w 9586368"/>
              <a:gd name="connsiteY784" fmla="*/ 5982829 h 6479439"/>
              <a:gd name="connsiteX785" fmla="*/ 7189209 w 9586368"/>
              <a:gd name="connsiteY785" fmla="*/ 5982829 h 6479439"/>
              <a:gd name="connsiteX786" fmla="*/ 7193228 w 9586368"/>
              <a:gd name="connsiteY786" fmla="*/ 5986868 h 6479439"/>
              <a:gd name="connsiteX787" fmla="*/ 7193228 w 9586368"/>
              <a:gd name="connsiteY787" fmla="*/ 5996739 h 6479439"/>
              <a:gd name="connsiteX788" fmla="*/ 7189209 w 9586368"/>
              <a:gd name="connsiteY788" fmla="*/ 6000778 h 6479439"/>
              <a:gd name="connsiteX789" fmla="*/ 7179298 w 9586368"/>
              <a:gd name="connsiteY789" fmla="*/ 6000778 h 6479439"/>
              <a:gd name="connsiteX790" fmla="*/ 7175279 w 9586368"/>
              <a:gd name="connsiteY790" fmla="*/ 5996739 h 6479439"/>
              <a:gd name="connsiteX791" fmla="*/ 7175279 w 9586368"/>
              <a:gd name="connsiteY791" fmla="*/ 5986868 h 6479439"/>
              <a:gd name="connsiteX792" fmla="*/ 6939983 w 9586368"/>
              <a:gd name="connsiteY792" fmla="*/ 5982829 h 6479439"/>
              <a:gd name="connsiteX793" fmla="*/ 6949894 w 9586368"/>
              <a:gd name="connsiteY793" fmla="*/ 5982829 h 6479439"/>
              <a:gd name="connsiteX794" fmla="*/ 6953913 w 9586368"/>
              <a:gd name="connsiteY794" fmla="*/ 5986868 h 6479439"/>
              <a:gd name="connsiteX795" fmla="*/ 6953913 w 9586368"/>
              <a:gd name="connsiteY795" fmla="*/ 5996739 h 6479439"/>
              <a:gd name="connsiteX796" fmla="*/ 6949894 w 9586368"/>
              <a:gd name="connsiteY796" fmla="*/ 6000778 h 6479439"/>
              <a:gd name="connsiteX797" fmla="*/ 6939983 w 9586368"/>
              <a:gd name="connsiteY797" fmla="*/ 6000778 h 6479439"/>
              <a:gd name="connsiteX798" fmla="*/ 6935964 w 9586368"/>
              <a:gd name="connsiteY798" fmla="*/ 5996739 h 6479439"/>
              <a:gd name="connsiteX799" fmla="*/ 6935964 w 9586368"/>
              <a:gd name="connsiteY799" fmla="*/ 5986868 h 6479439"/>
              <a:gd name="connsiteX800" fmla="*/ 6700670 w 9586368"/>
              <a:gd name="connsiteY800" fmla="*/ 5982829 h 6479439"/>
              <a:gd name="connsiteX801" fmla="*/ 6710581 w 9586368"/>
              <a:gd name="connsiteY801" fmla="*/ 5982829 h 6479439"/>
              <a:gd name="connsiteX802" fmla="*/ 6714600 w 9586368"/>
              <a:gd name="connsiteY802" fmla="*/ 5986868 h 6479439"/>
              <a:gd name="connsiteX803" fmla="*/ 6714600 w 9586368"/>
              <a:gd name="connsiteY803" fmla="*/ 5996739 h 6479439"/>
              <a:gd name="connsiteX804" fmla="*/ 6710581 w 9586368"/>
              <a:gd name="connsiteY804" fmla="*/ 6000778 h 6479439"/>
              <a:gd name="connsiteX805" fmla="*/ 6700670 w 9586368"/>
              <a:gd name="connsiteY805" fmla="*/ 6000778 h 6479439"/>
              <a:gd name="connsiteX806" fmla="*/ 6696651 w 9586368"/>
              <a:gd name="connsiteY806" fmla="*/ 5996739 h 6479439"/>
              <a:gd name="connsiteX807" fmla="*/ 6696651 w 9586368"/>
              <a:gd name="connsiteY807" fmla="*/ 5986868 h 6479439"/>
              <a:gd name="connsiteX808" fmla="*/ 6461356 w 9586368"/>
              <a:gd name="connsiteY808" fmla="*/ 5982829 h 6479439"/>
              <a:gd name="connsiteX809" fmla="*/ 6471266 w 9586368"/>
              <a:gd name="connsiteY809" fmla="*/ 5982829 h 6479439"/>
              <a:gd name="connsiteX810" fmla="*/ 6475285 w 9586368"/>
              <a:gd name="connsiteY810" fmla="*/ 5986868 h 6479439"/>
              <a:gd name="connsiteX811" fmla="*/ 6475285 w 9586368"/>
              <a:gd name="connsiteY811" fmla="*/ 5996739 h 6479439"/>
              <a:gd name="connsiteX812" fmla="*/ 6471266 w 9586368"/>
              <a:gd name="connsiteY812" fmla="*/ 6000778 h 6479439"/>
              <a:gd name="connsiteX813" fmla="*/ 6461356 w 9586368"/>
              <a:gd name="connsiteY813" fmla="*/ 6000778 h 6479439"/>
              <a:gd name="connsiteX814" fmla="*/ 6457337 w 9586368"/>
              <a:gd name="connsiteY814" fmla="*/ 5996739 h 6479439"/>
              <a:gd name="connsiteX815" fmla="*/ 6457337 w 9586368"/>
              <a:gd name="connsiteY815" fmla="*/ 5986868 h 6479439"/>
              <a:gd name="connsiteX816" fmla="*/ 6222042 w 9586368"/>
              <a:gd name="connsiteY816" fmla="*/ 5982829 h 6479439"/>
              <a:gd name="connsiteX817" fmla="*/ 6231952 w 9586368"/>
              <a:gd name="connsiteY817" fmla="*/ 5982829 h 6479439"/>
              <a:gd name="connsiteX818" fmla="*/ 6235971 w 9586368"/>
              <a:gd name="connsiteY818" fmla="*/ 5986868 h 6479439"/>
              <a:gd name="connsiteX819" fmla="*/ 6235971 w 9586368"/>
              <a:gd name="connsiteY819" fmla="*/ 5996739 h 6479439"/>
              <a:gd name="connsiteX820" fmla="*/ 6231952 w 9586368"/>
              <a:gd name="connsiteY820" fmla="*/ 6000778 h 6479439"/>
              <a:gd name="connsiteX821" fmla="*/ 6222042 w 9586368"/>
              <a:gd name="connsiteY821" fmla="*/ 6000778 h 6479439"/>
              <a:gd name="connsiteX822" fmla="*/ 6218023 w 9586368"/>
              <a:gd name="connsiteY822" fmla="*/ 5996739 h 6479439"/>
              <a:gd name="connsiteX823" fmla="*/ 6218023 w 9586368"/>
              <a:gd name="connsiteY823" fmla="*/ 5986868 h 6479439"/>
              <a:gd name="connsiteX824" fmla="*/ 5982729 w 9586368"/>
              <a:gd name="connsiteY824" fmla="*/ 5982829 h 6479439"/>
              <a:gd name="connsiteX825" fmla="*/ 5992639 w 9586368"/>
              <a:gd name="connsiteY825" fmla="*/ 5982829 h 6479439"/>
              <a:gd name="connsiteX826" fmla="*/ 5996658 w 9586368"/>
              <a:gd name="connsiteY826" fmla="*/ 5986868 h 6479439"/>
              <a:gd name="connsiteX827" fmla="*/ 5996658 w 9586368"/>
              <a:gd name="connsiteY827" fmla="*/ 5996739 h 6479439"/>
              <a:gd name="connsiteX828" fmla="*/ 5992639 w 9586368"/>
              <a:gd name="connsiteY828" fmla="*/ 6000778 h 6479439"/>
              <a:gd name="connsiteX829" fmla="*/ 5982729 w 9586368"/>
              <a:gd name="connsiteY829" fmla="*/ 6000778 h 6479439"/>
              <a:gd name="connsiteX830" fmla="*/ 5978710 w 9586368"/>
              <a:gd name="connsiteY830" fmla="*/ 5996739 h 6479439"/>
              <a:gd name="connsiteX831" fmla="*/ 5978710 w 9586368"/>
              <a:gd name="connsiteY831" fmla="*/ 5986868 h 6479439"/>
              <a:gd name="connsiteX832" fmla="*/ 5743412 w 9586368"/>
              <a:gd name="connsiteY832" fmla="*/ 5982829 h 6479439"/>
              <a:gd name="connsiteX833" fmla="*/ 5753323 w 9586368"/>
              <a:gd name="connsiteY833" fmla="*/ 5982829 h 6479439"/>
              <a:gd name="connsiteX834" fmla="*/ 5757342 w 9586368"/>
              <a:gd name="connsiteY834" fmla="*/ 5986868 h 6479439"/>
              <a:gd name="connsiteX835" fmla="*/ 5757342 w 9586368"/>
              <a:gd name="connsiteY835" fmla="*/ 5996739 h 6479439"/>
              <a:gd name="connsiteX836" fmla="*/ 5753323 w 9586368"/>
              <a:gd name="connsiteY836" fmla="*/ 6000778 h 6479439"/>
              <a:gd name="connsiteX837" fmla="*/ 5743412 w 9586368"/>
              <a:gd name="connsiteY837" fmla="*/ 6000778 h 6479439"/>
              <a:gd name="connsiteX838" fmla="*/ 5739393 w 9586368"/>
              <a:gd name="connsiteY838" fmla="*/ 5996739 h 6479439"/>
              <a:gd name="connsiteX839" fmla="*/ 5739393 w 9586368"/>
              <a:gd name="connsiteY839" fmla="*/ 5986868 h 6479439"/>
              <a:gd name="connsiteX840" fmla="*/ 5504099 w 9586368"/>
              <a:gd name="connsiteY840" fmla="*/ 5982829 h 6479439"/>
              <a:gd name="connsiteX841" fmla="*/ 5514010 w 9586368"/>
              <a:gd name="connsiteY841" fmla="*/ 5982829 h 6479439"/>
              <a:gd name="connsiteX842" fmla="*/ 5518029 w 9586368"/>
              <a:gd name="connsiteY842" fmla="*/ 5986868 h 6479439"/>
              <a:gd name="connsiteX843" fmla="*/ 5518029 w 9586368"/>
              <a:gd name="connsiteY843" fmla="*/ 5996739 h 6479439"/>
              <a:gd name="connsiteX844" fmla="*/ 5514010 w 9586368"/>
              <a:gd name="connsiteY844" fmla="*/ 6000778 h 6479439"/>
              <a:gd name="connsiteX845" fmla="*/ 5504099 w 9586368"/>
              <a:gd name="connsiteY845" fmla="*/ 6000778 h 6479439"/>
              <a:gd name="connsiteX846" fmla="*/ 5500080 w 9586368"/>
              <a:gd name="connsiteY846" fmla="*/ 5996739 h 6479439"/>
              <a:gd name="connsiteX847" fmla="*/ 5500080 w 9586368"/>
              <a:gd name="connsiteY847" fmla="*/ 5986868 h 6479439"/>
              <a:gd name="connsiteX848" fmla="*/ 5264784 w 9586368"/>
              <a:gd name="connsiteY848" fmla="*/ 5982829 h 6479439"/>
              <a:gd name="connsiteX849" fmla="*/ 5274694 w 9586368"/>
              <a:gd name="connsiteY849" fmla="*/ 5982829 h 6479439"/>
              <a:gd name="connsiteX850" fmla="*/ 5278713 w 9586368"/>
              <a:gd name="connsiteY850" fmla="*/ 5986868 h 6479439"/>
              <a:gd name="connsiteX851" fmla="*/ 5278713 w 9586368"/>
              <a:gd name="connsiteY851" fmla="*/ 5996739 h 6479439"/>
              <a:gd name="connsiteX852" fmla="*/ 5274694 w 9586368"/>
              <a:gd name="connsiteY852" fmla="*/ 6000778 h 6479439"/>
              <a:gd name="connsiteX853" fmla="*/ 5264784 w 9586368"/>
              <a:gd name="connsiteY853" fmla="*/ 6000778 h 6479439"/>
              <a:gd name="connsiteX854" fmla="*/ 5260765 w 9586368"/>
              <a:gd name="connsiteY854" fmla="*/ 5996739 h 6479439"/>
              <a:gd name="connsiteX855" fmla="*/ 5260765 w 9586368"/>
              <a:gd name="connsiteY855" fmla="*/ 5986868 h 6479439"/>
              <a:gd name="connsiteX856" fmla="*/ 5025470 w 9586368"/>
              <a:gd name="connsiteY856" fmla="*/ 5982829 h 6479439"/>
              <a:gd name="connsiteX857" fmla="*/ 5035381 w 9586368"/>
              <a:gd name="connsiteY857" fmla="*/ 5982829 h 6479439"/>
              <a:gd name="connsiteX858" fmla="*/ 5039400 w 9586368"/>
              <a:gd name="connsiteY858" fmla="*/ 5986868 h 6479439"/>
              <a:gd name="connsiteX859" fmla="*/ 5039400 w 9586368"/>
              <a:gd name="connsiteY859" fmla="*/ 5996739 h 6479439"/>
              <a:gd name="connsiteX860" fmla="*/ 5035381 w 9586368"/>
              <a:gd name="connsiteY860" fmla="*/ 6000778 h 6479439"/>
              <a:gd name="connsiteX861" fmla="*/ 5025470 w 9586368"/>
              <a:gd name="connsiteY861" fmla="*/ 6000778 h 6479439"/>
              <a:gd name="connsiteX862" fmla="*/ 5021451 w 9586368"/>
              <a:gd name="connsiteY862" fmla="*/ 5996739 h 6479439"/>
              <a:gd name="connsiteX863" fmla="*/ 5021451 w 9586368"/>
              <a:gd name="connsiteY863" fmla="*/ 5986868 h 6479439"/>
              <a:gd name="connsiteX864" fmla="*/ 4786241 w 9586368"/>
              <a:gd name="connsiteY864" fmla="*/ 5982829 h 6479439"/>
              <a:gd name="connsiteX865" fmla="*/ 4796152 w 9586368"/>
              <a:gd name="connsiteY865" fmla="*/ 5982829 h 6479439"/>
              <a:gd name="connsiteX866" fmla="*/ 4800171 w 9586368"/>
              <a:gd name="connsiteY866" fmla="*/ 5986868 h 6479439"/>
              <a:gd name="connsiteX867" fmla="*/ 4800171 w 9586368"/>
              <a:gd name="connsiteY867" fmla="*/ 5996739 h 6479439"/>
              <a:gd name="connsiteX868" fmla="*/ 4796152 w 9586368"/>
              <a:gd name="connsiteY868" fmla="*/ 6000778 h 6479439"/>
              <a:gd name="connsiteX869" fmla="*/ 4786241 w 9586368"/>
              <a:gd name="connsiteY869" fmla="*/ 6000778 h 6479439"/>
              <a:gd name="connsiteX870" fmla="*/ 4782224 w 9586368"/>
              <a:gd name="connsiteY870" fmla="*/ 5996739 h 6479439"/>
              <a:gd name="connsiteX871" fmla="*/ 4782224 w 9586368"/>
              <a:gd name="connsiteY871" fmla="*/ 5986868 h 6479439"/>
              <a:gd name="connsiteX872" fmla="*/ 4546929 w 9586368"/>
              <a:gd name="connsiteY872" fmla="*/ 5982829 h 6479439"/>
              <a:gd name="connsiteX873" fmla="*/ 4556840 w 9586368"/>
              <a:gd name="connsiteY873" fmla="*/ 5982829 h 6479439"/>
              <a:gd name="connsiteX874" fmla="*/ 4560859 w 9586368"/>
              <a:gd name="connsiteY874" fmla="*/ 5986868 h 6479439"/>
              <a:gd name="connsiteX875" fmla="*/ 4560859 w 9586368"/>
              <a:gd name="connsiteY875" fmla="*/ 5996739 h 6479439"/>
              <a:gd name="connsiteX876" fmla="*/ 4556840 w 9586368"/>
              <a:gd name="connsiteY876" fmla="*/ 6000778 h 6479439"/>
              <a:gd name="connsiteX877" fmla="*/ 4546929 w 9586368"/>
              <a:gd name="connsiteY877" fmla="*/ 6000778 h 6479439"/>
              <a:gd name="connsiteX878" fmla="*/ 4542910 w 9586368"/>
              <a:gd name="connsiteY878" fmla="*/ 5996739 h 6479439"/>
              <a:gd name="connsiteX879" fmla="*/ 4542910 w 9586368"/>
              <a:gd name="connsiteY879" fmla="*/ 5986868 h 6479439"/>
              <a:gd name="connsiteX880" fmla="*/ 4307612 w 9586368"/>
              <a:gd name="connsiteY880" fmla="*/ 5982829 h 6479439"/>
              <a:gd name="connsiteX881" fmla="*/ 4317523 w 9586368"/>
              <a:gd name="connsiteY881" fmla="*/ 5982829 h 6479439"/>
              <a:gd name="connsiteX882" fmla="*/ 4321543 w 9586368"/>
              <a:gd name="connsiteY882" fmla="*/ 5986868 h 6479439"/>
              <a:gd name="connsiteX883" fmla="*/ 4321543 w 9586368"/>
              <a:gd name="connsiteY883" fmla="*/ 5996739 h 6479439"/>
              <a:gd name="connsiteX884" fmla="*/ 4317523 w 9586368"/>
              <a:gd name="connsiteY884" fmla="*/ 6000778 h 6479439"/>
              <a:gd name="connsiteX885" fmla="*/ 4307612 w 9586368"/>
              <a:gd name="connsiteY885" fmla="*/ 6000778 h 6479439"/>
              <a:gd name="connsiteX886" fmla="*/ 4303595 w 9586368"/>
              <a:gd name="connsiteY886" fmla="*/ 5996739 h 6479439"/>
              <a:gd name="connsiteX887" fmla="*/ 4303595 w 9586368"/>
              <a:gd name="connsiteY887" fmla="*/ 5986868 h 6479439"/>
              <a:gd name="connsiteX888" fmla="*/ 4068297 w 9586368"/>
              <a:gd name="connsiteY888" fmla="*/ 5982829 h 6479439"/>
              <a:gd name="connsiteX889" fmla="*/ 4078210 w 9586368"/>
              <a:gd name="connsiteY889" fmla="*/ 5982829 h 6479439"/>
              <a:gd name="connsiteX890" fmla="*/ 4082229 w 9586368"/>
              <a:gd name="connsiteY890" fmla="*/ 5986868 h 6479439"/>
              <a:gd name="connsiteX891" fmla="*/ 4082229 w 9586368"/>
              <a:gd name="connsiteY891" fmla="*/ 5996739 h 6479439"/>
              <a:gd name="connsiteX892" fmla="*/ 4078210 w 9586368"/>
              <a:gd name="connsiteY892" fmla="*/ 6000778 h 6479439"/>
              <a:gd name="connsiteX893" fmla="*/ 4068297 w 9586368"/>
              <a:gd name="connsiteY893" fmla="*/ 6000778 h 6479439"/>
              <a:gd name="connsiteX894" fmla="*/ 4064278 w 9586368"/>
              <a:gd name="connsiteY894" fmla="*/ 5996739 h 6479439"/>
              <a:gd name="connsiteX895" fmla="*/ 4064278 w 9586368"/>
              <a:gd name="connsiteY895" fmla="*/ 5986868 h 6479439"/>
              <a:gd name="connsiteX896" fmla="*/ 3828990 w 9586368"/>
              <a:gd name="connsiteY896" fmla="*/ 5982829 h 6479439"/>
              <a:gd name="connsiteX897" fmla="*/ 3838899 w 9586368"/>
              <a:gd name="connsiteY897" fmla="*/ 5982829 h 6479439"/>
              <a:gd name="connsiteX898" fmla="*/ 3842917 w 9586368"/>
              <a:gd name="connsiteY898" fmla="*/ 5986868 h 6479439"/>
              <a:gd name="connsiteX899" fmla="*/ 3842917 w 9586368"/>
              <a:gd name="connsiteY899" fmla="*/ 5996739 h 6479439"/>
              <a:gd name="connsiteX900" fmla="*/ 3838899 w 9586368"/>
              <a:gd name="connsiteY900" fmla="*/ 6000778 h 6479439"/>
              <a:gd name="connsiteX901" fmla="*/ 3828990 w 9586368"/>
              <a:gd name="connsiteY901" fmla="*/ 6000778 h 6479439"/>
              <a:gd name="connsiteX902" fmla="*/ 3824971 w 9586368"/>
              <a:gd name="connsiteY902" fmla="*/ 5996739 h 6479439"/>
              <a:gd name="connsiteX903" fmla="*/ 3824971 w 9586368"/>
              <a:gd name="connsiteY903" fmla="*/ 5986868 h 6479439"/>
              <a:gd name="connsiteX904" fmla="*/ 3589676 w 9586368"/>
              <a:gd name="connsiteY904" fmla="*/ 5982829 h 6479439"/>
              <a:gd name="connsiteX905" fmla="*/ 3599585 w 9586368"/>
              <a:gd name="connsiteY905" fmla="*/ 5982829 h 6479439"/>
              <a:gd name="connsiteX906" fmla="*/ 3603604 w 9586368"/>
              <a:gd name="connsiteY906" fmla="*/ 5986868 h 6479439"/>
              <a:gd name="connsiteX907" fmla="*/ 3603604 w 9586368"/>
              <a:gd name="connsiteY907" fmla="*/ 5996739 h 6479439"/>
              <a:gd name="connsiteX908" fmla="*/ 3599585 w 9586368"/>
              <a:gd name="connsiteY908" fmla="*/ 6000778 h 6479439"/>
              <a:gd name="connsiteX909" fmla="*/ 3589676 w 9586368"/>
              <a:gd name="connsiteY909" fmla="*/ 6000778 h 6479439"/>
              <a:gd name="connsiteX910" fmla="*/ 3585657 w 9586368"/>
              <a:gd name="connsiteY910" fmla="*/ 5996739 h 6479439"/>
              <a:gd name="connsiteX911" fmla="*/ 3585657 w 9586368"/>
              <a:gd name="connsiteY911" fmla="*/ 5986868 h 6479439"/>
              <a:gd name="connsiteX912" fmla="*/ 3350359 w 9586368"/>
              <a:gd name="connsiteY912" fmla="*/ 5982829 h 6479439"/>
              <a:gd name="connsiteX913" fmla="*/ 3360268 w 9586368"/>
              <a:gd name="connsiteY913" fmla="*/ 5982829 h 6479439"/>
              <a:gd name="connsiteX914" fmla="*/ 3364287 w 9586368"/>
              <a:gd name="connsiteY914" fmla="*/ 5986868 h 6479439"/>
              <a:gd name="connsiteX915" fmla="*/ 3364287 w 9586368"/>
              <a:gd name="connsiteY915" fmla="*/ 5996739 h 6479439"/>
              <a:gd name="connsiteX916" fmla="*/ 3360268 w 9586368"/>
              <a:gd name="connsiteY916" fmla="*/ 6000778 h 6479439"/>
              <a:gd name="connsiteX917" fmla="*/ 3350359 w 9586368"/>
              <a:gd name="connsiteY917" fmla="*/ 6000778 h 6479439"/>
              <a:gd name="connsiteX918" fmla="*/ 3346340 w 9586368"/>
              <a:gd name="connsiteY918" fmla="*/ 5996739 h 6479439"/>
              <a:gd name="connsiteX919" fmla="*/ 3346340 w 9586368"/>
              <a:gd name="connsiteY919" fmla="*/ 5986868 h 6479439"/>
              <a:gd name="connsiteX920" fmla="*/ 3111048 w 9586368"/>
              <a:gd name="connsiteY920" fmla="*/ 5982829 h 6479439"/>
              <a:gd name="connsiteX921" fmla="*/ 3120959 w 9586368"/>
              <a:gd name="connsiteY921" fmla="*/ 5982829 h 6479439"/>
              <a:gd name="connsiteX922" fmla="*/ 3124977 w 9586368"/>
              <a:gd name="connsiteY922" fmla="*/ 5986868 h 6479439"/>
              <a:gd name="connsiteX923" fmla="*/ 3124977 w 9586368"/>
              <a:gd name="connsiteY923" fmla="*/ 5996739 h 6479439"/>
              <a:gd name="connsiteX924" fmla="*/ 3120959 w 9586368"/>
              <a:gd name="connsiteY924" fmla="*/ 6000778 h 6479439"/>
              <a:gd name="connsiteX925" fmla="*/ 3111048 w 9586368"/>
              <a:gd name="connsiteY925" fmla="*/ 6000778 h 6479439"/>
              <a:gd name="connsiteX926" fmla="*/ 3107029 w 9586368"/>
              <a:gd name="connsiteY926" fmla="*/ 5996739 h 6479439"/>
              <a:gd name="connsiteX927" fmla="*/ 3107029 w 9586368"/>
              <a:gd name="connsiteY927" fmla="*/ 5986868 h 6479439"/>
              <a:gd name="connsiteX928" fmla="*/ 2871737 w 9586368"/>
              <a:gd name="connsiteY928" fmla="*/ 5982829 h 6479439"/>
              <a:gd name="connsiteX929" fmla="*/ 2881646 w 9586368"/>
              <a:gd name="connsiteY929" fmla="*/ 5982829 h 6479439"/>
              <a:gd name="connsiteX930" fmla="*/ 2885666 w 9586368"/>
              <a:gd name="connsiteY930" fmla="*/ 5986868 h 6479439"/>
              <a:gd name="connsiteX931" fmla="*/ 2885666 w 9586368"/>
              <a:gd name="connsiteY931" fmla="*/ 5996739 h 6479439"/>
              <a:gd name="connsiteX932" fmla="*/ 2881646 w 9586368"/>
              <a:gd name="connsiteY932" fmla="*/ 6000778 h 6479439"/>
              <a:gd name="connsiteX933" fmla="*/ 2871737 w 9586368"/>
              <a:gd name="connsiteY933" fmla="*/ 6000778 h 6479439"/>
              <a:gd name="connsiteX934" fmla="*/ 2867717 w 9586368"/>
              <a:gd name="connsiteY934" fmla="*/ 5996739 h 6479439"/>
              <a:gd name="connsiteX935" fmla="*/ 2867717 w 9586368"/>
              <a:gd name="connsiteY935" fmla="*/ 5986868 h 6479439"/>
              <a:gd name="connsiteX936" fmla="*/ 2632423 w 9586368"/>
              <a:gd name="connsiteY936" fmla="*/ 5982829 h 6479439"/>
              <a:gd name="connsiteX937" fmla="*/ 2642334 w 9586368"/>
              <a:gd name="connsiteY937" fmla="*/ 5982829 h 6479439"/>
              <a:gd name="connsiteX938" fmla="*/ 2646352 w 9586368"/>
              <a:gd name="connsiteY938" fmla="*/ 5986868 h 6479439"/>
              <a:gd name="connsiteX939" fmla="*/ 2646352 w 9586368"/>
              <a:gd name="connsiteY939" fmla="*/ 5996739 h 6479439"/>
              <a:gd name="connsiteX940" fmla="*/ 2642334 w 9586368"/>
              <a:gd name="connsiteY940" fmla="*/ 6000778 h 6479439"/>
              <a:gd name="connsiteX941" fmla="*/ 2632423 w 9586368"/>
              <a:gd name="connsiteY941" fmla="*/ 6000778 h 6479439"/>
              <a:gd name="connsiteX942" fmla="*/ 2628404 w 9586368"/>
              <a:gd name="connsiteY942" fmla="*/ 5996739 h 6479439"/>
              <a:gd name="connsiteX943" fmla="*/ 2628404 w 9586368"/>
              <a:gd name="connsiteY943" fmla="*/ 5986868 h 6479439"/>
              <a:gd name="connsiteX944" fmla="*/ 2393104 w 9586368"/>
              <a:gd name="connsiteY944" fmla="*/ 5982829 h 6479439"/>
              <a:gd name="connsiteX945" fmla="*/ 2403015 w 9586368"/>
              <a:gd name="connsiteY945" fmla="*/ 5982829 h 6479439"/>
              <a:gd name="connsiteX946" fmla="*/ 2407034 w 9586368"/>
              <a:gd name="connsiteY946" fmla="*/ 5986868 h 6479439"/>
              <a:gd name="connsiteX947" fmla="*/ 2407034 w 9586368"/>
              <a:gd name="connsiteY947" fmla="*/ 5996739 h 6479439"/>
              <a:gd name="connsiteX948" fmla="*/ 2403015 w 9586368"/>
              <a:gd name="connsiteY948" fmla="*/ 6000778 h 6479439"/>
              <a:gd name="connsiteX949" fmla="*/ 2393104 w 9586368"/>
              <a:gd name="connsiteY949" fmla="*/ 6000778 h 6479439"/>
              <a:gd name="connsiteX950" fmla="*/ 2389087 w 9586368"/>
              <a:gd name="connsiteY950" fmla="*/ 5996739 h 6479439"/>
              <a:gd name="connsiteX951" fmla="*/ 2389087 w 9586368"/>
              <a:gd name="connsiteY951" fmla="*/ 5986868 h 6479439"/>
              <a:gd name="connsiteX952" fmla="*/ 721960 w 9586368"/>
              <a:gd name="connsiteY952" fmla="*/ 5982829 h 6479439"/>
              <a:gd name="connsiteX953" fmla="*/ 731869 w 9586368"/>
              <a:gd name="connsiteY953" fmla="*/ 5982829 h 6479439"/>
              <a:gd name="connsiteX954" fmla="*/ 735888 w 9586368"/>
              <a:gd name="connsiteY954" fmla="*/ 5986868 h 6479439"/>
              <a:gd name="connsiteX955" fmla="*/ 735888 w 9586368"/>
              <a:gd name="connsiteY955" fmla="*/ 5996739 h 6479439"/>
              <a:gd name="connsiteX956" fmla="*/ 731869 w 9586368"/>
              <a:gd name="connsiteY956" fmla="*/ 6000778 h 6479439"/>
              <a:gd name="connsiteX957" fmla="*/ 721960 w 9586368"/>
              <a:gd name="connsiteY957" fmla="*/ 6000778 h 6479439"/>
              <a:gd name="connsiteX958" fmla="*/ 717940 w 9586368"/>
              <a:gd name="connsiteY958" fmla="*/ 5996739 h 6479439"/>
              <a:gd name="connsiteX959" fmla="*/ 717940 w 9586368"/>
              <a:gd name="connsiteY959" fmla="*/ 5986868 h 6479439"/>
              <a:gd name="connsiteX960" fmla="*/ 482647 w 9586368"/>
              <a:gd name="connsiteY960" fmla="*/ 5982829 h 6479439"/>
              <a:gd name="connsiteX961" fmla="*/ 492557 w 9586368"/>
              <a:gd name="connsiteY961" fmla="*/ 5982829 h 6479439"/>
              <a:gd name="connsiteX962" fmla="*/ 496576 w 9586368"/>
              <a:gd name="connsiteY962" fmla="*/ 5986868 h 6479439"/>
              <a:gd name="connsiteX963" fmla="*/ 496576 w 9586368"/>
              <a:gd name="connsiteY963" fmla="*/ 5996739 h 6479439"/>
              <a:gd name="connsiteX964" fmla="*/ 492557 w 9586368"/>
              <a:gd name="connsiteY964" fmla="*/ 6000778 h 6479439"/>
              <a:gd name="connsiteX965" fmla="*/ 482647 w 9586368"/>
              <a:gd name="connsiteY965" fmla="*/ 6000778 h 6479439"/>
              <a:gd name="connsiteX966" fmla="*/ 478628 w 9586368"/>
              <a:gd name="connsiteY966" fmla="*/ 5996739 h 6479439"/>
              <a:gd name="connsiteX967" fmla="*/ 478628 w 9586368"/>
              <a:gd name="connsiteY967" fmla="*/ 5986868 h 6479439"/>
              <a:gd name="connsiteX968" fmla="*/ 243334 w 9586368"/>
              <a:gd name="connsiteY968" fmla="*/ 5982829 h 6479439"/>
              <a:gd name="connsiteX969" fmla="*/ 253244 w 9586368"/>
              <a:gd name="connsiteY969" fmla="*/ 5982829 h 6479439"/>
              <a:gd name="connsiteX970" fmla="*/ 257263 w 9586368"/>
              <a:gd name="connsiteY970" fmla="*/ 5986868 h 6479439"/>
              <a:gd name="connsiteX971" fmla="*/ 257263 w 9586368"/>
              <a:gd name="connsiteY971" fmla="*/ 5996739 h 6479439"/>
              <a:gd name="connsiteX972" fmla="*/ 253244 w 9586368"/>
              <a:gd name="connsiteY972" fmla="*/ 6000778 h 6479439"/>
              <a:gd name="connsiteX973" fmla="*/ 243334 w 9586368"/>
              <a:gd name="connsiteY973" fmla="*/ 6000778 h 6479439"/>
              <a:gd name="connsiteX974" fmla="*/ 239315 w 9586368"/>
              <a:gd name="connsiteY974" fmla="*/ 5996739 h 6479439"/>
              <a:gd name="connsiteX975" fmla="*/ 239315 w 9586368"/>
              <a:gd name="connsiteY975" fmla="*/ 5986868 h 6479439"/>
              <a:gd name="connsiteX976" fmla="*/ 4021 w 9586368"/>
              <a:gd name="connsiteY976" fmla="*/ 5982829 h 6479439"/>
              <a:gd name="connsiteX977" fmla="*/ 13931 w 9586368"/>
              <a:gd name="connsiteY977" fmla="*/ 5982829 h 6479439"/>
              <a:gd name="connsiteX978" fmla="*/ 17950 w 9586368"/>
              <a:gd name="connsiteY978" fmla="*/ 5986868 h 6479439"/>
              <a:gd name="connsiteX979" fmla="*/ 17950 w 9586368"/>
              <a:gd name="connsiteY979" fmla="*/ 5996739 h 6479439"/>
              <a:gd name="connsiteX980" fmla="*/ 13931 w 9586368"/>
              <a:gd name="connsiteY980" fmla="*/ 6000778 h 6479439"/>
              <a:gd name="connsiteX981" fmla="*/ 4021 w 9586368"/>
              <a:gd name="connsiteY981" fmla="*/ 6000778 h 6479439"/>
              <a:gd name="connsiteX982" fmla="*/ 1 w 9586368"/>
              <a:gd name="connsiteY982" fmla="*/ 5996739 h 6479439"/>
              <a:gd name="connsiteX983" fmla="*/ 1 w 9586368"/>
              <a:gd name="connsiteY983" fmla="*/ 5986868 h 6479439"/>
              <a:gd name="connsiteX984" fmla="*/ 2157818 w 9586368"/>
              <a:gd name="connsiteY984" fmla="*/ 5743551 h 6479439"/>
              <a:gd name="connsiteX985" fmla="*/ 2167728 w 9586368"/>
              <a:gd name="connsiteY985" fmla="*/ 5743551 h 6479439"/>
              <a:gd name="connsiteX986" fmla="*/ 2171747 w 9586368"/>
              <a:gd name="connsiteY986" fmla="*/ 5747589 h 6479439"/>
              <a:gd name="connsiteX987" fmla="*/ 2171747 w 9586368"/>
              <a:gd name="connsiteY987" fmla="*/ 5757460 h 6479439"/>
              <a:gd name="connsiteX988" fmla="*/ 2167728 w 9586368"/>
              <a:gd name="connsiteY988" fmla="*/ 5761499 h 6479439"/>
              <a:gd name="connsiteX989" fmla="*/ 2157818 w 9586368"/>
              <a:gd name="connsiteY989" fmla="*/ 5761499 h 6479439"/>
              <a:gd name="connsiteX990" fmla="*/ 2153799 w 9586368"/>
              <a:gd name="connsiteY990" fmla="*/ 5757460 h 6479439"/>
              <a:gd name="connsiteX991" fmla="*/ 2153799 w 9586368"/>
              <a:gd name="connsiteY991" fmla="*/ 5747589 h 6479439"/>
              <a:gd name="connsiteX992" fmla="*/ 1918510 w 9586368"/>
              <a:gd name="connsiteY992" fmla="*/ 5743551 h 6479439"/>
              <a:gd name="connsiteX993" fmla="*/ 1928420 w 9586368"/>
              <a:gd name="connsiteY993" fmla="*/ 5743551 h 6479439"/>
              <a:gd name="connsiteX994" fmla="*/ 1932438 w 9586368"/>
              <a:gd name="connsiteY994" fmla="*/ 5747589 h 6479439"/>
              <a:gd name="connsiteX995" fmla="*/ 1932438 w 9586368"/>
              <a:gd name="connsiteY995" fmla="*/ 5757460 h 6479439"/>
              <a:gd name="connsiteX996" fmla="*/ 1928420 w 9586368"/>
              <a:gd name="connsiteY996" fmla="*/ 5761499 h 6479439"/>
              <a:gd name="connsiteX997" fmla="*/ 1918510 w 9586368"/>
              <a:gd name="connsiteY997" fmla="*/ 5761499 h 6479439"/>
              <a:gd name="connsiteX998" fmla="*/ 1914490 w 9586368"/>
              <a:gd name="connsiteY998" fmla="*/ 5757460 h 6479439"/>
              <a:gd name="connsiteX999" fmla="*/ 1914490 w 9586368"/>
              <a:gd name="connsiteY999" fmla="*/ 5747589 h 6479439"/>
              <a:gd name="connsiteX1000" fmla="*/ 1679201 w 9586368"/>
              <a:gd name="connsiteY1000" fmla="*/ 5743551 h 6479439"/>
              <a:gd name="connsiteX1001" fmla="*/ 1689112 w 9586368"/>
              <a:gd name="connsiteY1001" fmla="*/ 5743551 h 6479439"/>
              <a:gd name="connsiteX1002" fmla="*/ 1693131 w 9586368"/>
              <a:gd name="connsiteY1002" fmla="*/ 5747589 h 6479439"/>
              <a:gd name="connsiteX1003" fmla="*/ 1693131 w 9586368"/>
              <a:gd name="connsiteY1003" fmla="*/ 5757460 h 6479439"/>
              <a:gd name="connsiteX1004" fmla="*/ 1689112 w 9586368"/>
              <a:gd name="connsiteY1004" fmla="*/ 5761499 h 6479439"/>
              <a:gd name="connsiteX1005" fmla="*/ 1679201 w 9586368"/>
              <a:gd name="connsiteY1005" fmla="*/ 5761499 h 6479439"/>
              <a:gd name="connsiteX1006" fmla="*/ 1675183 w 9586368"/>
              <a:gd name="connsiteY1006" fmla="*/ 5757460 h 6479439"/>
              <a:gd name="connsiteX1007" fmla="*/ 1675183 w 9586368"/>
              <a:gd name="connsiteY1007" fmla="*/ 5747589 h 6479439"/>
              <a:gd name="connsiteX1008" fmla="*/ 1439886 w 9586368"/>
              <a:gd name="connsiteY1008" fmla="*/ 5743551 h 6479439"/>
              <a:gd name="connsiteX1009" fmla="*/ 1449797 w 9586368"/>
              <a:gd name="connsiteY1009" fmla="*/ 5743551 h 6479439"/>
              <a:gd name="connsiteX1010" fmla="*/ 1453815 w 9586368"/>
              <a:gd name="connsiteY1010" fmla="*/ 5747589 h 6479439"/>
              <a:gd name="connsiteX1011" fmla="*/ 1453815 w 9586368"/>
              <a:gd name="connsiteY1011" fmla="*/ 5757460 h 6479439"/>
              <a:gd name="connsiteX1012" fmla="*/ 1449797 w 9586368"/>
              <a:gd name="connsiteY1012" fmla="*/ 5761499 h 6479439"/>
              <a:gd name="connsiteX1013" fmla="*/ 1439886 w 9586368"/>
              <a:gd name="connsiteY1013" fmla="*/ 5761499 h 6479439"/>
              <a:gd name="connsiteX1014" fmla="*/ 1435868 w 9586368"/>
              <a:gd name="connsiteY1014" fmla="*/ 5757460 h 6479439"/>
              <a:gd name="connsiteX1015" fmla="*/ 1435868 w 9586368"/>
              <a:gd name="connsiteY1015" fmla="*/ 5747589 h 6479439"/>
              <a:gd name="connsiteX1016" fmla="*/ 1200572 w 9586368"/>
              <a:gd name="connsiteY1016" fmla="*/ 5743551 h 6479439"/>
              <a:gd name="connsiteX1017" fmla="*/ 1210482 w 9586368"/>
              <a:gd name="connsiteY1017" fmla="*/ 5743551 h 6479439"/>
              <a:gd name="connsiteX1018" fmla="*/ 1214500 w 9586368"/>
              <a:gd name="connsiteY1018" fmla="*/ 5747589 h 6479439"/>
              <a:gd name="connsiteX1019" fmla="*/ 1214500 w 9586368"/>
              <a:gd name="connsiteY1019" fmla="*/ 5757460 h 6479439"/>
              <a:gd name="connsiteX1020" fmla="*/ 1210482 w 9586368"/>
              <a:gd name="connsiteY1020" fmla="*/ 5761499 h 6479439"/>
              <a:gd name="connsiteX1021" fmla="*/ 1200572 w 9586368"/>
              <a:gd name="connsiteY1021" fmla="*/ 5761499 h 6479439"/>
              <a:gd name="connsiteX1022" fmla="*/ 1196553 w 9586368"/>
              <a:gd name="connsiteY1022" fmla="*/ 5757460 h 6479439"/>
              <a:gd name="connsiteX1023" fmla="*/ 1196553 w 9586368"/>
              <a:gd name="connsiteY1023" fmla="*/ 5747589 h 6479439"/>
              <a:gd name="connsiteX1024" fmla="*/ 961259 w 9586368"/>
              <a:gd name="connsiteY1024" fmla="*/ 5743551 h 6479439"/>
              <a:gd name="connsiteX1025" fmla="*/ 971169 w 9586368"/>
              <a:gd name="connsiteY1025" fmla="*/ 5743551 h 6479439"/>
              <a:gd name="connsiteX1026" fmla="*/ 975188 w 9586368"/>
              <a:gd name="connsiteY1026" fmla="*/ 5747589 h 6479439"/>
              <a:gd name="connsiteX1027" fmla="*/ 975188 w 9586368"/>
              <a:gd name="connsiteY1027" fmla="*/ 5757460 h 6479439"/>
              <a:gd name="connsiteX1028" fmla="*/ 971169 w 9586368"/>
              <a:gd name="connsiteY1028" fmla="*/ 5761499 h 6479439"/>
              <a:gd name="connsiteX1029" fmla="*/ 961259 w 9586368"/>
              <a:gd name="connsiteY1029" fmla="*/ 5761499 h 6479439"/>
              <a:gd name="connsiteX1030" fmla="*/ 957240 w 9586368"/>
              <a:gd name="connsiteY1030" fmla="*/ 5757460 h 6479439"/>
              <a:gd name="connsiteX1031" fmla="*/ 957240 w 9586368"/>
              <a:gd name="connsiteY1031" fmla="*/ 5747589 h 6479439"/>
              <a:gd name="connsiteX1032" fmla="*/ 9572438 w 9586368"/>
              <a:gd name="connsiteY1032" fmla="*/ 5743499 h 6479439"/>
              <a:gd name="connsiteX1033" fmla="*/ 9582349 w 9586368"/>
              <a:gd name="connsiteY1033" fmla="*/ 5743499 h 6479439"/>
              <a:gd name="connsiteX1034" fmla="*/ 9586368 w 9586368"/>
              <a:gd name="connsiteY1034" fmla="*/ 5747537 h 6479439"/>
              <a:gd name="connsiteX1035" fmla="*/ 9586368 w 9586368"/>
              <a:gd name="connsiteY1035" fmla="*/ 5757408 h 6479439"/>
              <a:gd name="connsiteX1036" fmla="*/ 9582349 w 9586368"/>
              <a:gd name="connsiteY1036" fmla="*/ 5761447 h 6479439"/>
              <a:gd name="connsiteX1037" fmla="*/ 9572438 w 9586368"/>
              <a:gd name="connsiteY1037" fmla="*/ 5761447 h 6479439"/>
              <a:gd name="connsiteX1038" fmla="*/ 9568419 w 9586368"/>
              <a:gd name="connsiteY1038" fmla="*/ 5757408 h 6479439"/>
              <a:gd name="connsiteX1039" fmla="*/ 9568419 w 9586368"/>
              <a:gd name="connsiteY1039" fmla="*/ 5747537 h 6479439"/>
              <a:gd name="connsiteX1040" fmla="*/ 9333125 w 9586368"/>
              <a:gd name="connsiteY1040" fmla="*/ 5743499 h 6479439"/>
              <a:gd name="connsiteX1041" fmla="*/ 9343036 w 9586368"/>
              <a:gd name="connsiteY1041" fmla="*/ 5743499 h 6479439"/>
              <a:gd name="connsiteX1042" fmla="*/ 9347055 w 9586368"/>
              <a:gd name="connsiteY1042" fmla="*/ 5747537 h 6479439"/>
              <a:gd name="connsiteX1043" fmla="*/ 9347055 w 9586368"/>
              <a:gd name="connsiteY1043" fmla="*/ 5757408 h 6479439"/>
              <a:gd name="connsiteX1044" fmla="*/ 9343036 w 9586368"/>
              <a:gd name="connsiteY1044" fmla="*/ 5761447 h 6479439"/>
              <a:gd name="connsiteX1045" fmla="*/ 9333125 w 9586368"/>
              <a:gd name="connsiteY1045" fmla="*/ 5761447 h 6479439"/>
              <a:gd name="connsiteX1046" fmla="*/ 9329106 w 9586368"/>
              <a:gd name="connsiteY1046" fmla="*/ 5757408 h 6479439"/>
              <a:gd name="connsiteX1047" fmla="*/ 9329106 w 9586368"/>
              <a:gd name="connsiteY1047" fmla="*/ 5747537 h 6479439"/>
              <a:gd name="connsiteX1048" fmla="*/ 9093811 w 9586368"/>
              <a:gd name="connsiteY1048" fmla="*/ 5743499 h 6479439"/>
              <a:gd name="connsiteX1049" fmla="*/ 9103722 w 9586368"/>
              <a:gd name="connsiteY1049" fmla="*/ 5743499 h 6479439"/>
              <a:gd name="connsiteX1050" fmla="*/ 9107741 w 9586368"/>
              <a:gd name="connsiteY1050" fmla="*/ 5747537 h 6479439"/>
              <a:gd name="connsiteX1051" fmla="*/ 9107741 w 9586368"/>
              <a:gd name="connsiteY1051" fmla="*/ 5757408 h 6479439"/>
              <a:gd name="connsiteX1052" fmla="*/ 9103722 w 9586368"/>
              <a:gd name="connsiteY1052" fmla="*/ 5761447 h 6479439"/>
              <a:gd name="connsiteX1053" fmla="*/ 9093811 w 9586368"/>
              <a:gd name="connsiteY1053" fmla="*/ 5761447 h 6479439"/>
              <a:gd name="connsiteX1054" fmla="*/ 9089792 w 9586368"/>
              <a:gd name="connsiteY1054" fmla="*/ 5757408 h 6479439"/>
              <a:gd name="connsiteX1055" fmla="*/ 9089792 w 9586368"/>
              <a:gd name="connsiteY1055" fmla="*/ 5747537 h 6479439"/>
              <a:gd name="connsiteX1056" fmla="*/ 8854496 w 9586368"/>
              <a:gd name="connsiteY1056" fmla="*/ 5743499 h 6479439"/>
              <a:gd name="connsiteX1057" fmla="*/ 8864407 w 9586368"/>
              <a:gd name="connsiteY1057" fmla="*/ 5743499 h 6479439"/>
              <a:gd name="connsiteX1058" fmla="*/ 8868426 w 9586368"/>
              <a:gd name="connsiteY1058" fmla="*/ 5747537 h 6479439"/>
              <a:gd name="connsiteX1059" fmla="*/ 8868426 w 9586368"/>
              <a:gd name="connsiteY1059" fmla="*/ 5757408 h 6479439"/>
              <a:gd name="connsiteX1060" fmla="*/ 8864407 w 9586368"/>
              <a:gd name="connsiteY1060" fmla="*/ 5761447 h 6479439"/>
              <a:gd name="connsiteX1061" fmla="*/ 8854496 w 9586368"/>
              <a:gd name="connsiteY1061" fmla="*/ 5761447 h 6479439"/>
              <a:gd name="connsiteX1062" fmla="*/ 8850477 w 9586368"/>
              <a:gd name="connsiteY1062" fmla="*/ 5757408 h 6479439"/>
              <a:gd name="connsiteX1063" fmla="*/ 8850477 w 9586368"/>
              <a:gd name="connsiteY1063" fmla="*/ 5747537 h 6479439"/>
              <a:gd name="connsiteX1064" fmla="*/ 8615184 w 9586368"/>
              <a:gd name="connsiteY1064" fmla="*/ 5743499 h 6479439"/>
              <a:gd name="connsiteX1065" fmla="*/ 8625095 w 9586368"/>
              <a:gd name="connsiteY1065" fmla="*/ 5743499 h 6479439"/>
              <a:gd name="connsiteX1066" fmla="*/ 8629114 w 9586368"/>
              <a:gd name="connsiteY1066" fmla="*/ 5747537 h 6479439"/>
              <a:gd name="connsiteX1067" fmla="*/ 8629114 w 9586368"/>
              <a:gd name="connsiteY1067" fmla="*/ 5757408 h 6479439"/>
              <a:gd name="connsiteX1068" fmla="*/ 8625095 w 9586368"/>
              <a:gd name="connsiteY1068" fmla="*/ 5761447 h 6479439"/>
              <a:gd name="connsiteX1069" fmla="*/ 8615184 w 9586368"/>
              <a:gd name="connsiteY1069" fmla="*/ 5761447 h 6479439"/>
              <a:gd name="connsiteX1070" fmla="*/ 8611165 w 9586368"/>
              <a:gd name="connsiteY1070" fmla="*/ 5757408 h 6479439"/>
              <a:gd name="connsiteX1071" fmla="*/ 8611165 w 9586368"/>
              <a:gd name="connsiteY1071" fmla="*/ 5747537 h 6479439"/>
              <a:gd name="connsiteX1072" fmla="*/ 8375869 w 9586368"/>
              <a:gd name="connsiteY1072" fmla="*/ 5743499 h 6479439"/>
              <a:gd name="connsiteX1073" fmla="*/ 8385779 w 9586368"/>
              <a:gd name="connsiteY1073" fmla="*/ 5743499 h 6479439"/>
              <a:gd name="connsiteX1074" fmla="*/ 8389799 w 9586368"/>
              <a:gd name="connsiteY1074" fmla="*/ 5747537 h 6479439"/>
              <a:gd name="connsiteX1075" fmla="*/ 8389799 w 9586368"/>
              <a:gd name="connsiteY1075" fmla="*/ 5757408 h 6479439"/>
              <a:gd name="connsiteX1076" fmla="*/ 8385779 w 9586368"/>
              <a:gd name="connsiteY1076" fmla="*/ 5761447 h 6479439"/>
              <a:gd name="connsiteX1077" fmla="*/ 8375869 w 9586368"/>
              <a:gd name="connsiteY1077" fmla="*/ 5761447 h 6479439"/>
              <a:gd name="connsiteX1078" fmla="*/ 8371850 w 9586368"/>
              <a:gd name="connsiteY1078" fmla="*/ 5757408 h 6479439"/>
              <a:gd name="connsiteX1079" fmla="*/ 8371850 w 9586368"/>
              <a:gd name="connsiteY1079" fmla="*/ 5747537 h 6479439"/>
              <a:gd name="connsiteX1080" fmla="*/ 8136553 w 9586368"/>
              <a:gd name="connsiteY1080" fmla="*/ 5743499 h 6479439"/>
              <a:gd name="connsiteX1081" fmla="*/ 8146464 w 9586368"/>
              <a:gd name="connsiteY1081" fmla="*/ 5743499 h 6479439"/>
              <a:gd name="connsiteX1082" fmla="*/ 8150483 w 9586368"/>
              <a:gd name="connsiteY1082" fmla="*/ 5747537 h 6479439"/>
              <a:gd name="connsiteX1083" fmla="*/ 8150483 w 9586368"/>
              <a:gd name="connsiteY1083" fmla="*/ 5757408 h 6479439"/>
              <a:gd name="connsiteX1084" fmla="*/ 8146464 w 9586368"/>
              <a:gd name="connsiteY1084" fmla="*/ 5761447 h 6479439"/>
              <a:gd name="connsiteX1085" fmla="*/ 8136553 w 9586368"/>
              <a:gd name="connsiteY1085" fmla="*/ 5761447 h 6479439"/>
              <a:gd name="connsiteX1086" fmla="*/ 8132534 w 9586368"/>
              <a:gd name="connsiteY1086" fmla="*/ 5757408 h 6479439"/>
              <a:gd name="connsiteX1087" fmla="*/ 8132534 w 9586368"/>
              <a:gd name="connsiteY1087" fmla="*/ 5747537 h 6479439"/>
              <a:gd name="connsiteX1088" fmla="*/ 7897241 w 9586368"/>
              <a:gd name="connsiteY1088" fmla="*/ 5743499 h 6479439"/>
              <a:gd name="connsiteX1089" fmla="*/ 7907151 w 9586368"/>
              <a:gd name="connsiteY1089" fmla="*/ 5743499 h 6479439"/>
              <a:gd name="connsiteX1090" fmla="*/ 7911170 w 9586368"/>
              <a:gd name="connsiteY1090" fmla="*/ 5747537 h 6479439"/>
              <a:gd name="connsiteX1091" fmla="*/ 7911170 w 9586368"/>
              <a:gd name="connsiteY1091" fmla="*/ 5757408 h 6479439"/>
              <a:gd name="connsiteX1092" fmla="*/ 7907151 w 9586368"/>
              <a:gd name="connsiteY1092" fmla="*/ 5761447 h 6479439"/>
              <a:gd name="connsiteX1093" fmla="*/ 7897241 w 9586368"/>
              <a:gd name="connsiteY1093" fmla="*/ 5761447 h 6479439"/>
              <a:gd name="connsiteX1094" fmla="*/ 7893222 w 9586368"/>
              <a:gd name="connsiteY1094" fmla="*/ 5757408 h 6479439"/>
              <a:gd name="connsiteX1095" fmla="*/ 7893222 w 9586368"/>
              <a:gd name="connsiteY1095" fmla="*/ 5747537 h 6479439"/>
              <a:gd name="connsiteX1096" fmla="*/ 7657926 w 9586368"/>
              <a:gd name="connsiteY1096" fmla="*/ 5743499 h 6479439"/>
              <a:gd name="connsiteX1097" fmla="*/ 7667836 w 9586368"/>
              <a:gd name="connsiteY1097" fmla="*/ 5743499 h 6479439"/>
              <a:gd name="connsiteX1098" fmla="*/ 7671855 w 9586368"/>
              <a:gd name="connsiteY1098" fmla="*/ 5747537 h 6479439"/>
              <a:gd name="connsiteX1099" fmla="*/ 7671855 w 9586368"/>
              <a:gd name="connsiteY1099" fmla="*/ 5757408 h 6479439"/>
              <a:gd name="connsiteX1100" fmla="*/ 7667836 w 9586368"/>
              <a:gd name="connsiteY1100" fmla="*/ 5761447 h 6479439"/>
              <a:gd name="connsiteX1101" fmla="*/ 7657926 w 9586368"/>
              <a:gd name="connsiteY1101" fmla="*/ 5761447 h 6479439"/>
              <a:gd name="connsiteX1102" fmla="*/ 7653906 w 9586368"/>
              <a:gd name="connsiteY1102" fmla="*/ 5757408 h 6479439"/>
              <a:gd name="connsiteX1103" fmla="*/ 7653906 w 9586368"/>
              <a:gd name="connsiteY1103" fmla="*/ 5747537 h 6479439"/>
              <a:gd name="connsiteX1104" fmla="*/ 7418611 w 9586368"/>
              <a:gd name="connsiteY1104" fmla="*/ 5743499 h 6479439"/>
              <a:gd name="connsiteX1105" fmla="*/ 7428521 w 9586368"/>
              <a:gd name="connsiteY1105" fmla="*/ 5743499 h 6479439"/>
              <a:gd name="connsiteX1106" fmla="*/ 7432540 w 9586368"/>
              <a:gd name="connsiteY1106" fmla="*/ 5747537 h 6479439"/>
              <a:gd name="connsiteX1107" fmla="*/ 7432540 w 9586368"/>
              <a:gd name="connsiteY1107" fmla="*/ 5757408 h 6479439"/>
              <a:gd name="connsiteX1108" fmla="*/ 7428521 w 9586368"/>
              <a:gd name="connsiteY1108" fmla="*/ 5761447 h 6479439"/>
              <a:gd name="connsiteX1109" fmla="*/ 7418611 w 9586368"/>
              <a:gd name="connsiteY1109" fmla="*/ 5761447 h 6479439"/>
              <a:gd name="connsiteX1110" fmla="*/ 7414592 w 9586368"/>
              <a:gd name="connsiteY1110" fmla="*/ 5757408 h 6479439"/>
              <a:gd name="connsiteX1111" fmla="*/ 7414592 w 9586368"/>
              <a:gd name="connsiteY1111" fmla="*/ 5747537 h 6479439"/>
              <a:gd name="connsiteX1112" fmla="*/ 7179298 w 9586368"/>
              <a:gd name="connsiteY1112" fmla="*/ 5743499 h 6479439"/>
              <a:gd name="connsiteX1113" fmla="*/ 7189209 w 9586368"/>
              <a:gd name="connsiteY1113" fmla="*/ 5743499 h 6479439"/>
              <a:gd name="connsiteX1114" fmla="*/ 7193228 w 9586368"/>
              <a:gd name="connsiteY1114" fmla="*/ 5747537 h 6479439"/>
              <a:gd name="connsiteX1115" fmla="*/ 7193228 w 9586368"/>
              <a:gd name="connsiteY1115" fmla="*/ 5757408 h 6479439"/>
              <a:gd name="connsiteX1116" fmla="*/ 7189209 w 9586368"/>
              <a:gd name="connsiteY1116" fmla="*/ 5761447 h 6479439"/>
              <a:gd name="connsiteX1117" fmla="*/ 7179298 w 9586368"/>
              <a:gd name="connsiteY1117" fmla="*/ 5761447 h 6479439"/>
              <a:gd name="connsiteX1118" fmla="*/ 7175279 w 9586368"/>
              <a:gd name="connsiteY1118" fmla="*/ 5757408 h 6479439"/>
              <a:gd name="connsiteX1119" fmla="*/ 7175279 w 9586368"/>
              <a:gd name="connsiteY1119" fmla="*/ 5747537 h 6479439"/>
              <a:gd name="connsiteX1120" fmla="*/ 6939983 w 9586368"/>
              <a:gd name="connsiteY1120" fmla="*/ 5743499 h 6479439"/>
              <a:gd name="connsiteX1121" fmla="*/ 6949894 w 9586368"/>
              <a:gd name="connsiteY1121" fmla="*/ 5743499 h 6479439"/>
              <a:gd name="connsiteX1122" fmla="*/ 6953913 w 9586368"/>
              <a:gd name="connsiteY1122" fmla="*/ 5747537 h 6479439"/>
              <a:gd name="connsiteX1123" fmla="*/ 6953913 w 9586368"/>
              <a:gd name="connsiteY1123" fmla="*/ 5757408 h 6479439"/>
              <a:gd name="connsiteX1124" fmla="*/ 6949894 w 9586368"/>
              <a:gd name="connsiteY1124" fmla="*/ 5761447 h 6479439"/>
              <a:gd name="connsiteX1125" fmla="*/ 6939983 w 9586368"/>
              <a:gd name="connsiteY1125" fmla="*/ 5761447 h 6479439"/>
              <a:gd name="connsiteX1126" fmla="*/ 6935964 w 9586368"/>
              <a:gd name="connsiteY1126" fmla="*/ 5757408 h 6479439"/>
              <a:gd name="connsiteX1127" fmla="*/ 6935964 w 9586368"/>
              <a:gd name="connsiteY1127" fmla="*/ 5747537 h 6479439"/>
              <a:gd name="connsiteX1128" fmla="*/ 6700670 w 9586368"/>
              <a:gd name="connsiteY1128" fmla="*/ 5743499 h 6479439"/>
              <a:gd name="connsiteX1129" fmla="*/ 6710581 w 9586368"/>
              <a:gd name="connsiteY1129" fmla="*/ 5743499 h 6479439"/>
              <a:gd name="connsiteX1130" fmla="*/ 6714600 w 9586368"/>
              <a:gd name="connsiteY1130" fmla="*/ 5747537 h 6479439"/>
              <a:gd name="connsiteX1131" fmla="*/ 6714600 w 9586368"/>
              <a:gd name="connsiteY1131" fmla="*/ 5757408 h 6479439"/>
              <a:gd name="connsiteX1132" fmla="*/ 6710581 w 9586368"/>
              <a:gd name="connsiteY1132" fmla="*/ 5761447 h 6479439"/>
              <a:gd name="connsiteX1133" fmla="*/ 6700670 w 9586368"/>
              <a:gd name="connsiteY1133" fmla="*/ 5761447 h 6479439"/>
              <a:gd name="connsiteX1134" fmla="*/ 6696651 w 9586368"/>
              <a:gd name="connsiteY1134" fmla="*/ 5757408 h 6479439"/>
              <a:gd name="connsiteX1135" fmla="*/ 6696651 w 9586368"/>
              <a:gd name="connsiteY1135" fmla="*/ 5747537 h 6479439"/>
              <a:gd name="connsiteX1136" fmla="*/ 6461356 w 9586368"/>
              <a:gd name="connsiteY1136" fmla="*/ 5743499 h 6479439"/>
              <a:gd name="connsiteX1137" fmla="*/ 6471266 w 9586368"/>
              <a:gd name="connsiteY1137" fmla="*/ 5743499 h 6479439"/>
              <a:gd name="connsiteX1138" fmla="*/ 6475285 w 9586368"/>
              <a:gd name="connsiteY1138" fmla="*/ 5747537 h 6479439"/>
              <a:gd name="connsiteX1139" fmla="*/ 6475285 w 9586368"/>
              <a:gd name="connsiteY1139" fmla="*/ 5757408 h 6479439"/>
              <a:gd name="connsiteX1140" fmla="*/ 6471266 w 9586368"/>
              <a:gd name="connsiteY1140" fmla="*/ 5761447 h 6479439"/>
              <a:gd name="connsiteX1141" fmla="*/ 6461356 w 9586368"/>
              <a:gd name="connsiteY1141" fmla="*/ 5761447 h 6479439"/>
              <a:gd name="connsiteX1142" fmla="*/ 6457337 w 9586368"/>
              <a:gd name="connsiteY1142" fmla="*/ 5757408 h 6479439"/>
              <a:gd name="connsiteX1143" fmla="*/ 6457337 w 9586368"/>
              <a:gd name="connsiteY1143" fmla="*/ 5747537 h 6479439"/>
              <a:gd name="connsiteX1144" fmla="*/ 6222042 w 9586368"/>
              <a:gd name="connsiteY1144" fmla="*/ 5743499 h 6479439"/>
              <a:gd name="connsiteX1145" fmla="*/ 6231952 w 9586368"/>
              <a:gd name="connsiteY1145" fmla="*/ 5743499 h 6479439"/>
              <a:gd name="connsiteX1146" fmla="*/ 6235971 w 9586368"/>
              <a:gd name="connsiteY1146" fmla="*/ 5747537 h 6479439"/>
              <a:gd name="connsiteX1147" fmla="*/ 6235971 w 9586368"/>
              <a:gd name="connsiteY1147" fmla="*/ 5757408 h 6479439"/>
              <a:gd name="connsiteX1148" fmla="*/ 6231952 w 9586368"/>
              <a:gd name="connsiteY1148" fmla="*/ 5761447 h 6479439"/>
              <a:gd name="connsiteX1149" fmla="*/ 6222042 w 9586368"/>
              <a:gd name="connsiteY1149" fmla="*/ 5761447 h 6479439"/>
              <a:gd name="connsiteX1150" fmla="*/ 6218023 w 9586368"/>
              <a:gd name="connsiteY1150" fmla="*/ 5757408 h 6479439"/>
              <a:gd name="connsiteX1151" fmla="*/ 6218023 w 9586368"/>
              <a:gd name="connsiteY1151" fmla="*/ 5747537 h 6479439"/>
              <a:gd name="connsiteX1152" fmla="*/ 5982729 w 9586368"/>
              <a:gd name="connsiteY1152" fmla="*/ 5743499 h 6479439"/>
              <a:gd name="connsiteX1153" fmla="*/ 5992639 w 9586368"/>
              <a:gd name="connsiteY1153" fmla="*/ 5743499 h 6479439"/>
              <a:gd name="connsiteX1154" fmla="*/ 5996658 w 9586368"/>
              <a:gd name="connsiteY1154" fmla="*/ 5747537 h 6479439"/>
              <a:gd name="connsiteX1155" fmla="*/ 5996658 w 9586368"/>
              <a:gd name="connsiteY1155" fmla="*/ 5757408 h 6479439"/>
              <a:gd name="connsiteX1156" fmla="*/ 5992639 w 9586368"/>
              <a:gd name="connsiteY1156" fmla="*/ 5761447 h 6479439"/>
              <a:gd name="connsiteX1157" fmla="*/ 5982729 w 9586368"/>
              <a:gd name="connsiteY1157" fmla="*/ 5761447 h 6479439"/>
              <a:gd name="connsiteX1158" fmla="*/ 5978710 w 9586368"/>
              <a:gd name="connsiteY1158" fmla="*/ 5757408 h 6479439"/>
              <a:gd name="connsiteX1159" fmla="*/ 5978710 w 9586368"/>
              <a:gd name="connsiteY1159" fmla="*/ 5747537 h 6479439"/>
              <a:gd name="connsiteX1160" fmla="*/ 5743412 w 9586368"/>
              <a:gd name="connsiteY1160" fmla="*/ 5743499 h 6479439"/>
              <a:gd name="connsiteX1161" fmla="*/ 5753323 w 9586368"/>
              <a:gd name="connsiteY1161" fmla="*/ 5743499 h 6479439"/>
              <a:gd name="connsiteX1162" fmla="*/ 5757342 w 9586368"/>
              <a:gd name="connsiteY1162" fmla="*/ 5747537 h 6479439"/>
              <a:gd name="connsiteX1163" fmla="*/ 5757342 w 9586368"/>
              <a:gd name="connsiteY1163" fmla="*/ 5757408 h 6479439"/>
              <a:gd name="connsiteX1164" fmla="*/ 5753323 w 9586368"/>
              <a:gd name="connsiteY1164" fmla="*/ 5761447 h 6479439"/>
              <a:gd name="connsiteX1165" fmla="*/ 5743412 w 9586368"/>
              <a:gd name="connsiteY1165" fmla="*/ 5761447 h 6479439"/>
              <a:gd name="connsiteX1166" fmla="*/ 5739393 w 9586368"/>
              <a:gd name="connsiteY1166" fmla="*/ 5757408 h 6479439"/>
              <a:gd name="connsiteX1167" fmla="*/ 5739393 w 9586368"/>
              <a:gd name="connsiteY1167" fmla="*/ 5747537 h 6479439"/>
              <a:gd name="connsiteX1168" fmla="*/ 5504099 w 9586368"/>
              <a:gd name="connsiteY1168" fmla="*/ 5743499 h 6479439"/>
              <a:gd name="connsiteX1169" fmla="*/ 5514010 w 9586368"/>
              <a:gd name="connsiteY1169" fmla="*/ 5743499 h 6479439"/>
              <a:gd name="connsiteX1170" fmla="*/ 5518029 w 9586368"/>
              <a:gd name="connsiteY1170" fmla="*/ 5747537 h 6479439"/>
              <a:gd name="connsiteX1171" fmla="*/ 5518029 w 9586368"/>
              <a:gd name="connsiteY1171" fmla="*/ 5757408 h 6479439"/>
              <a:gd name="connsiteX1172" fmla="*/ 5514010 w 9586368"/>
              <a:gd name="connsiteY1172" fmla="*/ 5761447 h 6479439"/>
              <a:gd name="connsiteX1173" fmla="*/ 5504099 w 9586368"/>
              <a:gd name="connsiteY1173" fmla="*/ 5761447 h 6479439"/>
              <a:gd name="connsiteX1174" fmla="*/ 5500080 w 9586368"/>
              <a:gd name="connsiteY1174" fmla="*/ 5757408 h 6479439"/>
              <a:gd name="connsiteX1175" fmla="*/ 5500080 w 9586368"/>
              <a:gd name="connsiteY1175" fmla="*/ 5747537 h 6479439"/>
              <a:gd name="connsiteX1176" fmla="*/ 5264784 w 9586368"/>
              <a:gd name="connsiteY1176" fmla="*/ 5743499 h 6479439"/>
              <a:gd name="connsiteX1177" fmla="*/ 5274694 w 9586368"/>
              <a:gd name="connsiteY1177" fmla="*/ 5743499 h 6479439"/>
              <a:gd name="connsiteX1178" fmla="*/ 5278713 w 9586368"/>
              <a:gd name="connsiteY1178" fmla="*/ 5747537 h 6479439"/>
              <a:gd name="connsiteX1179" fmla="*/ 5278713 w 9586368"/>
              <a:gd name="connsiteY1179" fmla="*/ 5757408 h 6479439"/>
              <a:gd name="connsiteX1180" fmla="*/ 5274694 w 9586368"/>
              <a:gd name="connsiteY1180" fmla="*/ 5761447 h 6479439"/>
              <a:gd name="connsiteX1181" fmla="*/ 5264784 w 9586368"/>
              <a:gd name="connsiteY1181" fmla="*/ 5761447 h 6479439"/>
              <a:gd name="connsiteX1182" fmla="*/ 5260765 w 9586368"/>
              <a:gd name="connsiteY1182" fmla="*/ 5757408 h 6479439"/>
              <a:gd name="connsiteX1183" fmla="*/ 5260765 w 9586368"/>
              <a:gd name="connsiteY1183" fmla="*/ 5747537 h 6479439"/>
              <a:gd name="connsiteX1184" fmla="*/ 5025470 w 9586368"/>
              <a:gd name="connsiteY1184" fmla="*/ 5743499 h 6479439"/>
              <a:gd name="connsiteX1185" fmla="*/ 5035381 w 9586368"/>
              <a:gd name="connsiteY1185" fmla="*/ 5743499 h 6479439"/>
              <a:gd name="connsiteX1186" fmla="*/ 5039400 w 9586368"/>
              <a:gd name="connsiteY1186" fmla="*/ 5747537 h 6479439"/>
              <a:gd name="connsiteX1187" fmla="*/ 5039400 w 9586368"/>
              <a:gd name="connsiteY1187" fmla="*/ 5757408 h 6479439"/>
              <a:gd name="connsiteX1188" fmla="*/ 5035381 w 9586368"/>
              <a:gd name="connsiteY1188" fmla="*/ 5761447 h 6479439"/>
              <a:gd name="connsiteX1189" fmla="*/ 5025470 w 9586368"/>
              <a:gd name="connsiteY1189" fmla="*/ 5761447 h 6479439"/>
              <a:gd name="connsiteX1190" fmla="*/ 5021451 w 9586368"/>
              <a:gd name="connsiteY1190" fmla="*/ 5757408 h 6479439"/>
              <a:gd name="connsiteX1191" fmla="*/ 5021451 w 9586368"/>
              <a:gd name="connsiteY1191" fmla="*/ 5747537 h 6479439"/>
              <a:gd name="connsiteX1192" fmla="*/ 4786241 w 9586368"/>
              <a:gd name="connsiteY1192" fmla="*/ 5743499 h 6479439"/>
              <a:gd name="connsiteX1193" fmla="*/ 4796152 w 9586368"/>
              <a:gd name="connsiteY1193" fmla="*/ 5743499 h 6479439"/>
              <a:gd name="connsiteX1194" fmla="*/ 4800171 w 9586368"/>
              <a:gd name="connsiteY1194" fmla="*/ 5747537 h 6479439"/>
              <a:gd name="connsiteX1195" fmla="*/ 4800171 w 9586368"/>
              <a:gd name="connsiteY1195" fmla="*/ 5757408 h 6479439"/>
              <a:gd name="connsiteX1196" fmla="*/ 4796152 w 9586368"/>
              <a:gd name="connsiteY1196" fmla="*/ 5761447 h 6479439"/>
              <a:gd name="connsiteX1197" fmla="*/ 4786241 w 9586368"/>
              <a:gd name="connsiteY1197" fmla="*/ 5761447 h 6479439"/>
              <a:gd name="connsiteX1198" fmla="*/ 4782224 w 9586368"/>
              <a:gd name="connsiteY1198" fmla="*/ 5757408 h 6479439"/>
              <a:gd name="connsiteX1199" fmla="*/ 4782224 w 9586368"/>
              <a:gd name="connsiteY1199" fmla="*/ 5747537 h 6479439"/>
              <a:gd name="connsiteX1200" fmla="*/ 4546929 w 9586368"/>
              <a:gd name="connsiteY1200" fmla="*/ 5743499 h 6479439"/>
              <a:gd name="connsiteX1201" fmla="*/ 4556840 w 9586368"/>
              <a:gd name="connsiteY1201" fmla="*/ 5743499 h 6479439"/>
              <a:gd name="connsiteX1202" fmla="*/ 4560859 w 9586368"/>
              <a:gd name="connsiteY1202" fmla="*/ 5747537 h 6479439"/>
              <a:gd name="connsiteX1203" fmla="*/ 4560859 w 9586368"/>
              <a:gd name="connsiteY1203" fmla="*/ 5757408 h 6479439"/>
              <a:gd name="connsiteX1204" fmla="*/ 4556840 w 9586368"/>
              <a:gd name="connsiteY1204" fmla="*/ 5761447 h 6479439"/>
              <a:gd name="connsiteX1205" fmla="*/ 4546929 w 9586368"/>
              <a:gd name="connsiteY1205" fmla="*/ 5761447 h 6479439"/>
              <a:gd name="connsiteX1206" fmla="*/ 4542910 w 9586368"/>
              <a:gd name="connsiteY1206" fmla="*/ 5757408 h 6479439"/>
              <a:gd name="connsiteX1207" fmla="*/ 4542910 w 9586368"/>
              <a:gd name="connsiteY1207" fmla="*/ 5747537 h 6479439"/>
              <a:gd name="connsiteX1208" fmla="*/ 4307612 w 9586368"/>
              <a:gd name="connsiteY1208" fmla="*/ 5743499 h 6479439"/>
              <a:gd name="connsiteX1209" fmla="*/ 4317523 w 9586368"/>
              <a:gd name="connsiteY1209" fmla="*/ 5743499 h 6479439"/>
              <a:gd name="connsiteX1210" fmla="*/ 4321543 w 9586368"/>
              <a:gd name="connsiteY1210" fmla="*/ 5747537 h 6479439"/>
              <a:gd name="connsiteX1211" fmla="*/ 4321543 w 9586368"/>
              <a:gd name="connsiteY1211" fmla="*/ 5757408 h 6479439"/>
              <a:gd name="connsiteX1212" fmla="*/ 4317523 w 9586368"/>
              <a:gd name="connsiteY1212" fmla="*/ 5761447 h 6479439"/>
              <a:gd name="connsiteX1213" fmla="*/ 4307612 w 9586368"/>
              <a:gd name="connsiteY1213" fmla="*/ 5761447 h 6479439"/>
              <a:gd name="connsiteX1214" fmla="*/ 4303595 w 9586368"/>
              <a:gd name="connsiteY1214" fmla="*/ 5757408 h 6479439"/>
              <a:gd name="connsiteX1215" fmla="*/ 4303595 w 9586368"/>
              <a:gd name="connsiteY1215" fmla="*/ 5747537 h 6479439"/>
              <a:gd name="connsiteX1216" fmla="*/ 4068297 w 9586368"/>
              <a:gd name="connsiteY1216" fmla="*/ 5743499 h 6479439"/>
              <a:gd name="connsiteX1217" fmla="*/ 4078210 w 9586368"/>
              <a:gd name="connsiteY1217" fmla="*/ 5743499 h 6479439"/>
              <a:gd name="connsiteX1218" fmla="*/ 4082229 w 9586368"/>
              <a:gd name="connsiteY1218" fmla="*/ 5747537 h 6479439"/>
              <a:gd name="connsiteX1219" fmla="*/ 4082229 w 9586368"/>
              <a:gd name="connsiteY1219" fmla="*/ 5757408 h 6479439"/>
              <a:gd name="connsiteX1220" fmla="*/ 4078210 w 9586368"/>
              <a:gd name="connsiteY1220" fmla="*/ 5761447 h 6479439"/>
              <a:gd name="connsiteX1221" fmla="*/ 4068297 w 9586368"/>
              <a:gd name="connsiteY1221" fmla="*/ 5761447 h 6479439"/>
              <a:gd name="connsiteX1222" fmla="*/ 4064278 w 9586368"/>
              <a:gd name="connsiteY1222" fmla="*/ 5757408 h 6479439"/>
              <a:gd name="connsiteX1223" fmla="*/ 4064278 w 9586368"/>
              <a:gd name="connsiteY1223" fmla="*/ 5747537 h 6479439"/>
              <a:gd name="connsiteX1224" fmla="*/ 3828990 w 9586368"/>
              <a:gd name="connsiteY1224" fmla="*/ 5743499 h 6479439"/>
              <a:gd name="connsiteX1225" fmla="*/ 3838899 w 9586368"/>
              <a:gd name="connsiteY1225" fmla="*/ 5743499 h 6479439"/>
              <a:gd name="connsiteX1226" fmla="*/ 3842917 w 9586368"/>
              <a:gd name="connsiteY1226" fmla="*/ 5747537 h 6479439"/>
              <a:gd name="connsiteX1227" fmla="*/ 3842917 w 9586368"/>
              <a:gd name="connsiteY1227" fmla="*/ 5757408 h 6479439"/>
              <a:gd name="connsiteX1228" fmla="*/ 3838899 w 9586368"/>
              <a:gd name="connsiteY1228" fmla="*/ 5761447 h 6479439"/>
              <a:gd name="connsiteX1229" fmla="*/ 3828990 w 9586368"/>
              <a:gd name="connsiteY1229" fmla="*/ 5761447 h 6479439"/>
              <a:gd name="connsiteX1230" fmla="*/ 3824971 w 9586368"/>
              <a:gd name="connsiteY1230" fmla="*/ 5757408 h 6479439"/>
              <a:gd name="connsiteX1231" fmla="*/ 3824971 w 9586368"/>
              <a:gd name="connsiteY1231" fmla="*/ 5747537 h 6479439"/>
              <a:gd name="connsiteX1232" fmla="*/ 3589676 w 9586368"/>
              <a:gd name="connsiteY1232" fmla="*/ 5743499 h 6479439"/>
              <a:gd name="connsiteX1233" fmla="*/ 3599585 w 9586368"/>
              <a:gd name="connsiteY1233" fmla="*/ 5743499 h 6479439"/>
              <a:gd name="connsiteX1234" fmla="*/ 3603604 w 9586368"/>
              <a:gd name="connsiteY1234" fmla="*/ 5747537 h 6479439"/>
              <a:gd name="connsiteX1235" fmla="*/ 3603604 w 9586368"/>
              <a:gd name="connsiteY1235" fmla="*/ 5757408 h 6479439"/>
              <a:gd name="connsiteX1236" fmla="*/ 3599585 w 9586368"/>
              <a:gd name="connsiteY1236" fmla="*/ 5761447 h 6479439"/>
              <a:gd name="connsiteX1237" fmla="*/ 3589676 w 9586368"/>
              <a:gd name="connsiteY1237" fmla="*/ 5761447 h 6479439"/>
              <a:gd name="connsiteX1238" fmla="*/ 3585657 w 9586368"/>
              <a:gd name="connsiteY1238" fmla="*/ 5757408 h 6479439"/>
              <a:gd name="connsiteX1239" fmla="*/ 3585657 w 9586368"/>
              <a:gd name="connsiteY1239" fmla="*/ 5747537 h 6479439"/>
              <a:gd name="connsiteX1240" fmla="*/ 3350359 w 9586368"/>
              <a:gd name="connsiteY1240" fmla="*/ 5743499 h 6479439"/>
              <a:gd name="connsiteX1241" fmla="*/ 3360268 w 9586368"/>
              <a:gd name="connsiteY1241" fmla="*/ 5743499 h 6479439"/>
              <a:gd name="connsiteX1242" fmla="*/ 3364287 w 9586368"/>
              <a:gd name="connsiteY1242" fmla="*/ 5747537 h 6479439"/>
              <a:gd name="connsiteX1243" fmla="*/ 3364287 w 9586368"/>
              <a:gd name="connsiteY1243" fmla="*/ 5757408 h 6479439"/>
              <a:gd name="connsiteX1244" fmla="*/ 3360268 w 9586368"/>
              <a:gd name="connsiteY1244" fmla="*/ 5761447 h 6479439"/>
              <a:gd name="connsiteX1245" fmla="*/ 3350359 w 9586368"/>
              <a:gd name="connsiteY1245" fmla="*/ 5761447 h 6479439"/>
              <a:gd name="connsiteX1246" fmla="*/ 3346340 w 9586368"/>
              <a:gd name="connsiteY1246" fmla="*/ 5757408 h 6479439"/>
              <a:gd name="connsiteX1247" fmla="*/ 3346340 w 9586368"/>
              <a:gd name="connsiteY1247" fmla="*/ 5747537 h 6479439"/>
              <a:gd name="connsiteX1248" fmla="*/ 3111048 w 9586368"/>
              <a:gd name="connsiteY1248" fmla="*/ 5743499 h 6479439"/>
              <a:gd name="connsiteX1249" fmla="*/ 3120959 w 9586368"/>
              <a:gd name="connsiteY1249" fmla="*/ 5743499 h 6479439"/>
              <a:gd name="connsiteX1250" fmla="*/ 3124977 w 9586368"/>
              <a:gd name="connsiteY1250" fmla="*/ 5747537 h 6479439"/>
              <a:gd name="connsiteX1251" fmla="*/ 3124977 w 9586368"/>
              <a:gd name="connsiteY1251" fmla="*/ 5757408 h 6479439"/>
              <a:gd name="connsiteX1252" fmla="*/ 3120959 w 9586368"/>
              <a:gd name="connsiteY1252" fmla="*/ 5761447 h 6479439"/>
              <a:gd name="connsiteX1253" fmla="*/ 3111048 w 9586368"/>
              <a:gd name="connsiteY1253" fmla="*/ 5761447 h 6479439"/>
              <a:gd name="connsiteX1254" fmla="*/ 3107029 w 9586368"/>
              <a:gd name="connsiteY1254" fmla="*/ 5757408 h 6479439"/>
              <a:gd name="connsiteX1255" fmla="*/ 3107029 w 9586368"/>
              <a:gd name="connsiteY1255" fmla="*/ 5747537 h 6479439"/>
              <a:gd name="connsiteX1256" fmla="*/ 2871737 w 9586368"/>
              <a:gd name="connsiteY1256" fmla="*/ 5743499 h 6479439"/>
              <a:gd name="connsiteX1257" fmla="*/ 2881646 w 9586368"/>
              <a:gd name="connsiteY1257" fmla="*/ 5743499 h 6479439"/>
              <a:gd name="connsiteX1258" fmla="*/ 2885666 w 9586368"/>
              <a:gd name="connsiteY1258" fmla="*/ 5747537 h 6479439"/>
              <a:gd name="connsiteX1259" fmla="*/ 2885666 w 9586368"/>
              <a:gd name="connsiteY1259" fmla="*/ 5757408 h 6479439"/>
              <a:gd name="connsiteX1260" fmla="*/ 2881646 w 9586368"/>
              <a:gd name="connsiteY1260" fmla="*/ 5761447 h 6479439"/>
              <a:gd name="connsiteX1261" fmla="*/ 2871737 w 9586368"/>
              <a:gd name="connsiteY1261" fmla="*/ 5761447 h 6479439"/>
              <a:gd name="connsiteX1262" fmla="*/ 2867717 w 9586368"/>
              <a:gd name="connsiteY1262" fmla="*/ 5757408 h 6479439"/>
              <a:gd name="connsiteX1263" fmla="*/ 2867717 w 9586368"/>
              <a:gd name="connsiteY1263" fmla="*/ 5747537 h 6479439"/>
              <a:gd name="connsiteX1264" fmla="*/ 2632423 w 9586368"/>
              <a:gd name="connsiteY1264" fmla="*/ 5743499 h 6479439"/>
              <a:gd name="connsiteX1265" fmla="*/ 2642334 w 9586368"/>
              <a:gd name="connsiteY1265" fmla="*/ 5743499 h 6479439"/>
              <a:gd name="connsiteX1266" fmla="*/ 2646352 w 9586368"/>
              <a:gd name="connsiteY1266" fmla="*/ 5747537 h 6479439"/>
              <a:gd name="connsiteX1267" fmla="*/ 2646352 w 9586368"/>
              <a:gd name="connsiteY1267" fmla="*/ 5757408 h 6479439"/>
              <a:gd name="connsiteX1268" fmla="*/ 2642334 w 9586368"/>
              <a:gd name="connsiteY1268" fmla="*/ 5761447 h 6479439"/>
              <a:gd name="connsiteX1269" fmla="*/ 2632423 w 9586368"/>
              <a:gd name="connsiteY1269" fmla="*/ 5761447 h 6479439"/>
              <a:gd name="connsiteX1270" fmla="*/ 2628404 w 9586368"/>
              <a:gd name="connsiteY1270" fmla="*/ 5757408 h 6479439"/>
              <a:gd name="connsiteX1271" fmla="*/ 2628404 w 9586368"/>
              <a:gd name="connsiteY1271" fmla="*/ 5747537 h 6479439"/>
              <a:gd name="connsiteX1272" fmla="*/ 2393104 w 9586368"/>
              <a:gd name="connsiteY1272" fmla="*/ 5743499 h 6479439"/>
              <a:gd name="connsiteX1273" fmla="*/ 2403015 w 9586368"/>
              <a:gd name="connsiteY1273" fmla="*/ 5743499 h 6479439"/>
              <a:gd name="connsiteX1274" fmla="*/ 2407034 w 9586368"/>
              <a:gd name="connsiteY1274" fmla="*/ 5747537 h 6479439"/>
              <a:gd name="connsiteX1275" fmla="*/ 2407034 w 9586368"/>
              <a:gd name="connsiteY1275" fmla="*/ 5757408 h 6479439"/>
              <a:gd name="connsiteX1276" fmla="*/ 2403015 w 9586368"/>
              <a:gd name="connsiteY1276" fmla="*/ 5761447 h 6479439"/>
              <a:gd name="connsiteX1277" fmla="*/ 2393104 w 9586368"/>
              <a:gd name="connsiteY1277" fmla="*/ 5761447 h 6479439"/>
              <a:gd name="connsiteX1278" fmla="*/ 2389087 w 9586368"/>
              <a:gd name="connsiteY1278" fmla="*/ 5757408 h 6479439"/>
              <a:gd name="connsiteX1279" fmla="*/ 2389087 w 9586368"/>
              <a:gd name="connsiteY1279" fmla="*/ 5747537 h 6479439"/>
              <a:gd name="connsiteX1280" fmla="*/ 721960 w 9586368"/>
              <a:gd name="connsiteY1280" fmla="*/ 5743499 h 6479439"/>
              <a:gd name="connsiteX1281" fmla="*/ 731871 w 9586368"/>
              <a:gd name="connsiteY1281" fmla="*/ 5743499 h 6479439"/>
              <a:gd name="connsiteX1282" fmla="*/ 735889 w 9586368"/>
              <a:gd name="connsiteY1282" fmla="*/ 5747537 h 6479439"/>
              <a:gd name="connsiteX1283" fmla="*/ 735889 w 9586368"/>
              <a:gd name="connsiteY1283" fmla="*/ 5757408 h 6479439"/>
              <a:gd name="connsiteX1284" fmla="*/ 731871 w 9586368"/>
              <a:gd name="connsiteY1284" fmla="*/ 5761447 h 6479439"/>
              <a:gd name="connsiteX1285" fmla="*/ 721960 w 9586368"/>
              <a:gd name="connsiteY1285" fmla="*/ 5761447 h 6479439"/>
              <a:gd name="connsiteX1286" fmla="*/ 717941 w 9586368"/>
              <a:gd name="connsiteY1286" fmla="*/ 5757408 h 6479439"/>
              <a:gd name="connsiteX1287" fmla="*/ 717941 w 9586368"/>
              <a:gd name="connsiteY1287" fmla="*/ 5747537 h 6479439"/>
              <a:gd name="connsiteX1288" fmla="*/ 482648 w 9586368"/>
              <a:gd name="connsiteY1288" fmla="*/ 5743499 h 6479439"/>
              <a:gd name="connsiteX1289" fmla="*/ 492558 w 9586368"/>
              <a:gd name="connsiteY1289" fmla="*/ 5743499 h 6479439"/>
              <a:gd name="connsiteX1290" fmla="*/ 496578 w 9586368"/>
              <a:gd name="connsiteY1290" fmla="*/ 5747537 h 6479439"/>
              <a:gd name="connsiteX1291" fmla="*/ 496578 w 9586368"/>
              <a:gd name="connsiteY1291" fmla="*/ 5757408 h 6479439"/>
              <a:gd name="connsiteX1292" fmla="*/ 492558 w 9586368"/>
              <a:gd name="connsiteY1292" fmla="*/ 5761447 h 6479439"/>
              <a:gd name="connsiteX1293" fmla="*/ 482648 w 9586368"/>
              <a:gd name="connsiteY1293" fmla="*/ 5761447 h 6479439"/>
              <a:gd name="connsiteX1294" fmla="*/ 478629 w 9586368"/>
              <a:gd name="connsiteY1294" fmla="*/ 5757408 h 6479439"/>
              <a:gd name="connsiteX1295" fmla="*/ 478629 w 9586368"/>
              <a:gd name="connsiteY1295" fmla="*/ 5747537 h 6479439"/>
              <a:gd name="connsiteX1296" fmla="*/ 243334 w 9586368"/>
              <a:gd name="connsiteY1296" fmla="*/ 5743499 h 6479439"/>
              <a:gd name="connsiteX1297" fmla="*/ 253245 w 9586368"/>
              <a:gd name="connsiteY1297" fmla="*/ 5743499 h 6479439"/>
              <a:gd name="connsiteX1298" fmla="*/ 257264 w 9586368"/>
              <a:gd name="connsiteY1298" fmla="*/ 5747537 h 6479439"/>
              <a:gd name="connsiteX1299" fmla="*/ 257264 w 9586368"/>
              <a:gd name="connsiteY1299" fmla="*/ 5757408 h 6479439"/>
              <a:gd name="connsiteX1300" fmla="*/ 253245 w 9586368"/>
              <a:gd name="connsiteY1300" fmla="*/ 5761447 h 6479439"/>
              <a:gd name="connsiteX1301" fmla="*/ 243334 w 9586368"/>
              <a:gd name="connsiteY1301" fmla="*/ 5761447 h 6479439"/>
              <a:gd name="connsiteX1302" fmla="*/ 239315 w 9586368"/>
              <a:gd name="connsiteY1302" fmla="*/ 5757408 h 6479439"/>
              <a:gd name="connsiteX1303" fmla="*/ 239315 w 9586368"/>
              <a:gd name="connsiteY1303" fmla="*/ 5747537 h 6479439"/>
              <a:gd name="connsiteX1304" fmla="*/ 4021 w 9586368"/>
              <a:gd name="connsiteY1304" fmla="*/ 5743499 h 6479439"/>
              <a:gd name="connsiteX1305" fmla="*/ 13932 w 9586368"/>
              <a:gd name="connsiteY1305" fmla="*/ 5743499 h 6479439"/>
              <a:gd name="connsiteX1306" fmla="*/ 17950 w 9586368"/>
              <a:gd name="connsiteY1306" fmla="*/ 5747537 h 6479439"/>
              <a:gd name="connsiteX1307" fmla="*/ 17950 w 9586368"/>
              <a:gd name="connsiteY1307" fmla="*/ 5757408 h 6479439"/>
              <a:gd name="connsiteX1308" fmla="*/ 13932 w 9586368"/>
              <a:gd name="connsiteY1308" fmla="*/ 5761447 h 6479439"/>
              <a:gd name="connsiteX1309" fmla="*/ 4021 w 9586368"/>
              <a:gd name="connsiteY1309" fmla="*/ 5761447 h 6479439"/>
              <a:gd name="connsiteX1310" fmla="*/ 2 w 9586368"/>
              <a:gd name="connsiteY1310" fmla="*/ 5757408 h 6479439"/>
              <a:gd name="connsiteX1311" fmla="*/ 2 w 9586368"/>
              <a:gd name="connsiteY1311" fmla="*/ 5747537 h 6479439"/>
              <a:gd name="connsiteX1312" fmla="*/ 9572438 w 9586368"/>
              <a:gd name="connsiteY1312" fmla="*/ 5504220 h 6479439"/>
              <a:gd name="connsiteX1313" fmla="*/ 9582349 w 9586368"/>
              <a:gd name="connsiteY1313" fmla="*/ 5504220 h 6479439"/>
              <a:gd name="connsiteX1314" fmla="*/ 9586368 w 9586368"/>
              <a:gd name="connsiteY1314" fmla="*/ 5508258 h 6479439"/>
              <a:gd name="connsiteX1315" fmla="*/ 9586368 w 9586368"/>
              <a:gd name="connsiteY1315" fmla="*/ 5518129 h 6479439"/>
              <a:gd name="connsiteX1316" fmla="*/ 9582349 w 9586368"/>
              <a:gd name="connsiteY1316" fmla="*/ 5522168 h 6479439"/>
              <a:gd name="connsiteX1317" fmla="*/ 9572438 w 9586368"/>
              <a:gd name="connsiteY1317" fmla="*/ 5522168 h 6479439"/>
              <a:gd name="connsiteX1318" fmla="*/ 9568419 w 9586368"/>
              <a:gd name="connsiteY1318" fmla="*/ 5518129 h 6479439"/>
              <a:gd name="connsiteX1319" fmla="*/ 9568419 w 9586368"/>
              <a:gd name="connsiteY1319" fmla="*/ 5508258 h 6479439"/>
              <a:gd name="connsiteX1320" fmla="*/ 9333125 w 9586368"/>
              <a:gd name="connsiteY1320" fmla="*/ 5504220 h 6479439"/>
              <a:gd name="connsiteX1321" fmla="*/ 9343036 w 9586368"/>
              <a:gd name="connsiteY1321" fmla="*/ 5504220 h 6479439"/>
              <a:gd name="connsiteX1322" fmla="*/ 9347055 w 9586368"/>
              <a:gd name="connsiteY1322" fmla="*/ 5508258 h 6479439"/>
              <a:gd name="connsiteX1323" fmla="*/ 9347055 w 9586368"/>
              <a:gd name="connsiteY1323" fmla="*/ 5518129 h 6479439"/>
              <a:gd name="connsiteX1324" fmla="*/ 9343036 w 9586368"/>
              <a:gd name="connsiteY1324" fmla="*/ 5522168 h 6479439"/>
              <a:gd name="connsiteX1325" fmla="*/ 9333125 w 9586368"/>
              <a:gd name="connsiteY1325" fmla="*/ 5522168 h 6479439"/>
              <a:gd name="connsiteX1326" fmla="*/ 9329106 w 9586368"/>
              <a:gd name="connsiteY1326" fmla="*/ 5518129 h 6479439"/>
              <a:gd name="connsiteX1327" fmla="*/ 9329106 w 9586368"/>
              <a:gd name="connsiteY1327" fmla="*/ 5508258 h 6479439"/>
              <a:gd name="connsiteX1328" fmla="*/ 9093811 w 9586368"/>
              <a:gd name="connsiteY1328" fmla="*/ 5504220 h 6479439"/>
              <a:gd name="connsiteX1329" fmla="*/ 9103722 w 9586368"/>
              <a:gd name="connsiteY1329" fmla="*/ 5504220 h 6479439"/>
              <a:gd name="connsiteX1330" fmla="*/ 9107741 w 9586368"/>
              <a:gd name="connsiteY1330" fmla="*/ 5508258 h 6479439"/>
              <a:gd name="connsiteX1331" fmla="*/ 9107741 w 9586368"/>
              <a:gd name="connsiteY1331" fmla="*/ 5518129 h 6479439"/>
              <a:gd name="connsiteX1332" fmla="*/ 9103722 w 9586368"/>
              <a:gd name="connsiteY1332" fmla="*/ 5522168 h 6479439"/>
              <a:gd name="connsiteX1333" fmla="*/ 9093811 w 9586368"/>
              <a:gd name="connsiteY1333" fmla="*/ 5522168 h 6479439"/>
              <a:gd name="connsiteX1334" fmla="*/ 9089792 w 9586368"/>
              <a:gd name="connsiteY1334" fmla="*/ 5518129 h 6479439"/>
              <a:gd name="connsiteX1335" fmla="*/ 9089792 w 9586368"/>
              <a:gd name="connsiteY1335" fmla="*/ 5508258 h 6479439"/>
              <a:gd name="connsiteX1336" fmla="*/ 8854496 w 9586368"/>
              <a:gd name="connsiteY1336" fmla="*/ 5504220 h 6479439"/>
              <a:gd name="connsiteX1337" fmla="*/ 8864407 w 9586368"/>
              <a:gd name="connsiteY1337" fmla="*/ 5504220 h 6479439"/>
              <a:gd name="connsiteX1338" fmla="*/ 8868426 w 9586368"/>
              <a:gd name="connsiteY1338" fmla="*/ 5508258 h 6479439"/>
              <a:gd name="connsiteX1339" fmla="*/ 8868426 w 9586368"/>
              <a:gd name="connsiteY1339" fmla="*/ 5518129 h 6479439"/>
              <a:gd name="connsiteX1340" fmla="*/ 8864407 w 9586368"/>
              <a:gd name="connsiteY1340" fmla="*/ 5522168 h 6479439"/>
              <a:gd name="connsiteX1341" fmla="*/ 8854496 w 9586368"/>
              <a:gd name="connsiteY1341" fmla="*/ 5522168 h 6479439"/>
              <a:gd name="connsiteX1342" fmla="*/ 8850477 w 9586368"/>
              <a:gd name="connsiteY1342" fmla="*/ 5518129 h 6479439"/>
              <a:gd name="connsiteX1343" fmla="*/ 8850477 w 9586368"/>
              <a:gd name="connsiteY1343" fmla="*/ 5508258 h 6479439"/>
              <a:gd name="connsiteX1344" fmla="*/ 8615184 w 9586368"/>
              <a:gd name="connsiteY1344" fmla="*/ 5504220 h 6479439"/>
              <a:gd name="connsiteX1345" fmla="*/ 8625095 w 9586368"/>
              <a:gd name="connsiteY1345" fmla="*/ 5504220 h 6479439"/>
              <a:gd name="connsiteX1346" fmla="*/ 8629114 w 9586368"/>
              <a:gd name="connsiteY1346" fmla="*/ 5508258 h 6479439"/>
              <a:gd name="connsiteX1347" fmla="*/ 8629114 w 9586368"/>
              <a:gd name="connsiteY1347" fmla="*/ 5518129 h 6479439"/>
              <a:gd name="connsiteX1348" fmla="*/ 8625095 w 9586368"/>
              <a:gd name="connsiteY1348" fmla="*/ 5522168 h 6479439"/>
              <a:gd name="connsiteX1349" fmla="*/ 8615184 w 9586368"/>
              <a:gd name="connsiteY1349" fmla="*/ 5522168 h 6479439"/>
              <a:gd name="connsiteX1350" fmla="*/ 8611165 w 9586368"/>
              <a:gd name="connsiteY1350" fmla="*/ 5518129 h 6479439"/>
              <a:gd name="connsiteX1351" fmla="*/ 8611165 w 9586368"/>
              <a:gd name="connsiteY1351" fmla="*/ 5508258 h 6479439"/>
              <a:gd name="connsiteX1352" fmla="*/ 8375869 w 9586368"/>
              <a:gd name="connsiteY1352" fmla="*/ 5504220 h 6479439"/>
              <a:gd name="connsiteX1353" fmla="*/ 8385779 w 9586368"/>
              <a:gd name="connsiteY1353" fmla="*/ 5504220 h 6479439"/>
              <a:gd name="connsiteX1354" fmla="*/ 8389799 w 9586368"/>
              <a:gd name="connsiteY1354" fmla="*/ 5508258 h 6479439"/>
              <a:gd name="connsiteX1355" fmla="*/ 8389799 w 9586368"/>
              <a:gd name="connsiteY1355" fmla="*/ 5518129 h 6479439"/>
              <a:gd name="connsiteX1356" fmla="*/ 8385779 w 9586368"/>
              <a:gd name="connsiteY1356" fmla="*/ 5522168 h 6479439"/>
              <a:gd name="connsiteX1357" fmla="*/ 8375869 w 9586368"/>
              <a:gd name="connsiteY1357" fmla="*/ 5522168 h 6479439"/>
              <a:gd name="connsiteX1358" fmla="*/ 8371850 w 9586368"/>
              <a:gd name="connsiteY1358" fmla="*/ 5518129 h 6479439"/>
              <a:gd name="connsiteX1359" fmla="*/ 8371850 w 9586368"/>
              <a:gd name="connsiteY1359" fmla="*/ 5508258 h 6479439"/>
              <a:gd name="connsiteX1360" fmla="*/ 8136553 w 9586368"/>
              <a:gd name="connsiteY1360" fmla="*/ 5504220 h 6479439"/>
              <a:gd name="connsiteX1361" fmla="*/ 8146464 w 9586368"/>
              <a:gd name="connsiteY1361" fmla="*/ 5504220 h 6479439"/>
              <a:gd name="connsiteX1362" fmla="*/ 8150483 w 9586368"/>
              <a:gd name="connsiteY1362" fmla="*/ 5508258 h 6479439"/>
              <a:gd name="connsiteX1363" fmla="*/ 8150483 w 9586368"/>
              <a:gd name="connsiteY1363" fmla="*/ 5518129 h 6479439"/>
              <a:gd name="connsiteX1364" fmla="*/ 8146464 w 9586368"/>
              <a:gd name="connsiteY1364" fmla="*/ 5522168 h 6479439"/>
              <a:gd name="connsiteX1365" fmla="*/ 8136553 w 9586368"/>
              <a:gd name="connsiteY1365" fmla="*/ 5522168 h 6479439"/>
              <a:gd name="connsiteX1366" fmla="*/ 8132534 w 9586368"/>
              <a:gd name="connsiteY1366" fmla="*/ 5518129 h 6479439"/>
              <a:gd name="connsiteX1367" fmla="*/ 8132534 w 9586368"/>
              <a:gd name="connsiteY1367" fmla="*/ 5508258 h 6479439"/>
              <a:gd name="connsiteX1368" fmla="*/ 7897241 w 9586368"/>
              <a:gd name="connsiteY1368" fmla="*/ 5504220 h 6479439"/>
              <a:gd name="connsiteX1369" fmla="*/ 7907151 w 9586368"/>
              <a:gd name="connsiteY1369" fmla="*/ 5504220 h 6479439"/>
              <a:gd name="connsiteX1370" fmla="*/ 7911170 w 9586368"/>
              <a:gd name="connsiteY1370" fmla="*/ 5508258 h 6479439"/>
              <a:gd name="connsiteX1371" fmla="*/ 7911170 w 9586368"/>
              <a:gd name="connsiteY1371" fmla="*/ 5518129 h 6479439"/>
              <a:gd name="connsiteX1372" fmla="*/ 7907151 w 9586368"/>
              <a:gd name="connsiteY1372" fmla="*/ 5522168 h 6479439"/>
              <a:gd name="connsiteX1373" fmla="*/ 7897241 w 9586368"/>
              <a:gd name="connsiteY1373" fmla="*/ 5522168 h 6479439"/>
              <a:gd name="connsiteX1374" fmla="*/ 7893222 w 9586368"/>
              <a:gd name="connsiteY1374" fmla="*/ 5518129 h 6479439"/>
              <a:gd name="connsiteX1375" fmla="*/ 7893222 w 9586368"/>
              <a:gd name="connsiteY1375" fmla="*/ 5508258 h 6479439"/>
              <a:gd name="connsiteX1376" fmla="*/ 7657926 w 9586368"/>
              <a:gd name="connsiteY1376" fmla="*/ 5504220 h 6479439"/>
              <a:gd name="connsiteX1377" fmla="*/ 7667836 w 9586368"/>
              <a:gd name="connsiteY1377" fmla="*/ 5504220 h 6479439"/>
              <a:gd name="connsiteX1378" fmla="*/ 7671855 w 9586368"/>
              <a:gd name="connsiteY1378" fmla="*/ 5508258 h 6479439"/>
              <a:gd name="connsiteX1379" fmla="*/ 7671855 w 9586368"/>
              <a:gd name="connsiteY1379" fmla="*/ 5518129 h 6479439"/>
              <a:gd name="connsiteX1380" fmla="*/ 7667836 w 9586368"/>
              <a:gd name="connsiteY1380" fmla="*/ 5522168 h 6479439"/>
              <a:gd name="connsiteX1381" fmla="*/ 7657926 w 9586368"/>
              <a:gd name="connsiteY1381" fmla="*/ 5522168 h 6479439"/>
              <a:gd name="connsiteX1382" fmla="*/ 7653906 w 9586368"/>
              <a:gd name="connsiteY1382" fmla="*/ 5518129 h 6479439"/>
              <a:gd name="connsiteX1383" fmla="*/ 7653906 w 9586368"/>
              <a:gd name="connsiteY1383" fmla="*/ 5508258 h 6479439"/>
              <a:gd name="connsiteX1384" fmla="*/ 7418611 w 9586368"/>
              <a:gd name="connsiteY1384" fmla="*/ 5504220 h 6479439"/>
              <a:gd name="connsiteX1385" fmla="*/ 7428521 w 9586368"/>
              <a:gd name="connsiteY1385" fmla="*/ 5504220 h 6479439"/>
              <a:gd name="connsiteX1386" fmla="*/ 7432540 w 9586368"/>
              <a:gd name="connsiteY1386" fmla="*/ 5508258 h 6479439"/>
              <a:gd name="connsiteX1387" fmla="*/ 7432540 w 9586368"/>
              <a:gd name="connsiteY1387" fmla="*/ 5518129 h 6479439"/>
              <a:gd name="connsiteX1388" fmla="*/ 7428521 w 9586368"/>
              <a:gd name="connsiteY1388" fmla="*/ 5522168 h 6479439"/>
              <a:gd name="connsiteX1389" fmla="*/ 7418611 w 9586368"/>
              <a:gd name="connsiteY1389" fmla="*/ 5522168 h 6479439"/>
              <a:gd name="connsiteX1390" fmla="*/ 7414592 w 9586368"/>
              <a:gd name="connsiteY1390" fmla="*/ 5518129 h 6479439"/>
              <a:gd name="connsiteX1391" fmla="*/ 7414592 w 9586368"/>
              <a:gd name="connsiteY1391" fmla="*/ 5508258 h 6479439"/>
              <a:gd name="connsiteX1392" fmla="*/ 7179298 w 9586368"/>
              <a:gd name="connsiteY1392" fmla="*/ 5504220 h 6479439"/>
              <a:gd name="connsiteX1393" fmla="*/ 7189209 w 9586368"/>
              <a:gd name="connsiteY1393" fmla="*/ 5504220 h 6479439"/>
              <a:gd name="connsiteX1394" fmla="*/ 7193228 w 9586368"/>
              <a:gd name="connsiteY1394" fmla="*/ 5508258 h 6479439"/>
              <a:gd name="connsiteX1395" fmla="*/ 7193228 w 9586368"/>
              <a:gd name="connsiteY1395" fmla="*/ 5518129 h 6479439"/>
              <a:gd name="connsiteX1396" fmla="*/ 7189209 w 9586368"/>
              <a:gd name="connsiteY1396" fmla="*/ 5522168 h 6479439"/>
              <a:gd name="connsiteX1397" fmla="*/ 7179298 w 9586368"/>
              <a:gd name="connsiteY1397" fmla="*/ 5522168 h 6479439"/>
              <a:gd name="connsiteX1398" fmla="*/ 7175279 w 9586368"/>
              <a:gd name="connsiteY1398" fmla="*/ 5518129 h 6479439"/>
              <a:gd name="connsiteX1399" fmla="*/ 7175279 w 9586368"/>
              <a:gd name="connsiteY1399" fmla="*/ 5508258 h 6479439"/>
              <a:gd name="connsiteX1400" fmla="*/ 6939983 w 9586368"/>
              <a:gd name="connsiteY1400" fmla="*/ 5504220 h 6479439"/>
              <a:gd name="connsiteX1401" fmla="*/ 6949894 w 9586368"/>
              <a:gd name="connsiteY1401" fmla="*/ 5504220 h 6479439"/>
              <a:gd name="connsiteX1402" fmla="*/ 6953913 w 9586368"/>
              <a:gd name="connsiteY1402" fmla="*/ 5508258 h 6479439"/>
              <a:gd name="connsiteX1403" fmla="*/ 6953913 w 9586368"/>
              <a:gd name="connsiteY1403" fmla="*/ 5518129 h 6479439"/>
              <a:gd name="connsiteX1404" fmla="*/ 6949894 w 9586368"/>
              <a:gd name="connsiteY1404" fmla="*/ 5522168 h 6479439"/>
              <a:gd name="connsiteX1405" fmla="*/ 6939983 w 9586368"/>
              <a:gd name="connsiteY1405" fmla="*/ 5522168 h 6479439"/>
              <a:gd name="connsiteX1406" fmla="*/ 6935964 w 9586368"/>
              <a:gd name="connsiteY1406" fmla="*/ 5518129 h 6479439"/>
              <a:gd name="connsiteX1407" fmla="*/ 6935964 w 9586368"/>
              <a:gd name="connsiteY1407" fmla="*/ 5508258 h 6479439"/>
              <a:gd name="connsiteX1408" fmla="*/ 6700670 w 9586368"/>
              <a:gd name="connsiteY1408" fmla="*/ 5504220 h 6479439"/>
              <a:gd name="connsiteX1409" fmla="*/ 6710581 w 9586368"/>
              <a:gd name="connsiteY1409" fmla="*/ 5504220 h 6479439"/>
              <a:gd name="connsiteX1410" fmla="*/ 6714600 w 9586368"/>
              <a:gd name="connsiteY1410" fmla="*/ 5508258 h 6479439"/>
              <a:gd name="connsiteX1411" fmla="*/ 6714600 w 9586368"/>
              <a:gd name="connsiteY1411" fmla="*/ 5518129 h 6479439"/>
              <a:gd name="connsiteX1412" fmla="*/ 6710581 w 9586368"/>
              <a:gd name="connsiteY1412" fmla="*/ 5522168 h 6479439"/>
              <a:gd name="connsiteX1413" fmla="*/ 6700670 w 9586368"/>
              <a:gd name="connsiteY1413" fmla="*/ 5522168 h 6479439"/>
              <a:gd name="connsiteX1414" fmla="*/ 6696651 w 9586368"/>
              <a:gd name="connsiteY1414" fmla="*/ 5518129 h 6479439"/>
              <a:gd name="connsiteX1415" fmla="*/ 6696651 w 9586368"/>
              <a:gd name="connsiteY1415" fmla="*/ 5508258 h 6479439"/>
              <a:gd name="connsiteX1416" fmla="*/ 6461356 w 9586368"/>
              <a:gd name="connsiteY1416" fmla="*/ 5504220 h 6479439"/>
              <a:gd name="connsiteX1417" fmla="*/ 6471266 w 9586368"/>
              <a:gd name="connsiteY1417" fmla="*/ 5504220 h 6479439"/>
              <a:gd name="connsiteX1418" fmla="*/ 6475285 w 9586368"/>
              <a:gd name="connsiteY1418" fmla="*/ 5508258 h 6479439"/>
              <a:gd name="connsiteX1419" fmla="*/ 6475285 w 9586368"/>
              <a:gd name="connsiteY1419" fmla="*/ 5518129 h 6479439"/>
              <a:gd name="connsiteX1420" fmla="*/ 6471266 w 9586368"/>
              <a:gd name="connsiteY1420" fmla="*/ 5522168 h 6479439"/>
              <a:gd name="connsiteX1421" fmla="*/ 6461356 w 9586368"/>
              <a:gd name="connsiteY1421" fmla="*/ 5522168 h 6479439"/>
              <a:gd name="connsiteX1422" fmla="*/ 6457337 w 9586368"/>
              <a:gd name="connsiteY1422" fmla="*/ 5518129 h 6479439"/>
              <a:gd name="connsiteX1423" fmla="*/ 6457337 w 9586368"/>
              <a:gd name="connsiteY1423" fmla="*/ 5508258 h 6479439"/>
              <a:gd name="connsiteX1424" fmla="*/ 6222042 w 9586368"/>
              <a:gd name="connsiteY1424" fmla="*/ 5504220 h 6479439"/>
              <a:gd name="connsiteX1425" fmla="*/ 6231952 w 9586368"/>
              <a:gd name="connsiteY1425" fmla="*/ 5504220 h 6479439"/>
              <a:gd name="connsiteX1426" fmla="*/ 6235971 w 9586368"/>
              <a:gd name="connsiteY1426" fmla="*/ 5508258 h 6479439"/>
              <a:gd name="connsiteX1427" fmla="*/ 6235971 w 9586368"/>
              <a:gd name="connsiteY1427" fmla="*/ 5518129 h 6479439"/>
              <a:gd name="connsiteX1428" fmla="*/ 6231952 w 9586368"/>
              <a:gd name="connsiteY1428" fmla="*/ 5522168 h 6479439"/>
              <a:gd name="connsiteX1429" fmla="*/ 6222042 w 9586368"/>
              <a:gd name="connsiteY1429" fmla="*/ 5522168 h 6479439"/>
              <a:gd name="connsiteX1430" fmla="*/ 6218023 w 9586368"/>
              <a:gd name="connsiteY1430" fmla="*/ 5518129 h 6479439"/>
              <a:gd name="connsiteX1431" fmla="*/ 6218023 w 9586368"/>
              <a:gd name="connsiteY1431" fmla="*/ 5508258 h 6479439"/>
              <a:gd name="connsiteX1432" fmla="*/ 5982729 w 9586368"/>
              <a:gd name="connsiteY1432" fmla="*/ 5504220 h 6479439"/>
              <a:gd name="connsiteX1433" fmla="*/ 5992639 w 9586368"/>
              <a:gd name="connsiteY1433" fmla="*/ 5504220 h 6479439"/>
              <a:gd name="connsiteX1434" fmla="*/ 5996658 w 9586368"/>
              <a:gd name="connsiteY1434" fmla="*/ 5508258 h 6479439"/>
              <a:gd name="connsiteX1435" fmla="*/ 5996658 w 9586368"/>
              <a:gd name="connsiteY1435" fmla="*/ 5518129 h 6479439"/>
              <a:gd name="connsiteX1436" fmla="*/ 5992639 w 9586368"/>
              <a:gd name="connsiteY1436" fmla="*/ 5522168 h 6479439"/>
              <a:gd name="connsiteX1437" fmla="*/ 5982729 w 9586368"/>
              <a:gd name="connsiteY1437" fmla="*/ 5522168 h 6479439"/>
              <a:gd name="connsiteX1438" fmla="*/ 5978710 w 9586368"/>
              <a:gd name="connsiteY1438" fmla="*/ 5518129 h 6479439"/>
              <a:gd name="connsiteX1439" fmla="*/ 5978710 w 9586368"/>
              <a:gd name="connsiteY1439" fmla="*/ 5508258 h 6479439"/>
              <a:gd name="connsiteX1440" fmla="*/ 5743412 w 9586368"/>
              <a:gd name="connsiteY1440" fmla="*/ 5504220 h 6479439"/>
              <a:gd name="connsiteX1441" fmla="*/ 5753323 w 9586368"/>
              <a:gd name="connsiteY1441" fmla="*/ 5504220 h 6479439"/>
              <a:gd name="connsiteX1442" fmla="*/ 5757342 w 9586368"/>
              <a:gd name="connsiteY1442" fmla="*/ 5508258 h 6479439"/>
              <a:gd name="connsiteX1443" fmla="*/ 5757342 w 9586368"/>
              <a:gd name="connsiteY1443" fmla="*/ 5518129 h 6479439"/>
              <a:gd name="connsiteX1444" fmla="*/ 5753323 w 9586368"/>
              <a:gd name="connsiteY1444" fmla="*/ 5522168 h 6479439"/>
              <a:gd name="connsiteX1445" fmla="*/ 5743412 w 9586368"/>
              <a:gd name="connsiteY1445" fmla="*/ 5522168 h 6479439"/>
              <a:gd name="connsiteX1446" fmla="*/ 5739393 w 9586368"/>
              <a:gd name="connsiteY1446" fmla="*/ 5518129 h 6479439"/>
              <a:gd name="connsiteX1447" fmla="*/ 5739393 w 9586368"/>
              <a:gd name="connsiteY1447" fmla="*/ 5508258 h 6479439"/>
              <a:gd name="connsiteX1448" fmla="*/ 5504099 w 9586368"/>
              <a:gd name="connsiteY1448" fmla="*/ 5504220 h 6479439"/>
              <a:gd name="connsiteX1449" fmla="*/ 5514010 w 9586368"/>
              <a:gd name="connsiteY1449" fmla="*/ 5504220 h 6479439"/>
              <a:gd name="connsiteX1450" fmla="*/ 5518029 w 9586368"/>
              <a:gd name="connsiteY1450" fmla="*/ 5508258 h 6479439"/>
              <a:gd name="connsiteX1451" fmla="*/ 5518029 w 9586368"/>
              <a:gd name="connsiteY1451" fmla="*/ 5518129 h 6479439"/>
              <a:gd name="connsiteX1452" fmla="*/ 5514010 w 9586368"/>
              <a:gd name="connsiteY1452" fmla="*/ 5522168 h 6479439"/>
              <a:gd name="connsiteX1453" fmla="*/ 5504099 w 9586368"/>
              <a:gd name="connsiteY1453" fmla="*/ 5522168 h 6479439"/>
              <a:gd name="connsiteX1454" fmla="*/ 5500080 w 9586368"/>
              <a:gd name="connsiteY1454" fmla="*/ 5518129 h 6479439"/>
              <a:gd name="connsiteX1455" fmla="*/ 5500080 w 9586368"/>
              <a:gd name="connsiteY1455" fmla="*/ 5508258 h 6479439"/>
              <a:gd name="connsiteX1456" fmla="*/ 5264784 w 9586368"/>
              <a:gd name="connsiteY1456" fmla="*/ 5504220 h 6479439"/>
              <a:gd name="connsiteX1457" fmla="*/ 5274694 w 9586368"/>
              <a:gd name="connsiteY1457" fmla="*/ 5504220 h 6479439"/>
              <a:gd name="connsiteX1458" fmla="*/ 5278713 w 9586368"/>
              <a:gd name="connsiteY1458" fmla="*/ 5508258 h 6479439"/>
              <a:gd name="connsiteX1459" fmla="*/ 5278713 w 9586368"/>
              <a:gd name="connsiteY1459" fmla="*/ 5518129 h 6479439"/>
              <a:gd name="connsiteX1460" fmla="*/ 5274694 w 9586368"/>
              <a:gd name="connsiteY1460" fmla="*/ 5522168 h 6479439"/>
              <a:gd name="connsiteX1461" fmla="*/ 5264784 w 9586368"/>
              <a:gd name="connsiteY1461" fmla="*/ 5522168 h 6479439"/>
              <a:gd name="connsiteX1462" fmla="*/ 5260765 w 9586368"/>
              <a:gd name="connsiteY1462" fmla="*/ 5518129 h 6479439"/>
              <a:gd name="connsiteX1463" fmla="*/ 5260765 w 9586368"/>
              <a:gd name="connsiteY1463" fmla="*/ 5508258 h 6479439"/>
              <a:gd name="connsiteX1464" fmla="*/ 5025470 w 9586368"/>
              <a:gd name="connsiteY1464" fmla="*/ 5504220 h 6479439"/>
              <a:gd name="connsiteX1465" fmla="*/ 5035381 w 9586368"/>
              <a:gd name="connsiteY1465" fmla="*/ 5504220 h 6479439"/>
              <a:gd name="connsiteX1466" fmla="*/ 5039400 w 9586368"/>
              <a:gd name="connsiteY1466" fmla="*/ 5508258 h 6479439"/>
              <a:gd name="connsiteX1467" fmla="*/ 5039400 w 9586368"/>
              <a:gd name="connsiteY1467" fmla="*/ 5518129 h 6479439"/>
              <a:gd name="connsiteX1468" fmla="*/ 5035381 w 9586368"/>
              <a:gd name="connsiteY1468" fmla="*/ 5522168 h 6479439"/>
              <a:gd name="connsiteX1469" fmla="*/ 5025470 w 9586368"/>
              <a:gd name="connsiteY1469" fmla="*/ 5522168 h 6479439"/>
              <a:gd name="connsiteX1470" fmla="*/ 5021451 w 9586368"/>
              <a:gd name="connsiteY1470" fmla="*/ 5518129 h 6479439"/>
              <a:gd name="connsiteX1471" fmla="*/ 5021451 w 9586368"/>
              <a:gd name="connsiteY1471" fmla="*/ 5508258 h 6479439"/>
              <a:gd name="connsiteX1472" fmla="*/ 4786241 w 9586368"/>
              <a:gd name="connsiteY1472" fmla="*/ 5504220 h 6479439"/>
              <a:gd name="connsiteX1473" fmla="*/ 4796152 w 9586368"/>
              <a:gd name="connsiteY1473" fmla="*/ 5504220 h 6479439"/>
              <a:gd name="connsiteX1474" fmla="*/ 4800171 w 9586368"/>
              <a:gd name="connsiteY1474" fmla="*/ 5508258 h 6479439"/>
              <a:gd name="connsiteX1475" fmla="*/ 4800171 w 9586368"/>
              <a:gd name="connsiteY1475" fmla="*/ 5518129 h 6479439"/>
              <a:gd name="connsiteX1476" fmla="*/ 4796152 w 9586368"/>
              <a:gd name="connsiteY1476" fmla="*/ 5522168 h 6479439"/>
              <a:gd name="connsiteX1477" fmla="*/ 4786241 w 9586368"/>
              <a:gd name="connsiteY1477" fmla="*/ 5522168 h 6479439"/>
              <a:gd name="connsiteX1478" fmla="*/ 4782224 w 9586368"/>
              <a:gd name="connsiteY1478" fmla="*/ 5518129 h 6479439"/>
              <a:gd name="connsiteX1479" fmla="*/ 4782224 w 9586368"/>
              <a:gd name="connsiteY1479" fmla="*/ 5508258 h 6479439"/>
              <a:gd name="connsiteX1480" fmla="*/ 4546929 w 9586368"/>
              <a:gd name="connsiteY1480" fmla="*/ 5504220 h 6479439"/>
              <a:gd name="connsiteX1481" fmla="*/ 4556840 w 9586368"/>
              <a:gd name="connsiteY1481" fmla="*/ 5504220 h 6479439"/>
              <a:gd name="connsiteX1482" fmla="*/ 4560859 w 9586368"/>
              <a:gd name="connsiteY1482" fmla="*/ 5508258 h 6479439"/>
              <a:gd name="connsiteX1483" fmla="*/ 4560859 w 9586368"/>
              <a:gd name="connsiteY1483" fmla="*/ 5518129 h 6479439"/>
              <a:gd name="connsiteX1484" fmla="*/ 4556840 w 9586368"/>
              <a:gd name="connsiteY1484" fmla="*/ 5522168 h 6479439"/>
              <a:gd name="connsiteX1485" fmla="*/ 4546929 w 9586368"/>
              <a:gd name="connsiteY1485" fmla="*/ 5522168 h 6479439"/>
              <a:gd name="connsiteX1486" fmla="*/ 4542910 w 9586368"/>
              <a:gd name="connsiteY1486" fmla="*/ 5518129 h 6479439"/>
              <a:gd name="connsiteX1487" fmla="*/ 4542910 w 9586368"/>
              <a:gd name="connsiteY1487" fmla="*/ 5508258 h 6479439"/>
              <a:gd name="connsiteX1488" fmla="*/ 4307612 w 9586368"/>
              <a:gd name="connsiteY1488" fmla="*/ 5504220 h 6479439"/>
              <a:gd name="connsiteX1489" fmla="*/ 4317523 w 9586368"/>
              <a:gd name="connsiteY1489" fmla="*/ 5504220 h 6479439"/>
              <a:gd name="connsiteX1490" fmla="*/ 4321543 w 9586368"/>
              <a:gd name="connsiteY1490" fmla="*/ 5508258 h 6479439"/>
              <a:gd name="connsiteX1491" fmla="*/ 4321543 w 9586368"/>
              <a:gd name="connsiteY1491" fmla="*/ 5518129 h 6479439"/>
              <a:gd name="connsiteX1492" fmla="*/ 4317523 w 9586368"/>
              <a:gd name="connsiteY1492" fmla="*/ 5522168 h 6479439"/>
              <a:gd name="connsiteX1493" fmla="*/ 4307612 w 9586368"/>
              <a:gd name="connsiteY1493" fmla="*/ 5522168 h 6479439"/>
              <a:gd name="connsiteX1494" fmla="*/ 4303595 w 9586368"/>
              <a:gd name="connsiteY1494" fmla="*/ 5518129 h 6479439"/>
              <a:gd name="connsiteX1495" fmla="*/ 4303595 w 9586368"/>
              <a:gd name="connsiteY1495" fmla="*/ 5508258 h 6479439"/>
              <a:gd name="connsiteX1496" fmla="*/ 4068297 w 9586368"/>
              <a:gd name="connsiteY1496" fmla="*/ 5504220 h 6479439"/>
              <a:gd name="connsiteX1497" fmla="*/ 4078210 w 9586368"/>
              <a:gd name="connsiteY1497" fmla="*/ 5504220 h 6479439"/>
              <a:gd name="connsiteX1498" fmla="*/ 4082229 w 9586368"/>
              <a:gd name="connsiteY1498" fmla="*/ 5508258 h 6479439"/>
              <a:gd name="connsiteX1499" fmla="*/ 4082229 w 9586368"/>
              <a:gd name="connsiteY1499" fmla="*/ 5518129 h 6479439"/>
              <a:gd name="connsiteX1500" fmla="*/ 4078210 w 9586368"/>
              <a:gd name="connsiteY1500" fmla="*/ 5522168 h 6479439"/>
              <a:gd name="connsiteX1501" fmla="*/ 4068297 w 9586368"/>
              <a:gd name="connsiteY1501" fmla="*/ 5522168 h 6479439"/>
              <a:gd name="connsiteX1502" fmla="*/ 4064278 w 9586368"/>
              <a:gd name="connsiteY1502" fmla="*/ 5518129 h 6479439"/>
              <a:gd name="connsiteX1503" fmla="*/ 4064278 w 9586368"/>
              <a:gd name="connsiteY1503" fmla="*/ 5508258 h 6479439"/>
              <a:gd name="connsiteX1504" fmla="*/ 3828990 w 9586368"/>
              <a:gd name="connsiteY1504" fmla="*/ 5504220 h 6479439"/>
              <a:gd name="connsiteX1505" fmla="*/ 3838899 w 9586368"/>
              <a:gd name="connsiteY1505" fmla="*/ 5504220 h 6479439"/>
              <a:gd name="connsiteX1506" fmla="*/ 3842917 w 9586368"/>
              <a:gd name="connsiteY1506" fmla="*/ 5508258 h 6479439"/>
              <a:gd name="connsiteX1507" fmla="*/ 3842917 w 9586368"/>
              <a:gd name="connsiteY1507" fmla="*/ 5518129 h 6479439"/>
              <a:gd name="connsiteX1508" fmla="*/ 3838899 w 9586368"/>
              <a:gd name="connsiteY1508" fmla="*/ 5522168 h 6479439"/>
              <a:gd name="connsiteX1509" fmla="*/ 3828990 w 9586368"/>
              <a:gd name="connsiteY1509" fmla="*/ 5522168 h 6479439"/>
              <a:gd name="connsiteX1510" fmla="*/ 3824971 w 9586368"/>
              <a:gd name="connsiteY1510" fmla="*/ 5518129 h 6479439"/>
              <a:gd name="connsiteX1511" fmla="*/ 3824971 w 9586368"/>
              <a:gd name="connsiteY1511" fmla="*/ 5508258 h 6479439"/>
              <a:gd name="connsiteX1512" fmla="*/ 3589676 w 9586368"/>
              <a:gd name="connsiteY1512" fmla="*/ 5504220 h 6479439"/>
              <a:gd name="connsiteX1513" fmla="*/ 3599585 w 9586368"/>
              <a:gd name="connsiteY1513" fmla="*/ 5504220 h 6479439"/>
              <a:gd name="connsiteX1514" fmla="*/ 3603604 w 9586368"/>
              <a:gd name="connsiteY1514" fmla="*/ 5508258 h 6479439"/>
              <a:gd name="connsiteX1515" fmla="*/ 3603604 w 9586368"/>
              <a:gd name="connsiteY1515" fmla="*/ 5518129 h 6479439"/>
              <a:gd name="connsiteX1516" fmla="*/ 3599585 w 9586368"/>
              <a:gd name="connsiteY1516" fmla="*/ 5522168 h 6479439"/>
              <a:gd name="connsiteX1517" fmla="*/ 3589676 w 9586368"/>
              <a:gd name="connsiteY1517" fmla="*/ 5522168 h 6479439"/>
              <a:gd name="connsiteX1518" fmla="*/ 3585657 w 9586368"/>
              <a:gd name="connsiteY1518" fmla="*/ 5518129 h 6479439"/>
              <a:gd name="connsiteX1519" fmla="*/ 3585657 w 9586368"/>
              <a:gd name="connsiteY1519" fmla="*/ 5508258 h 6479439"/>
              <a:gd name="connsiteX1520" fmla="*/ 3350359 w 9586368"/>
              <a:gd name="connsiteY1520" fmla="*/ 5504220 h 6479439"/>
              <a:gd name="connsiteX1521" fmla="*/ 3360268 w 9586368"/>
              <a:gd name="connsiteY1521" fmla="*/ 5504220 h 6479439"/>
              <a:gd name="connsiteX1522" fmla="*/ 3364287 w 9586368"/>
              <a:gd name="connsiteY1522" fmla="*/ 5508258 h 6479439"/>
              <a:gd name="connsiteX1523" fmla="*/ 3364287 w 9586368"/>
              <a:gd name="connsiteY1523" fmla="*/ 5518129 h 6479439"/>
              <a:gd name="connsiteX1524" fmla="*/ 3360268 w 9586368"/>
              <a:gd name="connsiteY1524" fmla="*/ 5522168 h 6479439"/>
              <a:gd name="connsiteX1525" fmla="*/ 3350359 w 9586368"/>
              <a:gd name="connsiteY1525" fmla="*/ 5522168 h 6479439"/>
              <a:gd name="connsiteX1526" fmla="*/ 3346340 w 9586368"/>
              <a:gd name="connsiteY1526" fmla="*/ 5518129 h 6479439"/>
              <a:gd name="connsiteX1527" fmla="*/ 3346340 w 9586368"/>
              <a:gd name="connsiteY1527" fmla="*/ 5508258 h 6479439"/>
              <a:gd name="connsiteX1528" fmla="*/ 3111048 w 9586368"/>
              <a:gd name="connsiteY1528" fmla="*/ 5504220 h 6479439"/>
              <a:gd name="connsiteX1529" fmla="*/ 3120959 w 9586368"/>
              <a:gd name="connsiteY1529" fmla="*/ 5504220 h 6479439"/>
              <a:gd name="connsiteX1530" fmla="*/ 3124977 w 9586368"/>
              <a:gd name="connsiteY1530" fmla="*/ 5508258 h 6479439"/>
              <a:gd name="connsiteX1531" fmla="*/ 3124977 w 9586368"/>
              <a:gd name="connsiteY1531" fmla="*/ 5518129 h 6479439"/>
              <a:gd name="connsiteX1532" fmla="*/ 3120959 w 9586368"/>
              <a:gd name="connsiteY1532" fmla="*/ 5522168 h 6479439"/>
              <a:gd name="connsiteX1533" fmla="*/ 3111048 w 9586368"/>
              <a:gd name="connsiteY1533" fmla="*/ 5522168 h 6479439"/>
              <a:gd name="connsiteX1534" fmla="*/ 3107029 w 9586368"/>
              <a:gd name="connsiteY1534" fmla="*/ 5518129 h 6479439"/>
              <a:gd name="connsiteX1535" fmla="*/ 3107029 w 9586368"/>
              <a:gd name="connsiteY1535" fmla="*/ 5508258 h 6479439"/>
              <a:gd name="connsiteX1536" fmla="*/ 2871737 w 9586368"/>
              <a:gd name="connsiteY1536" fmla="*/ 5504220 h 6479439"/>
              <a:gd name="connsiteX1537" fmla="*/ 2881646 w 9586368"/>
              <a:gd name="connsiteY1537" fmla="*/ 5504220 h 6479439"/>
              <a:gd name="connsiteX1538" fmla="*/ 2885666 w 9586368"/>
              <a:gd name="connsiteY1538" fmla="*/ 5508258 h 6479439"/>
              <a:gd name="connsiteX1539" fmla="*/ 2885666 w 9586368"/>
              <a:gd name="connsiteY1539" fmla="*/ 5518129 h 6479439"/>
              <a:gd name="connsiteX1540" fmla="*/ 2881646 w 9586368"/>
              <a:gd name="connsiteY1540" fmla="*/ 5522168 h 6479439"/>
              <a:gd name="connsiteX1541" fmla="*/ 2871737 w 9586368"/>
              <a:gd name="connsiteY1541" fmla="*/ 5522168 h 6479439"/>
              <a:gd name="connsiteX1542" fmla="*/ 2867717 w 9586368"/>
              <a:gd name="connsiteY1542" fmla="*/ 5518129 h 6479439"/>
              <a:gd name="connsiteX1543" fmla="*/ 2867717 w 9586368"/>
              <a:gd name="connsiteY1543" fmla="*/ 5508258 h 6479439"/>
              <a:gd name="connsiteX1544" fmla="*/ 2632423 w 9586368"/>
              <a:gd name="connsiteY1544" fmla="*/ 5504220 h 6479439"/>
              <a:gd name="connsiteX1545" fmla="*/ 2642334 w 9586368"/>
              <a:gd name="connsiteY1545" fmla="*/ 5504220 h 6479439"/>
              <a:gd name="connsiteX1546" fmla="*/ 2646352 w 9586368"/>
              <a:gd name="connsiteY1546" fmla="*/ 5508258 h 6479439"/>
              <a:gd name="connsiteX1547" fmla="*/ 2646352 w 9586368"/>
              <a:gd name="connsiteY1547" fmla="*/ 5518129 h 6479439"/>
              <a:gd name="connsiteX1548" fmla="*/ 2642334 w 9586368"/>
              <a:gd name="connsiteY1548" fmla="*/ 5522168 h 6479439"/>
              <a:gd name="connsiteX1549" fmla="*/ 2632423 w 9586368"/>
              <a:gd name="connsiteY1549" fmla="*/ 5522168 h 6479439"/>
              <a:gd name="connsiteX1550" fmla="*/ 2628404 w 9586368"/>
              <a:gd name="connsiteY1550" fmla="*/ 5518129 h 6479439"/>
              <a:gd name="connsiteX1551" fmla="*/ 2628404 w 9586368"/>
              <a:gd name="connsiteY1551" fmla="*/ 5508258 h 6479439"/>
              <a:gd name="connsiteX1552" fmla="*/ 2393104 w 9586368"/>
              <a:gd name="connsiteY1552" fmla="*/ 5504220 h 6479439"/>
              <a:gd name="connsiteX1553" fmla="*/ 2403015 w 9586368"/>
              <a:gd name="connsiteY1553" fmla="*/ 5504220 h 6479439"/>
              <a:gd name="connsiteX1554" fmla="*/ 2407034 w 9586368"/>
              <a:gd name="connsiteY1554" fmla="*/ 5508258 h 6479439"/>
              <a:gd name="connsiteX1555" fmla="*/ 2407034 w 9586368"/>
              <a:gd name="connsiteY1555" fmla="*/ 5518129 h 6479439"/>
              <a:gd name="connsiteX1556" fmla="*/ 2403015 w 9586368"/>
              <a:gd name="connsiteY1556" fmla="*/ 5522168 h 6479439"/>
              <a:gd name="connsiteX1557" fmla="*/ 2393104 w 9586368"/>
              <a:gd name="connsiteY1557" fmla="*/ 5522168 h 6479439"/>
              <a:gd name="connsiteX1558" fmla="*/ 2389087 w 9586368"/>
              <a:gd name="connsiteY1558" fmla="*/ 5518129 h 6479439"/>
              <a:gd name="connsiteX1559" fmla="*/ 2389087 w 9586368"/>
              <a:gd name="connsiteY1559" fmla="*/ 5508258 h 6479439"/>
              <a:gd name="connsiteX1560" fmla="*/ 2157818 w 9586368"/>
              <a:gd name="connsiteY1560" fmla="*/ 5504220 h 6479439"/>
              <a:gd name="connsiteX1561" fmla="*/ 2167728 w 9586368"/>
              <a:gd name="connsiteY1561" fmla="*/ 5504220 h 6479439"/>
              <a:gd name="connsiteX1562" fmla="*/ 2171748 w 9586368"/>
              <a:gd name="connsiteY1562" fmla="*/ 5508258 h 6479439"/>
              <a:gd name="connsiteX1563" fmla="*/ 2171748 w 9586368"/>
              <a:gd name="connsiteY1563" fmla="*/ 5518129 h 6479439"/>
              <a:gd name="connsiteX1564" fmla="*/ 2167728 w 9586368"/>
              <a:gd name="connsiteY1564" fmla="*/ 5522168 h 6479439"/>
              <a:gd name="connsiteX1565" fmla="*/ 2157818 w 9586368"/>
              <a:gd name="connsiteY1565" fmla="*/ 5522168 h 6479439"/>
              <a:gd name="connsiteX1566" fmla="*/ 2153799 w 9586368"/>
              <a:gd name="connsiteY1566" fmla="*/ 5518129 h 6479439"/>
              <a:gd name="connsiteX1567" fmla="*/ 2153799 w 9586368"/>
              <a:gd name="connsiteY1567" fmla="*/ 5508258 h 6479439"/>
              <a:gd name="connsiteX1568" fmla="*/ 1918510 w 9586368"/>
              <a:gd name="connsiteY1568" fmla="*/ 5504220 h 6479439"/>
              <a:gd name="connsiteX1569" fmla="*/ 1928420 w 9586368"/>
              <a:gd name="connsiteY1569" fmla="*/ 5504220 h 6479439"/>
              <a:gd name="connsiteX1570" fmla="*/ 1932438 w 9586368"/>
              <a:gd name="connsiteY1570" fmla="*/ 5508258 h 6479439"/>
              <a:gd name="connsiteX1571" fmla="*/ 1932438 w 9586368"/>
              <a:gd name="connsiteY1571" fmla="*/ 5518129 h 6479439"/>
              <a:gd name="connsiteX1572" fmla="*/ 1928420 w 9586368"/>
              <a:gd name="connsiteY1572" fmla="*/ 5522168 h 6479439"/>
              <a:gd name="connsiteX1573" fmla="*/ 1918510 w 9586368"/>
              <a:gd name="connsiteY1573" fmla="*/ 5522168 h 6479439"/>
              <a:gd name="connsiteX1574" fmla="*/ 1914490 w 9586368"/>
              <a:gd name="connsiteY1574" fmla="*/ 5518129 h 6479439"/>
              <a:gd name="connsiteX1575" fmla="*/ 1914490 w 9586368"/>
              <a:gd name="connsiteY1575" fmla="*/ 5508258 h 6479439"/>
              <a:gd name="connsiteX1576" fmla="*/ 1679202 w 9586368"/>
              <a:gd name="connsiteY1576" fmla="*/ 5504220 h 6479439"/>
              <a:gd name="connsiteX1577" fmla="*/ 1689112 w 9586368"/>
              <a:gd name="connsiteY1577" fmla="*/ 5504220 h 6479439"/>
              <a:gd name="connsiteX1578" fmla="*/ 1693132 w 9586368"/>
              <a:gd name="connsiteY1578" fmla="*/ 5508258 h 6479439"/>
              <a:gd name="connsiteX1579" fmla="*/ 1693132 w 9586368"/>
              <a:gd name="connsiteY1579" fmla="*/ 5518129 h 6479439"/>
              <a:gd name="connsiteX1580" fmla="*/ 1689112 w 9586368"/>
              <a:gd name="connsiteY1580" fmla="*/ 5522168 h 6479439"/>
              <a:gd name="connsiteX1581" fmla="*/ 1679202 w 9586368"/>
              <a:gd name="connsiteY1581" fmla="*/ 5522168 h 6479439"/>
              <a:gd name="connsiteX1582" fmla="*/ 1675184 w 9586368"/>
              <a:gd name="connsiteY1582" fmla="*/ 5518129 h 6479439"/>
              <a:gd name="connsiteX1583" fmla="*/ 1675184 w 9586368"/>
              <a:gd name="connsiteY1583" fmla="*/ 5508258 h 6479439"/>
              <a:gd name="connsiteX1584" fmla="*/ 1439887 w 9586368"/>
              <a:gd name="connsiteY1584" fmla="*/ 5504220 h 6479439"/>
              <a:gd name="connsiteX1585" fmla="*/ 1449797 w 9586368"/>
              <a:gd name="connsiteY1585" fmla="*/ 5504220 h 6479439"/>
              <a:gd name="connsiteX1586" fmla="*/ 1453815 w 9586368"/>
              <a:gd name="connsiteY1586" fmla="*/ 5508258 h 6479439"/>
              <a:gd name="connsiteX1587" fmla="*/ 1453815 w 9586368"/>
              <a:gd name="connsiteY1587" fmla="*/ 5518129 h 6479439"/>
              <a:gd name="connsiteX1588" fmla="*/ 1449797 w 9586368"/>
              <a:gd name="connsiteY1588" fmla="*/ 5522168 h 6479439"/>
              <a:gd name="connsiteX1589" fmla="*/ 1439887 w 9586368"/>
              <a:gd name="connsiteY1589" fmla="*/ 5522168 h 6479439"/>
              <a:gd name="connsiteX1590" fmla="*/ 1435869 w 9586368"/>
              <a:gd name="connsiteY1590" fmla="*/ 5518129 h 6479439"/>
              <a:gd name="connsiteX1591" fmla="*/ 1435869 w 9586368"/>
              <a:gd name="connsiteY1591" fmla="*/ 5508258 h 6479439"/>
              <a:gd name="connsiteX1592" fmla="*/ 1200572 w 9586368"/>
              <a:gd name="connsiteY1592" fmla="*/ 5504220 h 6479439"/>
              <a:gd name="connsiteX1593" fmla="*/ 1210483 w 9586368"/>
              <a:gd name="connsiteY1593" fmla="*/ 5504220 h 6479439"/>
              <a:gd name="connsiteX1594" fmla="*/ 1214501 w 9586368"/>
              <a:gd name="connsiteY1594" fmla="*/ 5508258 h 6479439"/>
              <a:gd name="connsiteX1595" fmla="*/ 1214501 w 9586368"/>
              <a:gd name="connsiteY1595" fmla="*/ 5518129 h 6479439"/>
              <a:gd name="connsiteX1596" fmla="*/ 1210483 w 9586368"/>
              <a:gd name="connsiteY1596" fmla="*/ 5522168 h 6479439"/>
              <a:gd name="connsiteX1597" fmla="*/ 1200572 w 9586368"/>
              <a:gd name="connsiteY1597" fmla="*/ 5522168 h 6479439"/>
              <a:gd name="connsiteX1598" fmla="*/ 1196554 w 9586368"/>
              <a:gd name="connsiteY1598" fmla="*/ 5518129 h 6479439"/>
              <a:gd name="connsiteX1599" fmla="*/ 1196554 w 9586368"/>
              <a:gd name="connsiteY1599" fmla="*/ 5508258 h 6479439"/>
              <a:gd name="connsiteX1600" fmla="*/ 961260 w 9586368"/>
              <a:gd name="connsiteY1600" fmla="*/ 5504220 h 6479439"/>
              <a:gd name="connsiteX1601" fmla="*/ 971169 w 9586368"/>
              <a:gd name="connsiteY1601" fmla="*/ 5504220 h 6479439"/>
              <a:gd name="connsiteX1602" fmla="*/ 975189 w 9586368"/>
              <a:gd name="connsiteY1602" fmla="*/ 5508258 h 6479439"/>
              <a:gd name="connsiteX1603" fmla="*/ 975189 w 9586368"/>
              <a:gd name="connsiteY1603" fmla="*/ 5518129 h 6479439"/>
              <a:gd name="connsiteX1604" fmla="*/ 971169 w 9586368"/>
              <a:gd name="connsiteY1604" fmla="*/ 5522168 h 6479439"/>
              <a:gd name="connsiteX1605" fmla="*/ 961260 w 9586368"/>
              <a:gd name="connsiteY1605" fmla="*/ 5522168 h 6479439"/>
              <a:gd name="connsiteX1606" fmla="*/ 957241 w 9586368"/>
              <a:gd name="connsiteY1606" fmla="*/ 5518129 h 6479439"/>
              <a:gd name="connsiteX1607" fmla="*/ 957241 w 9586368"/>
              <a:gd name="connsiteY1607" fmla="*/ 5508258 h 6479439"/>
              <a:gd name="connsiteX1608" fmla="*/ 721961 w 9586368"/>
              <a:gd name="connsiteY1608" fmla="*/ 5504220 h 6479439"/>
              <a:gd name="connsiteX1609" fmla="*/ 731871 w 9586368"/>
              <a:gd name="connsiteY1609" fmla="*/ 5504220 h 6479439"/>
              <a:gd name="connsiteX1610" fmla="*/ 735890 w 9586368"/>
              <a:gd name="connsiteY1610" fmla="*/ 5508258 h 6479439"/>
              <a:gd name="connsiteX1611" fmla="*/ 735890 w 9586368"/>
              <a:gd name="connsiteY1611" fmla="*/ 5518129 h 6479439"/>
              <a:gd name="connsiteX1612" fmla="*/ 731871 w 9586368"/>
              <a:gd name="connsiteY1612" fmla="*/ 5522168 h 6479439"/>
              <a:gd name="connsiteX1613" fmla="*/ 721961 w 9586368"/>
              <a:gd name="connsiteY1613" fmla="*/ 5522168 h 6479439"/>
              <a:gd name="connsiteX1614" fmla="*/ 717942 w 9586368"/>
              <a:gd name="connsiteY1614" fmla="*/ 5518129 h 6479439"/>
              <a:gd name="connsiteX1615" fmla="*/ 717942 w 9586368"/>
              <a:gd name="connsiteY1615" fmla="*/ 5508258 h 6479439"/>
              <a:gd name="connsiteX1616" fmla="*/ 482649 w 9586368"/>
              <a:gd name="connsiteY1616" fmla="*/ 5504220 h 6479439"/>
              <a:gd name="connsiteX1617" fmla="*/ 492559 w 9586368"/>
              <a:gd name="connsiteY1617" fmla="*/ 5504220 h 6479439"/>
              <a:gd name="connsiteX1618" fmla="*/ 496578 w 9586368"/>
              <a:gd name="connsiteY1618" fmla="*/ 5508258 h 6479439"/>
              <a:gd name="connsiteX1619" fmla="*/ 496578 w 9586368"/>
              <a:gd name="connsiteY1619" fmla="*/ 5518129 h 6479439"/>
              <a:gd name="connsiteX1620" fmla="*/ 492559 w 9586368"/>
              <a:gd name="connsiteY1620" fmla="*/ 5522168 h 6479439"/>
              <a:gd name="connsiteX1621" fmla="*/ 482649 w 9586368"/>
              <a:gd name="connsiteY1621" fmla="*/ 5522168 h 6479439"/>
              <a:gd name="connsiteX1622" fmla="*/ 478630 w 9586368"/>
              <a:gd name="connsiteY1622" fmla="*/ 5518129 h 6479439"/>
              <a:gd name="connsiteX1623" fmla="*/ 478630 w 9586368"/>
              <a:gd name="connsiteY1623" fmla="*/ 5508258 h 6479439"/>
              <a:gd name="connsiteX1624" fmla="*/ 243335 w 9586368"/>
              <a:gd name="connsiteY1624" fmla="*/ 5504220 h 6479439"/>
              <a:gd name="connsiteX1625" fmla="*/ 253245 w 9586368"/>
              <a:gd name="connsiteY1625" fmla="*/ 5504220 h 6479439"/>
              <a:gd name="connsiteX1626" fmla="*/ 257264 w 9586368"/>
              <a:gd name="connsiteY1626" fmla="*/ 5508258 h 6479439"/>
              <a:gd name="connsiteX1627" fmla="*/ 257264 w 9586368"/>
              <a:gd name="connsiteY1627" fmla="*/ 5518129 h 6479439"/>
              <a:gd name="connsiteX1628" fmla="*/ 253245 w 9586368"/>
              <a:gd name="connsiteY1628" fmla="*/ 5522168 h 6479439"/>
              <a:gd name="connsiteX1629" fmla="*/ 243335 w 9586368"/>
              <a:gd name="connsiteY1629" fmla="*/ 5522168 h 6479439"/>
              <a:gd name="connsiteX1630" fmla="*/ 239316 w 9586368"/>
              <a:gd name="connsiteY1630" fmla="*/ 5518129 h 6479439"/>
              <a:gd name="connsiteX1631" fmla="*/ 239316 w 9586368"/>
              <a:gd name="connsiteY1631" fmla="*/ 5508258 h 6479439"/>
              <a:gd name="connsiteX1632" fmla="*/ 4022 w 9586368"/>
              <a:gd name="connsiteY1632" fmla="*/ 5504220 h 6479439"/>
              <a:gd name="connsiteX1633" fmla="*/ 13932 w 9586368"/>
              <a:gd name="connsiteY1633" fmla="*/ 5504220 h 6479439"/>
              <a:gd name="connsiteX1634" fmla="*/ 17951 w 9586368"/>
              <a:gd name="connsiteY1634" fmla="*/ 5508258 h 6479439"/>
              <a:gd name="connsiteX1635" fmla="*/ 17951 w 9586368"/>
              <a:gd name="connsiteY1635" fmla="*/ 5518129 h 6479439"/>
              <a:gd name="connsiteX1636" fmla="*/ 13932 w 9586368"/>
              <a:gd name="connsiteY1636" fmla="*/ 5522168 h 6479439"/>
              <a:gd name="connsiteX1637" fmla="*/ 4022 w 9586368"/>
              <a:gd name="connsiteY1637" fmla="*/ 5522168 h 6479439"/>
              <a:gd name="connsiteX1638" fmla="*/ 3 w 9586368"/>
              <a:gd name="connsiteY1638" fmla="*/ 5518129 h 6479439"/>
              <a:gd name="connsiteX1639" fmla="*/ 3 w 9586368"/>
              <a:gd name="connsiteY1639" fmla="*/ 5508258 h 6479439"/>
              <a:gd name="connsiteX1640" fmla="*/ 2157818 w 9586368"/>
              <a:gd name="connsiteY1640" fmla="*/ 5264940 h 6479439"/>
              <a:gd name="connsiteX1641" fmla="*/ 2167729 w 9586368"/>
              <a:gd name="connsiteY1641" fmla="*/ 5264940 h 6479439"/>
              <a:gd name="connsiteX1642" fmla="*/ 2171748 w 9586368"/>
              <a:gd name="connsiteY1642" fmla="*/ 5268978 h 6479439"/>
              <a:gd name="connsiteX1643" fmla="*/ 2171748 w 9586368"/>
              <a:gd name="connsiteY1643" fmla="*/ 5278849 h 6479439"/>
              <a:gd name="connsiteX1644" fmla="*/ 2167729 w 9586368"/>
              <a:gd name="connsiteY1644" fmla="*/ 5282888 h 6479439"/>
              <a:gd name="connsiteX1645" fmla="*/ 2157818 w 9586368"/>
              <a:gd name="connsiteY1645" fmla="*/ 5282888 h 6479439"/>
              <a:gd name="connsiteX1646" fmla="*/ 2153799 w 9586368"/>
              <a:gd name="connsiteY1646" fmla="*/ 5278849 h 6479439"/>
              <a:gd name="connsiteX1647" fmla="*/ 2153799 w 9586368"/>
              <a:gd name="connsiteY1647" fmla="*/ 5268978 h 6479439"/>
              <a:gd name="connsiteX1648" fmla="*/ 1918510 w 9586368"/>
              <a:gd name="connsiteY1648" fmla="*/ 5264940 h 6479439"/>
              <a:gd name="connsiteX1649" fmla="*/ 1928420 w 9586368"/>
              <a:gd name="connsiteY1649" fmla="*/ 5264940 h 6479439"/>
              <a:gd name="connsiteX1650" fmla="*/ 1932438 w 9586368"/>
              <a:gd name="connsiteY1650" fmla="*/ 5268978 h 6479439"/>
              <a:gd name="connsiteX1651" fmla="*/ 1932438 w 9586368"/>
              <a:gd name="connsiteY1651" fmla="*/ 5278849 h 6479439"/>
              <a:gd name="connsiteX1652" fmla="*/ 1928420 w 9586368"/>
              <a:gd name="connsiteY1652" fmla="*/ 5282888 h 6479439"/>
              <a:gd name="connsiteX1653" fmla="*/ 1918510 w 9586368"/>
              <a:gd name="connsiteY1653" fmla="*/ 5282888 h 6479439"/>
              <a:gd name="connsiteX1654" fmla="*/ 1914492 w 9586368"/>
              <a:gd name="connsiteY1654" fmla="*/ 5278849 h 6479439"/>
              <a:gd name="connsiteX1655" fmla="*/ 1914492 w 9586368"/>
              <a:gd name="connsiteY1655" fmla="*/ 5268978 h 6479439"/>
              <a:gd name="connsiteX1656" fmla="*/ 1679204 w 9586368"/>
              <a:gd name="connsiteY1656" fmla="*/ 5264940 h 6479439"/>
              <a:gd name="connsiteX1657" fmla="*/ 1689113 w 9586368"/>
              <a:gd name="connsiteY1657" fmla="*/ 5264940 h 6479439"/>
              <a:gd name="connsiteX1658" fmla="*/ 1693132 w 9586368"/>
              <a:gd name="connsiteY1658" fmla="*/ 5268978 h 6479439"/>
              <a:gd name="connsiteX1659" fmla="*/ 1693132 w 9586368"/>
              <a:gd name="connsiteY1659" fmla="*/ 5278849 h 6479439"/>
              <a:gd name="connsiteX1660" fmla="*/ 1689113 w 9586368"/>
              <a:gd name="connsiteY1660" fmla="*/ 5282888 h 6479439"/>
              <a:gd name="connsiteX1661" fmla="*/ 1679204 w 9586368"/>
              <a:gd name="connsiteY1661" fmla="*/ 5282888 h 6479439"/>
              <a:gd name="connsiteX1662" fmla="*/ 1675184 w 9586368"/>
              <a:gd name="connsiteY1662" fmla="*/ 5278849 h 6479439"/>
              <a:gd name="connsiteX1663" fmla="*/ 1675184 w 9586368"/>
              <a:gd name="connsiteY1663" fmla="*/ 5268978 h 6479439"/>
              <a:gd name="connsiteX1664" fmla="*/ 1439889 w 9586368"/>
              <a:gd name="connsiteY1664" fmla="*/ 5264940 h 6479439"/>
              <a:gd name="connsiteX1665" fmla="*/ 1449798 w 9586368"/>
              <a:gd name="connsiteY1665" fmla="*/ 5264940 h 6479439"/>
              <a:gd name="connsiteX1666" fmla="*/ 1453817 w 9586368"/>
              <a:gd name="connsiteY1666" fmla="*/ 5268978 h 6479439"/>
              <a:gd name="connsiteX1667" fmla="*/ 1453817 w 9586368"/>
              <a:gd name="connsiteY1667" fmla="*/ 5278849 h 6479439"/>
              <a:gd name="connsiteX1668" fmla="*/ 1449798 w 9586368"/>
              <a:gd name="connsiteY1668" fmla="*/ 5282888 h 6479439"/>
              <a:gd name="connsiteX1669" fmla="*/ 1439889 w 9586368"/>
              <a:gd name="connsiteY1669" fmla="*/ 5282888 h 6479439"/>
              <a:gd name="connsiteX1670" fmla="*/ 1435869 w 9586368"/>
              <a:gd name="connsiteY1670" fmla="*/ 5278849 h 6479439"/>
              <a:gd name="connsiteX1671" fmla="*/ 1435869 w 9586368"/>
              <a:gd name="connsiteY1671" fmla="*/ 5268978 h 6479439"/>
              <a:gd name="connsiteX1672" fmla="*/ 1200573 w 9586368"/>
              <a:gd name="connsiteY1672" fmla="*/ 5264940 h 6479439"/>
              <a:gd name="connsiteX1673" fmla="*/ 1210483 w 9586368"/>
              <a:gd name="connsiteY1673" fmla="*/ 5264940 h 6479439"/>
              <a:gd name="connsiteX1674" fmla="*/ 1214502 w 9586368"/>
              <a:gd name="connsiteY1674" fmla="*/ 5268978 h 6479439"/>
              <a:gd name="connsiteX1675" fmla="*/ 1214502 w 9586368"/>
              <a:gd name="connsiteY1675" fmla="*/ 5278849 h 6479439"/>
              <a:gd name="connsiteX1676" fmla="*/ 1210483 w 9586368"/>
              <a:gd name="connsiteY1676" fmla="*/ 5282888 h 6479439"/>
              <a:gd name="connsiteX1677" fmla="*/ 1200573 w 9586368"/>
              <a:gd name="connsiteY1677" fmla="*/ 5282888 h 6479439"/>
              <a:gd name="connsiteX1678" fmla="*/ 1196554 w 9586368"/>
              <a:gd name="connsiteY1678" fmla="*/ 5278849 h 6479439"/>
              <a:gd name="connsiteX1679" fmla="*/ 1196554 w 9586368"/>
              <a:gd name="connsiteY1679" fmla="*/ 5268978 h 6479439"/>
              <a:gd name="connsiteX1680" fmla="*/ 961260 w 9586368"/>
              <a:gd name="connsiteY1680" fmla="*/ 5264940 h 6479439"/>
              <a:gd name="connsiteX1681" fmla="*/ 971171 w 9586368"/>
              <a:gd name="connsiteY1681" fmla="*/ 5264940 h 6479439"/>
              <a:gd name="connsiteX1682" fmla="*/ 975189 w 9586368"/>
              <a:gd name="connsiteY1682" fmla="*/ 5268978 h 6479439"/>
              <a:gd name="connsiteX1683" fmla="*/ 975189 w 9586368"/>
              <a:gd name="connsiteY1683" fmla="*/ 5278849 h 6479439"/>
              <a:gd name="connsiteX1684" fmla="*/ 971171 w 9586368"/>
              <a:gd name="connsiteY1684" fmla="*/ 5282888 h 6479439"/>
              <a:gd name="connsiteX1685" fmla="*/ 961260 w 9586368"/>
              <a:gd name="connsiteY1685" fmla="*/ 5282888 h 6479439"/>
              <a:gd name="connsiteX1686" fmla="*/ 957241 w 9586368"/>
              <a:gd name="connsiteY1686" fmla="*/ 5278849 h 6479439"/>
              <a:gd name="connsiteX1687" fmla="*/ 957241 w 9586368"/>
              <a:gd name="connsiteY1687" fmla="*/ 5268978 h 6479439"/>
              <a:gd name="connsiteX1688" fmla="*/ 9572438 w 9586368"/>
              <a:gd name="connsiteY1688" fmla="*/ 5264889 h 6479439"/>
              <a:gd name="connsiteX1689" fmla="*/ 9582349 w 9586368"/>
              <a:gd name="connsiteY1689" fmla="*/ 5264889 h 6479439"/>
              <a:gd name="connsiteX1690" fmla="*/ 9586368 w 9586368"/>
              <a:gd name="connsiteY1690" fmla="*/ 5268928 h 6479439"/>
              <a:gd name="connsiteX1691" fmla="*/ 9586368 w 9586368"/>
              <a:gd name="connsiteY1691" fmla="*/ 5278799 h 6479439"/>
              <a:gd name="connsiteX1692" fmla="*/ 9582349 w 9586368"/>
              <a:gd name="connsiteY1692" fmla="*/ 5282838 h 6479439"/>
              <a:gd name="connsiteX1693" fmla="*/ 9572438 w 9586368"/>
              <a:gd name="connsiteY1693" fmla="*/ 5282838 h 6479439"/>
              <a:gd name="connsiteX1694" fmla="*/ 9568419 w 9586368"/>
              <a:gd name="connsiteY1694" fmla="*/ 5278799 h 6479439"/>
              <a:gd name="connsiteX1695" fmla="*/ 9568419 w 9586368"/>
              <a:gd name="connsiteY1695" fmla="*/ 5268928 h 6479439"/>
              <a:gd name="connsiteX1696" fmla="*/ 9333125 w 9586368"/>
              <a:gd name="connsiteY1696" fmla="*/ 5264889 h 6479439"/>
              <a:gd name="connsiteX1697" fmla="*/ 9343036 w 9586368"/>
              <a:gd name="connsiteY1697" fmla="*/ 5264889 h 6479439"/>
              <a:gd name="connsiteX1698" fmla="*/ 9347055 w 9586368"/>
              <a:gd name="connsiteY1698" fmla="*/ 5268928 h 6479439"/>
              <a:gd name="connsiteX1699" fmla="*/ 9347055 w 9586368"/>
              <a:gd name="connsiteY1699" fmla="*/ 5278799 h 6479439"/>
              <a:gd name="connsiteX1700" fmla="*/ 9343036 w 9586368"/>
              <a:gd name="connsiteY1700" fmla="*/ 5282838 h 6479439"/>
              <a:gd name="connsiteX1701" fmla="*/ 9333125 w 9586368"/>
              <a:gd name="connsiteY1701" fmla="*/ 5282838 h 6479439"/>
              <a:gd name="connsiteX1702" fmla="*/ 9329106 w 9586368"/>
              <a:gd name="connsiteY1702" fmla="*/ 5278799 h 6479439"/>
              <a:gd name="connsiteX1703" fmla="*/ 9329106 w 9586368"/>
              <a:gd name="connsiteY1703" fmla="*/ 5268928 h 6479439"/>
              <a:gd name="connsiteX1704" fmla="*/ 9093811 w 9586368"/>
              <a:gd name="connsiteY1704" fmla="*/ 5264889 h 6479439"/>
              <a:gd name="connsiteX1705" fmla="*/ 9103722 w 9586368"/>
              <a:gd name="connsiteY1705" fmla="*/ 5264889 h 6479439"/>
              <a:gd name="connsiteX1706" fmla="*/ 9107741 w 9586368"/>
              <a:gd name="connsiteY1706" fmla="*/ 5268928 h 6479439"/>
              <a:gd name="connsiteX1707" fmla="*/ 9107741 w 9586368"/>
              <a:gd name="connsiteY1707" fmla="*/ 5278799 h 6479439"/>
              <a:gd name="connsiteX1708" fmla="*/ 9103722 w 9586368"/>
              <a:gd name="connsiteY1708" fmla="*/ 5282838 h 6479439"/>
              <a:gd name="connsiteX1709" fmla="*/ 9093811 w 9586368"/>
              <a:gd name="connsiteY1709" fmla="*/ 5282838 h 6479439"/>
              <a:gd name="connsiteX1710" fmla="*/ 9089792 w 9586368"/>
              <a:gd name="connsiteY1710" fmla="*/ 5278799 h 6479439"/>
              <a:gd name="connsiteX1711" fmla="*/ 9089792 w 9586368"/>
              <a:gd name="connsiteY1711" fmla="*/ 5268928 h 6479439"/>
              <a:gd name="connsiteX1712" fmla="*/ 8854496 w 9586368"/>
              <a:gd name="connsiteY1712" fmla="*/ 5264889 h 6479439"/>
              <a:gd name="connsiteX1713" fmla="*/ 8864407 w 9586368"/>
              <a:gd name="connsiteY1713" fmla="*/ 5264889 h 6479439"/>
              <a:gd name="connsiteX1714" fmla="*/ 8868426 w 9586368"/>
              <a:gd name="connsiteY1714" fmla="*/ 5268928 h 6479439"/>
              <a:gd name="connsiteX1715" fmla="*/ 8868426 w 9586368"/>
              <a:gd name="connsiteY1715" fmla="*/ 5278799 h 6479439"/>
              <a:gd name="connsiteX1716" fmla="*/ 8864407 w 9586368"/>
              <a:gd name="connsiteY1716" fmla="*/ 5282838 h 6479439"/>
              <a:gd name="connsiteX1717" fmla="*/ 8854496 w 9586368"/>
              <a:gd name="connsiteY1717" fmla="*/ 5282838 h 6479439"/>
              <a:gd name="connsiteX1718" fmla="*/ 8850477 w 9586368"/>
              <a:gd name="connsiteY1718" fmla="*/ 5278799 h 6479439"/>
              <a:gd name="connsiteX1719" fmla="*/ 8850477 w 9586368"/>
              <a:gd name="connsiteY1719" fmla="*/ 5268928 h 6479439"/>
              <a:gd name="connsiteX1720" fmla="*/ 8615184 w 9586368"/>
              <a:gd name="connsiteY1720" fmla="*/ 5264889 h 6479439"/>
              <a:gd name="connsiteX1721" fmla="*/ 8625095 w 9586368"/>
              <a:gd name="connsiteY1721" fmla="*/ 5264889 h 6479439"/>
              <a:gd name="connsiteX1722" fmla="*/ 8629114 w 9586368"/>
              <a:gd name="connsiteY1722" fmla="*/ 5268928 h 6479439"/>
              <a:gd name="connsiteX1723" fmla="*/ 8629114 w 9586368"/>
              <a:gd name="connsiteY1723" fmla="*/ 5278799 h 6479439"/>
              <a:gd name="connsiteX1724" fmla="*/ 8625095 w 9586368"/>
              <a:gd name="connsiteY1724" fmla="*/ 5282838 h 6479439"/>
              <a:gd name="connsiteX1725" fmla="*/ 8615184 w 9586368"/>
              <a:gd name="connsiteY1725" fmla="*/ 5282838 h 6479439"/>
              <a:gd name="connsiteX1726" fmla="*/ 8611165 w 9586368"/>
              <a:gd name="connsiteY1726" fmla="*/ 5278799 h 6479439"/>
              <a:gd name="connsiteX1727" fmla="*/ 8611165 w 9586368"/>
              <a:gd name="connsiteY1727" fmla="*/ 5268928 h 6479439"/>
              <a:gd name="connsiteX1728" fmla="*/ 8375869 w 9586368"/>
              <a:gd name="connsiteY1728" fmla="*/ 5264889 h 6479439"/>
              <a:gd name="connsiteX1729" fmla="*/ 8385779 w 9586368"/>
              <a:gd name="connsiteY1729" fmla="*/ 5264889 h 6479439"/>
              <a:gd name="connsiteX1730" fmla="*/ 8389799 w 9586368"/>
              <a:gd name="connsiteY1730" fmla="*/ 5268928 h 6479439"/>
              <a:gd name="connsiteX1731" fmla="*/ 8389799 w 9586368"/>
              <a:gd name="connsiteY1731" fmla="*/ 5278799 h 6479439"/>
              <a:gd name="connsiteX1732" fmla="*/ 8385779 w 9586368"/>
              <a:gd name="connsiteY1732" fmla="*/ 5282838 h 6479439"/>
              <a:gd name="connsiteX1733" fmla="*/ 8375869 w 9586368"/>
              <a:gd name="connsiteY1733" fmla="*/ 5282838 h 6479439"/>
              <a:gd name="connsiteX1734" fmla="*/ 8371850 w 9586368"/>
              <a:gd name="connsiteY1734" fmla="*/ 5278799 h 6479439"/>
              <a:gd name="connsiteX1735" fmla="*/ 8371850 w 9586368"/>
              <a:gd name="connsiteY1735" fmla="*/ 5268928 h 6479439"/>
              <a:gd name="connsiteX1736" fmla="*/ 8136553 w 9586368"/>
              <a:gd name="connsiteY1736" fmla="*/ 5264889 h 6479439"/>
              <a:gd name="connsiteX1737" fmla="*/ 8146464 w 9586368"/>
              <a:gd name="connsiteY1737" fmla="*/ 5264889 h 6479439"/>
              <a:gd name="connsiteX1738" fmla="*/ 8150483 w 9586368"/>
              <a:gd name="connsiteY1738" fmla="*/ 5268928 h 6479439"/>
              <a:gd name="connsiteX1739" fmla="*/ 8150483 w 9586368"/>
              <a:gd name="connsiteY1739" fmla="*/ 5278799 h 6479439"/>
              <a:gd name="connsiteX1740" fmla="*/ 8146464 w 9586368"/>
              <a:gd name="connsiteY1740" fmla="*/ 5282838 h 6479439"/>
              <a:gd name="connsiteX1741" fmla="*/ 8136553 w 9586368"/>
              <a:gd name="connsiteY1741" fmla="*/ 5282838 h 6479439"/>
              <a:gd name="connsiteX1742" fmla="*/ 8132534 w 9586368"/>
              <a:gd name="connsiteY1742" fmla="*/ 5278799 h 6479439"/>
              <a:gd name="connsiteX1743" fmla="*/ 8132534 w 9586368"/>
              <a:gd name="connsiteY1743" fmla="*/ 5268928 h 6479439"/>
              <a:gd name="connsiteX1744" fmla="*/ 7897241 w 9586368"/>
              <a:gd name="connsiteY1744" fmla="*/ 5264889 h 6479439"/>
              <a:gd name="connsiteX1745" fmla="*/ 7907151 w 9586368"/>
              <a:gd name="connsiteY1745" fmla="*/ 5264889 h 6479439"/>
              <a:gd name="connsiteX1746" fmla="*/ 7911170 w 9586368"/>
              <a:gd name="connsiteY1746" fmla="*/ 5268928 h 6479439"/>
              <a:gd name="connsiteX1747" fmla="*/ 7911170 w 9586368"/>
              <a:gd name="connsiteY1747" fmla="*/ 5278799 h 6479439"/>
              <a:gd name="connsiteX1748" fmla="*/ 7907151 w 9586368"/>
              <a:gd name="connsiteY1748" fmla="*/ 5282838 h 6479439"/>
              <a:gd name="connsiteX1749" fmla="*/ 7897241 w 9586368"/>
              <a:gd name="connsiteY1749" fmla="*/ 5282838 h 6479439"/>
              <a:gd name="connsiteX1750" fmla="*/ 7893222 w 9586368"/>
              <a:gd name="connsiteY1750" fmla="*/ 5278799 h 6479439"/>
              <a:gd name="connsiteX1751" fmla="*/ 7893222 w 9586368"/>
              <a:gd name="connsiteY1751" fmla="*/ 5268928 h 6479439"/>
              <a:gd name="connsiteX1752" fmla="*/ 7657926 w 9586368"/>
              <a:gd name="connsiteY1752" fmla="*/ 5264889 h 6479439"/>
              <a:gd name="connsiteX1753" fmla="*/ 7667836 w 9586368"/>
              <a:gd name="connsiteY1753" fmla="*/ 5264889 h 6479439"/>
              <a:gd name="connsiteX1754" fmla="*/ 7671855 w 9586368"/>
              <a:gd name="connsiteY1754" fmla="*/ 5268928 h 6479439"/>
              <a:gd name="connsiteX1755" fmla="*/ 7671855 w 9586368"/>
              <a:gd name="connsiteY1755" fmla="*/ 5278799 h 6479439"/>
              <a:gd name="connsiteX1756" fmla="*/ 7667836 w 9586368"/>
              <a:gd name="connsiteY1756" fmla="*/ 5282838 h 6479439"/>
              <a:gd name="connsiteX1757" fmla="*/ 7657926 w 9586368"/>
              <a:gd name="connsiteY1757" fmla="*/ 5282838 h 6479439"/>
              <a:gd name="connsiteX1758" fmla="*/ 7653906 w 9586368"/>
              <a:gd name="connsiteY1758" fmla="*/ 5278799 h 6479439"/>
              <a:gd name="connsiteX1759" fmla="*/ 7653906 w 9586368"/>
              <a:gd name="connsiteY1759" fmla="*/ 5268928 h 6479439"/>
              <a:gd name="connsiteX1760" fmla="*/ 7418611 w 9586368"/>
              <a:gd name="connsiteY1760" fmla="*/ 5264889 h 6479439"/>
              <a:gd name="connsiteX1761" fmla="*/ 7428521 w 9586368"/>
              <a:gd name="connsiteY1761" fmla="*/ 5264889 h 6479439"/>
              <a:gd name="connsiteX1762" fmla="*/ 7432540 w 9586368"/>
              <a:gd name="connsiteY1762" fmla="*/ 5268928 h 6479439"/>
              <a:gd name="connsiteX1763" fmla="*/ 7432540 w 9586368"/>
              <a:gd name="connsiteY1763" fmla="*/ 5278799 h 6479439"/>
              <a:gd name="connsiteX1764" fmla="*/ 7428521 w 9586368"/>
              <a:gd name="connsiteY1764" fmla="*/ 5282838 h 6479439"/>
              <a:gd name="connsiteX1765" fmla="*/ 7418611 w 9586368"/>
              <a:gd name="connsiteY1765" fmla="*/ 5282838 h 6479439"/>
              <a:gd name="connsiteX1766" fmla="*/ 7414592 w 9586368"/>
              <a:gd name="connsiteY1766" fmla="*/ 5278799 h 6479439"/>
              <a:gd name="connsiteX1767" fmla="*/ 7414592 w 9586368"/>
              <a:gd name="connsiteY1767" fmla="*/ 5268928 h 6479439"/>
              <a:gd name="connsiteX1768" fmla="*/ 7179298 w 9586368"/>
              <a:gd name="connsiteY1768" fmla="*/ 5264889 h 6479439"/>
              <a:gd name="connsiteX1769" fmla="*/ 7189209 w 9586368"/>
              <a:gd name="connsiteY1769" fmla="*/ 5264889 h 6479439"/>
              <a:gd name="connsiteX1770" fmla="*/ 7193228 w 9586368"/>
              <a:gd name="connsiteY1770" fmla="*/ 5268928 h 6479439"/>
              <a:gd name="connsiteX1771" fmla="*/ 7193228 w 9586368"/>
              <a:gd name="connsiteY1771" fmla="*/ 5278799 h 6479439"/>
              <a:gd name="connsiteX1772" fmla="*/ 7189209 w 9586368"/>
              <a:gd name="connsiteY1772" fmla="*/ 5282838 h 6479439"/>
              <a:gd name="connsiteX1773" fmla="*/ 7179298 w 9586368"/>
              <a:gd name="connsiteY1773" fmla="*/ 5282838 h 6479439"/>
              <a:gd name="connsiteX1774" fmla="*/ 7175279 w 9586368"/>
              <a:gd name="connsiteY1774" fmla="*/ 5278799 h 6479439"/>
              <a:gd name="connsiteX1775" fmla="*/ 7175279 w 9586368"/>
              <a:gd name="connsiteY1775" fmla="*/ 5268928 h 6479439"/>
              <a:gd name="connsiteX1776" fmla="*/ 6939983 w 9586368"/>
              <a:gd name="connsiteY1776" fmla="*/ 5264889 h 6479439"/>
              <a:gd name="connsiteX1777" fmla="*/ 6949894 w 9586368"/>
              <a:gd name="connsiteY1777" fmla="*/ 5264889 h 6479439"/>
              <a:gd name="connsiteX1778" fmla="*/ 6953913 w 9586368"/>
              <a:gd name="connsiteY1778" fmla="*/ 5268928 h 6479439"/>
              <a:gd name="connsiteX1779" fmla="*/ 6953913 w 9586368"/>
              <a:gd name="connsiteY1779" fmla="*/ 5278799 h 6479439"/>
              <a:gd name="connsiteX1780" fmla="*/ 6949894 w 9586368"/>
              <a:gd name="connsiteY1780" fmla="*/ 5282838 h 6479439"/>
              <a:gd name="connsiteX1781" fmla="*/ 6939983 w 9586368"/>
              <a:gd name="connsiteY1781" fmla="*/ 5282838 h 6479439"/>
              <a:gd name="connsiteX1782" fmla="*/ 6935964 w 9586368"/>
              <a:gd name="connsiteY1782" fmla="*/ 5278799 h 6479439"/>
              <a:gd name="connsiteX1783" fmla="*/ 6935964 w 9586368"/>
              <a:gd name="connsiteY1783" fmla="*/ 5268928 h 6479439"/>
              <a:gd name="connsiteX1784" fmla="*/ 6700670 w 9586368"/>
              <a:gd name="connsiteY1784" fmla="*/ 5264889 h 6479439"/>
              <a:gd name="connsiteX1785" fmla="*/ 6710581 w 9586368"/>
              <a:gd name="connsiteY1785" fmla="*/ 5264889 h 6479439"/>
              <a:gd name="connsiteX1786" fmla="*/ 6714600 w 9586368"/>
              <a:gd name="connsiteY1786" fmla="*/ 5268928 h 6479439"/>
              <a:gd name="connsiteX1787" fmla="*/ 6714600 w 9586368"/>
              <a:gd name="connsiteY1787" fmla="*/ 5278799 h 6479439"/>
              <a:gd name="connsiteX1788" fmla="*/ 6710581 w 9586368"/>
              <a:gd name="connsiteY1788" fmla="*/ 5282838 h 6479439"/>
              <a:gd name="connsiteX1789" fmla="*/ 6700670 w 9586368"/>
              <a:gd name="connsiteY1789" fmla="*/ 5282838 h 6479439"/>
              <a:gd name="connsiteX1790" fmla="*/ 6696651 w 9586368"/>
              <a:gd name="connsiteY1790" fmla="*/ 5278799 h 6479439"/>
              <a:gd name="connsiteX1791" fmla="*/ 6696651 w 9586368"/>
              <a:gd name="connsiteY1791" fmla="*/ 5268928 h 6479439"/>
              <a:gd name="connsiteX1792" fmla="*/ 6461356 w 9586368"/>
              <a:gd name="connsiteY1792" fmla="*/ 5264889 h 6479439"/>
              <a:gd name="connsiteX1793" fmla="*/ 6471266 w 9586368"/>
              <a:gd name="connsiteY1793" fmla="*/ 5264889 h 6479439"/>
              <a:gd name="connsiteX1794" fmla="*/ 6475285 w 9586368"/>
              <a:gd name="connsiteY1794" fmla="*/ 5268928 h 6479439"/>
              <a:gd name="connsiteX1795" fmla="*/ 6475285 w 9586368"/>
              <a:gd name="connsiteY1795" fmla="*/ 5278799 h 6479439"/>
              <a:gd name="connsiteX1796" fmla="*/ 6471266 w 9586368"/>
              <a:gd name="connsiteY1796" fmla="*/ 5282838 h 6479439"/>
              <a:gd name="connsiteX1797" fmla="*/ 6461356 w 9586368"/>
              <a:gd name="connsiteY1797" fmla="*/ 5282838 h 6479439"/>
              <a:gd name="connsiteX1798" fmla="*/ 6457337 w 9586368"/>
              <a:gd name="connsiteY1798" fmla="*/ 5278799 h 6479439"/>
              <a:gd name="connsiteX1799" fmla="*/ 6457337 w 9586368"/>
              <a:gd name="connsiteY1799" fmla="*/ 5268928 h 6479439"/>
              <a:gd name="connsiteX1800" fmla="*/ 6222042 w 9586368"/>
              <a:gd name="connsiteY1800" fmla="*/ 5264889 h 6479439"/>
              <a:gd name="connsiteX1801" fmla="*/ 6231952 w 9586368"/>
              <a:gd name="connsiteY1801" fmla="*/ 5264889 h 6479439"/>
              <a:gd name="connsiteX1802" fmla="*/ 6235971 w 9586368"/>
              <a:gd name="connsiteY1802" fmla="*/ 5268928 h 6479439"/>
              <a:gd name="connsiteX1803" fmla="*/ 6235971 w 9586368"/>
              <a:gd name="connsiteY1803" fmla="*/ 5278799 h 6479439"/>
              <a:gd name="connsiteX1804" fmla="*/ 6231952 w 9586368"/>
              <a:gd name="connsiteY1804" fmla="*/ 5282838 h 6479439"/>
              <a:gd name="connsiteX1805" fmla="*/ 6222042 w 9586368"/>
              <a:gd name="connsiteY1805" fmla="*/ 5282838 h 6479439"/>
              <a:gd name="connsiteX1806" fmla="*/ 6218023 w 9586368"/>
              <a:gd name="connsiteY1806" fmla="*/ 5278799 h 6479439"/>
              <a:gd name="connsiteX1807" fmla="*/ 6218023 w 9586368"/>
              <a:gd name="connsiteY1807" fmla="*/ 5268928 h 6479439"/>
              <a:gd name="connsiteX1808" fmla="*/ 5982729 w 9586368"/>
              <a:gd name="connsiteY1808" fmla="*/ 5264889 h 6479439"/>
              <a:gd name="connsiteX1809" fmla="*/ 5992639 w 9586368"/>
              <a:gd name="connsiteY1809" fmla="*/ 5264889 h 6479439"/>
              <a:gd name="connsiteX1810" fmla="*/ 5996658 w 9586368"/>
              <a:gd name="connsiteY1810" fmla="*/ 5268928 h 6479439"/>
              <a:gd name="connsiteX1811" fmla="*/ 5996658 w 9586368"/>
              <a:gd name="connsiteY1811" fmla="*/ 5278799 h 6479439"/>
              <a:gd name="connsiteX1812" fmla="*/ 5992639 w 9586368"/>
              <a:gd name="connsiteY1812" fmla="*/ 5282838 h 6479439"/>
              <a:gd name="connsiteX1813" fmla="*/ 5982729 w 9586368"/>
              <a:gd name="connsiteY1813" fmla="*/ 5282838 h 6479439"/>
              <a:gd name="connsiteX1814" fmla="*/ 5978710 w 9586368"/>
              <a:gd name="connsiteY1814" fmla="*/ 5278799 h 6479439"/>
              <a:gd name="connsiteX1815" fmla="*/ 5978710 w 9586368"/>
              <a:gd name="connsiteY1815" fmla="*/ 5268928 h 6479439"/>
              <a:gd name="connsiteX1816" fmla="*/ 5743412 w 9586368"/>
              <a:gd name="connsiteY1816" fmla="*/ 5264889 h 6479439"/>
              <a:gd name="connsiteX1817" fmla="*/ 5753323 w 9586368"/>
              <a:gd name="connsiteY1817" fmla="*/ 5264889 h 6479439"/>
              <a:gd name="connsiteX1818" fmla="*/ 5757342 w 9586368"/>
              <a:gd name="connsiteY1818" fmla="*/ 5268928 h 6479439"/>
              <a:gd name="connsiteX1819" fmla="*/ 5757342 w 9586368"/>
              <a:gd name="connsiteY1819" fmla="*/ 5278799 h 6479439"/>
              <a:gd name="connsiteX1820" fmla="*/ 5753323 w 9586368"/>
              <a:gd name="connsiteY1820" fmla="*/ 5282838 h 6479439"/>
              <a:gd name="connsiteX1821" fmla="*/ 5743412 w 9586368"/>
              <a:gd name="connsiteY1821" fmla="*/ 5282838 h 6479439"/>
              <a:gd name="connsiteX1822" fmla="*/ 5739393 w 9586368"/>
              <a:gd name="connsiteY1822" fmla="*/ 5278799 h 6479439"/>
              <a:gd name="connsiteX1823" fmla="*/ 5739393 w 9586368"/>
              <a:gd name="connsiteY1823" fmla="*/ 5268928 h 6479439"/>
              <a:gd name="connsiteX1824" fmla="*/ 5504099 w 9586368"/>
              <a:gd name="connsiteY1824" fmla="*/ 5264889 h 6479439"/>
              <a:gd name="connsiteX1825" fmla="*/ 5514010 w 9586368"/>
              <a:gd name="connsiteY1825" fmla="*/ 5264889 h 6479439"/>
              <a:gd name="connsiteX1826" fmla="*/ 5518029 w 9586368"/>
              <a:gd name="connsiteY1826" fmla="*/ 5268928 h 6479439"/>
              <a:gd name="connsiteX1827" fmla="*/ 5518029 w 9586368"/>
              <a:gd name="connsiteY1827" fmla="*/ 5278799 h 6479439"/>
              <a:gd name="connsiteX1828" fmla="*/ 5514010 w 9586368"/>
              <a:gd name="connsiteY1828" fmla="*/ 5282838 h 6479439"/>
              <a:gd name="connsiteX1829" fmla="*/ 5504099 w 9586368"/>
              <a:gd name="connsiteY1829" fmla="*/ 5282838 h 6479439"/>
              <a:gd name="connsiteX1830" fmla="*/ 5500080 w 9586368"/>
              <a:gd name="connsiteY1830" fmla="*/ 5278799 h 6479439"/>
              <a:gd name="connsiteX1831" fmla="*/ 5500080 w 9586368"/>
              <a:gd name="connsiteY1831" fmla="*/ 5268928 h 6479439"/>
              <a:gd name="connsiteX1832" fmla="*/ 5264784 w 9586368"/>
              <a:gd name="connsiteY1832" fmla="*/ 5264889 h 6479439"/>
              <a:gd name="connsiteX1833" fmla="*/ 5274694 w 9586368"/>
              <a:gd name="connsiteY1833" fmla="*/ 5264889 h 6479439"/>
              <a:gd name="connsiteX1834" fmla="*/ 5278713 w 9586368"/>
              <a:gd name="connsiteY1834" fmla="*/ 5268928 h 6479439"/>
              <a:gd name="connsiteX1835" fmla="*/ 5278713 w 9586368"/>
              <a:gd name="connsiteY1835" fmla="*/ 5278799 h 6479439"/>
              <a:gd name="connsiteX1836" fmla="*/ 5274694 w 9586368"/>
              <a:gd name="connsiteY1836" fmla="*/ 5282838 h 6479439"/>
              <a:gd name="connsiteX1837" fmla="*/ 5264784 w 9586368"/>
              <a:gd name="connsiteY1837" fmla="*/ 5282838 h 6479439"/>
              <a:gd name="connsiteX1838" fmla="*/ 5260765 w 9586368"/>
              <a:gd name="connsiteY1838" fmla="*/ 5278799 h 6479439"/>
              <a:gd name="connsiteX1839" fmla="*/ 5260765 w 9586368"/>
              <a:gd name="connsiteY1839" fmla="*/ 5268928 h 6479439"/>
              <a:gd name="connsiteX1840" fmla="*/ 5025470 w 9586368"/>
              <a:gd name="connsiteY1840" fmla="*/ 5264889 h 6479439"/>
              <a:gd name="connsiteX1841" fmla="*/ 5035381 w 9586368"/>
              <a:gd name="connsiteY1841" fmla="*/ 5264889 h 6479439"/>
              <a:gd name="connsiteX1842" fmla="*/ 5039400 w 9586368"/>
              <a:gd name="connsiteY1842" fmla="*/ 5268928 h 6479439"/>
              <a:gd name="connsiteX1843" fmla="*/ 5039400 w 9586368"/>
              <a:gd name="connsiteY1843" fmla="*/ 5278799 h 6479439"/>
              <a:gd name="connsiteX1844" fmla="*/ 5035381 w 9586368"/>
              <a:gd name="connsiteY1844" fmla="*/ 5282838 h 6479439"/>
              <a:gd name="connsiteX1845" fmla="*/ 5025470 w 9586368"/>
              <a:gd name="connsiteY1845" fmla="*/ 5282838 h 6479439"/>
              <a:gd name="connsiteX1846" fmla="*/ 5021451 w 9586368"/>
              <a:gd name="connsiteY1846" fmla="*/ 5278799 h 6479439"/>
              <a:gd name="connsiteX1847" fmla="*/ 5021451 w 9586368"/>
              <a:gd name="connsiteY1847" fmla="*/ 5268928 h 6479439"/>
              <a:gd name="connsiteX1848" fmla="*/ 4786241 w 9586368"/>
              <a:gd name="connsiteY1848" fmla="*/ 5264889 h 6479439"/>
              <a:gd name="connsiteX1849" fmla="*/ 4796152 w 9586368"/>
              <a:gd name="connsiteY1849" fmla="*/ 5264889 h 6479439"/>
              <a:gd name="connsiteX1850" fmla="*/ 4800171 w 9586368"/>
              <a:gd name="connsiteY1850" fmla="*/ 5268928 h 6479439"/>
              <a:gd name="connsiteX1851" fmla="*/ 4800171 w 9586368"/>
              <a:gd name="connsiteY1851" fmla="*/ 5278799 h 6479439"/>
              <a:gd name="connsiteX1852" fmla="*/ 4796152 w 9586368"/>
              <a:gd name="connsiteY1852" fmla="*/ 5282838 h 6479439"/>
              <a:gd name="connsiteX1853" fmla="*/ 4786241 w 9586368"/>
              <a:gd name="connsiteY1853" fmla="*/ 5282838 h 6479439"/>
              <a:gd name="connsiteX1854" fmla="*/ 4782224 w 9586368"/>
              <a:gd name="connsiteY1854" fmla="*/ 5278799 h 6479439"/>
              <a:gd name="connsiteX1855" fmla="*/ 4782224 w 9586368"/>
              <a:gd name="connsiteY1855" fmla="*/ 5268928 h 6479439"/>
              <a:gd name="connsiteX1856" fmla="*/ 4546929 w 9586368"/>
              <a:gd name="connsiteY1856" fmla="*/ 5264889 h 6479439"/>
              <a:gd name="connsiteX1857" fmla="*/ 4556840 w 9586368"/>
              <a:gd name="connsiteY1857" fmla="*/ 5264889 h 6479439"/>
              <a:gd name="connsiteX1858" fmla="*/ 4560859 w 9586368"/>
              <a:gd name="connsiteY1858" fmla="*/ 5268928 h 6479439"/>
              <a:gd name="connsiteX1859" fmla="*/ 4560859 w 9586368"/>
              <a:gd name="connsiteY1859" fmla="*/ 5278799 h 6479439"/>
              <a:gd name="connsiteX1860" fmla="*/ 4556840 w 9586368"/>
              <a:gd name="connsiteY1860" fmla="*/ 5282838 h 6479439"/>
              <a:gd name="connsiteX1861" fmla="*/ 4546929 w 9586368"/>
              <a:gd name="connsiteY1861" fmla="*/ 5282838 h 6479439"/>
              <a:gd name="connsiteX1862" fmla="*/ 4542910 w 9586368"/>
              <a:gd name="connsiteY1862" fmla="*/ 5278799 h 6479439"/>
              <a:gd name="connsiteX1863" fmla="*/ 4542910 w 9586368"/>
              <a:gd name="connsiteY1863" fmla="*/ 5268928 h 6479439"/>
              <a:gd name="connsiteX1864" fmla="*/ 4307612 w 9586368"/>
              <a:gd name="connsiteY1864" fmla="*/ 5264889 h 6479439"/>
              <a:gd name="connsiteX1865" fmla="*/ 4317523 w 9586368"/>
              <a:gd name="connsiteY1865" fmla="*/ 5264889 h 6479439"/>
              <a:gd name="connsiteX1866" fmla="*/ 4321543 w 9586368"/>
              <a:gd name="connsiteY1866" fmla="*/ 5268928 h 6479439"/>
              <a:gd name="connsiteX1867" fmla="*/ 4321543 w 9586368"/>
              <a:gd name="connsiteY1867" fmla="*/ 5278799 h 6479439"/>
              <a:gd name="connsiteX1868" fmla="*/ 4317523 w 9586368"/>
              <a:gd name="connsiteY1868" fmla="*/ 5282838 h 6479439"/>
              <a:gd name="connsiteX1869" fmla="*/ 4307612 w 9586368"/>
              <a:gd name="connsiteY1869" fmla="*/ 5282838 h 6479439"/>
              <a:gd name="connsiteX1870" fmla="*/ 4303595 w 9586368"/>
              <a:gd name="connsiteY1870" fmla="*/ 5278799 h 6479439"/>
              <a:gd name="connsiteX1871" fmla="*/ 4303595 w 9586368"/>
              <a:gd name="connsiteY1871" fmla="*/ 5268928 h 6479439"/>
              <a:gd name="connsiteX1872" fmla="*/ 4068297 w 9586368"/>
              <a:gd name="connsiteY1872" fmla="*/ 5264889 h 6479439"/>
              <a:gd name="connsiteX1873" fmla="*/ 4078210 w 9586368"/>
              <a:gd name="connsiteY1873" fmla="*/ 5264889 h 6479439"/>
              <a:gd name="connsiteX1874" fmla="*/ 4082229 w 9586368"/>
              <a:gd name="connsiteY1874" fmla="*/ 5268928 h 6479439"/>
              <a:gd name="connsiteX1875" fmla="*/ 4082229 w 9586368"/>
              <a:gd name="connsiteY1875" fmla="*/ 5278799 h 6479439"/>
              <a:gd name="connsiteX1876" fmla="*/ 4078210 w 9586368"/>
              <a:gd name="connsiteY1876" fmla="*/ 5282838 h 6479439"/>
              <a:gd name="connsiteX1877" fmla="*/ 4068297 w 9586368"/>
              <a:gd name="connsiteY1877" fmla="*/ 5282838 h 6479439"/>
              <a:gd name="connsiteX1878" fmla="*/ 4064278 w 9586368"/>
              <a:gd name="connsiteY1878" fmla="*/ 5278799 h 6479439"/>
              <a:gd name="connsiteX1879" fmla="*/ 4064278 w 9586368"/>
              <a:gd name="connsiteY1879" fmla="*/ 5268928 h 6479439"/>
              <a:gd name="connsiteX1880" fmla="*/ 3828990 w 9586368"/>
              <a:gd name="connsiteY1880" fmla="*/ 5264889 h 6479439"/>
              <a:gd name="connsiteX1881" fmla="*/ 3838899 w 9586368"/>
              <a:gd name="connsiteY1881" fmla="*/ 5264889 h 6479439"/>
              <a:gd name="connsiteX1882" fmla="*/ 3842917 w 9586368"/>
              <a:gd name="connsiteY1882" fmla="*/ 5268928 h 6479439"/>
              <a:gd name="connsiteX1883" fmla="*/ 3842917 w 9586368"/>
              <a:gd name="connsiteY1883" fmla="*/ 5278799 h 6479439"/>
              <a:gd name="connsiteX1884" fmla="*/ 3838899 w 9586368"/>
              <a:gd name="connsiteY1884" fmla="*/ 5282838 h 6479439"/>
              <a:gd name="connsiteX1885" fmla="*/ 3828990 w 9586368"/>
              <a:gd name="connsiteY1885" fmla="*/ 5282838 h 6479439"/>
              <a:gd name="connsiteX1886" fmla="*/ 3824971 w 9586368"/>
              <a:gd name="connsiteY1886" fmla="*/ 5278799 h 6479439"/>
              <a:gd name="connsiteX1887" fmla="*/ 3824971 w 9586368"/>
              <a:gd name="connsiteY1887" fmla="*/ 5268928 h 6479439"/>
              <a:gd name="connsiteX1888" fmla="*/ 3589676 w 9586368"/>
              <a:gd name="connsiteY1888" fmla="*/ 5264889 h 6479439"/>
              <a:gd name="connsiteX1889" fmla="*/ 3599585 w 9586368"/>
              <a:gd name="connsiteY1889" fmla="*/ 5264889 h 6479439"/>
              <a:gd name="connsiteX1890" fmla="*/ 3603604 w 9586368"/>
              <a:gd name="connsiteY1890" fmla="*/ 5268928 h 6479439"/>
              <a:gd name="connsiteX1891" fmla="*/ 3603604 w 9586368"/>
              <a:gd name="connsiteY1891" fmla="*/ 5278799 h 6479439"/>
              <a:gd name="connsiteX1892" fmla="*/ 3599585 w 9586368"/>
              <a:gd name="connsiteY1892" fmla="*/ 5282838 h 6479439"/>
              <a:gd name="connsiteX1893" fmla="*/ 3589676 w 9586368"/>
              <a:gd name="connsiteY1893" fmla="*/ 5282838 h 6479439"/>
              <a:gd name="connsiteX1894" fmla="*/ 3585657 w 9586368"/>
              <a:gd name="connsiteY1894" fmla="*/ 5278799 h 6479439"/>
              <a:gd name="connsiteX1895" fmla="*/ 3585657 w 9586368"/>
              <a:gd name="connsiteY1895" fmla="*/ 5268928 h 6479439"/>
              <a:gd name="connsiteX1896" fmla="*/ 3350359 w 9586368"/>
              <a:gd name="connsiteY1896" fmla="*/ 5264889 h 6479439"/>
              <a:gd name="connsiteX1897" fmla="*/ 3360268 w 9586368"/>
              <a:gd name="connsiteY1897" fmla="*/ 5264889 h 6479439"/>
              <a:gd name="connsiteX1898" fmla="*/ 3364287 w 9586368"/>
              <a:gd name="connsiteY1898" fmla="*/ 5268928 h 6479439"/>
              <a:gd name="connsiteX1899" fmla="*/ 3364287 w 9586368"/>
              <a:gd name="connsiteY1899" fmla="*/ 5278799 h 6479439"/>
              <a:gd name="connsiteX1900" fmla="*/ 3360268 w 9586368"/>
              <a:gd name="connsiteY1900" fmla="*/ 5282838 h 6479439"/>
              <a:gd name="connsiteX1901" fmla="*/ 3350359 w 9586368"/>
              <a:gd name="connsiteY1901" fmla="*/ 5282838 h 6479439"/>
              <a:gd name="connsiteX1902" fmla="*/ 3346340 w 9586368"/>
              <a:gd name="connsiteY1902" fmla="*/ 5278799 h 6479439"/>
              <a:gd name="connsiteX1903" fmla="*/ 3346340 w 9586368"/>
              <a:gd name="connsiteY1903" fmla="*/ 5268928 h 6479439"/>
              <a:gd name="connsiteX1904" fmla="*/ 3111048 w 9586368"/>
              <a:gd name="connsiteY1904" fmla="*/ 5264889 h 6479439"/>
              <a:gd name="connsiteX1905" fmla="*/ 3120959 w 9586368"/>
              <a:gd name="connsiteY1905" fmla="*/ 5264889 h 6479439"/>
              <a:gd name="connsiteX1906" fmla="*/ 3124977 w 9586368"/>
              <a:gd name="connsiteY1906" fmla="*/ 5268928 h 6479439"/>
              <a:gd name="connsiteX1907" fmla="*/ 3124977 w 9586368"/>
              <a:gd name="connsiteY1907" fmla="*/ 5278799 h 6479439"/>
              <a:gd name="connsiteX1908" fmla="*/ 3120959 w 9586368"/>
              <a:gd name="connsiteY1908" fmla="*/ 5282838 h 6479439"/>
              <a:gd name="connsiteX1909" fmla="*/ 3111048 w 9586368"/>
              <a:gd name="connsiteY1909" fmla="*/ 5282838 h 6479439"/>
              <a:gd name="connsiteX1910" fmla="*/ 3107029 w 9586368"/>
              <a:gd name="connsiteY1910" fmla="*/ 5278799 h 6479439"/>
              <a:gd name="connsiteX1911" fmla="*/ 3107029 w 9586368"/>
              <a:gd name="connsiteY1911" fmla="*/ 5268928 h 6479439"/>
              <a:gd name="connsiteX1912" fmla="*/ 2871737 w 9586368"/>
              <a:gd name="connsiteY1912" fmla="*/ 5264889 h 6479439"/>
              <a:gd name="connsiteX1913" fmla="*/ 2881646 w 9586368"/>
              <a:gd name="connsiteY1913" fmla="*/ 5264889 h 6479439"/>
              <a:gd name="connsiteX1914" fmla="*/ 2885666 w 9586368"/>
              <a:gd name="connsiteY1914" fmla="*/ 5268928 h 6479439"/>
              <a:gd name="connsiteX1915" fmla="*/ 2885666 w 9586368"/>
              <a:gd name="connsiteY1915" fmla="*/ 5278799 h 6479439"/>
              <a:gd name="connsiteX1916" fmla="*/ 2881646 w 9586368"/>
              <a:gd name="connsiteY1916" fmla="*/ 5282838 h 6479439"/>
              <a:gd name="connsiteX1917" fmla="*/ 2871737 w 9586368"/>
              <a:gd name="connsiteY1917" fmla="*/ 5282838 h 6479439"/>
              <a:gd name="connsiteX1918" fmla="*/ 2867717 w 9586368"/>
              <a:gd name="connsiteY1918" fmla="*/ 5278799 h 6479439"/>
              <a:gd name="connsiteX1919" fmla="*/ 2867717 w 9586368"/>
              <a:gd name="connsiteY1919" fmla="*/ 5268928 h 6479439"/>
              <a:gd name="connsiteX1920" fmla="*/ 2632423 w 9586368"/>
              <a:gd name="connsiteY1920" fmla="*/ 5264889 h 6479439"/>
              <a:gd name="connsiteX1921" fmla="*/ 2642334 w 9586368"/>
              <a:gd name="connsiteY1921" fmla="*/ 5264889 h 6479439"/>
              <a:gd name="connsiteX1922" fmla="*/ 2646352 w 9586368"/>
              <a:gd name="connsiteY1922" fmla="*/ 5268928 h 6479439"/>
              <a:gd name="connsiteX1923" fmla="*/ 2646352 w 9586368"/>
              <a:gd name="connsiteY1923" fmla="*/ 5278799 h 6479439"/>
              <a:gd name="connsiteX1924" fmla="*/ 2642334 w 9586368"/>
              <a:gd name="connsiteY1924" fmla="*/ 5282838 h 6479439"/>
              <a:gd name="connsiteX1925" fmla="*/ 2632423 w 9586368"/>
              <a:gd name="connsiteY1925" fmla="*/ 5282838 h 6479439"/>
              <a:gd name="connsiteX1926" fmla="*/ 2628404 w 9586368"/>
              <a:gd name="connsiteY1926" fmla="*/ 5278799 h 6479439"/>
              <a:gd name="connsiteX1927" fmla="*/ 2628404 w 9586368"/>
              <a:gd name="connsiteY1927" fmla="*/ 5268928 h 6479439"/>
              <a:gd name="connsiteX1928" fmla="*/ 2393104 w 9586368"/>
              <a:gd name="connsiteY1928" fmla="*/ 5264889 h 6479439"/>
              <a:gd name="connsiteX1929" fmla="*/ 2403015 w 9586368"/>
              <a:gd name="connsiteY1929" fmla="*/ 5264889 h 6479439"/>
              <a:gd name="connsiteX1930" fmla="*/ 2407034 w 9586368"/>
              <a:gd name="connsiteY1930" fmla="*/ 5268928 h 6479439"/>
              <a:gd name="connsiteX1931" fmla="*/ 2407034 w 9586368"/>
              <a:gd name="connsiteY1931" fmla="*/ 5278799 h 6479439"/>
              <a:gd name="connsiteX1932" fmla="*/ 2403015 w 9586368"/>
              <a:gd name="connsiteY1932" fmla="*/ 5282838 h 6479439"/>
              <a:gd name="connsiteX1933" fmla="*/ 2393104 w 9586368"/>
              <a:gd name="connsiteY1933" fmla="*/ 5282838 h 6479439"/>
              <a:gd name="connsiteX1934" fmla="*/ 2389087 w 9586368"/>
              <a:gd name="connsiteY1934" fmla="*/ 5278799 h 6479439"/>
              <a:gd name="connsiteX1935" fmla="*/ 2389087 w 9586368"/>
              <a:gd name="connsiteY1935" fmla="*/ 5268928 h 6479439"/>
              <a:gd name="connsiteX1936" fmla="*/ 721961 w 9586368"/>
              <a:gd name="connsiteY1936" fmla="*/ 5264889 h 6479439"/>
              <a:gd name="connsiteX1937" fmla="*/ 731872 w 9586368"/>
              <a:gd name="connsiteY1937" fmla="*/ 5264889 h 6479439"/>
              <a:gd name="connsiteX1938" fmla="*/ 735891 w 9586368"/>
              <a:gd name="connsiteY1938" fmla="*/ 5268928 h 6479439"/>
              <a:gd name="connsiteX1939" fmla="*/ 735891 w 9586368"/>
              <a:gd name="connsiteY1939" fmla="*/ 5278799 h 6479439"/>
              <a:gd name="connsiteX1940" fmla="*/ 731872 w 9586368"/>
              <a:gd name="connsiteY1940" fmla="*/ 5282838 h 6479439"/>
              <a:gd name="connsiteX1941" fmla="*/ 721961 w 9586368"/>
              <a:gd name="connsiteY1941" fmla="*/ 5282838 h 6479439"/>
              <a:gd name="connsiteX1942" fmla="*/ 717943 w 9586368"/>
              <a:gd name="connsiteY1942" fmla="*/ 5278799 h 6479439"/>
              <a:gd name="connsiteX1943" fmla="*/ 717943 w 9586368"/>
              <a:gd name="connsiteY1943" fmla="*/ 5268928 h 6479439"/>
              <a:gd name="connsiteX1944" fmla="*/ 482649 w 9586368"/>
              <a:gd name="connsiteY1944" fmla="*/ 5264889 h 6479439"/>
              <a:gd name="connsiteX1945" fmla="*/ 492560 w 9586368"/>
              <a:gd name="connsiteY1945" fmla="*/ 5264889 h 6479439"/>
              <a:gd name="connsiteX1946" fmla="*/ 496579 w 9586368"/>
              <a:gd name="connsiteY1946" fmla="*/ 5268928 h 6479439"/>
              <a:gd name="connsiteX1947" fmla="*/ 496579 w 9586368"/>
              <a:gd name="connsiteY1947" fmla="*/ 5278799 h 6479439"/>
              <a:gd name="connsiteX1948" fmla="*/ 492560 w 9586368"/>
              <a:gd name="connsiteY1948" fmla="*/ 5282838 h 6479439"/>
              <a:gd name="connsiteX1949" fmla="*/ 482649 w 9586368"/>
              <a:gd name="connsiteY1949" fmla="*/ 5282838 h 6479439"/>
              <a:gd name="connsiteX1950" fmla="*/ 478630 w 9586368"/>
              <a:gd name="connsiteY1950" fmla="*/ 5278799 h 6479439"/>
              <a:gd name="connsiteX1951" fmla="*/ 478630 w 9586368"/>
              <a:gd name="connsiteY1951" fmla="*/ 5268928 h 6479439"/>
              <a:gd name="connsiteX1952" fmla="*/ 243336 w 9586368"/>
              <a:gd name="connsiteY1952" fmla="*/ 5264889 h 6479439"/>
              <a:gd name="connsiteX1953" fmla="*/ 253246 w 9586368"/>
              <a:gd name="connsiteY1953" fmla="*/ 5264889 h 6479439"/>
              <a:gd name="connsiteX1954" fmla="*/ 257265 w 9586368"/>
              <a:gd name="connsiteY1954" fmla="*/ 5268928 h 6479439"/>
              <a:gd name="connsiteX1955" fmla="*/ 257265 w 9586368"/>
              <a:gd name="connsiteY1955" fmla="*/ 5278799 h 6479439"/>
              <a:gd name="connsiteX1956" fmla="*/ 253246 w 9586368"/>
              <a:gd name="connsiteY1956" fmla="*/ 5282838 h 6479439"/>
              <a:gd name="connsiteX1957" fmla="*/ 243336 w 9586368"/>
              <a:gd name="connsiteY1957" fmla="*/ 5282838 h 6479439"/>
              <a:gd name="connsiteX1958" fmla="*/ 239317 w 9586368"/>
              <a:gd name="connsiteY1958" fmla="*/ 5278799 h 6479439"/>
              <a:gd name="connsiteX1959" fmla="*/ 239317 w 9586368"/>
              <a:gd name="connsiteY1959" fmla="*/ 5268928 h 6479439"/>
              <a:gd name="connsiteX1960" fmla="*/ 4022 w 9586368"/>
              <a:gd name="connsiteY1960" fmla="*/ 5264889 h 6479439"/>
              <a:gd name="connsiteX1961" fmla="*/ 13933 w 9586368"/>
              <a:gd name="connsiteY1961" fmla="*/ 5264889 h 6479439"/>
              <a:gd name="connsiteX1962" fmla="*/ 17952 w 9586368"/>
              <a:gd name="connsiteY1962" fmla="*/ 5268928 h 6479439"/>
              <a:gd name="connsiteX1963" fmla="*/ 17952 w 9586368"/>
              <a:gd name="connsiteY1963" fmla="*/ 5278799 h 6479439"/>
              <a:gd name="connsiteX1964" fmla="*/ 13933 w 9586368"/>
              <a:gd name="connsiteY1964" fmla="*/ 5282838 h 6479439"/>
              <a:gd name="connsiteX1965" fmla="*/ 4022 w 9586368"/>
              <a:gd name="connsiteY1965" fmla="*/ 5282838 h 6479439"/>
              <a:gd name="connsiteX1966" fmla="*/ 3 w 9586368"/>
              <a:gd name="connsiteY1966" fmla="*/ 5278799 h 6479439"/>
              <a:gd name="connsiteX1967" fmla="*/ 3 w 9586368"/>
              <a:gd name="connsiteY1967" fmla="*/ 5268928 h 6479439"/>
              <a:gd name="connsiteX1968" fmla="*/ 2157819 w 9586368"/>
              <a:gd name="connsiteY1968" fmla="*/ 5025610 h 6479439"/>
              <a:gd name="connsiteX1969" fmla="*/ 2167729 w 9586368"/>
              <a:gd name="connsiteY1969" fmla="*/ 5025610 h 6479439"/>
              <a:gd name="connsiteX1970" fmla="*/ 2171748 w 9586368"/>
              <a:gd name="connsiteY1970" fmla="*/ 5029648 h 6479439"/>
              <a:gd name="connsiteX1971" fmla="*/ 2171748 w 9586368"/>
              <a:gd name="connsiteY1971" fmla="*/ 5039519 h 6479439"/>
              <a:gd name="connsiteX1972" fmla="*/ 2167729 w 9586368"/>
              <a:gd name="connsiteY1972" fmla="*/ 5043558 h 6479439"/>
              <a:gd name="connsiteX1973" fmla="*/ 2157819 w 9586368"/>
              <a:gd name="connsiteY1973" fmla="*/ 5043558 h 6479439"/>
              <a:gd name="connsiteX1974" fmla="*/ 2153800 w 9586368"/>
              <a:gd name="connsiteY1974" fmla="*/ 5039519 h 6479439"/>
              <a:gd name="connsiteX1975" fmla="*/ 2153800 w 9586368"/>
              <a:gd name="connsiteY1975" fmla="*/ 5029648 h 6479439"/>
              <a:gd name="connsiteX1976" fmla="*/ 1918510 w 9586368"/>
              <a:gd name="connsiteY1976" fmla="*/ 5025610 h 6479439"/>
              <a:gd name="connsiteX1977" fmla="*/ 1928420 w 9586368"/>
              <a:gd name="connsiteY1977" fmla="*/ 5025610 h 6479439"/>
              <a:gd name="connsiteX1978" fmla="*/ 1932440 w 9586368"/>
              <a:gd name="connsiteY1978" fmla="*/ 5029648 h 6479439"/>
              <a:gd name="connsiteX1979" fmla="*/ 1932440 w 9586368"/>
              <a:gd name="connsiteY1979" fmla="*/ 5039519 h 6479439"/>
              <a:gd name="connsiteX1980" fmla="*/ 1928420 w 9586368"/>
              <a:gd name="connsiteY1980" fmla="*/ 5043558 h 6479439"/>
              <a:gd name="connsiteX1981" fmla="*/ 1918510 w 9586368"/>
              <a:gd name="connsiteY1981" fmla="*/ 5043558 h 6479439"/>
              <a:gd name="connsiteX1982" fmla="*/ 1914492 w 9586368"/>
              <a:gd name="connsiteY1982" fmla="*/ 5039519 h 6479439"/>
              <a:gd name="connsiteX1983" fmla="*/ 1914492 w 9586368"/>
              <a:gd name="connsiteY1983" fmla="*/ 5029648 h 6479439"/>
              <a:gd name="connsiteX1984" fmla="*/ 1679204 w 9586368"/>
              <a:gd name="connsiteY1984" fmla="*/ 5025610 h 6479439"/>
              <a:gd name="connsiteX1985" fmla="*/ 1689115 w 9586368"/>
              <a:gd name="connsiteY1985" fmla="*/ 5025610 h 6479439"/>
              <a:gd name="connsiteX1986" fmla="*/ 1693133 w 9586368"/>
              <a:gd name="connsiteY1986" fmla="*/ 5029648 h 6479439"/>
              <a:gd name="connsiteX1987" fmla="*/ 1693133 w 9586368"/>
              <a:gd name="connsiteY1987" fmla="*/ 5039519 h 6479439"/>
              <a:gd name="connsiteX1988" fmla="*/ 1689115 w 9586368"/>
              <a:gd name="connsiteY1988" fmla="*/ 5043558 h 6479439"/>
              <a:gd name="connsiteX1989" fmla="*/ 1679204 w 9586368"/>
              <a:gd name="connsiteY1989" fmla="*/ 5043558 h 6479439"/>
              <a:gd name="connsiteX1990" fmla="*/ 1675185 w 9586368"/>
              <a:gd name="connsiteY1990" fmla="*/ 5039519 h 6479439"/>
              <a:gd name="connsiteX1991" fmla="*/ 1675185 w 9586368"/>
              <a:gd name="connsiteY1991" fmla="*/ 5029648 h 6479439"/>
              <a:gd name="connsiteX1992" fmla="*/ 1439889 w 9586368"/>
              <a:gd name="connsiteY1992" fmla="*/ 5025610 h 6479439"/>
              <a:gd name="connsiteX1993" fmla="*/ 1449798 w 9586368"/>
              <a:gd name="connsiteY1993" fmla="*/ 5025610 h 6479439"/>
              <a:gd name="connsiteX1994" fmla="*/ 1453818 w 9586368"/>
              <a:gd name="connsiteY1994" fmla="*/ 5029648 h 6479439"/>
              <a:gd name="connsiteX1995" fmla="*/ 1453818 w 9586368"/>
              <a:gd name="connsiteY1995" fmla="*/ 5039519 h 6479439"/>
              <a:gd name="connsiteX1996" fmla="*/ 1449798 w 9586368"/>
              <a:gd name="connsiteY1996" fmla="*/ 5043558 h 6479439"/>
              <a:gd name="connsiteX1997" fmla="*/ 1439889 w 9586368"/>
              <a:gd name="connsiteY1997" fmla="*/ 5043558 h 6479439"/>
              <a:gd name="connsiteX1998" fmla="*/ 1435870 w 9586368"/>
              <a:gd name="connsiteY1998" fmla="*/ 5039519 h 6479439"/>
              <a:gd name="connsiteX1999" fmla="*/ 1435870 w 9586368"/>
              <a:gd name="connsiteY1999" fmla="*/ 5029648 h 6479439"/>
              <a:gd name="connsiteX2000" fmla="*/ 1200573 w 9586368"/>
              <a:gd name="connsiteY2000" fmla="*/ 5025610 h 6479439"/>
              <a:gd name="connsiteX2001" fmla="*/ 1210484 w 9586368"/>
              <a:gd name="connsiteY2001" fmla="*/ 5025610 h 6479439"/>
              <a:gd name="connsiteX2002" fmla="*/ 1214502 w 9586368"/>
              <a:gd name="connsiteY2002" fmla="*/ 5029648 h 6479439"/>
              <a:gd name="connsiteX2003" fmla="*/ 1214502 w 9586368"/>
              <a:gd name="connsiteY2003" fmla="*/ 5039519 h 6479439"/>
              <a:gd name="connsiteX2004" fmla="*/ 1210484 w 9586368"/>
              <a:gd name="connsiteY2004" fmla="*/ 5043558 h 6479439"/>
              <a:gd name="connsiteX2005" fmla="*/ 1200573 w 9586368"/>
              <a:gd name="connsiteY2005" fmla="*/ 5043558 h 6479439"/>
              <a:gd name="connsiteX2006" fmla="*/ 1196555 w 9586368"/>
              <a:gd name="connsiteY2006" fmla="*/ 5039519 h 6479439"/>
              <a:gd name="connsiteX2007" fmla="*/ 1196555 w 9586368"/>
              <a:gd name="connsiteY2007" fmla="*/ 5029648 h 6479439"/>
              <a:gd name="connsiteX2008" fmla="*/ 961261 w 9586368"/>
              <a:gd name="connsiteY2008" fmla="*/ 5025610 h 6479439"/>
              <a:gd name="connsiteX2009" fmla="*/ 971171 w 9586368"/>
              <a:gd name="connsiteY2009" fmla="*/ 5025610 h 6479439"/>
              <a:gd name="connsiteX2010" fmla="*/ 975190 w 9586368"/>
              <a:gd name="connsiteY2010" fmla="*/ 5029648 h 6479439"/>
              <a:gd name="connsiteX2011" fmla="*/ 975190 w 9586368"/>
              <a:gd name="connsiteY2011" fmla="*/ 5039519 h 6479439"/>
              <a:gd name="connsiteX2012" fmla="*/ 971171 w 9586368"/>
              <a:gd name="connsiteY2012" fmla="*/ 5043558 h 6479439"/>
              <a:gd name="connsiteX2013" fmla="*/ 961261 w 9586368"/>
              <a:gd name="connsiteY2013" fmla="*/ 5043558 h 6479439"/>
              <a:gd name="connsiteX2014" fmla="*/ 957242 w 9586368"/>
              <a:gd name="connsiteY2014" fmla="*/ 5039519 h 6479439"/>
              <a:gd name="connsiteX2015" fmla="*/ 957242 w 9586368"/>
              <a:gd name="connsiteY2015" fmla="*/ 5029648 h 6479439"/>
              <a:gd name="connsiteX2016" fmla="*/ 9572438 w 9586368"/>
              <a:gd name="connsiteY2016" fmla="*/ 5025558 h 6479439"/>
              <a:gd name="connsiteX2017" fmla="*/ 9582349 w 9586368"/>
              <a:gd name="connsiteY2017" fmla="*/ 5025558 h 6479439"/>
              <a:gd name="connsiteX2018" fmla="*/ 9586368 w 9586368"/>
              <a:gd name="connsiteY2018" fmla="*/ 5029597 h 6479439"/>
              <a:gd name="connsiteX2019" fmla="*/ 9586368 w 9586368"/>
              <a:gd name="connsiteY2019" fmla="*/ 5039468 h 6479439"/>
              <a:gd name="connsiteX2020" fmla="*/ 9582349 w 9586368"/>
              <a:gd name="connsiteY2020" fmla="*/ 5043507 h 6479439"/>
              <a:gd name="connsiteX2021" fmla="*/ 9572438 w 9586368"/>
              <a:gd name="connsiteY2021" fmla="*/ 5043507 h 6479439"/>
              <a:gd name="connsiteX2022" fmla="*/ 9568419 w 9586368"/>
              <a:gd name="connsiteY2022" fmla="*/ 5039468 h 6479439"/>
              <a:gd name="connsiteX2023" fmla="*/ 9568419 w 9586368"/>
              <a:gd name="connsiteY2023" fmla="*/ 5029597 h 6479439"/>
              <a:gd name="connsiteX2024" fmla="*/ 9333125 w 9586368"/>
              <a:gd name="connsiteY2024" fmla="*/ 5025558 h 6479439"/>
              <a:gd name="connsiteX2025" fmla="*/ 9343036 w 9586368"/>
              <a:gd name="connsiteY2025" fmla="*/ 5025558 h 6479439"/>
              <a:gd name="connsiteX2026" fmla="*/ 9347055 w 9586368"/>
              <a:gd name="connsiteY2026" fmla="*/ 5029597 h 6479439"/>
              <a:gd name="connsiteX2027" fmla="*/ 9347055 w 9586368"/>
              <a:gd name="connsiteY2027" fmla="*/ 5039468 h 6479439"/>
              <a:gd name="connsiteX2028" fmla="*/ 9343036 w 9586368"/>
              <a:gd name="connsiteY2028" fmla="*/ 5043507 h 6479439"/>
              <a:gd name="connsiteX2029" fmla="*/ 9333125 w 9586368"/>
              <a:gd name="connsiteY2029" fmla="*/ 5043507 h 6479439"/>
              <a:gd name="connsiteX2030" fmla="*/ 9329106 w 9586368"/>
              <a:gd name="connsiteY2030" fmla="*/ 5039468 h 6479439"/>
              <a:gd name="connsiteX2031" fmla="*/ 9329106 w 9586368"/>
              <a:gd name="connsiteY2031" fmla="*/ 5029597 h 6479439"/>
              <a:gd name="connsiteX2032" fmla="*/ 9093811 w 9586368"/>
              <a:gd name="connsiteY2032" fmla="*/ 5025558 h 6479439"/>
              <a:gd name="connsiteX2033" fmla="*/ 9103722 w 9586368"/>
              <a:gd name="connsiteY2033" fmla="*/ 5025558 h 6479439"/>
              <a:gd name="connsiteX2034" fmla="*/ 9107741 w 9586368"/>
              <a:gd name="connsiteY2034" fmla="*/ 5029597 h 6479439"/>
              <a:gd name="connsiteX2035" fmla="*/ 9107741 w 9586368"/>
              <a:gd name="connsiteY2035" fmla="*/ 5039468 h 6479439"/>
              <a:gd name="connsiteX2036" fmla="*/ 9103722 w 9586368"/>
              <a:gd name="connsiteY2036" fmla="*/ 5043507 h 6479439"/>
              <a:gd name="connsiteX2037" fmla="*/ 9093811 w 9586368"/>
              <a:gd name="connsiteY2037" fmla="*/ 5043507 h 6479439"/>
              <a:gd name="connsiteX2038" fmla="*/ 9089792 w 9586368"/>
              <a:gd name="connsiteY2038" fmla="*/ 5039468 h 6479439"/>
              <a:gd name="connsiteX2039" fmla="*/ 9089792 w 9586368"/>
              <a:gd name="connsiteY2039" fmla="*/ 5029597 h 6479439"/>
              <a:gd name="connsiteX2040" fmla="*/ 8854496 w 9586368"/>
              <a:gd name="connsiteY2040" fmla="*/ 5025558 h 6479439"/>
              <a:gd name="connsiteX2041" fmla="*/ 8864407 w 9586368"/>
              <a:gd name="connsiteY2041" fmla="*/ 5025558 h 6479439"/>
              <a:gd name="connsiteX2042" fmla="*/ 8868426 w 9586368"/>
              <a:gd name="connsiteY2042" fmla="*/ 5029597 h 6479439"/>
              <a:gd name="connsiteX2043" fmla="*/ 8868426 w 9586368"/>
              <a:gd name="connsiteY2043" fmla="*/ 5039468 h 6479439"/>
              <a:gd name="connsiteX2044" fmla="*/ 8864407 w 9586368"/>
              <a:gd name="connsiteY2044" fmla="*/ 5043507 h 6479439"/>
              <a:gd name="connsiteX2045" fmla="*/ 8854496 w 9586368"/>
              <a:gd name="connsiteY2045" fmla="*/ 5043507 h 6479439"/>
              <a:gd name="connsiteX2046" fmla="*/ 8850477 w 9586368"/>
              <a:gd name="connsiteY2046" fmla="*/ 5039468 h 6479439"/>
              <a:gd name="connsiteX2047" fmla="*/ 8850477 w 9586368"/>
              <a:gd name="connsiteY2047" fmla="*/ 5029597 h 6479439"/>
              <a:gd name="connsiteX2048" fmla="*/ 8615184 w 9586368"/>
              <a:gd name="connsiteY2048" fmla="*/ 5025558 h 6479439"/>
              <a:gd name="connsiteX2049" fmla="*/ 8625095 w 9586368"/>
              <a:gd name="connsiteY2049" fmla="*/ 5025558 h 6479439"/>
              <a:gd name="connsiteX2050" fmla="*/ 8629114 w 9586368"/>
              <a:gd name="connsiteY2050" fmla="*/ 5029597 h 6479439"/>
              <a:gd name="connsiteX2051" fmla="*/ 8629114 w 9586368"/>
              <a:gd name="connsiteY2051" fmla="*/ 5039468 h 6479439"/>
              <a:gd name="connsiteX2052" fmla="*/ 8625095 w 9586368"/>
              <a:gd name="connsiteY2052" fmla="*/ 5043507 h 6479439"/>
              <a:gd name="connsiteX2053" fmla="*/ 8615184 w 9586368"/>
              <a:gd name="connsiteY2053" fmla="*/ 5043507 h 6479439"/>
              <a:gd name="connsiteX2054" fmla="*/ 8611165 w 9586368"/>
              <a:gd name="connsiteY2054" fmla="*/ 5039468 h 6479439"/>
              <a:gd name="connsiteX2055" fmla="*/ 8611165 w 9586368"/>
              <a:gd name="connsiteY2055" fmla="*/ 5029597 h 6479439"/>
              <a:gd name="connsiteX2056" fmla="*/ 8375869 w 9586368"/>
              <a:gd name="connsiteY2056" fmla="*/ 5025558 h 6479439"/>
              <a:gd name="connsiteX2057" fmla="*/ 8385779 w 9586368"/>
              <a:gd name="connsiteY2057" fmla="*/ 5025558 h 6479439"/>
              <a:gd name="connsiteX2058" fmla="*/ 8389799 w 9586368"/>
              <a:gd name="connsiteY2058" fmla="*/ 5029597 h 6479439"/>
              <a:gd name="connsiteX2059" fmla="*/ 8389799 w 9586368"/>
              <a:gd name="connsiteY2059" fmla="*/ 5039468 h 6479439"/>
              <a:gd name="connsiteX2060" fmla="*/ 8385779 w 9586368"/>
              <a:gd name="connsiteY2060" fmla="*/ 5043507 h 6479439"/>
              <a:gd name="connsiteX2061" fmla="*/ 8375869 w 9586368"/>
              <a:gd name="connsiteY2061" fmla="*/ 5043507 h 6479439"/>
              <a:gd name="connsiteX2062" fmla="*/ 8371850 w 9586368"/>
              <a:gd name="connsiteY2062" fmla="*/ 5039468 h 6479439"/>
              <a:gd name="connsiteX2063" fmla="*/ 8371850 w 9586368"/>
              <a:gd name="connsiteY2063" fmla="*/ 5029597 h 6479439"/>
              <a:gd name="connsiteX2064" fmla="*/ 8136553 w 9586368"/>
              <a:gd name="connsiteY2064" fmla="*/ 5025558 h 6479439"/>
              <a:gd name="connsiteX2065" fmla="*/ 8146464 w 9586368"/>
              <a:gd name="connsiteY2065" fmla="*/ 5025558 h 6479439"/>
              <a:gd name="connsiteX2066" fmla="*/ 8150483 w 9586368"/>
              <a:gd name="connsiteY2066" fmla="*/ 5029597 h 6479439"/>
              <a:gd name="connsiteX2067" fmla="*/ 8150483 w 9586368"/>
              <a:gd name="connsiteY2067" fmla="*/ 5039468 h 6479439"/>
              <a:gd name="connsiteX2068" fmla="*/ 8146464 w 9586368"/>
              <a:gd name="connsiteY2068" fmla="*/ 5043507 h 6479439"/>
              <a:gd name="connsiteX2069" fmla="*/ 8136553 w 9586368"/>
              <a:gd name="connsiteY2069" fmla="*/ 5043507 h 6479439"/>
              <a:gd name="connsiteX2070" fmla="*/ 8132534 w 9586368"/>
              <a:gd name="connsiteY2070" fmla="*/ 5039468 h 6479439"/>
              <a:gd name="connsiteX2071" fmla="*/ 8132534 w 9586368"/>
              <a:gd name="connsiteY2071" fmla="*/ 5029597 h 6479439"/>
              <a:gd name="connsiteX2072" fmla="*/ 7897241 w 9586368"/>
              <a:gd name="connsiteY2072" fmla="*/ 5025558 h 6479439"/>
              <a:gd name="connsiteX2073" fmla="*/ 7907151 w 9586368"/>
              <a:gd name="connsiteY2073" fmla="*/ 5025558 h 6479439"/>
              <a:gd name="connsiteX2074" fmla="*/ 7911170 w 9586368"/>
              <a:gd name="connsiteY2074" fmla="*/ 5029597 h 6479439"/>
              <a:gd name="connsiteX2075" fmla="*/ 7911170 w 9586368"/>
              <a:gd name="connsiteY2075" fmla="*/ 5039468 h 6479439"/>
              <a:gd name="connsiteX2076" fmla="*/ 7907151 w 9586368"/>
              <a:gd name="connsiteY2076" fmla="*/ 5043507 h 6479439"/>
              <a:gd name="connsiteX2077" fmla="*/ 7897241 w 9586368"/>
              <a:gd name="connsiteY2077" fmla="*/ 5043507 h 6479439"/>
              <a:gd name="connsiteX2078" fmla="*/ 7893222 w 9586368"/>
              <a:gd name="connsiteY2078" fmla="*/ 5039468 h 6479439"/>
              <a:gd name="connsiteX2079" fmla="*/ 7893222 w 9586368"/>
              <a:gd name="connsiteY2079" fmla="*/ 5029597 h 6479439"/>
              <a:gd name="connsiteX2080" fmla="*/ 7657926 w 9586368"/>
              <a:gd name="connsiteY2080" fmla="*/ 5025558 h 6479439"/>
              <a:gd name="connsiteX2081" fmla="*/ 7667836 w 9586368"/>
              <a:gd name="connsiteY2081" fmla="*/ 5025558 h 6479439"/>
              <a:gd name="connsiteX2082" fmla="*/ 7671855 w 9586368"/>
              <a:gd name="connsiteY2082" fmla="*/ 5029597 h 6479439"/>
              <a:gd name="connsiteX2083" fmla="*/ 7671855 w 9586368"/>
              <a:gd name="connsiteY2083" fmla="*/ 5039468 h 6479439"/>
              <a:gd name="connsiteX2084" fmla="*/ 7667836 w 9586368"/>
              <a:gd name="connsiteY2084" fmla="*/ 5043507 h 6479439"/>
              <a:gd name="connsiteX2085" fmla="*/ 7657926 w 9586368"/>
              <a:gd name="connsiteY2085" fmla="*/ 5043507 h 6479439"/>
              <a:gd name="connsiteX2086" fmla="*/ 7653906 w 9586368"/>
              <a:gd name="connsiteY2086" fmla="*/ 5039468 h 6479439"/>
              <a:gd name="connsiteX2087" fmla="*/ 7653906 w 9586368"/>
              <a:gd name="connsiteY2087" fmla="*/ 5029597 h 6479439"/>
              <a:gd name="connsiteX2088" fmla="*/ 7418611 w 9586368"/>
              <a:gd name="connsiteY2088" fmla="*/ 5025558 h 6479439"/>
              <a:gd name="connsiteX2089" fmla="*/ 7428521 w 9586368"/>
              <a:gd name="connsiteY2089" fmla="*/ 5025558 h 6479439"/>
              <a:gd name="connsiteX2090" fmla="*/ 7432540 w 9586368"/>
              <a:gd name="connsiteY2090" fmla="*/ 5029597 h 6479439"/>
              <a:gd name="connsiteX2091" fmla="*/ 7432540 w 9586368"/>
              <a:gd name="connsiteY2091" fmla="*/ 5039468 h 6479439"/>
              <a:gd name="connsiteX2092" fmla="*/ 7428521 w 9586368"/>
              <a:gd name="connsiteY2092" fmla="*/ 5043507 h 6479439"/>
              <a:gd name="connsiteX2093" fmla="*/ 7418611 w 9586368"/>
              <a:gd name="connsiteY2093" fmla="*/ 5043507 h 6479439"/>
              <a:gd name="connsiteX2094" fmla="*/ 7414592 w 9586368"/>
              <a:gd name="connsiteY2094" fmla="*/ 5039468 h 6479439"/>
              <a:gd name="connsiteX2095" fmla="*/ 7414592 w 9586368"/>
              <a:gd name="connsiteY2095" fmla="*/ 5029597 h 6479439"/>
              <a:gd name="connsiteX2096" fmla="*/ 7179298 w 9586368"/>
              <a:gd name="connsiteY2096" fmla="*/ 5025558 h 6479439"/>
              <a:gd name="connsiteX2097" fmla="*/ 7189209 w 9586368"/>
              <a:gd name="connsiteY2097" fmla="*/ 5025558 h 6479439"/>
              <a:gd name="connsiteX2098" fmla="*/ 7193228 w 9586368"/>
              <a:gd name="connsiteY2098" fmla="*/ 5029597 h 6479439"/>
              <a:gd name="connsiteX2099" fmla="*/ 7193228 w 9586368"/>
              <a:gd name="connsiteY2099" fmla="*/ 5039468 h 6479439"/>
              <a:gd name="connsiteX2100" fmla="*/ 7189209 w 9586368"/>
              <a:gd name="connsiteY2100" fmla="*/ 5043507 h 6479439"/>
              <a:gd name="connsiteX2101" fmla="*/ 7179298 w 9586368"/>
              <a:gd name="connsiteY2101" fmla="*/ 5043507 h 6479439"/>
              <a:gd name="connsiteX2102" fmla="*/ 7175279 w 9586368"/>
              <a:gd name="connsiteY2102" fmla="*/ 5039468 h 6479439"/>
              <a:gd name="connsiteX2103" fmla="*/ 7175279 w 9586368"/>
              <a:gd name="connsiteY2103" fmla="*/ 5029597 h 6479439"/>
              <a:gd name="connsiteX2104" fmla="*/ 6939983 w 9586368"/>
              <a:gd name="connsiteY2104" fmla="*/ 5025558 h 6479439"/>
              <a:gd name="connsiteX2105" fmla="*/ 6949894 w 9586368"/>
              <a:gd name="connsiteY2105" fmla="*/ 5025558 h 6479439"/>
              <a:gd name="connsiteX2106" fmla="*/ 6953913 w 9586368"/>
              <a:gd name="connsiteY2106" fmla="*/ 5029597 h 6479439"/>
              <a:gd name="connsiteX2107" fmla="*/ 6953913 w 9586368"/>
              <a:gd name="connsiteY2107" fmla="*/ 5039468 h 6479439"/>
              <a:gd name="connsiteX2108" fmla="*/ 6949894 w 9586368"/>
              <a:gd name="connsiteY2108" fmla="*/ 5043507 h 6479439"/>
              <a:gd name="connsiteX2109" fmla="*/ 6939983 w 9586368"/>
              <a:gd name="connsiteY2109" fmla="*/ 5043507 h 6479439"/>
              <a:gd name="connsiteX2110" fmla="*/ 6935964 w 9586368"/>
              <a:gd name="connsiteY2110" fmla="*/ 5039468 h 6479439"/>
              <a:gd name="connsiteX2111" fmla="*/ 6935964 w 9586368"/>
              <a:gd name="connsiteY2111" fmla="*/ 5029597 h 6479439"/>
              <a:gd name="connsiteX2112" fmla="*/ 6700670 w 9586368"/>
              <a:gd name="connsiteY2112" fmla="*/ 5025558 h 6479439"/>
              <a:gd name="connsiteX2113" fmla="*/ 6710581 w 9586368"/>
              <a:gd name="connsiteY2113" fmla="*/ 5025558 h 6479439"/>
              <a:gd name="connsiteX2114" fmla="*/ 6714600 w 9586368"/>
              <a:gd name="connsiteY2114" fmla="*/ 5029597 h 6479439"/>
              <a:gd name="connsiteX2115" fmla="*/ 6714600 w 9586368"/>
              <a:gd name="connsiteY2115" fmla="*/ 5039468 h 6479439"/>
              <a:gd name="connsiteX2116" fmla="*/ 6710581 w 9586368"/>
              <a:gd name="connsiteY2116" fmla="*/ 5043507 h 6479439"/>
              <a:gd name="connsiteX2117" fmla="*/ 6700670 w 9586368"/>
              <a:gd name="connsiteY2117" fmla="*/ 5043507 h 6479439"/>
              <a:gd name="connsiteX2118" fmla="*/ 6696651 w 9586368"/>
              <a:gd name="connsiteY2118" fmla="*/ 5039468 h 6479439"/>
              <a:gd name="connsiteX2119" fmla="*/ 6696651 w 9586368"/>
              <a:gd name="connsiteY2119" fmla="*/ 5029597 h 6479439"/>
              <a:gd name="connsiteX2120" fmla="*/ 6461356 w 9586368"/>
              <a:gd name="connsiteY2120" fmla="*/ 5025558 h 6479439"/>
              <a:gd name="connsiteX2121" fmla="*/ 6471266 w 9586368"/>
              <a:gd name="connsiteY2121" fmla="*/ 5025558 h 6479439"/>
              <a:gd name="connsiteX2122" fmla="*/ 6475285 w 9586368"/>
              <a:gd name="connsiteY2122" fmla="*/ 5029597 h 6479439"/>
              <a:gd name="connsiteX2123" fmla="*/ 6475285 w 9586368"/>
              <a:gd name="connsiteY2123" fmla="*/ 5039468 h 6479439"/>
              <a:gd name="connsiteX2124" fmla="*/ 6471266 w 9586368"/>
              <a:gd name="connsiteY2124" fmla="*/ 5043507 h 6479439"/>
              <a:gd name="connsiteX2125" fmla="*/ 6461356 w 9586368"/>
              <a:gd name="connsiteY2125" fmla="*/ 5043507 h 6479439"/>
              <a:gd name="connsiteX2126" fmla="*/ 6457337 w 9586368"/>
              <a:gd name="connsiteY2126" fmla="*/ 5039468 h 6479439"/>
              <a:gd name="connsiteX2127" fmla="*/ 6457337 w 9586368"/>
              <a:gd name="connsiteY2127" fmla="*/ 5029597 h 6479439"/>
              <a:gd name="connsiteX2128" fmla="*/ 6222042 w 9586368"/>
              <a:gd name="connsiteY2128" fmla="*/ 5025558 h 6479439"/>
              <a:gd name="connsiteX2129" fmla="*/ 6231952 w 9586368"/>
              <a:gd name="connsiteY2129" fmla="*/ 5025558 h 6479439"/>
              <a:gd name="connsiteX2130" fmla="*/ 6235971 w 9586368"/>
              <a:gd name="connsiteY2130" fmla="*/ 5029597 h 6479439"/>
              <a:gd name="connsiteX2131" fmla="*/ 6235971 w 9586368"/>
              <a:gd name="connsiteY2131" fmla="*/ 5039468 h 6479439"/>
              <a:gd name="connsiteX2132" fmla="*/ 6231952 w 9586368"/>
              <a:gd name="connsiteY2132" fmla="*/ 5043507 h 6479439"/>
              <a:gd name="connsiteX2133" fmla="*/ 6222042 w 9586368"/>
              <a:gd name="connsiteY2133" fmla="*/ 5043507 h 6479439"/>
              <a:gd name="connsiteX2134" fmla="*/ 6218023 w 9586368"/>
              <a:gd name="connsiteY2134" fmla="*/ 5039468 h 6479439"/>
              <a:gd name="connsiteX2135" fmla="*/ 6218023 w 9586368"/>
              <a:gd name="connsiteY2135" fmla="*/ 5029597 h 6479439"/>
              <a:gd name="connsiteX2136" fmla="*/ 5982729 w 9586368"/>
              <a:gd name="connsiteY2136" fmla="*/ 5025558 h 6479439"/>
              <a:gd name="connsiteX2137" fmla="*/ 5992639 w 9586368"/>
              <a:gd name="connsiteY2137" fmla="*/ 5025558 h 6479439"/>
              <a:gd name="connsiteX2138" fmla="*/ 5996658 w 9586368"/>
              <a:gd name="connsiteY2138" fmla="*/ 5029597 h 6479439"/>
              <a:gd name="connsiteX2139" fmla="*/ 5996658 w 9586368"/>
              <a:gd name="connsiteY2139" fmla="*/ 5039468 h 6479439"/>
              <a:gd name="connsiteX2140" fmla="*/ 5992639 w 9586368"/>
              <a:gd name="connsiteY2140" fmla="*/ 5043507 h 6479439"/>
              <a:gd name="connsiteX2141" fmla="*/ 5982729 w 9586368"/>
              <a:gd name="connsiteY2141" fmla="*/ 5043507 h 6479439"/>
              <a:gd name="connsiteX2142" fmla="*/ 5978710 w 9586368"/>
              <a:gd name="connsiteY2142" fmla="*/ 5039468 h 6479439"/>
              <a:gd name="connsiteX2143" fmla="*/ 5978710 w 9586368"/>
              <a:gd name="connsiteY2143" fmla="*/ 5029597 h 6479439"/>
              <a:gd name="connsiteX2144" fmla="*/ 5743412 w 9586368"/>
              <a:gd name="connsiteY2144" fmla="*/ 5025558 h 6479439"/>
              <a:gd name="connsiteX2145" fmla="*/ 5753323 w 9586368"/>
              <a:gd name="connsiteY2145" fmla="*/ 5025558 h 6479439"/>
              <a:gd name="connsiteX2146" fmla="*/ 5757342 w 9586368"/>
              <a:gd name="connsiteY2146" fmla="*/ 5029597 h 6479439"/>
              <a:gd name="connsiteX2147" fmla="*/ 5757342 w 9586368"/>
              <a:gd name="connsiteY2147" fmla="*/ 5039468 h 6479439"/>
              <a:gd name="connsiteX2148" fmla="*/ 5753323 w 9586368"/>
              <a:gd name="connsiteY2148" fmla="*/ 5043507 h 6479439"/>
              <a:gd name="connsiteX2149" fmla="*/ 5743412 w 9586368"/>
              <a:gd name="connsiteY2149" fmla="*/ 5043507 h 6479439"/>
              <a:gd name="connsiteX2150" fmla="*/ 5739393 w 9586368"/>
              <a:gd name="connsiteY2150" fmla="*/ 5039468 h 6479439"/>
              <a:gd name="connsiteX2151" fmla="*/ 5739393 w 9586368"/>
              <a:gd name="connsiteY2151" fmla="*/ 5029597 h 6479439"/>
              <a:gd name="connsiteX2152" fmla="*/ 5504099 w 9586368"/>
              <a:gd name="connsiteY2152" fmla="*/ 5025558 h 6479439"/>
              <a:gd name="connsiteX2153" fmla="*/ 5514010 w 9586368"/>
              <a:gd name="connsiteY2153" fmla="*/ 5025558 h 6479439"/>
              <a:gd name="connsiteX2154" fmla="*/ 5518029 w 9586368"/>
              <a:gd name="connsiteY2154" fmla="*/ 5029597 h 6479439"/>
              <a:gd name="connsiteX2155" fmla="*/ 5518029 w 9586368"/>
              <a:gd name="connsiteY2155" fmla="*/ 5039468 h 6479439"/>
              <a:gd name="connsiteX2156" fmla="*/ 5514010 w 9586368"/>
              <a:gd name="connsiteY2156" fmla="*/ 5043507 h 6479439"/>
              <a:gd name="connsiteX2157" fmla="*/ 5504099 w 9586368"/>
              <a:gd name="connsiteY2157" fmla="*/ 5043507 h 6479439"/>
              <a:gd name="connsiteX2158" fmla="*/ 5500080 w 9586368"/>
              <a:gd name="connsiteY2158" fmla="*/ 5039468 h 6479439"/>
              <a:gd name="connsiteX2159" fmla="*/ 5500080 w 9586368"/>
              <a:gd name="connsiteY2159" fmla="*/ 5029597 h 6479439"/>
              <a:gd name="connsiteX2160" fmla="*/ 5264784 w 9586368"/>
              <a:gd name="connsiteY2160" fmla="*/ 5025558 h 6479439"/>
              <a:gd name="connsiteX2161" fmla="*/ 5274694 w 9586368"/>
              <a:gd name="connsiteY2161" fmla="*/ 5025558 h 6479439"/>
              <a:gd name="connsiteX2162" fmla="*/ 5278713 w 9586368"/>
              <a:gd name="connsiteY2162" fmla="*/ 5029597 h 6479439"/>
              <a:gd name="connsiteX2163" fmla="*/ 5278713 w 9586368"/>
              <a:gd name="connsiteY2163" fmla="*/ 5039468 h 6479439"/>
              <a:gd name="connsiteX2164" fmla="*/ 5274694 w 9586368"/>
              <a:gd name="connsiteY2164" fmla="*/ 5043507 h 6479439"/>
              <a:gd name="connsiteX2165" fmla="*/ 5264784 w 9586368"/>
              <a:gd name="connsiteY2165" fmla="*/ 5043507 h 6479439"/>
              <a:gd name="connsiteX2166" fmla="*/ 5260765 w 9586368"/>
              <a:gd name="connsiteY2166" fmla="*/ 5039468 h 6479439"/>
              <a:gd name="connsiteX2167" fmla="*/ 5260765 w 9586368"/>
              <a:gd name="connsiteY2167" fmla="*/ 5029597 h 6479439"/>
              <a:gd name="connsiteX2168" fmla="*/ 5025470 w 9586368"/>
              <a:gd name="connsiteY2168" fmla="*/ 5025558 h 6479439"/>
              <a:gd name="connsiteX2169" fmla="*/ 5035381 w 9586368"/>
              <a:gd name="connsiteY2169" fmla="*/ 5025558 h 6479439"/>
              <a:gd name="connsiteX2170" fmla="*/ 5039400 w 9586368"/>
              <a:gd name="connsiteY2170" fmla="*/ 5029597 h 6479439"/>
              <a:gd name="connsiteX2171" fmla="*/ 5039400 w 9586368"/>
              <a:gd name="connsiteY2171" fmla="*/ 5039468 h 6479439"/>
              <a:gd name="connsiteX2172" fmla="*/ 5035381 w 9586368"/>
              <a:gd name="connsiteY2172" fmla="*/ 5043507 h 6479439"/>
              <a:gd name="connsiteX2173" fmla="*/ 5025470 w 9586368"/>
              <a:gd name="connsiteY2173" fmla="*/ 5043507 h 6479439"/>
              <a:gd name="connsiteX2174" fmla="*/ 5021451 w 9586368"/>
              <a:gd name="connsiteY2174" fmla="*/ 5039468 h 6479439"/>
              <a:gd name="connsiteX2175" fmla="*/ 5021451 w 9586368"/>
              <a:gd name="connsiteY2175" fmla="*/ 5029597 h 6479439"/>
              <a:gd name="connsiteX2176" fmla="*/ 4786241 w 9586368"/>
              <a:gd name="connsiteY2176" fmla="*/ 5025558 h 6479439"/>
              <a:gd name="connsiteX2177" fmla="*/ 4796152 w 9586368"/>
              <a:gd name="connsiteY2177" fmla="*/ 5025558 h 6479439"/>
              <a:gd name="connsiteX2178" fmla="*/ 4800171 w 9586368"/>
              <a:gd name="connsiteY2178" fmla="*/ 5029597 h 6479439"/>
              <a:gd name="connsiteX2179" fmla="*/ 4800171 w 9586368"/>
              <a:gd name="connsiteY2179" fmla="*/ 5039468 h 6479439"/>
              <a:gd name="connsiteX2180" fmla="*/ 4796152 w 9586368"/>
              <a:gd name="connsiteY2180" fmla="*/ 5043507 h 6479439"/>
              <a:gd name="connsiteX2181" fmla="*/ 4786241 w 9586368"/>
              <a:gd name="connsiteY2181" fmla="*/ 5043507 h 6479439"/>
              <a:gd name="connsiteX2182" fmla="*/ 4782224 w 9586368"/>
              <a:gd name="connsiteY2182" fmla="*/ 5039468 h 6479439"/>
              <a:gd name="connsiteX2183" fmla="*/ 4782224 w 9586368"/>
              <a:gd name="connsiteY2183" fmla="*/ 5029597 h 6479439"/>
              <a:gd name="connsiteX2184" fmla="*/ 4546929 w 9586368"/>
              <a:gd name="connsiteY2184" fmla="*/ 5025558 h 6479439"/>
              <a:gd name="connsiteX2185" fmla="*/ 4556840 w 9586368"/>
              <a:gd name="connsiteY2185" fmla="*/ 5025558 h 6479439"/>
              <a:gd name="connsiteX2186" fmla="*/ 4560859 w 9586368"/>
              <a:gd name="connsiteY2186" fmla="*/ 5029597 h 6479439"/>
              <a:gd name="connsiteX2187" fmla="*/ 4560859 w 9586368"/>
              <a:gd name="connsiteY2187" fmla="*/ 5039468 h 6479439"/>
              <a:gd name="connsiteX2188" fmla="*/ 4556840 w 9586368"/>
              <a:gd name="connsiteY2188" fmla="*/ 5043507 h 6479439"/>
              <a:gd name="connsiteX2189" fmla="*/ 4546929 w 9586368"/>
              <a:gd name="connsiteY2189" fmla="*/ 5043507 h 6479439"/>
              <a:gd name="connsiteX2190" fmla="*/ 4542910 w 9586368"/>
              <a:gd name="connsiteY2190" fmla="*/ 5039468 h 6479439"/>
              <a:gd name="connsiteX2191" fmla="*/ 4542910 w 9586368"/>
              <a:gd name="connsiteY2191" fmla="*/ 5029597 h 6479439"/>
              <a:gd name="connsiteX2192" fmla="*/ 4307612 w 9586368"/>
              <a:gd name="connsiteY2192" fmla="*/ 5025558 h 6479439"/>
              <a:gd name="connsiteX2193" fmla="*/ 4317523 w 9586368"/>
              <a:gd name="connsiteY2193" fmla="*/ 5025558 h 6479439"/>
              <a:gd name="connsiteX2194" fmla="*/ 4321543 w 9586368"/>
              <a:gd name="connsiteY2194" fmla="*/ 5029597 h 6479439"/>
              <a:gd name="connsiteX2195" fmla="*/ 4321543 w 9586368"/>
              <a:gd name="connsiteY2195" fmla="*/ 5039468 h 6479439"/>
              <a:gd name="connsiteX2196" fmla="*/ 4317523 w 9586368"/>
              <a:gd name="connsiteY2196" fmla="*/ 5043507 h 6479439"/>
              <a:gd name="connsiteX2197" fmla="*/ 4307612 w 9586368"/>
              <a:gd name="connsiteY2197" fmla="*/ 5043507 h 6479439"/>
              <a:gd name="connsiteX2198" fmla="*/ 4303595 w 9586368"/>
              <a:gd name="connsiteY2198" fmla="*/ 5039468 h 6479439"/>
              <a:gd name="connsiteX2199" fmla="*/ 4303595 w 9586368"/>
              <a:gd name="connsiteY2199" fmla="*/ 5029597 h 6479439"/>
              <a:gd name="connsiteX2200" fmla="*/ 4068297 w 9586368"/>
              <a:gd name="connsiteY2200" fmla="*/ 5025558 h 6479439"/>
              <a:gd name="connsiteX2201" fmla="*/ 4078210 w 9586368"/>
              <a:gd name="connsiteY2201" fmla="*/ 5025558 h 6479439"/>
              <a:gd name="connsiteX2202" fmla="*/ 4082229 w 9586368"/>
              <a:gd name="connsiteY2202" fmla="*/ 5029597 h 6479439"/>
              <a:gd name="connsiteX2203" fmla="*/ 4082229 w 9586368"/>
              <a:gd name="connsiteY2203" fmla="*/ 5039468 h 6479439"/>
              <a:gd name="connsiteX2204" fmla="*/ 4078210 w 9586368"/>
              <a:gd name="connsiteY2204" fmla="*/ 5043507 h 6479439"/>
              <a:gd name="connsiteX2205" fmla="*/ 4068297 w 9586368"/>
              <a:gd name="connsiteY2205" fmla="*/ 5043507 h 6479439"/>
              <a:gd name="connsiteX2206" fmla="*/ 4064278 w 9586368"/>
              <a:gd name="connsiteY2206" fmla="*/ 5039468 h 6479439"/>
              <a:gd name="connsiteX2207" fmla="*/ 4064278 w 9586368"/>
              <a:gd name="connsiteY2207" fmla="*/ 5029597 h 6479439"/>
              <a:gd name="connsiteX2208" fmla="*/ 3828990 w 9586368"/>
              <a:gd name="connsiteY2208" fmla="*/ 5025558 h 6479439"/>
              <a:gd name="connsiteX2209" fmla="*/ 3838899 w 9586368"/>
              <a:gd name="connsiteY2209" fmla="*/ 5025558 h 6479439"/>
              <a:gd name="connsiteX2210" fmla="*/ 3842917 w 9586368"/>
              <a:gd name="connsiteY2210" fmla="*/ 5029597 h 6479439"/>
              <a:gd name="connsiteX2211" fmla="*/ 3842917 w 9586368"/>
              <a:gd name="connsiteY2211" fmla="*/ 5039468 h 6479439"/>
              <a:gd name="connsiteX2212" fmla="*/ 3838899 w 9586368"/>
              <a:gd name="connsiteY2212" fmla="*/ 5043507 h 6479439"/>
              <a:gd name="connsiteX2213" fmla="*/ 3828990 w 9586368"/>
              <a:gd name="connsiteY2213" fmla="*/ 5043507 h 6479439"/>
              <a:gd name="connsiteX2214" fmla="*/ 3824971 w 9586368"/>
              <a:gd name="connsiteY2214" fmla="*/ 5039468 h 6479439"/>
              <a:gd name="connsiteX2215" fmla="*/ 3824971 w 9586368"/>
              <a:gd name="connsiteY2215" fmla="*/ 5029597 h 6479439"/>
              <a:gd name="connsiteX2216" fmla="*/ 3589676 w 9586368"/>
              <a:gd name="connsiteY2216" fmla="*/ 5025558 h 6479439"/>
              <a:gd name="connsiteX2217" fmla="*/ 3599585 w 9586368"/>
              <a:gd name="connsiteY2217" fmla="*/ 5025558 h 6479439"/>
              <a:gd name="connsiteX2218" fmla="*/ 3603604 w 9586368"/>
              <a:gd name="connsiteY2218" fmla="*/ 5029597 h 6479439"/>
              <a:gd name="connsiteX2219" fmla="*/ 3603604 w 9586368"/>
              <a:gd name="connsiteY2219" fmla="*/ 5039468 h 6479439"/>
              <a:gd name="connsiteX2220" fmla="*/ 3599585 w 9586368"/>
              <a:gd name="connsiteY2220" fmla="*/ 5043507 h 6479439"/>
              <a:gd name="connsiteX2221" fmla="*/ 3589676 w 9586368"/>
              <a:gd name="connsiteY2221" fmla="*/ 5043507 h 6479439"/>
              <a:gd name="connsiteX2222" fmla="*/ 3585657 w 9586368"/>
              <a:gd name="connsiteY2222" fmla="*/ 5039468 h 6479439"/>
              <a:gd name="connsiteX2223" fmla="*/ 3585657 w 9586368"/>
              <a:gd name="connsiteY2223" fmla="*/ 5029597 h 6479439"/>
              <a:gd name="connsiteX2224" fmla="*/ 3350359 w 9586368"/>
              <a:gd name="connsiteY2224" fmla="*/ 5025558 h 6479439"/>
              <a:gd name="connsiteX2225" fmla="*/ 3360268 w 9586368"/>
              <a:gd name="connsiteY2225" fmla="*/ 5025558 h 6479439"/>
              <a:gd name="connsiteX2226" fmla="*/ 3364287 w 9586368"/>
              <a:gd name="connsiteY2226" fmla="*/ 5029597 h 6479439"/>
              <a:gd name="connsiteX2227" fmla="*/ 3364287 w 9586368"/>
              <a:gd name="connsiteY2227" fmla="*/ 5039468 h 6479439"/>
              <a:gd name="connsiteX2228" fmla="*/ 3360268 w 9586368"/>
              <a:gd name="connsiteY2228" fmla="*/ 5043507 h 6479439"/>
              <a:gd name="connsiteX2229" fmla="*/ 3350359 w 9586368"/>
              <a:gd name="connsiteY2229" fmla="*/ 5043507 h 6479439"/>
              <a:gd name="connsiteX2230" fmla="*/ 3346340 w 9586368"/>
              <a:gd name="connsiteY2230" fmla="*/ 5039468 h 6479439"/>
              <a:gd name="connsiteX2231" fmla="*/ 3346340 w 9586368"/>
              <a:gd name="connsiteY2231" fmla="*/ 5029597 h 6479439"/>
              <a:gd name="connsiteX2232" fmla="*/ 3111048 w 9586368"/>
              <a:gd name="connsiteY2232" fmla="*/ 5025558 h 6479439"/>
              <a:gd name="connsiteX2233" fmla="*/ 3120959 w 9586368"/>
              <a:gd name="connsiteY2233" fmla="*/ 5025558 h 6479439"/>
              <a:gd name="connsiteX2234" fmla="*/ 3124977 w 9586368"/>
              <a:gd name="connsiteY2234" fmla="*/ 5029597 h 6479439"/>
              <a:gd name="connsiteX2235" fmla="*/ 3124977 w 9586368"/>
              <a:gd name="connsiteY2235" fmla="*/ 5039468 h 6479439"/>
              <a:gd name="connsiteX2236" fmla="*/ 3120959 w 9586368"/>
              <a:gd name="connsiteY2236" fmla="*/ 5043507 h 6479439"/>
              <a:gd name="connsiteX2237" fmla="*/ 3111048 w 9586368"/>
              <a:gd name="connsiteY2237" fmla="*/ 5043507 h 6479439"/>
              <a:gd name="connsiteX2238" fmla="*/ 3107029 w 9586368"/>
              <a:gd name="connsiteY2238" fmla="*/ 5039468 h 6479439"/>
              <a:gd name="connsiteX2239" fmla="*/ 3107029 w 9586368"/>
              <a:gd name="connsiteY2239" fmla="*/ 5029597 h 6479439"/>
              <a:gd name="connsiteX2240" fmla="*/ 2871737 w 9586368"/>
              <a:gd name="connsiteY2240" fmla="*/ 5025558 h 6479439"/>
              <a:gd name="connsiteX2241" fmla="*/ 2881646 w 9586368"/>
              <a:gd name="connsiteY2241" fmla="*/ 5025558 h 6479439"/>
              <a:gd name="connsiteX2242" fmla="*/ 2885666 w 9586368"/>
              <a:gd name="connsiteY2242" fmla="*/ 5029597 h 6479439"/>
              <a:gd name="connsiteX2243" fmla="*/ 2885666 w 9586368"/>
              <a:gd name="connsiteY2243" fmla="*/ 5039468 h 6479439"/>
              <a:gd name="connsiteX2244" fmla="*/ 2881646 w 9586368"/>
              <a:gd name="connsiteY2244" fmla="*/ 5043507 h 6479439"/>
              <a:gd name="connsiteX2245" fmla="*/ 2871737 w 9586368"/>
              <a:gd name="connsiteY2245" fmla="*/ 5043507 h 6479439"/>
              <a:gd name="connsiteX2246" fmla="*/ 2867717 w 9586368"/>
              <a:gd name="connsiteY2246" fmla="*/ 5039468 h 6479439"/>
              <a:gd name="connsiteX2247" fmla="*/ 2867717 w 9586368"/>
              <a:gd name="connsiteY2247" fmla="*/ 5029597 h 6479439"/>
              <a:gd name="connsiteX2248" fmla="*/ 2632423 w 9586368"/>
              <a:gd name="connsiteY2248" fmla="*/ 5025558 h 6479439"/>
              <a:gd name="connsiteX2249" fmla="*/ 2642334 w 9586368"/>
              <a:gd name="connsiteY2249" fmla="*/ 5025558 h 6479439"/>
              <a:gd name="connsiteX2250" fmla="*/ 2646352 w 9586368"/>
              <a:gd name="connsiteY2250" fmla="*/ 5029597 h 6479439"/>
              <a:gd name="connsiteX2251" fmla="*/ 2646352 w 9586368"/>
              <a:gd name="connsiteY2251" fmla="*/ 5039468 h 6479439"/>
              <a:gd name="connsiteX2252" fmla="*/ 2642334 w 9586368"/>
              <a:gd name="connsiteY2252" fmla="*/ 5043507 h 6479439"/>
              <a:gd name="connsiteX2253" fmla="*/ 2632423 w 9586368"/>
              <a:gd name="connsiteY2253" fmla="*/ 5043507 h 6479439"/>
              <a:gd name="connsiteX2254" fmla="*/ 2628404 w 9586368"/>
              <a:gd name="connsiteY2254" fmla="*/ 5039468 h 6479439"/>
              <a:gd name="connsiteX2255" fmla="*/ 2628404 w 9586368"/>
              <a:gd name="connsiteY2255" fmla="*/ 5029597 h 6479439"/>
              <a:gd name="connsiteX2256" fmla="*/ 2393104 w 9586368"/>
              <a:gd name="connsiteY2256" fmla="*/ 5025558 h 6479439"/>
              <a:gd name="connsiteX2257" fmla="*/ 2403015 w 9586368"/>
              <a:gd name="connsiteY2257" fmla="*/ 5025558 h 6479439"/>
              <a:gd name="connsiteX2258" fmla="*/ 2407034 w 9586368"/>
              <a:gd name="connsiteY2258" fmla="*/ 5029597 h 6479439"/>
              <a:gd name="connsiteX2259" fmla="*/ 2407034 w 9586368"/>
              <a:gd name="connsiteY2259" fmla="*/ 5039468 h 6479439"/>
              <a:gd name="connsiteX2260" fmla="*/ 2403015 w 9586368"/>
              <a:gd name="connsiteY2260" fmla="*/ 5043507 h 6479439"/>
              <a:gd name="connsiteX2261" fmla="*/ 2393104 w 9586368"/>
              <a:gd name="connsiteY2261" fmla="*/ 5043507 h 6479439"/>
              <a:gd name="connsiteX2262" fmla="*/ 2389087 w 9586368"/>
              <a:gd name="connsiteY2262" fmla="*/ 5039468 h 6479439"/>
              <a:gd name="connsiteX2263" fmla="*/ 2389087 w 9586368"/>
              <a:gd name="connsiteY2263" fmla="*/ 5029597 h 6479439"/>
              <a:gd name="connsiteX2264" fmla="*/ 721962 w 9586368"/>
              <a:gd name="connsiteY2264" fmla="*/ 5025558 h 6479439"/>
              <a:gd name="connsiteX2265" fmla="*/ 731872 w 9586368"/>
              <a:gd name="connsiteY2265" fmla="*/ 5025558 h 6479439"/>
              <a:gd name="connsiteX2266" fmla="*/ 735891 w 9586368"/>
              <a:gd name="connsiteY2266" fmla="*/ 5029597 h 6479439"/>
              <a:gd name="connsiteX2267" fmla="*/ 735891 w 9586368"/>
              <a:gd name="connsiteY2267" fmla="*/ 5039468 h 6479439"/>
              <a:gd name="connsiteX2268" fmla="*/ 731872 w 9586368"/>
              <a:gd name="connsiteY2268" fmla="*/ 5043507 h 6479439"/>
              <a:gd name="connsiteX2269" fmla="*/ 721962 w 9586368"/>
              <a:gd name="connsiteY2269" fmla="*/ 5043507 h 6479439"/>
              <a:gd name="connsiteX2270" fmla="*/ 717944 w 9586368"/>
              <a:gd name="connsiteY2270" fmla="*/ 5039468 h 6479439"/>
              <a:gd name="connsiteX2271" fmla="*/ 717944 w 9586368"/>
              <a:gd name="connsiteY2271" fmla="*/ 5029597 h 6479439"/>
              <a:gd name="connsiteX2272" fmla="*/ 482650 w 9586368"/>
              <a:gd name="connsiteY2272" fmla="*/ 5025558 h 6479439"/>
              <a:gd name="connsiteX2273" fmla="*/ 492560 w 9586368"/>
              <a:gd name="connsiteY2273" fmla="*/ 5025558 h 6479439"/>
              <a:gd name="connsiteX2274" fmla="*/ 496580 w 9586368"/>
              <a:gd name="connsiteY2274" fmla="*/ 5029597 h 6479439"/>
              <a:gd name="connsiteX2275" fmla="*/ 496580 w 9586368"/>
              <a:gd name="connsiteY2275" fmla="*/ 5039468 h 6479439"/>
              <a:gd name="connsiteX2276" fmla="*/ 492560 w 9586368"/>
              <a:gd name="connsiteY2276" fmla="*/ 5043507 h 6479439"/>
              <a:gd name="connsiteX2277" fmla="*/ 482650 w 9586368"/>
              <a:gd name="connsiteY2277" fmla="*/ 5043507 h 6479439"/>
              <a:gd name="connsiteX2278" fmla="*/ 478631 w 9586368"/>
              <a:gd name="connsiteY2278" fmla="*/ 5039468 h 6479439"/>
              <a:gd name="connsiteX2279" fmla="*/ 478631 w 9586368"/>
              <a:gd name="connsiteY2279" fmla="*/ 5029597 h 6479439"/>
              <a:gd name="connsiteX2280" fmla="*/ 243336 w 9586368"/>
              <a:gd name="connsiteY2280" fmla="*/ 5025558 h 6479439"/>
              <a:gd name="connsiteX2281" fmla="*/ 253247 w 9586368"/>
              <a:gd name="connsiteY2281" fmla="*/ 5025558 h 6479439"/>
              <a:gd name="connsiteX2282" fmla="*/ 257266 w 9586368"/>
              <a:gd name="connsiteY2282" fmla="*/ 5029597 h 6479439"/>
              <a:gd name="connsiteX2283" fmla="*/ 257266 w 9586368"/>
              <a:gd name="connsiteY2283" fmla="*/ 5039468 h 6479439"/>
              <a:gd name="connsiteX2284" fmla="*/ 253247 w 9586368"/>
              <a:gd name="connsiteY2284" fmla="*/ 5043507 h 6479439"/>
              <a:gd name="connsiteX2285" fmla="*/ 243336 w 9586368"/>
              <a:gd name="connsiteY2285" fmla="*/ 5043507 h 6479439"/>
              <a:gd name="connsiteX2286" fmla="*/ 239317 w 9586368"/>
              <a:gd name="connsiteY2286" fmla="*/ 5039468 h 6479439"/>
              <a:gd name="connsiteX2287" fmla="*/ 239317 w 9586368"/>
              <a:gd name="connsiteY2287" fmla="*/ 5029597 h 6479439"/>
              <a:gd name="connsiteX2288" fmla="*/ 4024 w 9586368"/>
              <a:gd name="connsiteY2288" fmla="*/ 5025558 h 6479439"/>
              <a:gd name="connsiteX2289" fmla="*/ 13933 w 9586368"/>
              <a:gd name="connsiteY2289" fmla="*/ 5025558 h 6479439"/>
              <a:gd name="connsiteX2290" fmla="*/ 17952 w 9586368"/>
              <a:gd name="connsiteY2290" fmla="*/ 5029597 h 6479439"/>
              <a:gd name="connsiteX2291" fmla="*/ 17952 w 9586368"/>
              <a:gd name="connsiteY2291" fmla="*/ 5039468 h 6479439"/>
              <a:gd name="connsiteX2292" fmla="*/ 13933 w 9586368"/>
              <a:gd name="connsiteY2292" fmla="*/ 5043507 h 6479439"/>
              <a:gd name="connsiteX2293" fmla="*/ 4024 w 9586368"/>
              <a:gd name="connsiteY2293" fmla="*/ 5043507 h 6479439"/>
              <a:gd name="connsiteX2294" fmla="*/ 4 w 9586368"/>
              <a:gd name="connsiteY2294" fmla="*/ 5039468 h 6479439"/>
              <a:gd name="connsiteX2295" fmla="*/ 4 w 9586368"/>
              <a:gd name="connsiteY2295" fmla="*/ 5029597 h 6479439"/>
              <a:gd name="connsiteX2296" fmla="*/ 9572438 w 9586368"/>
              <a:gd name="connsiteY2296" fmla="*/ 4786279 h 6479439"/>
              <a:gd name="connsiteX2297" fmla="*/ 9582349 w 9586368"/>
              <a:gd name="connsiteY2297" fmla="*/ 4786279 h 6479439"/>
              <a:gd name="connsiteX2298" fmla="*/ 9586368 w 9586368"/>
              <a:gd name="connsiteY2298" fmla="*/ 4790317 h 6479439"/>
              <a:gd name="connsiteX2299" fmla="*/ 9586368 w 9586368"/>
              <a:gd name="connsiteY2299" fmla="*/ 4800188 h 6479439"/>
              <a:gd name="connsiteX2300" fmla="*/ 9582349 w 9586368"/>
              <a:gd name="connsiteY2300" fmla="*/ 4804227 h 6479439"/>
              <a:gd name="connsiteX2301" fmla="*/ 9572438 w 9586368"/>
              <a:gd name="connsiteY2301" fmla="*/ 4804227 h 6479439"/>
              <a:gd name="connsiteX2302" fmla="*/ 9568419 w 9586368"/>
              <a:gd name="connsiteY2302" fmla="*/ 4800188 h 6479439"/>
              <a:gd name="connsiteX2303" fmla="*/ 9568419 w 9586368"/>
              <a:gd name="connsiteY2303" fmla="*/ 4790317 h 6479439"/>
              <a:gd name="connsiteX2304" fmla="*/ 9333125 w 9586368"/>
              <a:gd name="connsiteY2304" fmla="*/ 4786279 h 6479439"/>
              <a:gd name="connsiteX2305" fmla="*/ 9343036 w 9586368"/>
              <a:gd name="connsiteY2305" fmla="*/ 4786279 h 6479439"/>
              <a:gd name="connsiteX2306" fmla="*/ 9347055 w 9586368"/>
              <a:gd name="connsiteY2306" fmla="*/ 4790317 h 6479439"/>
              <a:gd name="connsiteX2307" fmla="*/ 9347055 w 9586368"/>
              <a:gd name="connsiteY2307" fmla="*/ 4800188 h 6479439"/>
              <a:gd name="connsiteX2308" fmla="*/ 9343036 w 9586368"/>
              <a:gd name="connsiteY2308" fmla="*/ 4804227 h 6479439"/>
              <a:gd name="connsiteX2309" fmla="*/ 9333125 w 9586368"/>
              <a:gd name="connsiteY2309" fmla="*/ 4804227 h 6479439"/>
              <a:gd name="connsiteX2310" fmla="*/ 9329106 w 9586368"/>
              <a:gd name="connsiteY2310" fmla="*/ 4800188 h 6479439"/>
              <a:gd name="connsiteX2311" fmla="*/ 9329106 w 9586368"/>
              <a:gd name="connsiteY2311" fmla="*/ 4790317 h 6479439"/>
              <a:gd name="connsiteX2312" fmla="*/ 9093811 w 9586368"/>
              <a:gd name="connsiteY2312" fmla="*/ 4786279 h 6479439"/>
              <a:gd name="connsiteX2313" fmla="*/ 9103722 w 9586368"/>
              <a:gd name="connsiteY2313" fmla="*/ 4786279 h 6479439"/>
              <a:gd name="connsiteX2314" fmla="*/ 9107741 w 9586368"/>
              <a:gd name="connsiteY2314" fmla="*/ 4790317 h 6479439"/>
              <a:gd name="connsiteX2315" fmla="*/ 9107741 w 9586368"/>
              <a:gd name="connsiteY2315" fmla="*/ 4800188 h 6479439"/>
              <a:gd name="connsiteX2316" fmla="*/ 9103722 w 9586368"/>
              <a:gd name="connsiteY2316" fmla="*/ 4804227 h 6479439"/>
              <a:gd name="connsiteX2317" fmla="*/ 9093811 w 9586368"/>
              <a:gd name="connsiteY2317" fmla="*/ 4804227 h 6479439"/>
              <a:gd name="connsiteX2318" fmla="*/ 9089792 w 9586368"/>
              <a:gd name="connsiteY2318" fmla="*/ 4800188 h 6479439"/>
              <a:gd name="connsiteX2319" fmla="*/ 9089792 w 9586368"/>
              <a:gd name="connsiteY2319" fmla="*/ 4790317 h 6479439"/>
              <a:gd name="connsiteX2320" fmla="*/ 8854496 w 9586368"/>
              <a:gd name="connsiteY2320" fmla="*/ 4786279 h 6479439"/>
              <a:gd name="connsiteX2321" fmla="*/ 8864407 w 9586368"/>
              <a:gd name="connsiteY2321" fmla="*/ 4786279 h 6479439"/>
              <a:gd name="connsiteX2322" fmla="*/ 8868426 w 9586368"/>
              <a:gd name="connsiteY2322" fmla="*/ 4790317 h 6479439"/>
              <a:gd name="connsiteX2323" fmla="*/ 8868426 w 9586368"/>
              <a:gd name="connsiteY2323" fmla="*/ 4800188 h 6479439"/>
              <a:gd name="connsiteX2324" fmla="*/ 8864407 w 9586368"/>
              <a:gd name="connsiteY2324" fmla="*/ 4804227 h 6479439"/>
              <a:gd name="connsiteX2325" fmla="*/ 8854496 w 9586368"/>
              <a:gd name="connsiteY2325" fmla="*/ 4804227 h 6479439"/>
              <a:gd name="connsiteX2326" fmla="*/ 8850477 w 9586368"/>
              <a:gd name="connsiteY2326" fmla="*/ 4800188 h 6479439"/>
              <a:gd name="connsiteX2327" fmla="*/ 8850477 w 9586368"/>
              <a:gd name="connsiteY2327" fmla="*/ 4790317 h 6479439"/>
              <a:gd name="connsiteX2328" fmla="*/ 8615184 w 9586368"/>
              <a:gd name="connsiteY2328" fmla="*/ 4786279 h 6479439"/>
              <a:gd name="connsiteX2329" fmla="*/ 8625095 w 9586368"/>
              <a:gd name="connsiteY2329" fmla="*/ 4786279 h 6479439"/>
              <a:gd name="connsiteX2330" fmla="*/ 8629114 w 9586368"/>
              <a:gd name="connsiteY2330" fmla="*/ 4790317 h 6479439"/>
              <a:gd name="connsiteX2331" fmla="*/ 8629114 w 9586368"/>
              <a:gd name="connsiteY2331" fmla="*/ 4800188 h 6479439"/>
              <a:gd name="connsiteX2332" fmla="*/ 8625095 w 9586368"/>
              <a:gd name="connsiteY2332" fmla="*/ 4804227 h 6479439"/>
              <a:gd name="connsiteX2333" fmla="*/ 8615184 w 9586368"/>
              <a:gd name="connsiteY2333" fmla="*/ 4804227 h 6479439"/>
              <a:gd name="connsiteX2334" fmla="*/ 8611165 w 9586368"/>
              <a:gd name="connsiteY2334" fmla="*/ 4800188 h 6479439"/>
              <a:gd name="connsiteX2335" fmla="*/ 8611165 w 9586368"/>
              <a:gd name="connsiteY2335" fmla="*/ 4790317 h 6479439"/>
              <a:gd name="connsiteX2336" fmla="*/ 8375869 w 9586368"/>
              <a:gd name="connsiteY2336" fmla="*/ 4786279 h 6479439"/>
              <a:gd name="connsiteX2337" fmla="*/ 8385779 w 9586368"/>
              <a:gd name="connsiteY2337" fmla="*/ 4786279 h 6479439"/>
              <a:gd name="connsiteX2338" fmla="*/ 8389799 w 9586368"/>
              <a:gd name="connsiteY2338" fmla="*/ 4790317 h 6479439"/>
              <a:gd name="connsiteX2339" fmla="*/ 8389799 w 9586368"/>
              <a:gd name="connsiteY2339" fmla="*/ 4800188 h 6479439"/>
              <a:gd name="connsiteX2340" fmla="*/ 8385779 w 9586368"/>
              <a:gd name="connsiteY2340" fmla="*/ 4804227 h 6479439"/>
              <a:gd name="connsiteX2341" fmla="*/ 8375869 w 9586368"/>
              <a:gd name="connsiteY2341" fmla="*/ 4804227 h 6479439"/>
              <a:gd name="connsiteX2342" fmla="*/ 8371850 w 9586368"/>
              <a:gd name="connsiteY2342" fmla="*/ 4800188 h 6479439"/>
              <a:gd name="connsiteX2343" fmla="*/ 8371850 w 9586368"/>
              <a:gd name="connsiteY2343" fmla="*/ 4790317 h 6479439"/>
              <a:gd name="connsiteX2344" fmla="*/ 8136553 w 9586368"/>
              <a:gd name="connsiteY2344" fmla="*/ 4786279 h 6479439"/>
              <a:gd name="connsiteX2345" fmla="*/ 8146464 w 9586368"/>
              <a:gd name="connsiteY2345" fmla="*/ 4786279 h 6479439"/>
              <a:gd name="connsiteX2346" fmla="*/ 8150483 w 9586368"/>
              <a:gd name="connsiteY2346" fmla="*/ 4790317 h 6479439"/>
              <a:gd name="connsiteX2347" fmla="*/ 8150483 w 9586368"/>
              <a:gd name="connsiteY2347" fmla="*/ 4800188 h 6479439"/>
              <a:gd name="connsiteX2348" fmla="*/ 8146464 w 9586368"/>
              <a:gd name="connsiteY2348" fmla="*/ 4804227 h 6479439"/>
              <a:gd name="connsiteX2349" fmla="*/ 8136553 w 9586368"/>
              <a:gd name="connsiteY2349" fmla="*/ 4804227 h 6479439"/>
              <a:gd name="connsiteX2350" fmla="*/ 8132534 w 9586368"/>
              <a:gd name="connsiteY2350" fmla="*/ 4800188 h 6479439"/>
              <a:gd name="connsiteX2351" fmla="*/ 8132534 w 9586368"/>
              <a:gd name="connsiteY2351" fmla="*/ 4790317 h 6479439"/>
              <a:gd name="connsiteX2352" fmla="*/ 7897241 w 9586368"/>
              <a:gd name="connsiteY2352" fmla="*/ 4786279 h 6479439"/>
              <a:gd name="connsiteX2353" fmla="*/ 7907151 w 9586368"/>
              <a:gd name="connsiteY2353" fmla="*/ 4786279 h 6479439"/>
              <a:gd name="connsiteX2354" fmla="*/ 7911170 w 9586368"/>
              <a:gd name="connsiteY2354" fmla="*/ 4790317 h 6479439"/>
              <a:gd name="connsiteX2355" fmla="*/ 7911170 w 9586368"/>
              <a:gd name="connsiteY2355" fmla="*/ 4800188 h 6479439"/>
              <a:gd name="connsiteX2356" fmla="*/ 7907151 w 9586368"/>
              <a:gd name="connsiteY2356" fmla="*/ 4804227 h 6479439"/>
              <a:gd name="connsiteX2357" fmla="*/ 7897241 w 9586368"/>
              <a:gd name="connsiteY2357" fmla="*/ 4804227 h 6479439"/>
              <a:gd name="connsiteX2358" fmla="*/ 7893222 w 9586368"/>
              <a:gd name="connsiteY2358" fmla="*/ 4800188 h 6479439"/>
              <a:gd name="connsiteX2359" fmla="*/ 7893222 w 9586368"/>
              <a:gd name="connsiteY2359" fmla="*/ 4790317 h 6479439"/>
              <a:gd name="connsiteX2360" fmla="*/ 7657926 w 9586368"/>
              <a:gd name="connsiteY2360" fmla="*/ 4786279 h 6479439"/>
              <a:gd name="connsiteX2361" fmla="*/ 7667836 w 9586368"/>
              <a:gd name="connsiteY2361" fmla="*/ 4786279 h 6479439"/>
              <a:gd name="connsiteX2362" fmla="*/ 7671855 w 9586368"/>
              <a:gd name="connsiteY2362" fmla="*/ 4790317 h 6479439"/>
              <a:gd name="connsiteX2363" fmla="*/ 7671855 w 9586368"/>
              <a:gd name="connsiteY2363" fmla="*/ 4800188 h 6479439"/>
              <a:gd name="connsiteX2364" fmla="*/ 7667836 w 9586368"/>
              <a:gd name="connsiteY2364" fmla="*/ 4804227 h 6479439"/>
              <a:gd name="connsiteX2365" fmla="*/ 7657926 w 9586368"/>
              <a:gd name="connsiteY2365" fmla="*/ 4804227 h 6479439"/>
              <a:gd name="connsiteX2366" fmla="*/ 7653906 w 9586368"/>
              <a:gd name="connsiteY2366" fmla="*/ 4800188 h 6479439"/>
              <a:gd name="connsiteX2367" fmla="*/ 7653906 w 9586368"/>
              <a:gd name="connsiteY2367" fmla="*/ 4790317 h 6479439"/>
              <a:gd name="connsiteX2368" fmla="*/ 7418611 w 9586368"/>
              <a:gd name="connsiteY2368" fmla="*/ 4786279 h 6479439"/>
              <a:gd name="connsiteX2369" fmla="*/ 7428521 w 9586368"/>
              <a:gd name="connsiteY2369" fmla="*/ 4786279 h 6479439"/>
              <a:gd name="connsiteX2370" fmla="*/ 7432540 w 9586368"/>
              <a:gd name="connsiteY2370" fmla="*/ 4790317 h 6479439"/>
              <a:gd name="connsiteX2371" fmla="*/ 7432540 w 9586368"/>
              <a:gd name="connsiteY2371" fmla="*/ 4800188 h 6479439"/>
              <a:gd name="connsiteX2372" fmla="*/ 7428521 w 9586368"/>
              <a:gd name="connsiteY2372" fmla="*/ 4804227 h 6479439"/>
              <a:gd name="connsiteX2373" fmla="*/ 7418611 w 9586368"/>
              <a:gd name="connsiteY2373" fmla="*/ 4804227 h 6479439"/>
              <a:gd name="connsiteX2374" fmla="*/ 7414592 w 9586368"/>
              <a:gd name="connsiteY2374" fmla="*/ 4800188 h 6479439"/>
              <a:gd name="connsiteX2375" fmla="*/ 7414592 w 9586368"/>
              <a:gd name="connsiteY2375" fmla="*/ 4790317 h 6479439"/>
              <a:gd name="connsiteX2376" fmla="*/ 7179298 w 9586368"/>
              <a:gd name="connsiteY2376" fmla="*/ 4786279 h 6479439"/>
              <a:gd name="connsiteX2377" fmla="*/ 7189209 w 9586368"/>
              <a:gd name="connsiteY2377" fmla="*/ 4786279 h 6479439"/>
              <a:gd name="connsiteX2378" fmla="*/ 7193228 w 9586368"/>
              <a:gd name="connsiteY2378" fmla="*/ 4790317 h 6479439"/>
              <a:gd name="connsiteX2379" fmla="*/ 7193228 w 9586368"/>
              <a:gd name="connsiteY2379" fmla="*/ 4800188 h 6479439"/>
              <a:gd name="connsiteX2380" fmla="*/ 7189209 w 9586368"/>
              <a:gd name="connsiteY2380" fmla="*/ 4804227 h 6479439"/>
              <a:gd name="connsiteX2381" fmla="*/ 7179298 w 9586368"/>
              <a:gd name="connsiteY2381" fmla="*/ 4804227 h 6479439"/>
              <a:gd name="connsiteX2382" fmla="*/ 7175279 w 9586368"/>
              <a:gd name="connsiteY2382" fmla="*/ 4800188 h 6479439"/>
              <a:gd name="connsiteX2383" fmla="*/ 7175279 w 9586368"/>
              <a:gd name="connsiteY2383" fmla="*/ 4790317 h 6479439"/>
              <a:gd name="connsiteX2384" fmla="*/ 6939983 w 9586368"/>
              <a:gd name="connsiteY2384" fmla="*/ 4786279 h 6479439"/>
              <a:gd name="connsiteX2385" fmla="*/ 6949894 w 9586368"/>
              <a:gd name="connsiteY2385" fmla="*/ 4786279 h 6479439"/>
              <a:gd name="connsiteX2386" fmla="*/ 6953913 w 9586368"/>
              <a:gd name="connsiteY2386" fmla="*/ 4790317 h 6479439"/>
              <a:gd name="connsiteX2387" fmla="*/ 6953913 w 9586368"/>
              <a:gd name="connsiteY2387" fmla="*/ 4800188 h 6479439"/>
              <a:gd name="connsiteX2388" fmla="*/ 6949894 w 9586368"/>
              <a:gd name="connsiteY2388" fmla="*/ 4804227 h 6479439"/>
              <a:gd name="connsiteX2389" fmla="*/ 6939983 w 9586368"/>
              <a:gd name="connsiteY2389" fmla="*/ 4804227 h 6479439"/>
              <a:gd name="connsiteX2390" fmla="*/ 6935964 w 9586368"/>
              <a:gd name="connsiteY2390" fmla="*/ 4800188 h 6479439"/>
              <a:gd name="connsiteX2391" fmla="*/ 6935964 w 9586368"/>
              <a:gd name="connsiteY2391" fmla="*/ 4790317 h 6479439"/>
              <a:gd name="connsiteX2392" fmla="*/ 6700670 w 9586368"/>
              <a:gd name="connsiteY2392" fmla="*/ 4786279 h 6479439"/>
              <a:gd name="connsiteX2393" fmla="*/ 6710581 w 9586368"/>
              <a:gd name="connsiteY2393" fmla="*/ 4786279 h 6479439"/>
              <a:gd name="connsiteX2394" fmla="*/ 6714600 w 9586368"/>
              <a:gd name="connsiteY2394" fmla="*/ 4790317 h 6479439"/>
              <a:gd name="connsiteX2395" fmla="*/ 6714600 w 9586368"/>
              <a:gd name="connsiteY2395" fmla="*/ 4800188 h 6479439"/>
              <a:gd name="connsiteX2396" fmla="*/ 6710581 w 9586368"/>
              <a:gd name="connsiteY2396" fmla="*/ 4804227 h 6479439"/>
              <a:gd name="connsiteX2397" fmla="*/ 6700670 w 9586368"/>
              <a:gd name="connsiteY2397" fmla="*/ 4804227 h 6479439"/>
              <a:gd name="connsiteX2398" fmla="*/ 6696651 w 9586368"/>
              <a:gd name="connsiteY2398" fmla="*/ 4800188 h 6479439"/>
              <a:gd name="connsiteX2399" fmla="*/ 6696651 w 9586368"/>
              <a:gd name="connsiteY2399" fmla="*/ 4790317 h 6479439"/>
              <a:gd name="connsiteX2400" fmla="*/ 6461356 w 9586368"/>
              <a:gd name="connsiteY2400" fmla="*/ 4786279 h 6479439"/>
              <a:gd name="connsiteX2401" fmla="*/ 6471266 w 9586368"/>
              <a:gd name="connsiteY2401" fmla="*/ 4786279 h 6479439"/>
              <a:gd name="connsiteX2402" fmla="*/ 6475285 w 9586368"/>
              <a:gd name="connsiteY2402" fmla="*/ 4790317 h 6479439"/>
              <a:gd name="connsiteX2403" fmla="*/ 6475285 w 9586368"/>
              <a:gd name="connsiteY2403" fmla="*/ 4800188 h 6479439"/>
              <a:gd name="connsiteX2404" fmla="*/ 6471266 w 9586368"/>
              <a:gd name="connsiteY2404" fmla="*/ 4804227 h 6479439"/>
              <a:gd name="connsiteX2405" fmla="*/ 6461356 w 9586368"/>
              <a:gd name="connsiteY2405" fmla="*/ 4804227 h 6479439"/>
              <a:gd name="connsiteX2406" fmla="*/ 6457337 w 9586368"/>
              <a:gd name="connsiteY2406" fmla="*/ 4800188 h 6479439"/>
              <a:gd name="connsiteX2407" fmla="*/ 6457337 w 9586368"/>
              <a:gd name="connsiteY2407" fmla="*/ 4790317 h 6479439"/>
              <a:gd name="connsiteX2408" fmla="*/ 6222042 w 9586368"/>
              <a:gd name="connsiteY2408" fmla="*/ 4786279 h 6479439"/>
              <a:gd name="connsiteX2409" fmla="*/ 6231952 w 9586368"/>
              <a:gd name="connsiteY2409" fmla="*/ 4786279 h 6479439"/>
              <a:gd name="connsiteX2410" fmla="*/ 6235971 w 9586368"/>
              <a:gd name="connsiteY2410" fmla="*/ 4790317 h 6479439"/>
              <a:gd name="connsiteX2411" fmla="*/ 6235971 w 9586368"/>
              <a:gd name="connsiteY2411" fmla="*/ 4800188 h 6479439"/>
              <a:gd name="connsiteX2412" fmla="*/ 6231952 w 9586368"/>
              <a:gd name="connsiteY2412" fmla="*/ 4804227 h 6479439"/>
              <a:gd name="connsiteX2413" fmla="*/ 6222042 w 9586368"/>
              <a:gd name="connsiteY2413" fmla="*/ 4804227 h 6479439"/>
              <a:gd name="connsiteX2414" fmla="*/ 6218023 w 9586368"/>
              <a:gd name="connsiteY2414" fmla="*/ 4800188 h 6479439"/>
              <a:gd name="connsiteX2415" fmla="*/ 6218023 w 9586368"/>
              <a:gd name="connsiteY2415" fmla="*/ 4790317 h 6479439"/>
              <a:gd name="connsiteX2416" fmla="*/ 5982729 w 9586368"/>
              <a:gd name="connsiteY2416" fmla="*/ 4786279 h 6479439"/>
              <a:gd name="connsiteX2417" fmla="*/ 5992639 w 9586368"/>
              <a:gd name="connsiteY2417" fmla="*/ 4786279 h 6479439"/>
              <a:gd name="connsiteX2418" fmla="*/ 5996658 w 9586368"/>
              <a:gd name="connsiteY2418" fmla="*/ 4790317 h 6479439"/>
              <a:gd name="connsiteX2419" fmla="*/ 5996658 w 9586368"/>
              <a:gd name="connsiteY2419" fmla="*/ 4800188 h 6479439"/>
              <a:gd name="connsiteX2420" fmla="*/ 5992639 w 9586368"/>
              <a:gd name="connsiteY2420" fmla="*/ 4804227 h 6479439"/>
              <a:gd name="connsiteX2421" fmla="*/ 5982729 w 9586368"/>
              <a:gd name="connsiteY2421" fmla="*/ 4804227 h 6479439"/>
              <a:gd name="connsiteX2422" fmla="*/ 5978710 w 9586368"/>
              <a:gd name="connsiteY2422" fmla="*/ 4800188 h 6479439"/>
              <a:gd name="connsiteX2423" fmla="*/ 5978710 w 9586368"/>
              <a:gd name="connsiteY2423" fmla="*/ 4790317 h 6479439"/>
              <a:gd name="connsiteX2424" fmla="*/ 5743412 w 9586368"/>
              <a:gd name="connsiteY2424" fmla="*/ 4786279 h 6479439"/>
              <a:gd name="connsiteX2425" fmla="*/ 5753323 w 9586368"/>
              <a:gd name="connsiteY2425" fmla="*/ 4786279 h 6479439"/>
              <a:gd name="connsiteX2426" fmla="*/ 5757342 w 9586368"/>
              <a:gd name="connsiteY2426" fmla="*/ 4790317 h 6479439"/>
              <a:gd name="connsiteX2427" fmla="*/ 5757342 w 9586368"/>
              <a:gd name="connsiteY2427" fmla="*/ 4800188 h 6479439"/>
              <a:gd name="connsiteX2428" fmla="*/ 5753323 w 9586368"/>
              <a:gd name="connsiteY2428" fmla="*/ 4804227 h 6479439"/>
              <a:gd name="connsiteX2429" fmla="*/ 5743412 w 9586368"/>
              <a:gd name="connsiteY2429" fmla="*/ 4804227 h 6479439"/>
              <a:gd name="connsiteX2430" fmla="*/ 5739393 w 9586368"/>
              <a:gd name="connsiteY2430" fmla="*/ 4800188 h 6479439"/>
              <a:gd name="connsiteX2431" fmla="*/ 5739393 w 9586368"/>
              <a:gd name="connsiteY2431" fmla="*/ 4790317 h 6479439"/>
              <a:gd name="connsiteX2432" fmla="*/ 5504099 w 9586368"/>
              <a:gd name="connsiteY2432" fmla="*/ 4786279 h 6479439"/>
              <a:gd name="connsiteX2433" fmla="*/ 5514010 w 9586368"/>
              <a:gd name="connsiteY2433" fmla="*/ 4786279 h 6479439"/>
              <a:gd name="connsiteX2434" fmla="*/ 5518029 w 9586368"/>
              <a:gd name="connsiteY2434" fmla="*/ 4790317 h 6479439"/>
              <a:gd name="connsiteX2435" fmla="*/ 5518029 w 9586368"/>
              <a:gd name="connsiteY2435" fmla="*/ 4800188 h 6479439"/>
              <a:gd name="connsiteX2436" fmla="*/ 5514010 w 9586368"/>
              <a:gd name="connsiteY2436" fmla="*/ 4804227 h 6479439"/>
              <a:gd name="connsiteX2437" fmla="*/ 5504099 w 9586368"/>
              <a:gd name="connsiteY2437" fmla="*/ 4804227 h 6479439"/>
              <a:gd name="connsiteX2438" fmla="*/ 5500080 w 9586368"/>
              <a:gd name="connsiteY2438" fmla="*/ 4800188 h 6479439"/>
              <a:gd name="connsiteX2439" fmla="*/ 5500080 w 9586368"/>
              <a:gd name="connsiteY2439" fmla="*/ 4790317 h 6479439"/>
              <a:gd name="connsiteX2440" fmla="*/ 5264784 w 9586368"/>
              <a:gd name="connsiteY2440" fmla="*/ 4786279 h 6479439"/>
              <a:gd name="connsiteX2441" fmla="*/ 5274694 w 9586368"/>
              <a:gd name="connsiteY2441" fmla="*/ 4786279 h 6479439"/>
              <a:gd name="connsiteX2442" fmla="*/ 5278713 w 9586368"/>
              <a:gd name="connsiteY2442" fmla="*/ 4790317 h 6479439"/>
              <a:gd name="connsiteX2443" fmla="*/ 5278713 w 9586368"/>
              <a:gd name="connsiteY2443" fmla="*/ 4800188 h 6479439"/>
              <a:gd name="connsiteX2444" fmla="*/ 5274694 w 9586368"/>
              <a:gd name="connsiteY2444" fmla="*/ 4804227 h 6479439"/>
              <a:gd name="connsiteX2445" fmla="*/ 5264784 w 9586368"/>
              <a:gd name="connsiteY2445" fmla="*/ 4804227 h 6479439"/>
              <a:gd name="connsiteX2446" fmla="*/ 5260765 w 9586368"/>
              <a:gd name="connsiteY2446" fmla="*/ 4800188 h 6479439"/>
              <a:gd name="connsiteX2447" fmla="*/ 5260765 w 9586368"/>
              <a:gd name="connsiteY2447" fmla="*/ 4790317 h 6479439"/>
              <a:gd name="connsiteX2448" fmla="*/ 5025470 w 9586368"/>
              <a:gd name="connsiteY2448" fmla="*/ 4786279 h 6479439"/>
              <a:gd name="connsiteX2449" fmla="*/ 5035381 w 9586368"/>
              <a:gd name="connsiteY2449" fmla="*/ 4786279 h 6479439"/>
              <a:gd name="connsiteX2450" fmla="*/ 5039400 w 9586368"/>
              <a:gd name="connsiteY2450" fmla="*/ 4790317 h 6479439"/>
              <a:gd name="connsiteX2451" fmla="*/ 5039400 w 9586368"/>
              <a:gd name="connsiteY2451" fmla="*/ 4800188 h 6479439"/>
              <a:gd name="connsiteX2452" fmla="*/ 5035381 w 9586368"/>
              <a:gd name="connsiteY2452" fmla="*/ 4804227 h 6479439"/>
              <a:gd name="connsiteX2453" fmla="*/ 5025470 w 9586368"/>
              <a:gd name="connsiteY2453" fmla="*/ 4804227 h 6479439"/>
              <a:gd name="connsiteX2454" fmla="*/ 5021451 w 9586368"/>
              <a:gd name="connsiteY2454" fmla="*/ 4800188 h 6479439"/>
              <a:gd name="connsiteX2455" fmla="*/ 5021451 w 9586368"/>
              <a:gd name="connsiteY2455" fmla="*/ 4790317 h 6479439"/>
              <a:gd name="connsiteX2456" fmla="*/ 4786241 w 9586368"/>
              <a:gd name="connsiteY2456" fmla="*/ 4786279 h 6479439"/>
              <a:gd name="connsiteX2457" fmla="*/ 4796152 w 9586368"/>
              <a:gd name="connsiteY2457" fmla="*/ 4786279 h 6479439"/>
              <a:gd name="connsiteX2458" fmla="*/ 4800171 w 9586368"/>
              <a:gd name="connsiteY2458" fmla="*/ 4790317 h 6479439"/>
              <a:gd name="connsiteX2459" fmla="*/ 4800171 w 9586368"/>
              <a:gd name="connsiteY2459" fmla="*/ 4800188 h 6479439"/>
              <a:gd name="connsiteX2460" fmla="*/ 4796152 w 9586368"/>
              <a:gd name="connsiteY2460" fmla="*/ 4804227 h 6479439"/>
              <a:gd name="connsiteX2461" fmla="*/ 4786241 w 9586368"/>
              <a:gd name="connsiteY2461" fmla="*/ 4804227 h 6479439"/>
              <a:gd name="connsiteX2462" fmla="*/ 4782224 w 9586368"/>
              <a:gd name="connsiteY2462" fmla="*/ 4800188 h 6479439"/>
              <a:gd name="connsiteX2463" fmla="*/ 4782224 w 9586368"/>
              <a:gd name="connsiteY2463" fmla="*/ 4790317 h 6479439"/>
              <a:gd name="connsiteX2464" fmla="*/ 4546929 w 9586368"/>
              <a:gd name="connsiteY2464" fmla="*/ 4786279 h 6479439"/>
              <a:gd name="connsiteX2465" fmla="*/ 4556840 w 9586368"/>
              <a:gd name="connsiteY2465" fmla="*/ 4786279 h 6479439"/>
              <a:gd name="connsiteX2466" fmla="*/ 4560859 w 9586368"/>
              <a:gd name="connsiteY2466" fmla="*/ 4790317 h 6479439"/>
              <a:gd name="connsiteX2467" fmla="*/ 4560859 w 9586368"/>
              <a:gd name="connsiteY2467" fmla="*/ 4800188 h 6479439"/>
              <a:gd name="connsiteX2468" fmla="*/ 4556840 w 9586368"/>
              <a:gd name="connsiteY2468" fmla="*/ 4804227 h 6479439"/>
              <a:gd name="connsiteX2469" fmla="*/ 4546929 w 9586368"/>
              <a:gd name="connsiteY2469" fmla="*/ 4804227 h 6479439"/>
              <a:gd name="connsiteX2470" fmla="*/ 4542910 w 9586368"/>
              <a:gd name="connsiteY2470" fmla="*/ 4800188 h 6479439"/>
              <a:gd name="connsiteX2471" fmla="*/ 4542910 w 9586368"/>
              <a:gd name="connsiteY2471" fmla="*/ 4790317 h 6479439"/>
              <a:gd name="connsiteX2472" fmla="*/ 4307612 w 9586368"/>
              <a:gd name="connsiteY2472" fmla="*/ 4786279 h 6479439"/>
              <a:gd name="connsiteX2473" fmla="*/ 4317523 w 9586368"/>
              <a:gd name="connsiteY2473" fmla="*/ 4786279 h 6479439"/>
              <a:gd name="connsiteX2474" fmla="*/ 4321543 w 9586368"/>
              <a:gd name="connsiteY2474" fmla="*/ 4790317 h 6479439"/>
              <a:gd name="connsiteX2475" fmla="*/ 4321543 w 9586368"/>
              <a:gd name="connsiteY2475" fmla="*/ 4800188 h 6479439"/>
              <a:gd name="connsiteX2476" fmla="*/ 4317523 w 9586368"/>
              <a:gd name="connsiteY2476" fmla="*/ 4804227 h 6479439"/>
              <a:gd name="connsiteX2477" fmla="*/ 4307612 w 9586368"/>
              <a:gd name="connsiteY2477" fmla="*/ 4804227 h 6479439"/>
              <a:gd name="connsiteX2478" fmla="*/ 4303595 w 9586368"/>
              <a:gd name="connsiteY2478" fmla="*/ 4800188 h 6479439"/>
              <a:gd name="connsiteX2479" fmla="*/ 4303595 w 9586368"/>
              <a:gd name="connsiteY2479" fmla="*/ 4790317 h 6479439"/>
              <a:gd name="connsiteX2480" fmla="*/ 4068297 w 9586368"/>
              <a:gd name="connsiteY2480" fmla="*/ 4786279 h 6479439"/>
              <a:gd name="connsiteX2481" fmla="*/ 4078210 w 9586368"/>
              <a:gd name="connsiteY2481" fmla="*/ 4786279 h 6479439"/>
              <a:gd name="connsiteX2482" fmla="*/ 4082229 w 9586368"/>
              <a:gd name="connsiteY2482" fmla="*/ 4790317 h 6479439"/>
              <a:gd name="connsiteX2483" fmla="*/ 4082229 w 9586368"/>
              <a:gd name="connsiteY2483" fmla="*/ 4800188 h 6479439"/>
              <a:gd name="connsiteX2484" fmla="*/ 4078210 w 9586368"/>
              <a:gd name="connsiteY2484" fmla="*/ 4804227 h 6479439"/>
              <a:gd name="connsiteX2485" fmla="*/ 4068297 w 9586368"/>
              <a:gd name="connsiteY2485" fmla="*/ 4804227 h 6479439"/>
              <a:gd name="connsiteX2486" fmla="*/ 4064278 w 9586368"/>
              <a:gd name="connsiteY2486" fmla="*/ 4800188 h 6479439"/>
              <a:gd name="connsiteX2487" fmla="*/ 4064278 w 9586368"/>
              <a:gd name="connsiteY2487" fmla="*/ 4790317 h 6479439"/>
              <a:gd name="connsiteX2488" fmla="*/ 3828990 w 9586368"/>
              <a:gd name="connsiteY2488" fmla="*/ 4786279 h 6479439"/>
              <a:gd name="connsiteX2489" fmla="*/ 3838899 w 9586368"/>
              <a:gd name="connsiteY2489" fmla="*/ 4786279 h 6479439"/>
              <a:gd name="connsiteX2490" fmla="*/ 3842917 w 9586368"/>
              <a:gd name="connsiteY2490" fmla="*/ 4790317 h 6479439"/>
              <a:gd name="connsiteX2491" fmla="*/ 3842917 w 9586368"/>
              <a:gd name="connsiteY2491" fmla="*/ 4800188 h 6479439"/>
              <a:gd name="connsiteX2492" fmla="*/ 3838899 w 9586368"/>
              <a:gd name="connsiteY2492" fmla="*/ 4804227 h 6479439"/>
              <a:gd name="connsiteX2493" fmla="*/ 3828990 w 9586368"/>
              <a:gd name="connsiteY2493" fmla="*/ 4804227 h 6479439"/>
              <a:gd name="connsiteX2494" fmla="*/ 3824971 w 9586368"/>
              <a:gd name="connsiteY2494" fmla="*/ 4800188 h 6479439"/>
              <a:gd name="connsiteX2495" fmla="*/ 3824971 w 9586368"/>
              <a:gd name="connsiteY2495" fmla="*/ 4790317 h 6479439"/>
              <a:gd name="connsiteX2496" fmla="*/ 3589676 w 9586368"/>
              <a:gd name="connsiteY2496" fmla="*/ 4786279 h 6479439"/>
              <a:gd name="connsiteX2497" fmla="*/ 3599585 w 9586368"/>
              <a:gd name="connsiteY2497" fmla="*/ 4786279 h 6479439"/>
              <a:gd name="connsiteX2498" fmla="*/ 3603604 w 9586368"/>
              <a:gd name="connsiteY2498" fmla="*/ 4790317 h 6479439"/>
              <a:gd name="connsiteX2499" fmla="*/ 3603604 w 9586368"/>
              <a:gd name="connsiteY2499" fmla="*/ 4800188 h 6479439"/>
              <a:gd name="connsiteX2500" fmla="*/ 3599585 w 9586368"/>
              <a:gd name="connsiteY2500" fmla="*/ 4804227 h 6479439"/>
              <a:gd name="connsiteX2501" fmla="*/ 3589676 w 9586368"/>
              <a:gd name="connsiteY2501" fmla="*/ 4804227 h 6479439"/>
              <a:gd name="connsiteX2502" fmla="*/ 3585657 w 9586368"/>
              <a:gd name="connsiteY2502" fmla="*/ 4800188 h 6479439"/>
              <a:gd name="connsiteX2503" fmla="*/ 3585657 w 9586368"/>
              <a:gd name="connsiteY2503" fmla="*/ 4790317 h 6479439"/>
              <a:gd name="connsiteX2504" fmla="*/ 3350359 w 9586368"/>
              <a:gd name="connsiteY2504" fmla="*/ 4786279 h 6479439"/>
              <a:gd name="connsiteX2505" fmla="*/ 3360268 w 9586368"/>
              <a:gd name="connsiteY2505" fmla="*/ 4786279 h 6479439"/>
              <a:gd name="connsiteX2506" fmla="*/ 3364287 w 9586368"/>
              <a:gd name="connsiteY2506" fmla="*/ 4790317 h 6479439"/>
              <a:gd name="connsiteX2507" fmla="*/ 3364287 w 9586368"/>
              <a:gd name="connsiteY2507" fmla="*/ 4800188 h 6479439"/>
              <a:gd name="connsiteX2508" fmla="*/ 3360268 w 9586368"/>
              <a:gd name="connsiteY2508" fmla="*/ 4804227 h 6479439"/>
              <a:gd name="connsiteX2509" fmla="*/ 3350359 w 9586368"/>
              <a:gd name="connsiteY2509" fmla="*/ 4804227 h 6479439"/>
              <a:gd name="connsiteX2510" fmla="*/ 3346340 w 9586368"/>
              <a:gd name="connsiteY2510" fmla="*/ 4800188 h 6479439"/>
              <a:gd name="connsiteX2511" fmla="*/ 3346340 w 9586368"/>
              <a:gd name="connsiteY2511" fmla="*/ 4790317 h 6479439"/>
              <a:gd name="connsiteX2512" fmla="*/ 3111048 w 9586368"/>
              <a:gd name="connsiteY2512" fmla="*/ 4786279 h 6479439"/>
              <a:gd name="connsiteX2513" fmla="*/ 3120959 w 9586368"/>
              <a:gd name="connsiteY2513" fmla="*/ 4786279 h 6479439"/>
              <a:gd name="connsiteX2514" fmla="*/ 3124977 w 9586368"/>
              <a:gd name="connsiteY2514" fmla="*/ 4790317 h 6479439"/>
              <a:gd name="connsiteX2515" fmla="*/ 3124977 w 9586368"/>
              <a:gd name="connsiteY2515" fmla="*/ 4800188 h 6479439"/>
              <a:gd name="connsiteX2516" fmla="*/ 3120959 w 9586368"/>
              <a:gd name="connsiteY2516" fmla="*/ 4804227 h 6479439"/>
              <a:gd name="connsiteX2517" fmla="*/ 3111048 w 9586368"/>
              <a:gd name="connsiteY2517" fmla="*/ 4804227 h 6479439"/>
              <a:gd name="connsiteX2518" fmla="*/ 3107029 w 9586368"/>
              <a:gd name="connsiteY2518" fmla="*/ 4800188 h 6479439"/>
              <a:gd name="connsiteX2519" fmla="*/ 3107029 w 9586368"/>
              <a:gd name="connsiteY2519" fmla="*/ 4790317 h 6479439"/>
              <a:gd name="connsiteX2520" fmla="*/ 2871737 w 9586368"/>
              <a:gd name="connsiteY2520" fmla="*/ 4786279 h 6479439"/>
              <a:gd name="connsiteX2521" fmla="*/ 2881646 w 9586368"/>
              <a:gd name="connsiteY2521" fmla="*/ 4786279 h 6479439"/>
              <a:gd name="connsiteX2522" fmla="*/ 2885666 w 9586368"/>
              <a:gd name="connsiteY2522" fmla="*/ 4790317 h 6479439"/>
              <a:gd name="connsiteX2523" fmla="*/ 2885666 w 9586368"/>
              <a:gd name="connsiteY2523" fmla="*/ 4800188 h 6479439"/>
              <a:gd name="connsiteX2524" fmla="*/ 2881646 w 9586368"/>
              <a:gd name="connsiteY2524" fmla="*/ 4804227 h 6479439"/>
              <a:gd name="connsiteX2525" fmla="*/ 2871737 w 9586368"/>
              <a:gd name="connsiteY2525" fmla="*/ 4804227 h 6479439"/>
              <a:gd name="connsiteX2526" fmla="*/ 2867717 w 9586368"/>
              <a:gd name="connsiteY2526" fmla="*/ 4800188 h 6479439"/>
              <a:gd name="connsiteX2527" fmla="*/ 2867717 w 9586368"/>
              <a:gd name="connsiteY2527" fmla="*/ 4790317 h 6479439"/>
              <a:gd name="connsiteX2528" fmla="*/ 2632423 w 9586368"/>
              <a:gd name="connsiteY2528" fmla="*/ 4786279 h 6479439"/>
              <a:gd name="connsiteX2529" fmla="*/ 2642334 w 9586368"/>
              <a:gd name="connsiteY2529" fmla="*/ 4786279 h 6479439"/>
              <a:gd name="connsiteX2530" fmla="*/ 2646352 w 9586368"/>
              <a:gd name="connsiteY2530" fmla="*/ 4790317 h 6479439"/>
              <a:gd name="connsiteX2531" fmla="*/ 2646352 w 9586368"/>
              <a:gd name="connsiteY2531" fmla="*/ 4800188 h 6479439"/>
              <a:gd name="connsiteX2532" fmla="*/ 2642334 w 9586368"/>
              <a:gd name="connsiteY2532" fmla="*/ 4804227 h 6479439"/>
              <a:gd name="connsiteX2533" fmla="*/ 2632423 w 9586368"/>
              <a:gd name="connsiteY2533" fmla="*/ 4804227 h 6479439"/>
              <a:gd name="connsiteX2534" fmla="*/ 2628404 w 9586368"/>
              <a:gd name="connsiteY2534" fmla="*/ 4800188 h 6479439"/>
              <a:gd name="connsiteX2535" fmla="*/ 2628404 w 9586368"/>
              <a:gd name="connsiteY2535" fmla="*/ 4790317 h 6479439"/>
              <a:gd name="connsiteX2536" fmla="*/ 2393104 w 9586368"/>
              <a:gd name="connsiteY2536" fmla="*/ 4786279 h 6479439"/>
              <a:gd name="connsiteX2537" fmla="*/ 2403015 w 9586368"/>
              <a:gd name="connsiteY2537" fmla="*/ 4786279 h 6479439"/>
              <a:gd name="connsiteX2538" fmla="*/ 2407034 w 9586368"/>
              <a:gd name="connsiteY2538" fmla="*/ 4790317 h 6479439"/>
              <a:gd name="connsiteX2539" fmla="*/ 2407034 w 9586368"/>
              <a:gd name="connsiteY2539" fmla="*/ 4800188 h 6479439"/>
              <a:gd name="connsiteX2540" fmla="*/ 2403015 w 9586368"/>
              <a:gd name="connsiteY2540" fmla="*/ 4804227 h 6479439"/>
              <a:gd name="connsiteX2541" fmla="*/ 2393104 w 9586368"/>
              <a:gd name="connsiteY2541" fmla="*/ 4804227 h 6479439"/>
              <a:gd name="connsiteX2542" fmla="*/ 2389087 w 9586368"/>
              <a:gd name="connsiteY2542" fmla="*/ 4800188 h 6479439"/>
              <a:gd name="connsiteX2543" fmla="*/ 2389087 w 9586368"/>
              <a:gd name="connsiteY2543" fmla="*/ 4790317 h 6479439"/>
              <a:gd name="connsiteX2544" fmla="*/ 2157819 w 9586368"/>
              <a:gd name="connsiteY2544" fmla="*/ 4786279 h 6479439"/>
              <a:gd name="connsiteX2545" fmla="*/ 2167729 w 9586368"/>
              <a:gd name="connsiteY2545" fmla="*/ 4786279 h 6479439"/>
              <a:gd name="connsiteX2546" fmla="*/ 2171748 w 9586368"/>
              <a:gd name="connsiteY2546" fmla="*/ 4790317 h 6479439"/>
              <a:gd name="connsiteX2547" fmla="*/ 2171748 w 9586368"/>
              <a:gd name="connsiteY2547" fmla="*/ 4800188 h 6479439"/>
              <a:gd name="connsiteX2548" fmla="*/ 2167729 w 9586368"/>
              <a:gd name="connsiteY2548" fmla="*/ 4804227 h 6479439"/>
              <a:gd name="connsiteX2549" fmla="*/ 2157819 w 9586368"/>
              <a:gd name="connsiteY2549" fmla="*/ 4804227 h 6479439"/>
              <a:gd name="connsiteX2550" fmla="*/ 2153800 w 9586368"/>
              <a:gd name="connsiteY2550" fmla="*/ 4800188 h 6479439"/>
              <a:gd name="connsiteX2551" fmla="*/ 2153800 w 9586368"/>
              <a:gd name="connsiteY2551" fmla="*/ 4790317 h 6479439"/>
              <a:gd name="connsiteX2552" fmla="*/ 1918510 w 9586368"/>
              <a:gd name="connsiteY2552" fmla="*/ 4786279 h 6479439"/>
              <a:gd name="connsiteX2553" fmla="*/ 1928420 w 9586368"/>
              <a:gd name="connsiteY2553" fmla="*/ 4786279 h 6479439"/>
              <a:gd name="connsiteX2554" fmla="*/ 1932440 w 9586368"/>
              <a:gd name="connsiteY2554" fmla="*/ 4790317 h 6479439"/>
              <a:gd name="connsiteX2555" fmla="*/ 1932440 w 9586368"/>
              <a:gd name="connsiteY2555" fmla="*/ 4800188 h 6479439"/>
              <a:gd name="connsiteX2556" fmla="*/ 1928420 w 9586368"/>
              <a:gd name="connsiteY2556" fmla="*/ 4804227 h 6479439"/>
              <a:gd name="connsiteX2557" fmla="*/ 1918510 w 9586368"/>
              <a:gd name="connsiteY2557" fmla="*/ 4804227 h 6479439"/>
              <a:gd name="connsiteX2558" fmla="*/ 1914492 w 9586368"/>
              <a:gd name="connsiteY2558" fmla="*/ 4800188 h 6479439"/>
              <a:gd name="connsiteX2559" fmla="*/ 1914492 w 9586368"/>
              <a:gd name="connsiteY2559" fmla="*/ 4790317 h 6479439"/>
              <a:gd name="connsiteX2560" fmla="*/ 1679205 w 9586368"/>
              <a:gd name="connsiteY2560" fmla="*/ 4786279 h 6479439"/>
              <a:gd name="connsiteX2561" fmla="*/ 1689115 w 9586368"/>
              <a:gd name="connsiteY2561" fmla="*/ 4786279 h 6479439"/>
              <a:gd name="connsiteX2562" fmla="*/ 1693134 w 9586368"/>
              <a:gd name="connsiteY2562" fmla="*/ 4790317 h 6479439"/>
              <a:gd name="connsiteX2563" fmla="*/ 1693134 w 9586368"/>
              <a:gd name="connsiteY2563" fmla="*/ 4800188 h 6479439"/>
              <a:gd name="connsiteX2564" fmla="*/ 1689115 w 9586368"/>
              <a:gd name="connsiteY2564" fmla="*/ 4804227 h 6479439"/>
              <a:gd name="connsiteX2565" fmla="*/ 1679205 w 9586368"/>
              <a:gd name="connsiteY2565" fmla="*/ 4804227 h 6479439"/>
              <a:gd name="connsiteX2566" fmla="*/ 1675187 w 9586368"/>
              <a:gd name="connsiteY2566" fmla="*/ 4800188 h 6479439"/>
              <a:gd name="connsiteX2567" fmla="*/ 1675187 w 9586368"/>
              <a:gd name="connsiteY2567" fmla="*/ 4790317 h 6479439"/>
              <a:gd name="connsiteX2568" fmla="*/ 1439890 w 9586368"/>
              <a:gd name="connsiteY2568" fmla="*/ 4786279 h 6479439"/>
              <a:gd name="connsiteX2569" fmla="*/ 1449800 w 9586368"/>
              <a:gd name="connsiteY2569" fmla="*/ 4786279 h 6479439"/>
              <a:gd name="connsiteX2570" fmla="*/ 1453818 w 9586368"/>
              <a:gd name="connsiteY2570" fmla="*/ 4790317 h 6479439"/>
              <a:gd name="connsiteX2571" fmla="*/ 1453818 w 9586368"/>
              <a:gd name="connsiteY2571" fmla="*/ 4800188 h 6479439"/>
              <a:gd name="connsiteX2572" fmla="*/ 1449800 w 9586368"/>
              <a:gd name="connsiteY2572" fmla="*/ 4804227 h 6479439"/>
              <a:gd name="connsiteX2573" fmla="*/ 1439890 w 9586368"/>
              <a:gd name="connsiteY2573" fmla="*/ 4804227 h 6479439"/>
              <a:gd name="connsiteX2574" fmla="*/ 1435870 w 9586368"/>
              <a:gd name="connsiteY2574" fmla="*/ 4800188 h 6479439"/>
              <a:gd name="connsiteX2575" fmla="*/ 1435870 w 9586368"/>
              <a:gd name="connsiteY2575" fmla="*/ 4790317 h 6479439"/>
              <a:gd name="connsiteX2576" fmla="*/ 1200574 w 9586368"/>
              <a:gd name="connsiteY2576" fmla="*/ 4786279 h 6479439"/>
              <a:gd name="connsiteX2577" fmla="*/ 1210484 w 9586368"/>
              <a:gd name="connsiteY2577" fmla="*/ 4786279 h 6479439"/>
              <a:gd name="connsiteX2578" fmla="*/ 1214503 w 9586368"/>
              <a:gd name="connsiteY2578" fmla="*/ 4790317 h 6479439"/>
              <a:gd name="connsiteX2579" fmla="*/ 1214503 w 9586368"/>
              <a:gd name="connsiteY2579" fmla="*/ 4800188 h 6479439"/>
              <a:gd name="connsiteX2580" fmla="*/ 1210484 w 9586368"/>
              <a:gd name="connsiteY2580" fmla="*/ 4804227 h 6479439"/>
              <a:gd name="connsiteX2581" fmla="*/ 1200574 w 9586368"/>
              <a:gd name="connsiteY2581" fmla="*/ 4804227 h 6479439"/>
              <a:gd name="connsiteX2582" fmla="*/ 1196555 w 9586368"/>
              <a:gd name="connsiteY2582" fmla="*/ 4800188 h 6479439"/>
              <a:gd name="connsiteX2583" fmla="*/ 1196555 w 9586368"/>
              <a:gd name="connsiteY2583" fmla="*/ 4790317 h 6479439"/>
              <a:gd name="connsiteX2584" fmla="*/ 961262 w 9586368"/>
              <a:gd name="connsiteY2584" fmla="*/ 4786279 h 6479439"/>
              <a:gd name="connsiteX2585" fmla="*/ 971172 w 9586368"/>
              <a:gd name="connsiteY2585" fmla="*/ 4786279 h 6479439"/>
              <a:gd name="connsiteX2586" fmla="*/ 975190 w 9586368"/>
              <a:gd name="connsiteY2586" fmla="*/ 4790317 h 6479439"/>
              <a:gd name="connsiteX2587" fmla="*/ 975190 w 9586368"/>
              <a:gd name="connsiteY2587" fmla="*/ 4800188 h 6479439"/>
              <a:gd name="connsiteX2588" fmla="*/ 971172 w 9586368"/>
              <a:gd name="connsiteY2588" fmla="*/ 4804227 h 6479439"/>
              <a:gd name="connsiteX2589" fmla="*/ 961262 w 9586368"/>
              <a:gd name="connsiteY2589" fmla="*/ 4804227 h 6479439"/>
              <a:gd name="connsiteX2590" fmla="*/ 957242 w 9586368"/>
              <a:gd name="connsiteY2590" fmla="*/ 4800188 h 6479439"/>
              <a:gd name="connsiteX2591" fmla="*/ 957242 w 9586368"/>
              <a:gd name="connsiteY2591" fmla="*/ 4790317 h 6479439"/>
              <a:gd name="connsiteX2592" fmla="*/ 721963 w 9586368"/>
              <a:gd name="connsiteY2592" fmla="*/ 4786279 h 6479439"/>
              <a:gd name="connsiteX2593" fmla="*/ 731873 w 9586368"/>
              <a:gd name="connsiteY2593" fmla="*/ 4786279 h 6479439"/>
              <a:gd name="connsiteX2594" fmla="*/ 735892 w 9586368"/>
              <a:gd name="connsiteY2594" fmla="*/ 4790317 h 6479439"/>
              <a:gd name="connsiteX2595" fmla="*/ 735892 w 9586368"/>
              <a:gd name="connsiteY2595" fmla="*/ 4800188 h 6479439"/>
              <a:gd name="connsiteX2596" fmla="*/ 731873 w 9586368"/>
              <a:gd name="connsiteY2596" fmla="*/ 4804227 h 6479439"/>
              <a:gd name="connsiteX2597" fmla="*/ 721963 w 9586368"/>
              <a:gd name="connsiteY2597" fmla="*/ 4804227 h 6479439"/>
              <a:gd name="connsiteX2598" fmla="*/ 717944 w 9586368"/>
              <a:gd name="connsiteY2598" fmla="*/ 4800188 h 6479439"/>
              <a:gd name="connsiteX2599" fmla="*/ 717944 w 9586368"/>
              <a:gd name="connsiteY2599" fmla="*/ 4790317 h 6479439"/>
              <a:gd name="connsiteX2600" fmla="*/ 482651 w 9586368"/>
              <a:gd name="connsiteY2600" fmla="*/ 4786279 h 6479439"/>
              <a:gd name="connsiteX2601" fmla="*/ 492561 w 9586368"/>
              <a:gd name="connsiteY2601" fmla="*/ 4786279 h 6479439"/>
              <a:gd name="connsiteX2602" fmla="*/ 496580 w 9586368"/>
              <a:gd name="connsiteY2602" fmla="*/ 4790317 h 6479439"/>
              <a:gd name="connsiteX2603" fmla="*/ 496580 w 9586368"/>
              <a:gd name="connsiteY2603" fmla="*/ 4800188 h 6479439"/>
              <a:gd name="connsiteX2604" fmla="*/ 492561 w 9586368"/>
              <a:gd name="connsiteY2604" fmla="*/ 4804227 h 6479439"/>
              <a:gd name="connsiteX2605" fmla="*/ 482651 w 9586368"/>
              <a:gd name="connsiteY2605" fmla="*/ 4804227 h 6479439"/>
              <a:gd name="connsiteX2606" fmla="*/ 478632 w 9586368"/>
              <a:gd name="connsiteY2606" fmla="*/ 4800188 h 6479439"/>
              <a:gd name="connsiteX2607" fmla="*/ 478632 w 9586368"/>
              <a:gd name="connsiteY2607" fmla="*/ 4790317 h 6479439"/>
              <a:gd name="connsiteX2608" fmla="*/ 243338 w 9586368"/>
              <a:gd name="connsiteY2608" fmla="*/ 4786279 h 6479439"/>
              <a:gd name="connsiteX2609" fmla="*/ 253247 w 9586368"/>
              <a:gd name="connsiteY2609" fmla="*/ 4786279 h 6479439"/>
              <a:gd name="connsiteX2610" fmla="*/ 257266 w 9586368"/>
              <a:gd name="connsiteY2610" fmla="*/ 4790317 h 6479439"/>
              <a:gd name="connsiteX2611" fmla="*/ 257266 w 9586368"/>
              <a:gd name="connsiteY2611" fmla="*/ 4800188 h 6479439"/>
              <a:gd name="connsiteX2612" fmla="*/ 253247 w 9586368"/>
              <a:gd name="connsiteY2612" fmla="*/ 4804227 h 6479439"/>
              <a:gd name="connsiteX2613" fmla="*/ 243338 w 9586368"/>
              <a:gd name="connsiteY2613" fmla="*/ 4804227 h 6479439"/>
              <a:gd name="connsiteX2614" fmla="*/ 239318 w 9586368"/>
              <a:gd name="connsiteY2614" fmla="*/ 4800188 h 6479439"/>
              <a:gd name="connsiteX2615" fmla="*/ 239318 w 9586368"/>
              <a:gd name="connsiteY2615" fmla="*/ 4790317 h 6479439"/>
              <a:gd name="connsiteX2616" fmla="*/ 4024 w 9586368"/>
              <a:gd name="connsiteY2616" fmla="*/ 4786279 h 6479439"/>
              <a:gd name="connsiteX2617" fmla="*/ 13934 w 9586368"/>
              <a:gd name="connsiteY2617" fmla="*/ 4786279 h 6479439"/>
              <a:gd name="connsiteX2618" fmla="*/ 17954 w 9586368"/>
              <a:gd name="connsiteY2618" fmla="*/ 4790317 h 6479439"/>
              <a:gd name="connsiteX2619" fmla="*/ 17954 w 9586368"/>
              <a:gd name="connsiteY2619" fmla="*/ 4800188 h 6479439"/>
              <a:gd name="connsiteX2620" fmla="*/ 13934 w 9586368"/>
              <a:gd name="connsiteY2620" fmla="*/ 4804227 h 6479439"/>
              <a:gd name="connsiteX2621" fmla="*/ 4024 w 9586368"/>
              <a:gd name="connsiteY2621" fmla="*/ 4804227 h 6479439"/>
              <a:gd name="connsiteX2622" fmla="*/ 5 w 9586368"/>
              <a:gd name="connsiteY2622" fmla="*/ 4800188 h 6479439"/>
              <a:gd name="connsiteX2623" fmla="*/ 5 w 9586368"/>
              <a:gd name="connsiteY2623" fmla="*/ 4790317 h 6479439"/>
              <a:gd name="connsiteX2624" fmla="*/ 2157819 w 9586368"/>
              <a:gd name="connsiteY2624" fmla="*/ 4546999 h 6479439"/>
              <a:gd name="connsiteX2625" fmla="*/ 2167729 w 9586368"/>
              <a:gd name="connsiteY2625" fmla="*/ 4546999 h 6479439"/>
              <a:gd name="connsiteX2626" fmla="*/ 2171748 w 9586368"/>
              <a:gd name="connsiteY2626" fmla="*/ 4551038 h 6479439"/>
              <a:gd name="connsiteX2627" fmla="*/ 2171748 w 9586368"/>
              <a:gd name="connsiteY2627" fmla="*/ 4560909 h 6479439"/>
              <a:gd name="connsiteX2628" fmla="*/ 2167729 w 9586368"/>
              <a:gd name="connsiteY2628" fmla="*/ 4564948 h 6479439"/>
              <a:gd name="connsiteX2629" fmla="*/ 2157819 w 9586368"/>
              <a:gd name="connsiteY2629" fmla="*/ 4564948 h 6479439"/>
              <a:gd name="connsiteX2630" fmla="*/ 2153801 w 9586368"/>
              <a:gd name="connsiteY2630" fmla="*/ 4560909 h 6479439"/>
              <a:gd name="connsiteX2631" fmla="*/ 2153801 w 9586368"/>
              <a:gd name="connsiteY2631" fmla="*/ 4551038 h 6479439"/>
              <a:gd name="connsiteX2632" fmla="*/ 1918510 w 9586368"/>
              <a:gd name="connsiteY2632" fmla="*/ 4546999 h 6479439"/>
              <a:gd name="connsiteX2633" fmla="*/ 1928421 w 9586368"/>
              <a:gd name="connsiteY2633" fmla="*/ 4546999 h 6479439"/>
              <a:gd name="connsiteX2634" fmla="*/ 1932440 w 9586368"/>
              <a:gd name="connsiteY2634" fmla="*/ 4551038 h 6479439"/>
              <a:gd name="connsiteX2635" fmla="*/ 1932440 w 9586368"/>
              <a:gd name="connsiteY2635" fmla="*/ 4560909 h 6479439"/>
              <a:gd name="connsiteX2636" fmla="*/ 1928421 w 9586368"/>
              <a:gd name="connsiteY2636" fmla="*/ 4564948 h 6479439"/>
              <a:gd name="connsiteX2637" fmla="*/ 1918510 w 9586368"/>
              <a:gd name="connsiteY2637" fmla="*/ 4564948 h 6479439"/>
              <a:gd name="connsiteX2638" fmla="*/ 1914492 w 9586368"/>
              <a:gd name="connsiteY2638" fmla="*/ 4560909 h 6479439"/>
              <a:gd name="connsiteX2639" fmla="*/ 1914492 w 9586368"/>
              <a:gd name="connsiteY2639" fmla="*/ 4551038 h 6479439"/>
              <a:gd name="connsiteX2640" fmla="*/ 1679206 w 9586368"/>
              <a:gd name="connsiteY2640" fmla="*/ 4546999 h 6479439"/>
              <a:gd name="connsiteX2641" fmla="*/ 1689116 w 9586368"/>
              <a:gd name="connsiteY2641" fmla="*/ 4546999 h 6479439"/>
              <a:gd name="connsiteX2642" fmla="*/ 1693134 w 9586368"/>
              <a:gd name="connsiteY2642" fmla="*/ 4551038 h 6479439"/>
              <a:gd name="connsiteX2643" fmla="*/ 1693134 w 9586368"/>
              <a:gd name="connsiteY2643" fmla="*/ 4560909 h 6479439"/>
              <a:gd name="connsiteX2644" fmla="*/ 1689116 w 9586368"/>
              <a:gd name="connsiteY2644" fmla="*/ 4564948 h 6479439"/>
              <a:gd name="connsiteX2645" fmla="*/ 1679206 w 9586368"/>
              <a:gd name="connsiteY2645" fmla="*/ 4564948 h 6479439"/>
              <a:gd name="connsiteX2646" fmla="*/ 1675187 w 9586368"/>
              <a:gd name="connsiteY2646" fmla="*/ 4560909 h 6479439"/>
              <a:gd name="connsiteX2647" fmla="*/ 1675187 w 9586368"/>
              <a:gd name="connsiteY2647" fmla="*/ 4551038 h 6479439"/>
              <a:gd name="connsiteX2648" fmla="*/ 1439890 w 9586368"/>
              <a:gd name="connsiteY2648" fmla="*/ 4546999 h 6479439"/>
              <a:gd name="connsiteX2649" fmla="*/ 1449800 w 9586368"/>
              <a:gd name="connsiteY2649" fmla="*/ 4546999 h 6479439"/>
              <a:gd name="connsiteX2650" fmla="*/ 1453819 w 9586368"/>
              <a:gd name="connsiteY2650" fmla="*/ 4551038 h 6479439"/>
              <a:gd name="connsiteX2651" fmla="*/ 1453819 w 9586368"/>
              <a:gd name="connsiteY2651" fmla="*/ 4560909 h 6479439"/>
              <a:gd name="connsiteX2652" fmla="*/ 1449800 w 9586368"/>
              <a:gd name="connsiteY2652" fmla="*/ 4564948 h 6479439"/>
              <a:gd name="connsiteX2653" fmla="*/ 1439890 w 9586368"/>
              <a:gd name="connsiteY2653" fmla="*/ 4564948 h 6479439"/>
              <a:gd name="connsiteX2654" fmla="*/ 1435871 w 9586368"/>
              <a:gd name="connsiteY2654" fmla="*/ 4560909 h 6479439"/>
              <a:gd name="connsiteX2655" fmla="*/ 1435871 w 9586368"/>
              <a:gd name="connsiteY2655" fmla="*/ 4551038 h 6479439"/>
              <a:gd name="connsiteX2656" fmla="*/ 1200575 w 9586368"/>
              <a:gd name="connsiteY2656" fmla="*/ 4546999 h 6479439"/>
              <a:gd name="connsiteX2657" fmla="*/ 1210485 w 9586368"/>
              <a:gd name="connsiteY2657" fmla="*/ 4546999 h 6479439"/>
              <a:gd name="connsiteX2658" fmla="*/ 1214504 w 9586368"/>
              <a:gd name="connsiteY2658" fmla="*/ 4551038 h 6479439"/>
              <a:gd name="connsiteX2659" fmla="*/ 1214504 w 9586368"/>
              <a:gd name="connsiteY2659" fmla="*/ 4560909 h 6479439"/>
              <a:gd name="connsiteX2660" fmla="*/ 1210485 w 9586368"/>
              <a:gd name="connsiteY2660" fmla="*/ 4564948 h 6479439"/>
              <a:gd name="connsiteX2661" fmla="*/ 1200575 w 9586368"/>
              <a:gd name="connsiteY2661" fmla="*/ 4564948 h 6479439"/>
              <a:gd name="connsiteX2662" fmla="*/ 1196556 w 9586368"/>
              <a:gd name="connsiteY2662" fmla="*/ 4560909 h 6479439"/>
              <a:gd name="connsiteX2663" fmla="*/ 1196556 w 9586368"/>
              <a:gd name="connsiteY2663" fmla="*/ 4551038 h 6479439"/>
              <a:gd name="connsiteX2664" fmla="*/ 961262 w 9586368"/>
              <a:gd name="connsiteY2664" fmla="*/ 4546999 h 6479439"/>
              <a:gd name="connsiteX2665" fmla="*/ 971172 w 9586368"/>
              <a:gd name="connsiteY2665" fmla="*/ 4546999 h 6479439"/>
              <a:gd name="connsiteX2666" fmla="*/ 975191 w 9586368"/>
              <a:gd name="connsiteY2666" fmla="*/ 4551038 h 6479439"/>
              <a:gd name="connsiteX2667" fmla="*/ 975191 w 9586368"/>
              <a:gd name="connsiteY2667" fmla="*/ 4560909 h 6479439"/>
              <a:gd name="connsiteX2668" fmla="*/ 971172 w 9586368"/>
              <a:gd name="connsiteY2668" fmla="*/ 4564948 h 6479439"/>
              <a:gd name="connsiteX2669" fmla="*/ 961262 w 9586368"/>
              <a:gd name="connsiteY2669" fmla="*/ 4564948 h 6479439"/>
              <a:gd name="connsiteX2670" fmla="*/ 957243 w 9586368"/>
              <a:gd name="connsiteY2670" fmla="*/ 4560909 h 6479439"/>
              <a:gd name="connsiteX2671" fmla="*/ 957243 w 9586368"/>
              <a:gd name="connsiteY2671" fmla="*/ 4551038 h 6479439"/>
              <a:gd name="connsiteX2672" fmla="*/ 9572438 w 9586368"/>
              <a:gd name="connsiteY2672" fmla="*/ 4546948 h 6479439"/>
              <a:gd name="connsiteX2673" fmla="*/ 9582349 w 9586368"/>
              <a:gd name="connsiteY2673" fmla="*/ 4546948 h 6479439"/>
              <a:gd name="connsiteX2674" fmla="*/ 9586368 w 9586368"/>
              <a:gd name="connsiteY2674" fmla="*/ 4550987 h 6479439"/>
              <a:gd name="connsiteX2675" fmla="*/ 9586368 w 9586368"/>
              <a:gd name="connsiteY2675" fmla="*/ 4560858 h 6479439"/>
              <a:gd name="connsiteX2676" fmla="*/ 9582349 w 9586368"/>
              <a:gd name="connsiteY2676" fmla="*/ 4564897 h 6479439"/>
              <a:gd name="connsiteX2677" fmla="*/ 9572438 w 9586368"/>
              <a:gd name="connsiteY2677" fmla="*/ 4564897 h 6479439"/>
              <a:gd name="connsiteX2678" fmla="*/ 9568419 w 9586368"/>
              <a:gd name="connsiteY2678" fmla="*/ 4560858 h 6479439"/>
              <a:gd name="connsiteX2679" fmla="*/ 9568419 w 9586368"/>
              <a:gd name="connsiteY2679" fmla="*/ 4550987 h 6479439"/>
              <a:gd name="connsiteX2680" fmla="*/ 9333125 w 9586368"/>
              <a:gd name="connsiteY2680" fmla="*/ 4546948 h 6479439"/>
              <a:gd name="connsiteX2681" fmla="*/ 9343036 w 9586368"/>
              <a:gd name="connsiteY2681" fmla="*/ 4546948 h 6479439"/>
              <a:gd name="connsiteX2682" fmla="*/ 9347055 w 9586368"/>
              <a:gd name="connsiteY2682" fmla="*/ 4550987 h 6479439"/>
              <a:gd name="connsiteX2683" fmla="*/ 9347055 w 9586368"/>
              <a:gd name="connsiteY2683" fmla="*/ 4560858 h 6479439"/>
              <a:gd name="connsiteX2684" fmla="*/ 9343036 w 9586368"/>
              <a:gd name="connsiteY2684" fmla="*/ 4564897 h 6479439"/>
              <a:gd name="connsiteX2685" fmla="*/ 9333125 w 9586368"/>
              <a:gd name="connsiteY2685" fmla="*/ 4564897 h 6479439"/>
              <a:gd name="connsiteX2686" fmla="*/ 9329106 w 9586368"/>
              <a:gd name="connsiteY2686" fmla="*/ 4560858 h 6479439"/>
              <a:gd name="connsiteX2687" fmla="*/ 9329106 w 9586368"/>
              <a:gd name="connsiteY2687" fmla="*/ 4550987 h 6479439"/>
              <a:gd name="connsiteX2688" fmla="*/ 9093811 w 9586368"/>
              <a:gd name="connsiteY2688" fmla="*/ 4546948 h 6479439"/>
              <a:gd name="connsiteX2689" fmla="*/ 9103722 w 9586368"/>
              <a:gd name="connsiteY2689" fmla="*/ 4546948 h 6479439"/>
              <a:gd name="connsiteX2690" fmla="*/ 9107741 w 9586368"/>
              <a:gd name="connsiteY2690" fmla="*/ 4550987 h 6479439"/>
              <a:gd name="connsiteX2691" fmla="*/ 9107741 w 9586368"/>
              <a:gd name="connsiteY2691" fmla="*/ 4560858 h 6479439"/>
              <a:gd name="connsiteX2692" fmla="*/ 9103722 w 9586368"/>
              <a:gd name="connsiteY2692" fmla="*/ 4564897 h 6479439"/>
              <a:gd name="connsiteX2693" fmla="*/ 9093811 w 9586368"/>
              <a:gd name="connsiteY2693" fmla="*/ 4564897 h 6479439"/>
              <a:gd name="connsiteX2694" fmla="*/ 9089792 w 9586368"/>
              <a:gd name="connsiteY2694" fmla="*/ 4560858 h 6479439"/>
              <a:gd name="connsiteX2695" fmla="*/ 9089792 w 9586368"/>
              <a:gd name="connsiteY2695" fmla="*/ 4550987 h 6479439"/>
              <a:gd name="connsiteX2696" fmla="*/ 8854496 w 9586368"/>
              <a:gd name="connsiteY2696" fmla="*/ 4546948 h 6479439"/>
              <a:gd name="connsiteX2697" fmla="*/ 8864407 w 9586368"/>
              <a:gd name="connsiteY2697" fmla="*/ 4546948 h 6479439"/>
              <a:gd name="connsiteX2698" fmla="*/ 8868426 w 9586368"/>
              <a:gd name="connsiteY2698" fmla="*/ 4550987 h 6479439"/>
              <a:gd name="connsiteX2699" fmla="*/ 8868426 w 9586368"/>
              <a:gd name="connsiteY2699" fmla="*/ 4560858 h 6479439"/>
              <a:gd name="connsiteX2700" fmla="*/ 8864407 w 9586368"/>
              <a:gd name="connsiteY2700" fmla="*/ 4564897 h 6479439"/>
              <a:gd name="connsiteX2701" fmla="*/ 8854496 w 9586368"/>
              <a:gd name="connsiteY2701" fmla="*/ 4564897 h 6479439"/>
              <a:gd name="connsiteX2702" fmla="*/ 8850477 w 9586368"/>
              <a:gd name="connsiteY2702" fmla="*/ 4560858 h 6479439"/>
              <a:gd name="connsiteX2703" fmla="*/ 8850477 w 9586368"/>
              <a:gd name="connsiteY2703" fmla="*/ 4550987 h 6479439"/>
              <a:gd name="connsiteX2704" fmla="*/ 8615184 w 9586368"/>
              <a:gd name="connsiteY2704" fmla="*/ 4546948 h 6479439"/>
              <a:gd name="connsiteX2705" fmla="*/ 8625095 w 9586368"/>
              <a:gd name="connsiteY2705" fmla="*/ 4546948 h 6479439"/>
              <a:gd name="connsiteX2706" fmla="*/ 8629114 w 9586368"/>
              <a:gd name="connsiteY2706" fmla="*/ 4550987 h 6479439"/>
              <a:gd name="connsiteX2707" fmla="*/ 8629114 w 9586368"/>
              <a:gd name="connsiteY2707" fmla="*/ 4560858 h 6479439"/>
              <a:gd name="connsiteX2708" fmla="*/ 8625095 w 9586368"/>
              <a:gd name="connsiteY2708" fmla="*/ 4564897 h 6479439"/>
              <a:gd name="connsiteX2709" fmla="*/ 8615184 w 9586368"/>
              <a:gd name="connsiteY2709" fmla="*/ 4564897 h 6479439"/>
              <a:gd name="connsiteX2710" fmla="*/ 8611165 w 9586368"/>
              <a:gd name="connsiteY2710" fmla="*/ 4560858 h 6479439"/>
              <a:gd name="connsiteX2711" fmla="*/ 8611165 w 9586368"/>
              <a:gd name="connsiteY2711" fmla="*/ 4550987 h 6479439"/>
              <a:gd name="connsiteX2712" fmla="*/ 8375869 w 9586368"/>
              <a:gd name="connsiteY2712" fmla="*/ 4546948 h 6479439"/>
              <a:gd name="connsiteX2713" fmla="*/ 8385779 w 9586368"/>
              <a:gd name="connsiteY2713" fmla="*/ 4546948 h 6479439"/>
              <a:gd name="connsiteX2714" fmla="*/ 8389799 w 9586368"/>
              <a:gd name="connsiteY2714" fmla="*/ 4550987 h 6479439"/>
              <a:gd name="connsiteX2715" fmla="*/ 8389799 w 9586368"/>
              <a:gd name="connsiteY2715" fmla="*/ 4560858 h 6479439"/>
              <a:gd name="connsiteX2716" fmla="*/ 8385779 w 9586368"/>
              <a:gd name="connsiteY2716" fmla="*/ 4564897 h 6479439"/>
              <a:gd name="connsiteX2717" fmla="*/ 8375869 w 9586368"/>
              <a:gd name="connsiteY2717" fmla="*/ 4564897 h 6479439"/>
              <a:gd name="connsiteX2718" fmla="*/ 8371850 w 9586368"/>
              <a:gd name="connsiteY2718" fmla="*/ 4560858 h 6479439"/>
              <a:gd name="connsiteX2719" fmla="*/ 8371850 w 9586368"/>
              <a:gd name="connsiteY2719" fmla="*/ 4550987 h 6479439"/>
              <a:gd name="connsiteX2720" fmla="*/ 8136553 w 9586368"/>
              <a:gd name="connsiteY2720" fmla="*/ 4546948 h 6479439"/>
              <a:gd name="connsiteX2721" fmla="*/ 8146464 w 9586368"/>
              <a:gd name="connsiteY2721" fmla="*/ 4546948 h 6479439"/>
              <a:gd name="connsiteX2722" fmla="*/ 8150483 w 9586368"/>
              <a:gd name="connsiteY2722" fmla="*/ 4550987 h 6479439"/>
              <a:gd name="connsiteX2723" fmla="*/ 8150483 w 9586368"/>
              <a:gd name="connsiteY2723" fmla="*/ 4560858 h 6479439"/>
              <a:gd name="connsiteX2724" fmla="*/ 8146464 w 9586368"/>
              <a:gd name="connsiteY2724" fmla="*/ 4564897 h 6479439"/>
              <a:gd name="connsiteX2725" fmla="*/ 8136553 w 9586368"/>
              <a:gd name="connsiteY2725" fmla="*/ 4564897 h 6479439"/>
              <a:gd name="connsiteX2726" fmla="*/ 8132534 w 9586368"/>
              <a:gd name="connsiteY2726" fmla="*/ 4560858 h 6479439"/>
              <a:gd name="connsiteX2727" fmla="*/ 8132534 w 9586368"/>
              <a:gd name="connsiteY2727" fmla="*/ 4550987 h 6479439"/>
              <a:gd name="connsiteX2728" fmla="*/ 7897241 w 9586368"/>
              <a:gd name="connsiteY2728" fmla="*/ 4546948 h 6479439"/>
              <a:gd name="connsiteX2729" fmla="*/ 7907151 w 9586368"/>
              <a:gd name="connsiteY2729" fmla="*/ 4546948 h 6479439"/>
              <a:gd name="connsiteX2730" fmla="*/ 7911170 w 9586368"/>
              <a:gd name="connsiteY2730" fmla="*/ 4550987 h 6479439"/>
              <a:gd name="connsiteX2731" fmla="*/ 7911170 w 9586368"/>
              <a:gd name="connsiteY2731" fmla="*/ 4560858 h 6479439"/>
              <a:gd name="connsiteX2732" fmla="*/ 7907151 w 9586368"/>
              <a:gd name="connsiteY2732" fmla="*/ 4564897 h 6479439"/>
              <a:gd name="connsiteX2733" fmla="*/ 7897241 w 9586368"/>
              <a:gd name="connsiteY2733" fmla="*/ 4564897 h 6479439"/>
              <a:gd name="connsiteX2734" fmla="*/ 7893222 w 9586368"/>
              <a:gd name="connsiteY2734" fmla="*/ 4560858 h 6479439"/>
              <a:gd name="connsiteX2735" fmla="*/ 7893222 w 9586368"/>
              <a:gd name="connsiteY2735" fmla="*/ 4550987 h 6479439"/>
              <a:gd name="connsiteX2736" fmla="*/ 7657926 w 9586368"/>
              <a:gd name="connsiteY2736" fmla="*/ 4546948 h 6479439"/>
              <a:gd name="connsiteX2737" fmla="*/ 7667836 w 9586368"/>
              <a:gd name="connsiteY2737" fmla="*/ 4546948 h 6479439"/>
              <a:gd name="connsiteX2738" fmla="*/ 7671855 w 9586368"/>
              <a:gd name="connsiteY2738" fmla="*/ 4550987 h 6479439"/>
              <a:gd name="connsiteX2739" fmla="*/ 7671855 w 9586368"/>
              <a:gd name="connsiteY2739" fmla="*/ 4560858 h 6479439"/>
              <a:gd name="connsiteX2740" fmla="*/ 7667836 w 9586368"/>
              <a:gd name="connsiteY2740" fmla="*/ 4564897 h 6479439"/>
              <a:gd name="connsiteX2741" fmla="*/ 7657926 w 9586368"/>
              <a:gd name="connsiteY2741" fmla="*/ 4564897 h 6479439"/>
              <a:gd name="connsiteX2742" fmla="*/ 7653906 w 9586368"/>
              <a:gd name="connsiteY2742" fmla="*/ 4560858 h 6479439"/>
              <a:gd name="connsiteX2743" fmla="*/ 7653906 w 9586368"/>
              <a:gd name="connsiteY2743" fmla="*/ 4550987 h 6479439"/>
              <a:gd name="connsiteX2744" fmla="*/ 7418611 w 9586368"/>
              <a:gd name="connsiteY2744" fmla="*/ 4546948 h 6479439"/>
              <a:gd name="connsiteX2745" fmla="*/ 7428521 w 9586368"/>
              <a:gd name="connsiteY2745" fmla="*/ 4546948 h 6479439"/>
              <a:gd name="connsiteX2746" fmla="*/ 7432540 w 9586368"/>
              <a:gd name="connsiteY2746" fmla="*/ 4550987 h 6479439"/>
              <a:gd name="connsiteX2747" fmla="*/ 7432540 w 9586368"/>
              <a:gd name="connsiteY2747" fmla="*/ 4560858 h 6479439"/>
              <a:gd name="connsiteX2748" fmla="*/ 7428521 w 9586368"/>
              <a:gd name="connsiteY2748" fmla="*/ 4564897 h 6479439"/>
              <a:gd name="connsiteX2749" fmla="*/ 7418611 w 9586368"/>
              <a:gd name="connsiteY2749" fmla="*/ 4564897 h 6479439"/>
              <a:gd name="connsiteX2750" fmla="*/ 7414592 w 9586368"/>
              <a:gd name="connsiteY2750" fmla="*/ 4560858 h 6479439"/>
              <a:gd name="connsiteX2751" fmla="*/ 7414592 w 9586368"/>
              <a:gd name="connsiteY2751" fmla="*/ 4550987 h 6479439"/>
              <a:gd name="connsiteX2752" fmla="*/ 7179298 w 9586368"/>
              <a:gd name="connsiteY2752" fmla="*/ 4546948 h 6479439"/>
              <a:gd name="connsiteX2753" fmla="*/ 7189209 w 9586368"/>
              <a:gd name="connsiteY2753" fmla="*/ 4546948 h 6479439"/>
              <a:gd name="connsiteX2754" fmla="*/ 7193228 w 9586368"/>
              <a:gd name="connsiteY2754" fmla="*/ 4550987 h 6479439"/>
              <a:gd name="connsiteX2755" fmla="*/ 7193228 w 9586368"/>
              <a:gd name="connsiteY2755" fmla="*/ 4560858 h 6479439"/>
              <a:gd name="connsiteX2756" fmla="*/ 7189209 w 9586368"/>
              <a:gd name="connsiteY2756" fmla="*/ 4564897 h 6479439"/>
              <a:gd name="connsiteX2757" fmla="*/ 7179298 w 9586368"/>
              <a:gd name="connsiteY2757" fmla="*/ 4564897 h 6479439"/>
              <a:gd name="connsiteX2758" fmla="*/ 7175279 w 9586368"/>
              <a:gd name="connsiteY2758" fmla="*/ 4560858 h 6479439"/>
              <a:gd name="connsiteX2759" fmla="*/ 7175279 w 9586368"/>
              <a:gd name="connsiteY2759" fmla="*/ 4550987 h 6479439"/>
              <a:gd name="connsiteX2760" fmla="*/ 6939983 w 9586368"/>
              <a:gd name="connsiteY2760" fmla="*/ 4546948 h 6479439"/>
              <a:gd name="connsiteX2761" fmla="*/ 6949894 w 9586368"/>
              <a:gd name="connsiteY2761" fmla="*/ 4546948 h 6479439"/>
              <a:gd name="connsiteX2762" fmla="*/ 6953913 w 9586368"/>
              <a:gd name="connsiteY2762" fmla="*/ 4550987 h 6479439"/>
              <a:gd name="connsiteX2763" fmla="*/ 6953913 w 9586368"/>
              <a:gd name="connsiteY2763" fmla="*/ 4560858 h 6479439"/>
              <a:gd name="connsiteX2764" fmla="*/ 6949894 w 9586368"/>
              <a:gd name="connsiteY2764" fmla="*/ 4564897 h 6479439"/>
              <a:gd name="connsiteX2765" fmla="*/ 6939983 w 9586368"/>
              <a:gd name="connsiteY2765" fmla="*/ 4564897 h 6479439"/>
              <a:gd name="connsiteX2766" fmla="*/ 6935964 w 9586368"/>
              <a:gd name="connsiteY2766" fmla="*/ 4560858 h 6479439"/>
              <a:gd name="connsiteX2767" fmla="*/ 6935964 w 9586368"/>
              <a:gd name="connsiteY2767" fmla="*/ 4550987 h 6479439"/>
              <a:gd name="connsiteX2768" fmla="*/ 6700670 w 9586368"/>
              <a:gd name="connsiteY2768" fmla="*/ 4546948 h 6479439"/>
              <a:gd name="connsiteX2769" fmla="*/ 6710581 w 9586368"/>
              <a:gd name="connsiteY2769" fmla="*/ 4546948 h 6479439"/>
              <a:gd name="connsiteX2770" fmla="*/ 6714600 w 9586368"/>
              <a:gd name="connsiteY2770" fmla="*/ 4550987 h 6479439"/>
              <a:gd name="connsiteX2771" fmla="*/ 6714600 w 9586368"/>
              <a:gd name="connsiteY2771" fmla="*/ 4560858 h 6479439"/>
              <a:gd name="connsiteX2772" fmla="*/ 6710581 w 9586368"/>
              <a:gd name="connsiteY2772" fmla="*/ 4564897 h 6479439"/>
              <a:gd name="connsiteX2773" fmla="*/ 6700670 w 9586368"/>
              <a:gd name="connsiteY2773" fmla="*/ 4564897 h 6479439"/>
              <a:gd name="connsiteX2774" fmla="*/ 6696651 w 9586368"/>
              <a:gd name="connsiteY2774" fmla="*/ 4560858 h 6479439"/>
              <a:gd name="connsiteX2775" fmla="*/ 6696651 w 9586368"/>
              <a:gd name="connsiteY2775" fmla="*/ 4550987 h 6479439"/>
              <a:gd name="connsiteX2776" fmla="*/ 6461356 w 9586368"/>
              <a:gd name="connsiteY2776" fmla="*/ 4546948 h 6479439"/>
              <a:gd name="connsiteX2777" fmla="*/ 6471266 w 9586368"/>
              <a:gd name="connsiteY2777" fmla="*/ 4546948 h 6479439"/>
              <a:gd name="connsiteX2778" fmla="*/ 6475285 w 9586368"/>
              <a:gd name="connsiteY2778" fmla="*/ 4550987 h 6479439"/>
              <a:gd name="connsiteX2779" fmla="*/ 6475285 w 9586368"/>
              <a:gd name="connsiteY2779" fmla="*/ 4560858 h 6479439"/>
              <a:gd name="connsiteX2780" fmla="*/ 6471266 w 9586368"/>
              <a:gd name="connsiteY2780" fmla="*/ 4564897 h 6479439"/>
              <a:gd name="connsiteX2781" fmla="*/ 6461356 w 9586368"/>
              <a:gd name="connsiteY2781" fmla="*/ 4564897 h 6479439"/>
              <a:gd name="connsiteX2782" fmla="*/ 6457337 w 9586368"/>
              <a:gd name="connsiteY2782" fmla="*/ 4560858 h 6479439"/>
              <a:gd name="connsiteX2783" fmla="*/ 6457337 w 9586368"/>
              <a:gd name="connsiteY2783" fmla="*/ 4550987 h 6479439"/>
              <a:gd name="connsiteX2784" fmla="*/ 6222042 w 9586368"/>
              <a:gd name="connsiteY2784" fmla="*/ 4546948 h 6479439"/>
              <a:gd name="connsiteX2785" fmla="*/ 6231952 w 9586368"/>
              <a:gd name="connsiteY2785" fmla="*/ 4546948 h 6479439"/>
              <a:gd name="connsiteX2786" fmla="*/ 6235971 w 9586368"/>
              <a:gd name="connsiteY2786" fmla="*/ 4550987 h 6479439"/>
              <a:gd name="connsiteX2787" fmla="*/ 6235971 w 9586368"/>
              <a:gd name="connsiteY2787" fmla="*/ 4560858 h 6479439"/>
              <a:gd name="connsiteX2788" fmla="*/ 6231952 w 9586368"/>
              <a:gd name="connsiteY2788" fmla="*/ 4564897 h 6479439"/>
              <a:gd name="connsiteX2789" fmla="*/ 6222042 w 9586368"/>
              <a:gd name="connsiteY2789" fmla="*/ 4564897 h 6479439"/>
              <a:gd name="connsiteX2790" fmla="*/ 6218023 w 9586368"/>
              <a:gd name="connsiteY2790" fmla="*/ 4560858 h 6479439"/>
              <a:gd name="connsiteX2791" fmla="*/ 6218023 w 9586368"/>
              <a:gd name="connsiteY2791" fmla="*/ 4550987 h 6479439"/>
              <a:gd name="connsiteX2792" fmla="*/ 5982729 w 9586368"/>
              <a:gd name="connsiteY2792" fmla="*/ 4546948 h 6479439"/>
              <a:gd name="connsiteX2793" fmla="*/ 5992639 w 9586368"/>
              <a:gd name="connsiteY2793" fmla="*/ 4546948 h 6479439"/>
              <a:gd name="connsiteX2794" fmla="*/ 5996658 w 9586368"/>
              <a:gd name="connsiteY2794" fmla="*/ 4550987 h 6479439"/>
              <a:gd name="connsiteX2795" fmla="*/ 5996658 w 9586368"/>
              <a:gd name="connsiteY2795" fmla="*/ 4560858 h 6479439"/>
              <a:gd name="connsiteX2796" fmla="*/ 5992639 w 9586368"/>
              <a:gd name="connsiteY2796" fmla="*/ 4564897 h 6479439"/>
              <a:gd name="connsiteX2797" fmla="*/ 5982729 w 9586368"/>
              <a:gd name="connsiteY2797" fmla="*/ 4564897 h 6479439"/>
              <a:gd name="connsiteX2798" fmla="*/ 5978710 w 9586368"/>
              <a:gd name="connsiteY2798" fmla="*/ 4560858 h 6479439"/>
              <a:gd name="connsiteX2799" fmla="*/ 5978710 w 9586368"/>
              <a:gd name="connsiteY2799" fmla="*/ 4550987 h 6479439"/>
              <a:gd name="connsiteX2800" fmla="*/ 5743412 w 9586368"/>
              <a:gd name="connsiteY2800" fmla="*/ 4546948 h 6479439"/>
              <a:gd name="connsiteX2801" fmla="*/ 5753323 w 9586368"/>
              <a:gd name="connsiteY2801" fmla="*/ 4546948 h 6479439"/>
              <a:gd name="connsiteX2802" fmla="*/ 5757342 w 9586368"/>
              <a:gd name="connsiteY2802" fmla="*/ 4550987 h 6479439"/>
              <a:gd name="connsiteX2803" fmla="*/ 5757342 w 9586368"/>
              <a:gd name="connsiteY2803" fmla="*/ 4560858 h 6479439"/>
              <a:gd name="connsiteX2804" fmla="*/ 5753323 w 9586368"/>
              <a:gd name="connsiteY2804" fmla="*/ 4564897 h 6479439"/>
              <a:gd name="connsiteX2805" fmla="*/ 5743412 w 9586368"/>
              <a:gd name="connsiteY2805" fmla="*/ 4564897 h 6479439"/>
              <a:gd name="connsiteX2806" fmla="*/ 5739393 w 9586368"/>
              <a:gd name="connsiteY2806" fmla="*/ 4560858 h 6479439"/>
              <a:gd name="connsiteX2807" fmla="*/ 5739393 w 9586368"/>
              <a:gd name="connsiteY2807" fmla="*/ 4550987 h 6479439"/>
              <a:gd name="connsiteX2808" fmla="*/ 5504099 w 9586368"/>
              <a:gd name="connsiteY2808" fmla="*/ 4546948 h 6479439"/>
              <a:gd name="connsiteX2809" fmla="*/ 5514010 w 9586368"/>
              <a:gd name="connsiteY2809" fmla="*/ 4546948 h 6479439"/>
              <a:gd name="connsiteX2810" fmla="*/ 5518029 w 9586368"/>
              <a:gd name="connsiteY2810" fmla="*/ 4550987 h 6479439"/>
              <a:gd name="connsiteX2811" fmla="*/ 5518029 w 9586368"/>
              <a:gd name="connsiteY2811" fmla="*/ 4560858 h 6479439"/>
              <a:gd name="connsiteX2812" fmla="*/ 5514010 w 9586368"/>
              <a:gd name="connsiteY2812" fmla="*/ 4564897 h 6479439"/>
              <a:gd name="connsiteX2813" fmla="*/ 5504099 w 9586368"/>
              <a:gd name="connsiteY2813" fmla="*/ 4564897 h 6479439"/>
              <a:gd name="connsiteX2814" fmla="*/ 5500080 w 9586368"/>
              <a:gd name="connsiteY2814" fmla="*/ 4560858 h 6479439"/>
              <a:gd name="connsiteX2815" fmla="*/ 5500080 w 9586368"/>
              <a:gd name="connsiteY2815" fmla="*/ 4550987 h 6479439"/>
              <a:gd name="connsiteX2816" fmla="*/ 5264784 w 9586368"/>
              <a:gd name="connsiteY2816" fmla="*/ 4546948 h 6479439"/>
              <a:gd name="connsiteX2817" fmla="*/ 5274694 w 9586368"/>
              <a:gd name="connsiteY2817" fmla="*/ 4546948 h 6479439"/>
              <a:gd name="connsiteX2818" fmla="*/ 5278713 w 9586368"/>
              <a:gd name="connsiteY2818" fmla="*/ 4550987 h 6479439"/>
              <a:gd name="connsiteX2819" fmla="*/ 5278713 w 9586368"/>
              <a:gd name="connsiteY2819" fmla="*/ 4560858 h 6479439"/>
              <a:gd name="connsiteX2820" fmla="*/ 5274694 w 9586368"/>
              <a:gd name="connsiteY2820" fmla="*/ 4564897 h 6479439"/>
              <a:gd name="connsiteX2821" fmla="*/ 5264784 w 9586368"/>
              <a:gd name="connsiteY2821" fmla="*/ 4564897 h 6479439"/>
              <a:gd name="connsiteX2822" fmla="*/ 5260765 w 9586368"/>
              <a:gd name="connsiteY2822" fmla="*/ 4560858 h 6479439"/>
              <a:gd name="connsiteX2823" fmla="*/ 5260765 w 9586368"/>
              <a:gd name="connsiteY2823" fmla="*/ 4550987 h 6479439"/>
              <a:gd name="connsiteX2824" fmla="*/ 5025470 w 9586368"/>
              <a:gd name="connsiteY2824" fmla="*/ 4546948 h 6479439"/>
              <a:gd name="connsiteX2825" fmla="*/ 5035381 w 9586368"/>
              <a:gd name="connsiteY2825" fmla="*/ 4546948 h 6479439"/>
              <a:gd name="connsiteX2826" fmla="*/ 5039400 w 9586368"/>
              <a:gd name="connsiteY2826" fmla="*/ 4550987 h 6479439"/>
              <a:gd name="connsiteX2827" fmla="*/ 5039400 w 9586368"/>
              <a:gd name="connsiteY2827" fmla="*/ 4560858 h 6479439"/>
              <a:gd name="connsiteX2828" fmla="*/ 5035381 w 9586368"/>
              <a:gd name="connsiteY2828" fmla="*/ 4564897 h 6479439"/>
              <a:gd name="connsiteX2829" fmla="*/ 5025470 w 9586368"/>
              <a:gd name="connsiteY2829" fmla="*/ 4564897 h 6479439"/>
              <a:gd name="connsiteX2830" fmla="*/ 5021451 w 9586368"/>
              <a:gd name="connsiteY2830" fmla="*/ 4560858 h 6479439"/>
              <a:gd name="connsiteX2831" fmla="*/ 5021451 w 9586368"/>
              <a:gd name="connsiteY2831" fmla="*/ 4550987 h 6479439"/>
              <a:gd name="connsiteX2832" fmla="*/ 4786241 w 9586368"/>
              <a:gd name="connsiteY2832" fmla="*/ 4546948 h 6479439"/>
              <a:gd name="connsiteX2833" fmla="*/ 4796152 w 9586368"/>
              <a:gd name="connsiteY2833" fmla="*/ 4546948 h 6479439"/>
              <a:gd name="connsiteX2834" fmla="*/ 4800171 w 9586368"/>
              <a:gd name="connsiteY2834" fmla="*/ 4550987 h 6479439"/>
              <a:gd name="connsiteX2835" fmla="*/ 4800171 w 9586368"/>
              <a:gd name="connsiteY2835" fmla="*/ 4560858 h 6479439"/>
              <a:gd name="connsiteX2836" fmla="*/ 4796152 w 9586368"/>
              <a:gd name="connsiteY2836" fmla="*/ 4564897 h 6479439"/>
              <a:gd name="connsiteX2837" fmla="*/ 4786241 w 9586368"/>
              <a:gd name="connsiteY2837" fmla="*/ 4564897 h 6479439"/>
              <a:gd name="connsiteX2838" fmla="*/ 4782224 w 9586368"/>
              <a:gd name="connsiteY2838" fmla="*/ 4560858 h 6479439"/>
              <a:gd name="connsiteX2839" fmla="*/ 4782224 w 9586368"/>
              <a:gd name="connsiteY2839" fmla="*/ 4550987 h 6479439"/>
              <a:gd name="connsiteX2840" fmla="*/ 4546929 w 9586368"/>
              <a:gd name="connsiteY2840" fmla="*/ 4546948 h 6479439"/>
              <a:gd name="connsiteX2841" fmla="*/ 4556840 w 9586368"/>
              <a:gd name="connsiteY2841" fmla="*/ 4546948 h 6479439"/>
              <a:gd name="connsiteX2842" fmla="*/ 4560859 w 9586368"/>
              <a:gd name="connsiteY2842" fmla="*/ 4550987 h 6479439"/>
              <a:gd name="connsiteX2843" fmla="*/ 4560859 w 9586368"/>
              <a:gd name="connsiteY2843" fmla="*/ 4560858 h 6479439"/>
              <a:gd name="connsiteX2844" fmla="*/ 4556840 w 9586368"/>
              <a:gd name="connsiteY2844" fmla="*/ 4564897 h 6479439"/>
              <a:gd name="connsiteX2845" fmla="*/ 4546929 w 9586368"/>
              <a:gd name="connsiteY2845" fmla="*/ 4564897 h 6479439"/>
              <a:gd name="connsiteX2846" fmla="*/ 4542910 w 9586368"/>
              <a:gd name="connsiteY2846" fmla="*/ 4560858 h 6479439"/>
              <a:gd name="connsiteX2847" fmla="*/ 4542910 w 9586368"/>
              <a:gd name="connsiteY2847" fmla="*/ 4550987 h 6479439"/>
              <a:gd name="connsiteX2848" fmla="*/ 4307612 w 9586368"/>
              <a:gd name="connsiteY2848" fmla="*/ 4546948 h 6479439"/>
              <a:gd name="connsiteX2849" fmla="*/ 4317523 w 9586368"/>
              <a:gd name="connsiteY2849" fmla="*/ 4546948 h 6479439"/>
              <a:gd name="connsiteX2850" fmla="*/ 4321543 w 9586368"/>
              <a:gd name="connsiteY2850" fmla="*/ 4550987 h 6479439"/>
              <a:gd name="connsiteX2851" fmla="*/ 4321543 w 9586368"/>
              <a:gd name="connsiteY2851" fmla="*/ 4560858 h 6479439"/>
              <a:gd name="connsiteX2852" fmla="*/ 4317523 w 9586368"/>
              <a:gd name="connsiteY2852" fmla="*/ 4564897 h 6479439"/>
              <a:gd name="connsiteX2853" fmla="*/ 4307612 w 9586368"/>
              <a:gd name="connsiteY2853" fmla="*/ 4564897 h 6479439"/>
              <a:gd name="connsiteX2854" fmla="*/ 4303595 w 9586368"/>
              <a:gd name="connsiteY2854" fmla="*/ 4560858 h 6479439"/>
              <a:gd name="connsiteX2855" fmla="*/ 4303595 w 9586368"/>
              <a:gd name="connsiteY2855" fmla="*/ 4550987 h 6479439"/>
              <a:gd name="connsiteX2856" fmla="*/ 4068297 w 9586368"/>
              <a:gd name="connsiteY2856" fmla="*/ 4546948 h 6479439"/>
              <a:gd name="connsiteX2857" fmla="*/ 4078210 w 9586368"/>
              <a:gd name="connsiteY2857" fmla="*/ 4546948 h 6479439"/>
              <a:gd name="connsiteX2858" fmla="*/ 4082229 w 9586368"/>
              <a:gd name="connsiteY2858" fmla="*/ 4550987 h 6479439"/>
              <a:gd name="connsiteX2859" fmla="*/ 4082229 w 9586368"/>
              <a:gd name="connsiteY2859" fmla="*/ 4560858 h 6479439"/>
              <a:gd name="connsiteX2860" fmla="*/ 4078210 w 9586368"/>
              <a:gd name="connsiteY2860" fmla="*/ 4564897 h 6479439"/>
              <a:gd name="connsiteX2861" fmla="*/ 4068297 w 9586368"/>
              <a:gd name="connsiteY2861" fmla="*/ 4564897 h 6479439"/>
              <a:gd name="connsiteX2862" fmla="*/ 4064278 w 9586368"/>
              <a:gd name="connsiteY2862" fmla="*/ 4560858 h 6479439"/>
              <a:gd name="connsiteX2863" fmla="*/ 4064278 w 9586368"/>
              <a:gd name="connsiteY2863" fmla="*/ 4550987 h 6479439"/>
              <a:gd name="connsiteX2864" fmla="*/ 3828990 w 9586368"/>
              <a:gd name="connsiteY2864" fmla="*/ 4546948 h 6479439"/>
              <a:gd name="connsiteX2865" fmla="*/ 3838899 w 9586368"/>
              <a:gd name="connsiteY2865" fmla="*/ 4546948 h 6479439"/>
              <a:gd name="connsiteX2866" fmla="*/ 3842917 w 9586368"/>
              <a:gd name="connsiteY2866" fmla="*/ 4550987 h 6479439"/>
              <a:gd name="connsiteX2867" fmla="*/ 3842917 w 9586368"/>
              <a:gd name="connsiteY2867" fmla="*/ 4560858 h 6479439"/>
              <a:gd name="connsiteX2868" fmla="*/ 3838899 w 9586368"/>
              <a:gd name="connsiteY2868" fmla="*/ 4564897 h 6479439"/>
              <a:gd name="connsiteX2869" fmla="*/ 3828990 w 9586368"/>
              <a:gd name="connsiteY2869" fmla="*/ 4564897 h 6479439"/>
              <a:gd name="connsiteX2870" fmla="*/ 3824971 w 9586368"/>
              <a:gd name="connsiteY2870" fmla="*/ 4560858 h 6479439"/>
              <a:gd name="connsiteX2871" fmla="*/ 3824971 w 9586368"/>
              <a:gd name="connsiteY2871" fmla="*/ 4550987 h 6479439"/>
              <a:gd name="connsiteX2872" fmla="*/ 3589676 w 9586368"/>
              <a:gd name="connsiteY2872" fmla="*/ 4546948 h 6479439"/>
              <a:gd name="connsiteX2873" fmla="*/ 3599585 w 9586368"/>
              <a:gd name="connsiteY2873" fmla="*/ 4546948 h 6479439"/>
              <a:gd name="connsiteX2874" fmla="*/ 3603604 w 9586368"/>
              <a:gd name="connsiteY2874" fmla="*/ 4550987 h 6479439"/>
              <a:gd name="connsiteX2875" fmla="*/ 3603604 w 9586368"/>
              <a:gd name="connsiteY2875" fmla="*/ 4560858 h 6479439"/>
              <a:gd name="connsiteX2876" fmla="*/ 3599585 w 9586368"/>
              <a:gd name="connsiteY2876" fmla="*/ 4564897 h 6479439"/>
              <a:gd name="connsiteX2877" fmla="*/ 3589676 w 9586368"/>
              <a:gd name="connsiteY2877" fmla="*/ 4564897 h 6479439"/>
              <a:gd name="connsiteX2878" fmla="*/ 3585657 w 9586368"/>
              <a:gd name="connsiteY2878" fmla="*/ 4560858 h 6479439"/>
              <a:gd name="connsiteX2879" fmla="*/ 3585657 w 9586368"/>
              <a:gd name="connsiteY2879" fmla="*/ 4550987 h 6479439"/>
              <a:gd name="connsiteX2880" fmla="*/ 3350359 w 9586368"/>
              <a:gd name="connsiteY2880" fmla="*/ 4546948 h 6479439"/>
              <a:gd name="connsiteX2881" fmla="*/ 3360268 w 9586368"/>
              <a:gd name="connsiteY2881" fmla="*/ 4546948 h 6479439"/>
              <a:gd name="connsiteX2882" fmla="*/ 3364287 w 9586368"/>
              <a:gd name="connsiteY2882" fmla="*/ 4550987 h 6479439"/>
              <a:gd name="connsiteX2883" fmla="*/ 3364287 w 9586368"/>
              <a:gd name="connsiteY2883" fmla="*/ 4560858 h 6479439"/>
              <a:gd name="connsiteX2884" fmla="*/ 3360268 w 9586368"/>
              <a:gd name="connsiteY2884" fmla="*/ 4564897 h 6479439"/>
              <a:gd name="connsiteX2885" fmla="*/ 3350359 w 9586368"/>
              <a:gd name="connsiteY2885" fmla="*/ 4564897 h 6479439"/>
              <a:gd name="connsiteX2886" fmla="*/ 3346340 w 9586368"/>
              <a:gd name="connsiteY2886" fmla="*/ 4560858 h 6479439"/>
              <a:gd name="connsiteX2887" fmla="*/ 3346340 w 9586368"/>
              <a:gd name="connsiteY2887" fmla="*/ 4550987 h 6479439"/>
              <a:gd name="connsiteX2888" fmla="*/ 3111048 w 9586368"/>
              <a:gd name="connsiteY2888" fmla="*/ 4546948 h 6479439"/>
              <a:gd name="connsiteX2889" fmla="*/ 3120959 w 9586368"/>
              <a:gd name="connsiteY2889" fmla="*/ 4546948 h 6479439"/>
              <a:gd name="connsiteX2890" fmla="*/ 3124977 w 9586368"/>
              <a:gd name="connsiteY2890" fmla="*/ 4550987 h 6479439"/>
              <a:gd name="connsiteX2891" fmla="*/ 3124977 w 9586368"/>
              <a:gd name="connsiteY2891" fmla="*/ 4560858 h 6479439"/>
              <a:gd name="connsiteX2892" fmla="*/ 3120959 w 9586368"/>
              <a:gd name="connsiteY2892" fmla="*/ 4564897 h 6479439"/>
              <a:gd name="connsiteX2893" fmla="*/ 3111048 w 9586368"/>
              <a:gd name="connsiteY2893" fmla="*/ 4564897 h 6479439"/>
              <a:gd name="connsiteX2894" fmla="*/ 3107029 w 9586368"/>
              <a:gd name="connsiteY2894" fmla="*/ 4560858 h 6479439"/>
              <a:gd name="connsiteX2895" fmla="*/ 3107029 w 9586368"/>
              <a:gd name="connsiteY2895" fmla="*/ 4550987 h 6479439"/>
              <a:gd name="connsiteX2896" fmla="*/ 2871737 w 9586368"/>
              <a:gd name="connsiteY2896" fmla="*/ 4546948 h 6479439"/>
              <a:gd name="connsiteX2897" fmla="*/ 2881646 w 9586368"/>
              <a:gd name="connsiteY2897" fmla="*/ 4546948 h 6479439"/>
              <a:gd name="connsiteX2898" fmla="*/ 2885666 w 9586368"/>
              <a:gd name="connsiteY2898" fmla="*/ 4550987 h 6479439"/>
              <a:gd name="connsiteX2899" fmla="*/ 2885666 w 9586368"/>
              <a:gd name="connsiteY2899" fmla="*/ 4560858 h 6479439"/>
              <a:gd name="connsiteX2900" fmla="*/ 2881646 w 9586368"/>
              <a:gd name="connsiteY2900" fmla="*/ 4564897 h 6479439"/>
              <a:gd name="connsiteX2901" fmla="*/ 2871737 w 9586368"/>
              <a:gd name="connsiteY2901" fmla="*/ 4564897 h 6479439"/>
              <a:gd name="connsiteX2902" fmla="*/ 2867717 w 9586368"/>
              <a:gd name="connsiteY2902" fmla="*/ 4560858 h 6479439"/>
              <a:gd name="connsiteX2903" fmla="*/ 2867717 w 9586368"/>
              <a:gd name="connsiteY2903" fmla="*/ 4550987 h 6479439"/>
              <a:gd name="connsiteX2904" fmla="*/ 2632423 w 9586368"/>
              <a:gd name="connsiteY2904" fmla="*/ 4546948 h 6479439"/>
              <a:gd name="connsiteX2905" fmla="*/ 2642334 w 9586368"/>
              <a:gd name="connsiteY2905" fmla="*/ 4546948 h 6479439"/>
              <a:gd name="connsiteX2906" fmla="*/ 2646352 w 9586368"/>
              <a:gd name="connsiteY2906" fmla="*/ 4550987 h 6479439"/>
              <a:gd name="connsiteX2907" fmla="*/ 2646352 w 9586368"/>
              <a:gd name="connsiteY2907" fmla="*/ 4560858 h 6479439"/>
              <a:gd name="connsiteX2908" fmla="*/ 2642334 w 9586368"/>
              <a:gd name="connsiteY2908" fmla="*/ 4564897 h 6479439"/>
              <a:gd name="connsiteX2909" fmla="*/ 2632423 w 9586368"/>
              <a:gd name="connsiteY2909" fmla="*/ 4564897 h 6479439"/>
              <a:gd name="connsiteX2910" fmla="*/ 2628404 w 9586368"/>
              <a:gd name="connsiteY2910" fmla="*/ 4560858 h 6479439"/>
              <a:gd name="connsiteX2911" fmla="*/ 2628404 w 9586368"/>
              <a:gd name="connsiteY2911" fmla="*/ 4550987 h 6479439"/>
              <a:gd name="connsiteX2912" fmla="*/ 2393104 w 9586368"/>
              <a:gd name="connsiteY2912" fmla="*/ 4546948 h 6479439"/>
              <a:gd name="connsiteX2913" fmla="*/ 2403015 w 9586368"/>
              <a:gd name="connsiteY2913" fmla="*/ 4546948 h 6479439"/>
              <a:gd name="connsiteX2914" fmla="*/ 2407034 w 9586368"/>
              <a:gd name="connsiteY2914" fmla="*/ 4550987 h 6479439"/>
              <a:gd name="connsiteX2915" fmla="*/ 2407034 w 9586368"/>
              <a:gd name="connsiteY2915" fmla="*/ 4560858 h 6479439"/>
              <a:gd name="connsiteX2916" fmla="*/ 2403015 w 9586368"/>
              <a:gd name="connsiteY2916" fmla="*/ 4564897 h 6479439"/>
              <a:gd name="connsiteX2917" fmla="*/ 2393104 w 9586368"/>
              <a:gd name="connsiteY2917" fmla="*/ 4564897 h 6479439"/>
              <a:gd name="connsiteX2918" fmla="*/ 2389087 w 9586368"/>
              <a:gd name="connsiteY2918" fmla="*/ 4560858 h 6479439"/>
              <a:gd name="connsiteX2919" fmla="*/ 2389087 w 9586368"/>
              <a:gd name="connsiteY2919" fmla="*/ 4550987 h 6479439"/>
              <a:gd name="connsiteX2920" fmla="*/ 721964 w 9586368"/>
              <a:gd name="connsiteY2920" fmla="*/ 4546948 h 6479439"/>
              <a:gd name="connsiteX2921" fmla="*/ 731874 w 9586368"/>
              <a:gd name="connsiteY2921" fmla="*/ 4546948 h 6479439"/>
              <a:gd name="connsiteX2922" fmla="*/ 735893 w 9586368"/>
              <a:gd name="connsiteY2922" fmla="*/ 4550987 h 6479439"/>
              <a:gd name="connsiteX2923" fmla="*/ 735893 w 9586368"/>
              <a:gd name="connsiteY2923" fmla="*/ 4560858 h 6479439"/>
              <a:gd name="connsiteX2924" fmla="*/ 731874 w 9586368"/>
              <a:gd name="connsiteY2924" fmla="*/ 4564897 h 6479439"/>
              <a:gd name="connsiteX2925" fmla="*/ 721964 w 9586368"/>
              <a:gd name="connsiteY2925" fmla="*/ 4564897 h 6479439"/>
              <a:gd name="connsiteX2926" fmla="*/ 717945 w 9586368"/>
              <a:gd name="connsiteY2926" fmla="*/ 4560858 h 6479439"/>
              <a:gd name="connsiteX2927" fmla="*/ 717945 w 9586368"/>
              <a:gd name="connsiteY2927" fmla="*/ 4550987 h 6479439"/>
              <a:gd name="connsiteX2928" fmla="*/ 482651 w 9586368"/>
              <a:gd name="connsiteY2928" fmla="*/ 4546948 h 6479439"/>
              <a:gd name="connsiteX2929" fmla="*/ 492562 w 9586368"/>
              <a:gd name="connsiteY2929" fmla="*/ 4546948 h 6479439"/>
              <a:gd name="connsiteX2930" fmla="*/ 496581 w 9586368"/>
              <a:gd name="connsiteY2930" fmla="*/ 4550987 h 6479439"/>
              <a:gd name="connsiteX2931" fmla="*/ 496581 w 9586368"/>
              <a:gd name="connsiteY2931" fmla="*/ 4560858 h 6479439"/>
              <a:gd name="connsiteX2932" fmla="*/ 492562 w 9586368"/>
              <a:gd name="connsiteY2932" fmla="*/ 4564897 h 6479439"/>
              <a:gd name="connsiteX2933" fmla="*/ 482651 w 9586368"/>
              <a:gd name="connsiteY2933" fmla="*/ 4564897 h 6479439"/>
              <a:gd name="connsiteX2934" fmla="*/ 478632 w 9586368"/>
              <a:gd name="connsiteY2934" fmla="*/ 4560858 h 6479439"/>
              <a:gd name="connsiteX2935" fmla="*/ 478632 w 9586368"/>
              <a:gd name="connsiteY2935" fmla="*/ 4550987 h 6479439"/>
              <a:gd name="connsiteX2936" fmla="*/ 243338 w 9586368"/>
              <a:gd name="connsiteY2936" fmla="*/ 4546948 h 6479439"/>
              <a:gd name="connsiteX2937" fmla="*/ 253248 w 9586368"/>
              <a:gd name="connsiteY2937" fmla="*/ 4546948 h 6479439"/>
              <a:gd name="connsiteX2938" fmla="*/ 257267 w 9586368"/>
              <a:gd name="connsiteY2938" fmla="*/ 4550987 h 6479439"/>
              <a:gd name="connsiteX2939" fmla="*/ 257267 w 9586368"/>
              <a:gd name="connsiteY2939" fmla="*/ 4560858 h 6479439"/>
              <a:gd name="connsiteX2940" fmla="*/ 253248 w 9586368"/>
              <a:gd name="connsiteY2940" fmla="*/ 4564897 h 6479439"/>
              <a:gd name="connsiteX2941" fmla="*/ 243338 w 9586368"/>
              <a:gd name="connsiteY2941" fmla="*/ 4564897 h 6479439"/>
              <a:gd name="connsiteX2942" fmla="*/ 239319 w 9586368"/>
              <a:gd name="connsiteY2942" fmla="*/ 4560858 h 6479439"/>
              <a:gd name="connsiteX2943" fmla="*/ 239319 w 9586368"/>
              <a:gd name="connsiteY2943" fmla="*/ 4550987 h 6479439"/>
              <a:gd name="connsiteX2944" fmla="*/ 4025 w 9586368"/>
              <a:gd name="connsiteY2944" fmla="*/ 4546948 h 6479439"/>
              <a:gd name="connsiteX2945" fmla="*/ 13935 w 9586368"/>
              <a:gd name="connsiteY2945" fmla="*/ 4546948 h 6479439"/>
              <a:gd name="connsiteX2946" fmla="*/ 17954 w 9586368"/>
              <a:gd name="connsiteY2946" fmla="*/ 4550987 h 6479439"/>
              <a:gd name="connsiteX2947" fmla="*/ 17954 w 9586368"/>
              <a:gd name="connsiteY2947" fmla="*/ 4560858 h 6479439"/>
              <a:gd name="connsiteX2948" fmla="*/ 13935 w 9586368"/>
              <a:gd name="connsiteY2948" fmla="*/ 4564897 h 6479439"/>
              <a:gd name="connsiteX2949" fmla="*/ 4025 w 9586368"/>
              <a:gd name="connsiteY2949" fmla="*/ 4564897 h 6479439"/>
              <a:gd name="connsiteX2950" fmla="*/ 6 w 9586368"/>
              <a:gd name="connsiteY2950" fmla="*/ 4560858 h 6479439"/>
              <a:gd name="connsiteX2951" fmla="*/ 6 w 9586368"/>
              <a:gd name="connsiteY2951" fmla="*/ 4550987 h 6479439"/>
              <a:gd name="connsiteX2952" fmla="*/ 2157819 w 9586368"/>
              <a:gd name="connsiteY2952" fmla="*/ 4307669 h 6479439"/>
              <a:gd name="connsiteX2953" fmla="*/ 2167729 w 9586368"/>
              <a:gd name="connsiteY2953" fmla="*/ 4307669 h 6479439"/>
              <a:gd name="connsiteX2954" fmla="*/ 2171749 w 9586368"/>
              <a:gd name="connsiteY2954" fmla="*/ 4311708 h 6479439"/>
              <a:gd name="connsiteX2955" fmla="*/ 2171749 w 9586368"/>
              <a:gd name="connsiteY2955" fmla="*/ 4321579 h 6479439"/>
              <a:gd name="connsiteX2956" fmla="*/ 2167729 w 9586368"/>
              <a:gd name="connsiteY2956" fmla="*/ 4325618 h 6479439"/>
              <a:gd name="connsiteX2957" fmla="*/ 2157819 w 9586368"/>
              <a:gd name="connsiteY2957" fmla="*/ 4325618 h 6479439"/>
              <a:gd name="connsiteX2958" fmla="*/ 2153801 w 9586368"/>
              <a:gd name="connsiteY2958" fmla="*/ 4321579 h 6479439"/>
              <a:gd name="connsiteX2959" fmla="*/ 2153801 w 9586368"/>
              <a:gd name="connsiteY2959" fmla="*/ 4311708 h 6479439"/>
              <a:gd name="connsiteX2960" fmla="*/ 1918511 w 9586368"/>
              <a:gd name="connsiteY2960" fmla="*/ 4307669 h 6479439"/>
              <a:gd name="connsiteX2961" fmla="*/ 1928421 w 9586368"/>
              <a:gd name="connsiteY2961" fmla="*/ 4307669 h 6479439"/>
              <a:gd name="connsiteX2962" fmla="*/ 1932440 w 9586368"/>
              <a:gd name="connsiteY2962" fmla="*/ 4311708 h 6479439"/>
              <a:gd name="connsiteX2963" fmla="*/ 1932440 w 9586368"/>
              <a:gd name="connsiteY2963" fmla="*/ 4321579 h 6479439"/>
              <a:gd name="connsiteX2964" fmla="*/ 1928421 w 9586368"/>
              <a:gd name="connsiteY2964" fmla="*/ 4325618 h 6479439"/>
              <a:gd name="connsiteX2965" fmla="*/ 1918511 w 9586368"/>
              <a:gd name="connsiteY2965" fmla="*/ 4325618 h 6479439"/>
              <a:gd name="connsiteX2966" fmla="*/ 1914492 w 9586368"/>
              <a:gd name="connsiteY2966" fmla="*/ 4321579 h 6479439"/>
              <a:gd name="connsiteX2967" fmla="*/ 1914492 w 9586368"/>
              <a:gd name="connsiteY2967" fmla="*/ 4311708 h 6479439"/>
              <a:gd name="connsiteX2968" fmla="*/ 1679206 w 9586368"/>
              <a:gd name="connsiteY2968" fmla="*/ 4307669 h 6479439"/>
              <a:gd name="connsiteX2969" fmla="*/ 1689117 w 9586368"/>
              <a:gd name="connsiteY2969" fmla="*/ 4307669 h 6479439"/>
              <a:gd name="connsiteX2970" fmla="*/ 1693136 w 9586368"/>
              <a:gd name="connsiteY2970" fmla="*/ 4311708 h 6479439"/>
              <a:gd name="connsiteX2971" fmla="*/ 1693136 w 9586368"/>
              <a:gd name="connsiteY2971" fmla="*/ 4321579 h 6479439"/>
              <a:gd name="connsiteX2972" fmla="*/ 1689117 w 9586368"/>
              <a:gd name="connsiteY2972" fmla="*/ 4325618 h 6479439"/>
              <a:gd name="connsiteX2973" fmla="*/ 1679206 w 9586368"/>
              <a:gd name="connsiteY2973" fmla="*/ 4325618 h 6479439"/>
              <a:gd name="connsiteX2974" fmla="*/ 1675188 w 9586368"/>
              <a:gd name="connsiteY2974" fmla="*/ 4321579 h 6479439"/>
              <a:gd name="connsiteX2975" fmla="*/ 1675188 w 9586368"/>
              <a:gd name="connsiteY2975" fmla="*/ 4311708 h 6479439"/>
              <a:gd name="connsiteX2976" fmla="*/ 1439891 w 9586368"/>
              <a:gd name="connsiteY2976" fmla="*/ 4307669 h 6479439"/>
              <a:gd name="connsiteX2977" fmla="*/ 1449801 w 9586368"/>
              <a:gd name="connsiteY2977" fmla="*/ 4307669 h 6479439"/>
              <a:gd name="connsiteX2978" fmla="*/ 1453819 w 9586368"/>
              <a:gd name="connsiteY2978" fmla="*/ 4311708 h 6479439"/>
              <a:gd name="connsiteX2979" fmla="*/ 1453819 w 9586368"/>
              <a:gd name="connsiteY2979" fmla="*/ 4321579 h 6479439"/>
              <a:gd name="connsiteX2980" fmla="*/ 1449801 w 9586368"/>
              <a:gd name="connsiteY2980" fmla="*/ 4325618 h 6479439"/>
              <a:gd name="connsiteX2981" fmla="*/ 1439891 w 9586368"/>
              <a:gd name="connsiteY2981" fmla="*/ 4325618 h 6479439"/>
              <a:gd name="connsiteX2982" fmla="*/ 1435871 w 9586368"/>
              <a:gd name="connsiteY2982" fmla="*/ 4321579 h 6479439"/>
              <a:gd name="connsiteX2983" fmla="*/ 1435871 w 9586368"/>
              <a:gd name="connsiteY2983" fmla="*/ 4311708 h 6479439"/>
              <a:gd name="connsiteX2984" fmla="*/ 1200575 w 9586368"/>
              <a:gd name="connsiteY2984" fmla="*/ 4307669 h 6479439"/>
              <a:gd name="connsiteX2985" fmla="*/ 1210486 w 9586368"/>
              <a:gd name="connsiteY2985" fmla="*/ 4307669 h 6479439"/>
              <a:gd name="connsiteX2986" fmla="*/ 1214505 w 9586368"/>
              <a:gd name="connsiteY2986" fmla="*/ 4311708 h 6479439"/>
              <a:gd name="connsiteX2987" fmla="*/ 1214505 w 9586368"/>
              <a:gd name="connsiteY2987" fmla="*/ 4321579 h 6479439"/>
              <a:gd name="connsiteX2988" fmla="*/ 1210486 w 9586368"/>
              <a:gd name="connsiteY2988" fmla="*/ 4325618 h 6479439"/>
              <a:gd name="connsiteX2989" fmla="*/ 1200575 w 9586368"/>
              <a:gd name="connsiteY2989" fmla="*/ 4325618 h 6479439"/>
              <a:gd name="connsiteX2990" fmla="*/ 1196556 w 9586368"/>
              <a:gd name="connsiteY2990" fmla="*/ 4321579 h 6479439"/>
              <a:gd name="connsiteX2991" fmla="*/ 1196556 w 9586368"/>
              <a:gd name="connsiteY2991" fmla="*/ 4311708 h 6479439"/>
              <a:gd name="connsiteX2992" fmla="*/ 961263 w 9586368"/>
              <a:gd name="connsiteY2992" fmla="*/ 4307669 h 6479439"/>
              <a:gd name="connsiteX2993" fmla="*/ 971173 w 9586368"/>
              <a:gd name="connsiteY2993" fmla="*/ 4307669 h 6479439"/>
              <a:gd name="connsiteX2994" fmla="*/ 975191 w 9586368"/>
              <a:gd name="connsiteY2994" fmla="*/ 4311708 h 6479439"/>
              <a:gd name="connsiteX2995" fmla="*/ 975191 w 9586368"/>
              <a:gd name="connsiteY2995" fmla="*/ 4321579 h 6479439"/>
              <a:gd name="connsiteX2996" fmla="*/ 971173 w 9586368"/>
              <a:gd name="connsiteY2996" fmla="*/ 4325618 h 6479439"/>
              <a:gd name="connsiteX2997" fmla="*/ 961263 w 9586368"/>
              <a:gd name="connsiteY2997" fmla="*/ 4325618 h 6479439"/>
              <a:gd name="connsiteX2998" fmla="*/ 957244 w 9586368"/>
              <a:gd name="connsiteY2998" fmla="*/ 4321579 h 6479439"/>
              <a:gd name="connsiteX2999" fmla="*/ 957244 w 9586368"/>
              <a:gd name="connsiteY2999" fmla="*/ 4311708 h 6479439"/>
              <a:gd name="connsiteX3000" fmla="*/ 9572438 w 9586368"/>
              <a:gd name="connsiteY3000" fmla="*/ 4307617 h 6479439"/>
              <a:gd name="connsiteX3001" fmla="*/ 9582349 w 9586368"/>
              <a:gd name="connsiteY3001" fmla="*/ 4307617 h 6479439"/>
              <a:gd name="connsiteX3002" fmla="*/ 9586368 w 9586368"/>
              <a:gd name="connsiteY3002" fmla="*/ 4311656 h 6479439"/>
              <a:gd name="connsiteX3003" fmla="*/ 9586368 w 9586368"/>
              <a:gd name="connsiteY3003" fmla="*/ 4321527 h 6479439"/>
              <a:gd name="connsiteX3004" fmla="*/ 9582349 w 9586368"/>
              <a:gd name="connsiteY3004" fmla="*/ 4325566 h 6479439"/>
              <a:gd name="connsiteX3005" fmla="*/ 9572438 w 9586368"/>
              <a:gd name="connsiteY3005" fmla="*/ 4325566 h 6479439"/>
              <a:gd name="connsiteX3006" fmla="*/ 9568419 w 9586368"/>
              <a:gd name="connsiteY3006" fmla="*/ 4321527 h 6479439"/>
              <a:gd name="connsiteX3007" fmla="*/ 9568419 w 9586368"/>
              <a:gd name="connsiteY3007" fmla="*/ 4311656 h 6479439"/>
              <a:gd name="connsiteX3008" fmla="*/ 9333125 w 9586368"/>
              <a:gd name="connsiteY3008" fmla="*/ 4307617 h 6479439"/>
              <a:gd name="connsiteX3009" fmla="*/ 9343036 w 9586368"/>
              <a:gd name="connsiteY3009" fmla="*/ 4307617 h 6479439"/>
              <a:gd name="connsiteX3010" fmla="*/ 9347055 w 9586368"/>
              <a:gd name="connsiteY3010" fmla="*/ 4311656 h 6479439"/>
              <a:gd name="connsiteX3011" fmla="*/ 9347055 w 9586368"/>
              <a:gd name="connsiteY3011" fmla="*/ 4321527 h 6479439"/>
              <a:gd name="connsiteX3012" fmla="*/ 9343036 w 9586368"/>
              <a:gd name="connsiteY3012" fmla="*/ 4325566 h 6479439"/>
              <a:gd name="connsiteX3013" fmla="*/ 9333125 w 9586368"/>
              <a:gd name="connsiteY3013" fmla="*/ 4325566 h 6479439"/>
              <a:gd name="connsiteX3014" fmla="*/ 9329106 w 9586368"/>
              <a:gd name="connsiteY3014" fmla="*/ 4321527 h 6479439"/>
              <a:gd name="connsiteX3015" fmla="*/ 9329106 w 9586368"/>
              <a:gd name="connsiteY3015" fmla="*/ 4311656 h 6479439"/>
              <a:gd name="connsiteX3016" fmla="*/ 9093811 w 9586368"/>
              <a:gd name="connsiteY3016" fmla="*/ 4307617 h 6479439"/>
              <a:gd name="connsiteX3017" fmla="*/ 9103722 w 9586368"/>
              <a:gd name="connsiteY3017" fmla="*/ 4307617 h 6479439"/>
              <a:gd name="connsiteX3018" fmla="*/ 9107741 w 9586368"/>
              <a:gd name="connsiteY3018" fmla="*/ 4311656 h 6479439"/>
              <a:gd name="connsiteX3019" fmla="*/ 9107741 w 9586368"/>
              <a:gd name="connsiteY3019" fmla="*/ 4321527 h 6479439"/>
              <a:gd name="connsiteX3020" fmla="*/ 9103722 w 9586368"/>
              <a:gd name="connsiteY3020" fmla="*/ 4325566 h 6479439"/>
              <a:gd name="connsiteX3021" fmla="*/ 9093811 w 9586368"/>
              <a:gd name="connsiteY3021" fmla="*/ 4325566 h 6479439"/>
              <a:gd name="connsiteX3022" fmla="*/ 9089792 w 9586368"/>
              <a:gd name="connsiteY3022" fmla="*/ 4321527 h 6479439"/>
              <a:gd name="connsiteX3023" fmla="*/ 9089792 w 9586368"/>
              <a:gd name="connsiteY3023" fmla="*/ 4311656 h 6479439"/>
              <a:gd name="connsiteX3024" fmla="*/ 8854496 w 9586368"/>
              <a:gd name="connsiteY3024" fmla="*/ 4307617 h 6479439"/>
              <a:gd name="connsiteX3025" fmla="*/ 8864407 w 9586368"/>
              <a:gd name="connsiteY3025" fmla="*/ 4307617 h 6479439"/>
              <a:gd name="connsiteX3026" fmla="*/ 8868426 w 9586368"/>
              <a:gd name="connsiteY3026" fmla="*/ 4311656 h 6479439"/>
              <a:gd name="connsiteX3027" fmla="*/ 8868426 w 9586368"/>
              <a:gd name="connsiteY3027" fmla="*/ 4321527 h 6479439"/>
              <a:gd name="connsiteX3028" fmla="*/ 8864407 w 9586368"/>
              <a:gd name="connsiteY3028" fmla="*/ 4325566 h 6479439"/>
              <a:gd name="connsiteX3029" fmla="*/ 8854496 w 9586368"/>
              <a:gd name="connsiteY3029" fmla="*/ 4325566 h 6479439"/>
              <a:gd name="connsiteX3030" fmla="*/ 8850477 w 9586368"/>
              <a:gd name="connsiteY3030" fmla="*/ 4321527 h 6479439"/>
              <a:gd name="connsiteX3031" fmla="*/ 8850477 w 9586368"/>
              <a:gd name="connsiteY3031" fmla="*/ 4311656 h 6479439"/>
              <a:gd name="connsiteX3032" fmla="*/ 8615184 w 9586368"/>
              <a:gd name="connsiteY3032" fmla="*/ 4307617 h 6479439"/>
              <a:gd name="connsiteX3033" fmla="*/ 8625095 w 9586368"/>
              <a:gd name="connsiteY3033" fmla="*/ 4307617 h 6479439"/>
              <a:gd name="connsiteX3034" fmla="*/ 8629114 w 9586368"/>
              <a:gd name="connsiteY3034" fmla="*/ 4311656 h 6479439"/>
              <a:gd name="connsiteX3035" fmla="*/ 8629114 w 9586368"/>
              <a:gd name="connsiteY3035" fmla="*/ 4321527 h 6479439"/>
              <a:gd name="connsiteX3036" fmla="*/ 8625095 w 9586368"/>
              <a:gd name="connsiteY3036" fmla="*/ 4325566 h 6479439"/>
              <a:gd name="connsiteX3037" fmla="*/ 8615184 w 9586368"/>
              <a:gd name="connsiteY3037" fmla="*/ 4325566 h 6479439"/>
              <a:gd name="connsiteX3038" fmla="*/ 8611165 w 9586368"/>
              <a:gd name="connsiteY3038" fmla="*/ 4321527 h 6479439"/>
              <a:gd name="connsiteX3039" fmla="*/ 8611165 w 9586368"/>
              <a:gd name="connsiteY3039" fmla="*/ 4311656 h 6479439"/>
              <a:gd name="connsiteX3040" fmla="*/ 8375869 w 9586368"/>
              <a:gd name="connsiteY3040" fmla="*/ 4307617 h 6479439"/>
              <a:gd name="connsiteX3041" fmla="*/ 8385779 w 9586368"/>
              <a:gd name="connsiteY3041" fmla="*/ 4307617 h 6479439"/>
              <a:gd name="connsiteX3042" fmla="*/ 8389799 w 9586368"/>
              <a:gd name="connsiteY3042" fmla="*/ 4311656 h 6479439"/>
              <a:gd name="connsiteX3043" fmla="*/ 8389799 w 9586368"/>
              <a:gd name="connsiteY3043" fmla="*/ 4321527 h 6479439"/>
              <a:gd name="connsiteX3044" fmla="*/ 8385779 w 9586368"/>
              <a:gd name="connsiteY3044" fmla="*/ 4325566 h 6479439"/>
              <a:gd name="connsiteX3045" fmla="*/ 8375869 w 9586368"/>
              <a:gd name="connsiteY3045" fmla="*/ 4325566 h 6479439"/>
              <a:gd name="connsiteX3046" fmla="*/ 8371850 w 9586368"/>
              <a:gd name="connsiteY3046" fmla="*/ 4321527 h 6479439"/>
              <a:gd name="connsiteX3047" fmla="*/ 8371850 w 9586368"/>
              <a:gd name="connsiteY3047" fmla="*/ 4311656 h 6479439"/>
              <a:gd name="connsiteX3048" fmla="*/ 8136553 w 9586368"/>
              <a:gd name="connsiteY3048" fmla="*/ 4307617 h 6479439"/>
              <a:gd name="connsiteX3049" fmla="*/ 8146464 w 9586368"/>
              <a:gd name="connsiteY3049" fmla="*/ 4307617 h 6479439"/>
              <a:gd name="connsiteX3050" fmla="*/ 8150483 w 9586368"/>
              <a:gd name="connsiteY3050" fmla="*/ 4311656 h 6479439"/>
              <a:gd name="connsiteX3051" fmla="*/ 8150483 w 9586368"/>
              <a:gd name="connsiteY3051" fmla="*/ 4321527 h 6479439"/>
              <a:gd name="connsiteX3052" fmla="*/ 8146464 w 9586368"/>
              <a:gd name="connsiteY3052" fmla="*/ 4325566 h 6479439"/>
              <a:gd name="connsiteX3053" fmla="*/ 8136553 w 9586368"/>
              <a:gd name="connsiteY3053" fmla="*/ 4325566 h 6479439"/>
              <a:gd name="connsiteX3054" fmla="*/ 8132534 w 9586368"/>
              <a:gd name="connsiteY3054" fmla="*/ 4321527 h 6479439"/>
              <a:gd name="connsiteX3055" fmla="*/ 8132534 w 9586368"/>
              <a:gd name="connsiteY3055" fmla="*/ 4311656 h 6479439"/>
              <a:gd name="connsiteX3056" fmla="*/ 7897241 w 9586368"/>
              <a:gd name="connsiteY3056" fmla="*/ 4307617 h 6479439"/>
              <a:gd name="connsiteX3057" fmla="*/ 7907151 w 9586368"/>
              <a:gd name="connsiteY3057" fmla="*/ 4307617 h 6479439"/>
              <a:gd name="connsiteX3058" fmla="*/ 7911170 w 9586368"/>
              <a:gd name="connsiteY3058" fmla="*/ 4311656 h 6479439"/>
              <a:gd name="connsiteX3059" fmla="*/ 7911170 w 9586368"/>
              <a:gd name="connsiteY3059" fmla="*/ 4321527 h 6479439"/>
              <a:gd name="connsiteX3060" fmla="*/ 7907151 w 9586368"/>
              <a:gd name="connsiteY3060" fmla="*/ 4325566 h 6479439"/>
              <a:gd name="connsiteX3061" fmla="*/ 7897241 w 9586368"/>
              <a:gd name="connsiteY3061" fmla="*/ 4325566 h 6479439"/>
              <a:gd name="connsiteX3062" fmla="*/ 7893222 w 9586368"/>
              <a:gd name="connsiteY3062" fmla="*/ 4321527 h 6479439"/>
              <a:gd name="connsiteX3063" fmla="*/ 7893222 w 9586368"/>
              <a:gd name="connsiteY3063" fmla="*/ 4311656 h 6479439"/>
              <a:gd name="connsiteX3064" fmla="*/ 7657926 w 9586368"/>
              <a:gd name="connsiteY3064" fmla="*/ 4307617 h 6479439"/>
              <a:gd name="connsiteX3065" fmla="*/ 7667836 w 9586368"/>
              <a:gd name="connsiteY3065" fmla="*/ 4307617 h 6479439"/>
              <a:gd name="connsiteX3066" fmla="*/ 7671855 w 9586368"/>
              <a:gd name="connsiteY3066" fmla="*/ 4311656 h 6479439"/>
              <a:gd name="connsiteX3067" fmla="*/ 7671855 w 9586368"/>
              <a:gd name="connsiteY3067" fmla="*/ 4321527 h 6479439"/>
              <a:gd name="connsiteX3068" fmla="*/ 7667836 w 9586368"/>
              <a:gd name="connsiteY3068" fmla="*/ 4325566 h 6479439"/>
              <a:gd name="connsiteX3069" fmla="*/ 7657926 w 9586368"/>
              <a:gd name="connsiteY3069" fmla="*/ 4325566 h 6479439"/>
              <a:gd name="connsiteX3070" fmla="*/ 7653906 w 9586368"/>
              <a:gd name="connsiteY3070" fmla="*/ 4321527 h 6479439"/>
              <a:gd name="connsiteX3071" fmla="*/ 7653906 w 9586368"/>
              <a:gd name="connsiteY3071" fmla="*/ 4311656 h 6479439"/>
              <a:gd name="connsiteX3072" fmla="*/ 7418611 w 9586368"/>
              <a:gd name="connsiteY3072" fmla="*/ 4307617 h 6479439"/>
              <a:gd name="connsiteX3073" fmla="*/ 7428521 w 9586368"/>
              <a:gd name="connsiteY3073" fmla="*/ 4307617 h 6479439"/>
              <a:gd name="connsiteX3074" fmla="*/ 7432540 w 9586368"/>
              <a:gd name="connsiteY3074" fmla="*/ 4311656 h 6479439"/>
              <a:gd name="connsiteX3075" fmla="*/ 7432540 w 9586368"/>
              <a:gd name="connsiteY3075" fmla="*/ 4321527 h 6479439"/>
              <a:gd name="connsiteX3076" fmla="*/ 7428521 w 9586368"/>
              <a:gd name="connsiteY3076" fmla="*/ 4325566 h 6479439"/>
              <a:gd name="connsiteX3077" fmla="*/ 7418611 w 9586368"/>
              <a:gd name="connsiteY3077" fmla="*/ 4325566 h 6479439"/>
              <a:gd name="connsiteX3078" fmla="*/ 7414592 w 9586368"/>
              <a:gd name="connsiteY3078" fmla="*/ 4321527 h 6479439"/>
              <a:gd name="connsiteX3079" fmla="*/ 7414592 w 9586368"/>
              <a:gd name="connsiteY3079" fmla="*/ 4311656 h 6479439"/>
              <a:gd name="connsiteX3080" fmla="*/ 7179298 w 9586368"/>
              <a:gd name="connsiteY3080" fmla="*/ 4307617 h 6479439"/>
              <a:gd name="connsiteX3081" fmla="*/ 7189209 w 9586368"/>
              <a:gd name="connsiteY3081" fmla="*/ 4307617 h 6479439"/>
              <a:gd name="connsiteX3082" fmla="*/ 7193228 w 9586368"/>
              <a:gd name="connsiteY3082" fmla="*/ 4311656 h 6479439"/>
              <a:gd name="connsiteX3083" fmla="*/ 7193228 w 9586368"/>
              <a:gd name="connsiteY3083" fmla="*/ 4321527 h 6479439"/>
              <a:gd name="connsiteX3084" fmla="*/ 7189209 w 9586368"/>
              <a:gd name="connsiteY3084" fmla="*/ 4325566 h 6479439"/>
              <a:gd name="connsiteX3085" fmla="*/ 7179298 w 9586368"/>
              <a:gd name="connsiteY3085" fmla="*/ 4325566 h 6479439"/>
              <a:gd name="connsiteX3086" fmla="*/ 7175279 w 9586368"/>
              <a:gd name="connsiteY3086" fmla="*/ 4321527 h 6479439"/>
              <a:gd name="connsiteX3087" fmla="*/ 7175279 w 9586368"/>
              <a:gd name="connsiteY3087" fmla="*/ 4311656 h 6479439"/>
              <a:gd name="connsiteX3088" fmla="*/ 6939983 w 9586368"/>
              <a:gd name="connsiteY3088" fmla="*/ 4307617 h 6479439"/>
              <a:gd name="connsiteX3089" fmla="*/ 6949894 w 9586368"/>
              <a:gd name="connsiteY3089" fmla="*/ 4307617 h 6479439"/>
              <a:gd name="connsiteX3090" fmla="*/ 6953913 w 9586368"/>
              <a:gd name="connsiteY3090" fmla="*/ 4311656 h 6479439"/>
              <a:gd name="connsiteX3091" fmla="*/ 6953913 w 9586368"/>
              <a:gd name="connsiteY3091" fmla="*/ 4321527 h 6479439"/>
              <a:gd name="connsiteX3092" fmla="*/ 6949894 w 9586368"/>
              <a:gd name="connsiteY3092" fmla="*/ 4325566 h 6479439"/>
              <a:gd name="connsiteX3093" fmla="*/ 6939983 w 9586368"/>
              <a:gd name="connsiteY3093" fmla="*/ 4325566 h 6479439"/>
              <a:gd name="connsiteX3094" fmla="*/ 6935964 w 9586368"/>
              <a:gd name="connsiteY3094" fmla="*/ 4321527 h 6479439"/>
              <a:gd name="connsiteX3095" fmla="*/ 6935964 w 9586368"/>
              <a:gd name="connsiteY3095" fmla="*/ 4311656 h 6479439"/>
              <a:gd name="connsiteX3096" fmla="*/ 6700670 w 9586368"/>
              <a:gd name="connsiteY3096" fmla="*/ 4307617 h 6479439"/>
              <a:gd name="connsiteX3097" fmla="*/ 6710581 w 9586368"/>
              <a:gd name="connsiteY3097" fmla="*/ 4307617 h 6479439"/>
              <a:gd name="connsiteX3098" fmla="*/ 6714600 w 9586368"/>
              <a:gd name="connsiteY3098" fmla="*/ 4311656 h 6479439"/>
              <a:gd name="connsiteX3099" fmla="*/ 6714600 w 9586368"/>
              <a:gd name="connsiteY3099" fmla="*/ 4321527 h 6479439"/>
              <a:gd name="connsiteX3100" fmla="*/ 6710581 w 9586368"/>
              <a:gd name="connsiteY3100" fmla="*/ 4325566 h 6479439"/>
              <a:gd name="connsiteX3101" fmla="*/ 6700670 w 9586368"/>
              <a:gd name="connsiteY3101" fmla="*/ 4325566 h 6479439"/>
              <a:gd name="connsiteX3102" fmla="*/ 6696651 w 9586368"/>
              <a:gd name="connsiteY3102" fmla="*/ 4321527 h 6479439"/>
              <a:gd name="connsiteX3103" fmla="*/ 6696651 w 9586368"/>
              <a:gd name="connsiteY3103" fmla="*/ 4311656 h 6479439"/>
              <a:gd name="connsiteX3104" fmla="*/ 6461356 w 9586368"/>
              <a:gd name="connsiteY3104" fmla="*/ 4307617 h 6479439"/>
              <a:gd name="connsiteX3105" fmla="*/ 6471266 w 9586368"/>
              <a:gd name="connsiteY3105" fmla="*/ 4307617 h 6479439"/>
              <a:gd name="connsiteX3106" fmla="*/ 6475285 w 9586368"/>
              <a:gd name="connsiteY3106" fmla="*/ 4311656 h 6479439"/>
              <a:gd name="connsiteX3107" fmla="*/ 6475285 w 9586368"/>
              <a:gd name="connsiteY3107" fmla="*/ 4321527 h 6479439"/>
              <a:gd name="connsiteX3108" fmla="*/ 6471266 w 9586368"/>
              <a:gd name="connsiteY3108" fmla="*/ 4325566 h 6479439"/>
              <a:gd name="connsiteX3109" fmla="*/ 6461356 w 9586368"/>
              <a:gd name="connsiteY3109" fmla="*/ 4325566 h 6479439"/>
              <a:gd name="connsiteX3110" fmla="*/ 6457337 w 9586368"/>
              <a:gd name="connsiteY3110" fmla="*/ 4321527 h 6479439"/>
              <a:gd name="connsiteX3111" fmla="*/ 6457337 w 9586368"/>
              <a:gd name="connsiteY3111" fmla="*/ 4311656 h 6479439"/>
              <a:gd name="connsiteX3112" fmla="*/ 6222042 w 9586368"/>
              <a:gd name="connsiteY3112" fmla="*/ 4307617 h 6479439"/>
              <a:gd name="connsiteX3113" fmla="*/ 6231952 w 9586368"/>
              <a:gd name="connsiteY3113" fmla="*/ 4307617 h 6479439"/>
              <a:gd name="connsiteX3114" fmla="*/ 6235971 w 9586368"/>
              <a:gd name="connsiteY3114" fmla="*/ 4311656 h 6479439"/>
              <a:gd name="connsiteX3115" fmla="*/ 6235971 w 9586368"/>
              <a:gd name="connsiteY3115" fmla="*/ 4321527 h 6479439"/>
              <a:gd name="connsiteX3116" fmla="*/ 6231952 w 9586368"/>
              <a:gd name="connsiteY3116" fmla="*/ 4325566 h 6479439"/>
              <a:gd name="connsiteX3117" fmla="*/ 6222042 w 9586368"/>
              <a:gd name="connsiteY3117" fmla="*/ 4325566 h 6479439"/>
              <a:gd name="connsiteX3118" fmla="*/ 6218023 w 9586368"/>
              <a:gd name="connsiteY3118" fmla="*/ 4321527 h 6479439"/>
              <a:gd name="connsiteX3119" fmla="*/ 6218023 w 9586368"/>
              <a:gd name="connsiteY3119" fmla="*/ 4311656 h 6479439"/>
              <a:gd name="connsiteX3120" fmla="*/ 5982729 w 9586368"/>
              <a:gd name="connsiteY3120" fmla="*/ 4307617 h 6479439"/>
              <a:gd name="connsiteX3121" fmla="*/ 5992639 w 9586368"/>
              <a:gd name="connsiteY3121" fmla="*/ 4307617 h 6479439"/>
              <a:gd name="connsiteX3122" fmla="*/ 5996658 w 9586368"/>
              <a:gd name="connsiteY3122" fmla="*/ 4311656 h 6479439"/>
              <a:gd name="connsiteX3123" fmla="*/ 5996658 w 9586368"/>
              <a:gd name="connsiteY3123" fmla="*/ 4321527 h 6479439"/>
              <a:gd name="connsiteX3124" fmla="*/ 5992639 w 9586368"/>
              <a:gd name="connsiteY3124" fmla="*/ 4325566 h 6479439"/>
              <a:gd name="connsiteX3125" fmla="*/ 5982729 w 9586368"/>
              <a:gd name="connsiteY3125" fmla="*/ 4325566 h 6479439"/>
              <a:gd name="connsiteX3126" fmla="*/ 5978710 w 9586368"/>
              <a:gd name="connsiteY3126" fmla="*/ 4321527 h 6479439"/>
              <a:gd name="connsiteX3127" fmla="*/ 5978710 w 9586368"/>
              <a:gd name="connsiteY3127" fmla="*/ 4311656 h 6479439"/>
              <a:gd name="connsiteX3128" fmla="*/ 5743412 w 9586368"/>
              <a:gd name="connsiteY3128" fmla="*/ 4307617 h 6479439"/>
              <a:gd name="connsiteX3129" fmla="*/ 5753323 w 9586368"/>
              <a:gd name="connsiteY3129" fmla="*/ 4307617 h 6479439"/>
              <a:gd name="connsiteX3130" fmla="*/ 5757342 w 9586368"/>
              <a:gd name="connsiteY3130" fmla="*/ 4311656 h 6479439"/>
              <a:gd name="connsiteX3131" fmla="*/ 5757342 w 9586368"/>
              <a:gd name="connsiteY3131" fmla="*/ 4321527 h 6479439"/>
              <a:gd name="connsiteX3132" fmla="*/ 5753323 w 9586368"/>
              <a:gd name="connsiteY3132" fmla="*/ 4325566 h 6479439"/>
              <a:gd name="connsiteX3133" fmla="*/ 5743412 w 9586368"/>
              <a:gd name="connsiteY3133" fmla="*/ 4325566 h 6479439"/>
              <a:gd name="connsiteX3134" fmla="*/ 5739393 w 9586368"/>
              <a:gd name="connsiteY3134" fmla="*/ 4321527 h 6479439"/>
              <a:gd name="connsiteX3135" fmla="*/ 5739393 w 9586368"/>
              <a:gd name="connsiteY3135" fmla="*/ 4311656 h 6479439"/>
              <a:gd name="connsiteX3136" fmla="*/ 5504099 w 9586368"/>
              <a:gd name="connsiteY3136" fmla="*/ 4307617 h 6479439"/>
              <a:gd name="connsiteX3137" fmla="*/ 5514010 w 9586368"/>
              <a:gd name="connsiteY3137" fmla="*/ 4307617 h 6479439"/>
              <a:gd name="connsiteX3138" fmla="*/ 5518029 w 9586368"/>
              <a:gd name="connsiteY3138" fmla="*/ 4311656 h 6479439"/>
              <a:gd name="connsiteX3139" fmla="*/ 5518029 w 9586368"/>
              <a:gd name="connsiteY3139" fmla="*/ 4321527 h 6479439"/>
              <a:gd name="connsiteX3140" fmla="*/ 5514010 w 9586368"/>
              <a:gd name="connsiteY3140" fmla="*/ 4325566 h 6479439"/>
              <a:gd name="connsiteX3141" fmla="*/ 5504099 w 9586368"/>
              <a:gd name="connsiteY3141" fmla="*/ 4325566 h 6479439"/>
              <a:gd name="connsiteX3142" fmla="*/ 5500080 w 9586368"/>
              <a:gd name="connsiteY3142" fmla="*/ 4321527 h 6479439"/>
              <a:gd name="connsiteX3143" fmla="*/ 5500080 w 9586368"/>
              <a:gd name="connsiteY3143" fmla="*/ 4311656 h 6479439"/>
              <a:gd name="connsiteX3144" fmla="*/ 5264784 w 9586368"/>
              <a:gd name="connsiteY3144" fmla="*/ 4307617 h 6479439"/>
              <a:gd name="connsiteX3145" fmla="*/ 5274694 w 9586368"/>
              <a:gd name="connsiteY3145" fmla="*/ 4307617 h 6479439"/>
              <a:gd name="connsiteX3146" fmla="*/ 5278713 w 9586368"/>
              <a:gd name="connsiteY3146" fmla="*/ 4311656 h 6479439"/>
              <a:gd name="connsiteX3147" fmla="*/ 5278713 w 9586368"/>
              <a:gd name="connsiteY3147" fmla="*/ 4321527 h 6479439"/>
              <a:gd name="connsiteX3148" fmla="*/ 5274694 w 9586368"/>
              <a:gd name="connsiteY3148" fmla="*/ 4325566 h 6479439"/>
              <a:gd name="connsiteX3149" fmla="*/ 5264784 w 9586368"/>
              <a:gd name="connsiteY3149" fmla="*/ 4325566 h 6479439"/>
              <a:gd name="connsiteX3150" fmla="*/ 5260765 w 9586368"/>
              <a:gd name="connsiteY3150" fmla="*/ 4321527 h 6479439"/>
              <a:gd name="connsiteX3151" fmla="*/ 5260765 w 9586368"/>
              <a:gd name="connsiteY3151" fmla="*/ 4311656 h 6479439"/>
              <a:gd name="connsiteX3152" fmla="*/ 5025470 w 9586368"/>
              <a:gd name="connsiteY3152" fmla="*/ 4307617 h 6479439"/>
              <a:gd name="connsiteX3153" fmla="*/ 5035381 w 9586368"/>
              <a:gd name="connsiteY3153" fmla="*/ 4307617 h 6479439"/>
              <a:gd name="connsiteX3154" fmla="*/ 5039400 w 9586368"/>
              <a:gd name="connsiteY3154" fmla="*/ 4311656 h 6479439"/>
              <a:gd name="connsiteX3155" fmla="*/ 5039400 w 9586368"/>
              <a:gd name="connsiteY3155" fmla="*/ 4321527 h 6479439"/>
              <a:gd name="connsiteX3156" fmla="*/ 5035381 w 9586368"/>
              <a:gd name="connsiteY3156" fmla="*/ 4325566 h 6479439"/>
              <a:gd name="connsiteX3157" fmla="*/ 5025470 w 9586368"/>
              <a:gd name="connsiteY3157" fmla="*/ 4325566 h 6479439"/>
              <a:gd name="connsiteX3158" fmla="*/ 5021451 w 9586368"/>
              <a:gd name="connsiteY3158" fmla="*/ 4321527 h 6479439"/>
              <a:gd name="connsiteX3159" fmla="*/ 5021451 w 9586368"/>
              <a:gd name="connsiteY3159" fmla="*/ 4311656 h 6479439"/>
              <a:gd name="connsiteX3160" fmla="*/ 4786241 w 9586368"/>
              <a:gd name="connsiteY3160" fmla="*/ 4307617 h 6479439"/>
              <a:gd name="connsiteX3161" fmla="*/ 4796152 w 9586368"/>
              <a:gd name="connsiteY3161" fmla="*/ 4307617 h 6479439"/>
              <a:gd name="connsiteX3162" fmla="*/ 4800171 w 9586368"/>
              <a:gd name="connsiteY3162" fmla="*/ 4311656 h 6479439"/>
              <a:gd name="connsiteX3163" fmla="*/ 4800171 w 9586368"/>
              <a:gd name="connsiteY3163" fmla="*/ 4321527 h 6479439"/>
              <a:gd name="connsiteX3164" fmla="*/ 4796152 w 9586368"/>
              <a:gd name="connsiteY3164" fmla="*/ 4325566 h 6479439"/>
              <a:gd name="connsiteX3165" fmla="*/ 4786241 w 9586368"/>
              <a:gd name="connsiteY3165" fmla="*/ 4325566 h 6479439"/>
              <a:gd name="connsiteX3166" fmla="*/ 4782224 w 9586368"/>
              <a:gd name="connsiteY3166" fmla="*/ 4321527 h 6479439"/>
              <a:gd name="connsiteX3167" fmla="*/ 4782224 w 9586368"/>
              <a:gd name="connsiteY3167" fmla="*/ 4311656 h 6479439"/>
              <a:gd name="connsiteX3168" fmla="*/ 4546929 w 9586368"/>
              <a:gd name="connsiteY3168" fmla="*/ 4307617 h 6479439"/>
              <a:gd name="connsiteX3169" fmla="*/ 4556840 w 9586368"/>
              <a:gd name="connsiteY3169" fmla="*/ 4307617 h 6479439"/>
              <a:gd name="connsiteX3170" fmla="*/ 4560859 w 9586368"/>
              <a:gd name="connsiteY3170" fmla="*/ 4311656 h 6479439"/>
              <a:gd name="connsiteX3171" fmla="*/ 4560859 w 9586368"/>
              <a:gd name="connsiteY3171" fmla="*/ 4321527 h 6479439"/>
              <a:gd name="connsiteX3172" fmla="*/ 4556840 w 9586368"/>
              <a:gd name="connsiteY3172" fmla="*/ 4325566 h 6479439"/>
              <a:gd name="connsiteX3173" fmla="*/ 4546929 w 9586368"/>
              <a:gd name="connsiteY3173" fmla="*/ 4325566 h 6479439"/>
              <a:gd name="connsiteX3174" fmla="*/ 4542910 w 9586368"/>
              <a:gd name="connsiteY3174" fmla="*/ 4321527 h 6479439"/>
              <a:gd name="connsiteX3175" fmla="*/ 4542910 w 9586368"/>
              <a:gd name="connsiteY3175" fmla="*/ 4311656 h 6479439"/>
              <a:gd name="connsiteX3176" fmla="*/ 4307612 w 9586368"/>
              <a:gd name="connsiteY3176" fmla="*/ 4307617 h 6479439"/>
              <a:gd name="connsiteX3177" fmla="*/ 4317523 w 9586368"/>
              <a:gd name="connsiteY3177" fmla="*/ 4307617 h 6479439"/>
              <a:gd name="connsiteX3178" fmla="*/ 4321543 w 9586368"/>
              <a:gd name="connsiteY3178" fmla="*/ 4311656 h 6479439"/>
              <a:gd name="connsiteX3179" fmla="*/ 4321543 w 9586368"/>
              <a:gd name="connsiteY3179" fmla="*/ 4321527 h 6479439"/>
              <a:gd name="connsiteX3180" fmla="*/ 4317523 w 9586368"/>
              <a:gd name="connsiteY3180" fmla="*/ 4325566 h 6479439"/>
              <a:gd name="connsiteX3181" fmla="*/ 4307612 w 9586368"/>
              <a:gd name="connsiteY3181" fmla="*/ 4325566 h 6479439"/>
              <a:gd name="connsiteX3182" fmla="*/ 4303595 w 9586368"/>
              <a:gd name="connsiteY3182" fmla="*/ 4321527 h 6479439"/>
              <a:gd name="connsiteX3183" fmla="*/ 4303595 w 9586368"/>
              <a:gd name="connsiteY3183" fmla="*/ 4311656 h 6479439"/>
              <a:gd name="connsiteX3184" fmla="*/ 4068297 w 9586368"/>
              <a:gd name="connsiteY3184" fmla="*/ 4307617 h 6479439"/>
              <a:gd name="connsiteX3185" fmla="*/ 4078210 w 9586368"/>
              <a:gd name="connsiteY3185" fmla="*/ 4307617 h 6479439"/>
              <a:gd name="connsiteX3186" fmla="*/ 4082229 w 9586368"/>
              <a:gd name="connsiteY3186" fmla="*/ 4311656 h 6479439"/>
              <a:gd name="connsiteX3187" fmla="*/ 4082229 w 9586368"/>
              <a:gd name="connsiteY3187" fmla="*/ 4321527 h 6479439"/>
              <a:gd name="connsiteX3188" fmla="*/ 4078210 w 9586368"/>
              <a:gd name="connsiteY3188" fmla="*/ 4325566 h 6479439"/>
              <a:gd name="connsiteX3189" fmla="*/ 4068297 w 9586368"/>
              <a:gd name="connsiteY3189" fmla="*/ 4325566 h 6479439"/>
              <a:gd name="connsiteX3190" fmla="*/ 4064278 w 9586368"/>
              <a:gd name="connsiteY3190" fmla="*/ 4321527 h 6479439"/>
              <a:gd name="connsiteX3191" fmla="*/ 4064278 w 9586368"/>
              <a:gd name="connsiteY3191" fmla="*/ 4311656 h 6479439"/>
              <a:gd name="connsiteX3192" fmla="*/ 3828990 w 9586368"/>
              <a:gd name="connsiteY3192" fmla="*/ 4307617 h 6479439"/>
              <a:gd name="connsiteX3193" fmla="*/ 3838899 w 9586368"/>
              <a:gd name="connsiteY3193" fmla="*/ 4307617 h 6479439"/>
              <a:gd name="connsiteX3194" fmla="*/ 3842917 w 9586368"/>
              <a:gd name="connsiteY3194" fmla="*/ 4311656 h 6479439"/>
              <a:gd name="connsiteX3195" fmla="*/ 3842917 w 9586368"/>
              <a:gd name="connsiteY3195" fmla="*/ 4321527 h 6479439"/>
              <a:gd name="connsiteX3196" fmla="*/ 3838899 w 9586368"/>
              <a:gd name="connsiteY3196" fmla="*/ 4325566 h 6479439"/>
              <a:gd name="connsiteX3197" fmla="*/ 3828990 w 9586368"/>
              <a:gd name="connsiteY3197" fmla="*/ 4325566 h 6479439"/>
              <a:gd name="connsiteX3198" fmla="*/ 3824971 w 9586368"/>
              <a:gd name="connsiteY3198" fmla="*/ 4321527 h 6479439"/>
              <a:gd name="connsiteX3199" fmla="*/ 3824971 w 9586368"/>
              <a:gd name="connsiteY3199" fmla="*/ 4311656 h 6479439"/>
              <a:gd name="connsiteX3200" fmla="*/ 3589676 w 9586368"/>
              <a:gd name="connsiteY3200" fmla="*/ 4307617 h 6479439"/>
              <a:gd name="connsiteX3201" fmla="*/ 3599585 w 9586368"/>
              <a:gd name="connsiteY3201" fmla="*/ 4307617 h 6479439"/>
              <a:gd name="connsiteX3202" fmla="*/ 3603604 w 9586368"/>
              <a:gd name="connsiteY3202" fmla="*/ 4311656 h 6479439"/>
              <a:gd name="connsiteX3203" fmla="*/ 3603604 w 9586368"/>
              <a:gd name="connsiteY3203" fmla="*/ 4321527 h 6479439"/>
              <a:gd name="connsiteX3204" fmla="*/ 3599585 w 9586368"/>
              <a:gd name="connsiteY3204" fmla="*/ 4325566 h 6479439"/>
              <a:gd name="connsiteX3205" fmla="*/ 3589676 w 9586368"/>
              <a:gd name="connsiteY3205" fmla="*/ 4325566 h 6479439"/>
              <a:gd name="connsiteX3206" fmla="*/ 3585657 w 9586368"/>
              <a:gd name="connsiteY3206" fmla="*/ 4321527 h 6479439"/>
              <a:gd name="connsiteX3207" fmla="*/ 3585657 w 9586368"/>
              <a:gd name="connsiteY3207" fmla="*/ 4311656 h 6479439"/>
              <a:gd name="connsiteX3208" fmla="*/ 3350359 w 9586368"/>
              <a:gd name="connsiteY3208" fmla="*/ 4307617 h 6479439"/>
              <a:gd name="connsiteX3209" fmla="*/ 3360268 w 9586368"/>
              <a:gd name="connsiteY3209" fmla="*/ 4307617 h 6479439"/>
              <a:gd name="connsiteX3210" fmla="*/ 3364287 w 9586368"/>
              <a:gd name="connsiteY3210" fmla="*/ 4311656 h 6479439"/>
              <a:gd name="connsiteX3211" fmla="*/ 3364287 w 9586368"/>
              <a:gd name="connsiteY3211" fmla="*/ 4321527 h 6479439"/>
              <a:gd name="connsiteX3212" fmla="*/ 3360268 w 9586368"/>
              <a:gd name="connsiteY3212" fmla="*/ 4325566 h 6479439"/>
              <a:gd name="connsiteX3213" fmla="*/ 3350359 w 9586368"/>
              <a:gd name="connsiteY3213" fmla="*/ 4325566 h 6479439"/>
              <a:gd name="connsiteX3214" fmla="*/ 3346340 w 9586368"/>
              <a:gd name="connsiteY3214" fmla="*/ 4321527 h 6479439"/>
              <a:gd name="connsiteX3215" fmla="*/ 3346340 w 9586368"/>
              <a:gd name="connsiteY3215" fmla="*/ 4311656 h 6479439"/>
              <a:gd name="connsiteX3216" fmla="*/ 3111048 w 9586368"/>
              <a:gd name="connsiteY3216" fmla="*/ 4307617 h 6479439"/>
              <a:gd name="connsiteX3217" fmla="*/ 3120959 w 9586368"/>
              <a:gd name="connsiteY3217" fmla="*/ 4307617 h 6479439"/>
              <a:gd name="connsiteX3218" fmla="*/ 3124977 w 9586368"/>
              <a:gd name="connsiteY3218" fmla="*/ 4311656 h 6479439"/>
              <a:gd name="connsiteX3219" fmla="*/ 3124977 w 9586368"/>
              <a:gd name="connsiteY3219" fmla="*/ 4321527 h 6479439"/>
              <a:gd name="connsiteX3220" fmla="*/ 3120959 w 9586368"/>
              <a:gd name="connsiteY3220" fmla="*/ 4325566 h 6479439"/>
              <a:gd name="connsiteX3221" fmla="*/ 3111048 w 9586368"/>
              <a:gd name="connsiteY3221" fmla="*/ 4325566 h 6479439"/>
              <a:gd name="connsiteX3222" fmla="*/ 3107029 w 9586368"/>
              <a:gd name="connsiteY3222" fmla="*/ 4321527 h 6479439"/>
              <a:gd name="connsiteX3223" fmla="*/ 3107029 w 9586368"/>
              <a:gd name="connsiteY3223" fmla="*/ 4311656 h 6479439"/>
              <a:gd name="connsiteX3224" fmla="*/ 2871737 w 9586368"/>
              <a:gd name="connsiteY3224" fmla="*/ 4307617 h 6479439"/>
              <a:gd name="connsiteX3225" fmla="*/ 2881646 w 9586368"/>
              <a:gd name="connsiteY3225" fmla="*/ 4307617 h 6479439"/>
              <a:gd name="connsiteX3226" fmla="*/ 2885666 w 9586368"/>
              <a:gd name="connsiteY3226" fmla="*/ 4311656 h 6479439"/>
              <a:gd name="connsiteX3227" fmla="*/ 2885666 w 9586368"/>
              <a:gd name="connsiteY3227" fmla="*/ 4321527 h 6479439"/>
              <a:gd name="connsiteX3228" fmla="*/ 2881646 w 9586368"/>
              <a:gd name="connsiteY3228" fmla="*/ 4325566 h 6479439"/>
              <a:gd name="connsiteX3229" fmla="*/ 2871737 w 9586368"/>
              <a:gd name="connsiteY3229" fmla="*/ 4325566 h 6479439"/>
              <a:gd name="connsiteX3230" fmla="*/ 2867717 w 9586368"/>
              <a:gd name="connsiteY3230" fmla="*/ 4321527 h 6479439"/>
              <a:gd name="connsiteX3231" fmla="*/ 2867717 w 9586368"/>
              <a:gd name="connsiteY3231" fmla="*/ 4311656 h 6479439"/>
              <a:gd name="connsiteX3232" fmla="*/ 2632423 w 9586368"/>
              <a:gd name="connsiteY3232" fmla="*/ 4307617 h 6479439"/>
              <a:gd name="connsiteX3233" fmla="*/ 2642334 w 9586368"/>
              <a:gd name="connsiteY3233" fmla="*/ 4307617 h 6479439"/>
              <a:gd name="connsiteX3234" fmla="*/ 2646352 w 9586368"/>
              <a:gd name="connsiteY3234" fmla="*/ 4311656 h 6479439"/>
              <a:gd name="connsiteX3235" fmla="*/ 2646352 w 9586368"/>
              <a:gd name="connsiteY3235" fmla="*/ 4321527 h 6479439"/>
              <a:gd name="connsiteX3236" fmla="*/ 2642334 w 9586368"/>
              <a:gd name="connsiteY3236" fmla="*/ 4325566 h 6479439"/>
              <a:gd name="connsiteX3237" fmla="*/ 2632423 w 9586368"/>
              <a:gd name="connsiteY3237" fmla="*/ 4325566 h 6479439"/>
              <a:gd name="connsiteX3238" fmla="*/ 2628404 w 9586368"/>
              <a:gd name="connsiteY3238" fmla="*/ 4321527 h 6479439"/>
              <a:gd name="connsiteX3239" fmla="*/ 2628404 w 9586368"/>
              <a:gd name="connsiteY3239" fmla="*/ 4311656 h 6479439"/>
              <a:gd name="connsiteX3240" fmla="*/ 2393104 w 9586368"/>
              <a:gd name="connsiteY3240" fmla="*/ 4307617 h 6479439"/>
              <a:gd name="connsiteX3241" fmla="*/ 2403015 w 9586368"/>
              <a:gd name="connsiteY3241" fmla="*/ 4307617 h 6479439"/>
              <a:gd name="connsiteX3242" fmla="*/ 2407034 w 9586368"/>
              <a:gd name="connsiteY3242" fmla="*/ 4311656 h 6479439"/>
              <a:gd name="connsiteX3243" fmla="*/ 2407034 w 9586368"/>
              <a:gd name="connsiteY3243" fmla="*/ 4321527 h 6479439"/>
              <a:gd name="connsiteX3244" fmla="*/ 2403015 w 9586368"/>
              <a:gd name="connsiteY3244" fmla="*/ 4325566 h 6479439"/>
              <a:gd name="connsiteX3245" fmla="*/ 2393104 w 9586368"/>
              <a:gd name="connsiteY3245" fmla="*/ 4325566 h 6479439"/>
              <a:gd name="connsiteX3246" fmla="*/ 2389087 w 9586368"/>
              <a:gd name="connsiteY3246" fmla="*/ 4321527 h 6479439"/>
              <a:gd name="connsiteX3247" fmla="*/ 2389087 w 9586368"/>
              <a:gd name="connsiteY3247" fmla="*/ 4311656 h 6479439"/>
              <a:gd name="connsiteX3248" fmla="*/ 721965 w 9586368"/>
              <a:gd name="connsiteY3248" fmla="*/ 4307617 h 6479439"/>
              <a:gd name="connsiteX3249" fmla="*/ 731874 w 9586368"/>
              <a:gd name="connsiteY3249" fmla="*/ 4307617 h 6479439"/>
              <a:gd name="connsiteX3250" fmla="*/ 735893 w 9586368"/>
              <a:gd name="connsiteY3250" fmla="*/ 4311656 h 6479439"/>
              <a:gd name="connsiteX3251" fmla="*/ 735893 w 9586368"/>
              <a:gd name="connsiteY3251" fmla="*/ 4321527 h 6479439"/>
              <a:gd name="connsiteX3252" fmla="*/ 731874 w 9586368"/>
              <a:gd name="connsiteY3252" fmla="*/ 4325566 h 6479439"/>
              <a:gd name="connsiteX3253" fmla="*/ 721965 w 9586368"/>
              <a:gd name="connsiteY3253" fmla="*/ 4325566 h 6479439"/>
              <a:gd name="connsiteX3254" fmla="*/ 717945 w 9586368"/>
              <a:gd name="connsiteY3254" fmla="*/ 4321527 h 6479439"/>
              <a:gd name="connsiteX3255" fmla="*/ 717945 w 9586368"/>
              <a:gd name="connsiteY3255" fmla="*/ 4311656 h 6479439"/>
              <a:gd name="connsiteX3256" fmla="*/ 482652 w 9586368"/>
              <a:gd name="connsiteY3256" fmla="*/ 4307617 h 6479439"/>
              <a:gd name="connsiteX3257" fmla="*/ 492562 w 9586368"/>
              <a:gd name="connsiteY3257" fmla="*/ 4307617 h 6479439"/>
              <a:gd name="connsiteX3258" fmla="*/ 496581 w 9586368"/>
              <a:gd name="connsiteY3258" fmla="*/ 4311656 h 6479439"/>
              <a:gd name="connsiteX3259" fmla="*/ 496581 w 9586368"/>
              <a:gd name="connsiteY3259" fmla="*/ 4321527 h 6479439"/>
              <a:gd name="connsiteX3260" fmla="*/ 492562 w 9586368"/>
              <a:gd name="connsiteY3260" fmla="*/ 4325566 h 6479439"/>
              <a:gd name="connsiteX3261" fmla="*/ 482652 w 9586368"/>
              <a:gd name="connsiteY3261" fmla="*/ 4325566 h 6479439"/>
              <a:gd name="connsiteX3262" fmla="*/ 478633 w 9586368"/>
              <a:gd name="connsiteY3262" fmla="*/ 4321527 h 6479439"/>
              <a:gd name="connsiteX3263" fmla="*/ 478633 w 9586368"/>
              <a:gd name="connsiteY3263" fmla="*/ 4311656 h 6479439"/>
              <a:gd name="connsiteX3264" fmla="*/ 243339 w 9586368"/>
              <a:gd name="connsiteY3264" fmla="*/ 4307617 h 6479439"/>
              <a:gd name="connsiteX3265" fmla="*/ 253249 w 9586368"/>
              <a:gd name="connsiteY3265" fmla="*/ 4307617 h 6479439"/>
              <a:gd name="connsiteX3266" fmla="*/ 257268 w 9586368"/>
              <a:gd name="connsiteY3266" fmla="*/ 4311656 h 6479439"/>
              <a:gd name="connsiteX3267" fmla="*/ 257268 w 9586368"/>
              <a:gd name="connsiteY3267" fmla="*/ 4321527 h 6479439"/>
              <a:gd name="connsiteX3268" fmla="*/ 253249 w 9586368"/>
              <a:gd name="connsiteY3268" fmla="*/ 4325566 h 6479439"/>
              <a:gd name="connsiteX3269" fmla="*/ 243339 w 9586368"/>
              <a:gd name="connsiteY3269" fmla="*/ 4325566 h 6479439"/>
              <a:gd name="connsiteX3270" fmla="*/ 239320 w 9586368"/>
              <a:gd name="connsiteY3270" fmla="*/ 4321527 h 6479439"/>
              <a:gd name="connsiteX3271" fmla="*/ 239320 w 9586368"/>
              <a:gd name="connsiteY3271" fmla="*/ 4311656 h 6479439"/>
              <a:gd name="connsiteX3272" fmla="*/ 4025 w 9586368"/>
              <a:gd name="connsiteY3272" fmla="*/ 4307617 h 6479439"/>
              <a:gd name="connsiteX3273" fmla="*/ 13936 w 9586368"/>
              <a:gd name="connsiteY3273" fmla="*/ 4307617 h 6479439"/>
              <a:gd name="connsiteX3274" fmla="*/ 17955 w 9586368"/>
              <a:gd name="connsiteY3274" fmla="*/ 4311656 h 6479439"/>
              <a:gd name="connsiteX3275" fmla="*/ 17955 w 9586368"/>
              <a:gd name="connsiteY3275" fmla="*/ 4321527 h 6479439"/>
              <a:gd name="connsiteX3276" fmla="*/ 13936 w 9586368"/>
              <a:gd name="connsiteY3276" fmla="*/ 4325566 h 6479439"/>
              <a:gd name="connsiteX3277" fmla="*/ 4025 w 9586368"/>
              <a:gd name="connsiteY3277" fmla="*/ 4325566 h 6479439"/>
              <a:gd name="connsiteX3278" fmla="*/ 7 w 9586368"/>
              <a:gd name="connsiteY3278" fmla="*/ 4321527 h 6479439"/>
              <a:gd name="connsiteX3279" fmla="*/ 7 w 9586368"/>
              <a:gd name="connsiteY3279" fmla="*/ 4311656 h 6479439"/>
              <a:gd name="connsiteX3280" fmla="*/ 9572438 w 9586368"/>
              <a:gd name="connsiteY3280" fmla="*/ 4068339 h 6479439"/>
              <a:gd name="connsiteX3281" fmla="*/ 9582349 w 9586368"/>
              <a:gd name="connsiteY3281" fmla="*/ 4068339 h 6479439"/>
              <a:gd name="connsiteX3282" fmla="*/ 9586368 w 9586368"/>
              <a:gd name="connsiteY3282" fmla="*/ 4072377 h 6479439"/>
              <a:gd name="connsiteX3283" fmla="*/ 9586368 w 9586368"/>
              <a:gd name="connsiteY3283" fmla="*/ 4082248 h 6479439"/>
              <a:gd name="connsiteX3284" fmla="*/ 9582349 w 9586368"/>
              <a:gd name="connsiteY3284" fmla="*/ 4086287 h 6479439"/>
              <a:gd name="connsiteX3285" fmla="*/ 9572438 w 9586368"/>
              <a:gd name="connsiteY3285" fmla="*/ 4086287 h 6479439"/>
              <a:gd name="connsiteX3286" fmla="*/ 9568419 w 9586368"/>
              <a:gd name="connsiteY3286" fmla="*/ 4082248 h 6479439"/>
              <a:gd name="connsiteX3287" fmla="*/ 9568419 w 9586368"/>
              <a:gd name="connsiteY3287" fmla="*/ 4072377 h 6479439"/>
              <a:gd name="connsiteX3288" fmla="*/ 9333125 w 9586368"/>
              <a:gd name="connsiteY3288" fmla="*/ 4068339 h 6479439"/>
              <a:gd name="connsiteX3289" fmla="*/ 9343036 w 9586368"/>
              <a:gd name="connsiteY3289" fmla="*/ 4068339 h 6479439"/>
              <a:gd name="connsiteX3290" fmla="*/ 9347055 w 9586368"/>
              <a:gd name="connsiteY3290" fmla="*/ 4072377 h 6479439"/>
              <a:gd name="connsiteX3291" fmla="*/ 9347055 w 9586368"/>
              <a:gd name="connsiteY3291" fmla="*/ 4082248 h 6479439"/>
              <a:gd name="connsiteX3292" fmla="*/ 9343036 w 9586368"/>
              <a:gd name="connsiteY3292" fmla="*/ 4086287 h 6479439"/>
              <a:gd name="connsiteX3293" fmla="*/ 9333125 w 9586368"/>
              <a:gd name="connsiteY3293" fmla="*/ 4086287 h 6479439"/>
              <a:gd name="connsiteX3294" fmla="*/ 9329106 w 9586368"/>
              <a:gd name="connsiteY3294" fmla="*/ 4082248 h 6479439"/>
              <a:gd name="connsiteX3295" fmla="*/ 9329106 w 9586368"/>
              <a:gd name="connsiteY3295" fmla="*/ 4072377 h 6479439"/>
              <a:gd name="connsiteX3296" fmla="*/ 9093811 w 9586368"/>
              <a:gd name="connsiteY3296" fmla="*/ 4068339 h 6479439"/>
              <a:gd name="connsiteX3297" fmla="*/ 9103722 w 9586368"/>
              <a:gd name="connsiteY3297" fmla="*/ 4068339 h 6479439"/>
              <a:gd name="connsiteX3298" fmla="*/ 9107741 w 9586368"/>
              <a:gd name="connsiteY3298" fmla="*/ 4072377 h 6479439"/>
              <a:gd name="connsiteX3299" fmla="*/ 9107741 w 9586368"/>
              <a:gd name="connsiteY3299" fmla="*/ 4082248 h 6479439"/>
              <a:gd name="connsiteX3300" fmla="*/ 9103722 w 9586368"/>
              <a:gd name="connsiteY3300" fmla="*/ 4086287 h 6479439"/>
              <a:gd name="connsiteX3301" fmla="*/ 9093811 w 9586368"/>
              <a:gd name="connsiteY3301" fmla="*/ 4086287 h 6479439"/>
              <a:gd name="connsiteX3302" fmla="*/ 9089792 w 9586368"/>
              <a:gd name="connsiteY3302" fmla="*/ 4082248 h 6479439"/>
              <a:gd name="connsiteX3303" fmla="*/ 9089792 w 9586368"/>
              <a:gd name="connsiteY3303" fmla="*/ 4072377 h 6479439"/>
              <a:gd name="connsiteX3304" fmla="*/ 8854496 w 9586368"/>
              <a:gd name="connsiteY3304" fmla="*/ 4068339 h 6479439"/>
              <a:gd name="connsiteX3305" fmla="*/ 8864407 w 9586368"/>
              <a:gd name="connsiteY3305" fmla="*/ 4068339 h 6479439"/>
              <a:gd name="connsiteX3306" fmla="*/ 8868426 w 9586368"/>
              <a:gd name="connsiteY3306" fmla="*/ 4072377 h 6479439"/>
              <a:gd name="connsiteX3307" fmla="*/ 8868426 w 9586368"/>
              <a:gd name="connsiteY3307" fmla="*/ 4082248 h 6479439"/>
              <a:gd name="connsiteX3308" fmla="*/ 8864407 w 9586368"/>
              <a:gd name="connsiteY3308" fmla="*/ 4086287 h 6479439"/>
              <a:gd name="connsiteX3309" fmla="*/ 8854496 w 9586368"/>
              <a:gd name="connsiteY3309" fmla="*/ 4086287 h 6479439"/>
              <a:gd name="connsiteX3310" fmla="*/ 8850477 w 9586368"/>
              <a:gd name="connsiteY3310" fmla="*/ 4082248 h 6479439"/>
              <a:gd name="connsiteX3311" fmla="*/ 8850477 w 9586368"/>
              <a:gd name="connsiteY3311" fmla="*/ 4072377 h 6479439"/>
              <a:gd name="connsiteX3312" fmla="*/ 8615184 w 9586368"/>
              <a:gd name="connsiteY3312" fmla="*/ 4068339 h 6479439"/>
              <a:gd name="connsiteX3313" fmla="*/ 8625095 w 9586368"/>
              <a:gd name="connsiteY3313" fmla="*/ 4068339 h 6479439"/>
              <a:gd name="connsiteX3314" fmla="*/ 8629114 w 9586368"/>
              <a:gd name="connsiteY3314" fmla="*/ 4072377 h 6479439"/>
              <a:gd name="connsiteX3315" fmla="*/ 8629114 w 9586368"/>
              <a:gd name="connsiteY3315" fmla="*/ 4082248 h 6479439"/>
              <a:gd name="connsiteX3316" fmla="*/ 8625095 w 9586368"/>
              <a:gd name="connsiteY3316" fmla="*/ 4086287 h 6479439"/>
              <a:gd name="connsiteX3317" fmla="*/ 8615184 w 9586368"/>
              <a:gd name="connsiteY3317" fmla="*/ 4086287 h 6479439"/>
              <a:gd name="connsiteX3318" fmla="*/ 8611165 w 9586368"/>
              <a:gd name="connsiteY3318" fmla="*/ 4082248 h 6479439"/>
              <a:gd name="connsiteX3319" fmla="*/ 8611165 w 9586368"/>
              <a:gd name="connsiteY3319" fmla="*/ 4072377 h 6479439"/>
              <a:gd name="connsiteX3320" fmla="*/ 8375869 w 9586368"/>
              <a:gd name="connsiteY3320" fmla="*/ 4068339 h 6479439"/>
              <a:gd name="connsiteX3321" fmla="*/ 8385779 w 9586368"/>
              <a:gd name="connsiteY3321" fmla="*/ 4068339 h 6479439"/>
              <a:gd name="connsiteX3322" fmla="*/ 8389799 w 9586368"/>
              <a:gd name="connsiteY3322" fmla="*/ 4072377 h 6479439"/>
              <a:gd name="connsiteX3323" fmla="*/ 8389799 w 9586368"/>
              <a:gd name="connsiteY3323" fmla="*/ 4082248 h 6479439"/>
              <a:gd name="connsiteX3324" fmla="*/ 8385779 w 9586368"/>
              <a:gd name="connsiteY3324" fmla="*/ 4086287 h 6479439"/>
              <a:gd name="connsiteX3325" fmla="*/ 8375869 w 9586368"/>
              <a:gd name="connsiteY3325" fmla="*/ 4086287 h 6479439"/>
              <a:gd name="connsiteX3326" fmla="*/ 8371850 w 9586368"/>
              <a:gd name="connsiteY3326" fmla="*/ 4082248 h 6479439"/>
              <a:gd name="connsiteX3327" fmla="*/ 8371850 w 9586368"/>
              <a:gd name="connsiteY3327" fmla="*/ 4072377 h 6479439"/>
              <a:gd name="connsiteX3328" fmla="*/ 8136553 w 9586368"/>
              <a:gd name="connsiteY3328" fmla="*/ 4068339 h 6479439"/>
              <a:gd name="connsiteX3329" fmla="*/ 8146464 w 9586368"/>
              <a:gd name="connsiteY3329" fmla="*/ 4068339 h 6479439"/>
              <a:gd name="connsiteX3330" fmla="*/ 8150483 w 9586368"/>
              <a:gd name="connsiteY3330" fmla="*/ 4072377 h 6479439"/>
              <a:gd name="connsiteX3331" fmla="*/ 8150483 w 9586368"/>
              <a:gd name="connsiteY3331" fmla="*/ 4082248 h 6479439"/>
              <a:gd name="connsiteX3332" fmla="*/ 8146464 w 9586368"/>
              <a:gd name="connsiteY3332" fmla="*/ 4086287 h 6479439"/>
              <a:gd name="connsiteX3333" fmla="*/ 8136553 w 9586368"/>
              <a:gd name="connsiteY3333" fmla="*/ 4086287 h 6479439"/>
              <a:gd name="connsiteX3334" fmla="*/ 8132534 w 9586368"/>
              <a:gd name="connsiteY3334" fmla="*/ 4082248 h 6479439"/>
              <a:gd name="connsiteX3335" fmla="*/ 8132534 w 9586368"/>
              <a:gd name="connsiteY3335" fmla="*/ 4072377 h 6479439"/>
              <a:gd name="connsiteX3336" fmla="*/ 7897241 w 9586368"/>
              <a:gd name="connsiteY3336" fmla="*/ 4068339 h 6479439"/>
              <a:gd name="connsiteX3337" fmla="*/ 7907151 w 9586368"/>
              <a:gd name="connsiteY3337" fmla="*/ 4068339 h 6479439"/>
              <a:gd name="connsiteX3338" fmla="*/ 7911170 w 9586368"/>
              <a:gd name="connsiteY3338" fmla="*/ 4072377 h 6479439"/>
              <a:gd name="connsiteX3339" fmla="*/ 7911170 w 9586368"/>
              <a:gd name="connsiteY3339" fmla="*/ 4082248 h 6479439"/>
              <a:gd name="connsiteX3340" fmla="*/ 7907151 w 9586368"/>
              <a:gd name="connsiteY3340" fmla="*/ 4086287 h 6479439"/>
              <a:gd name="connsiteX3341" fmla="*/ 7897241 w 9586368"/>
              <a:gd name="connsiteY3341" fmla="*/ 4086287 h 6479439"/>
              <a:gd name="connsiteX3342" fmla="*/ 7893222 w 9586368"/>
              <a:gd name="connsiteY3342" fmla="*/ 4082248 h 6479439"/>
              <a:gd name="connsiteX3343" fmla="*/ 7893222 w 9586368"/>
              <a:gd name="connsiteY3343" fmla="*/ 4072377 h 6479439"/>
              <a:gd name="connsiteX3344" fmla="*/ 7657926 w 9586368"/>
              <a:gd name="connsiteY3344" fmla="*/ 4068339 h 6479439"/>
              <a:gd name="connsiteX3345" fmla="*/ 7667836 w 9586368"/>
              <a:gd name="connsiteY3345" fmla="*/ 4068339 h 6479439"/>
              <a:gd name="connsiteX3346" fmla="*/ 7671855 w 9586368"/>
              <a:gd name="connsiteY3346" fmla="*/ 4072377 h 6479439"/>
              <a:gd name="connsiteX3347" fmla="*/ 7671855 w 9586368"/>
              <a:gd name="connsiteY3347" fmla="*/ 4082248 h 6479439"/>
              <a:gd name="connsiteX3348" fmla="*/ 7667836 w 9586368"/>
              <a:gd name="connsiteY3348" fmla="*/ 4086287 h 6479439"/>
              <a:gd name="connsiteX3349" fmla="*/ 7657926 w 9586368"/>
              <a:gd name="connsiteY3349" fmla="*/ 4086287 h 6479439"/>
              <a:gd name="connsiteX3350" fmla="*/ 7653906 w 9586368"/>
              <a:gd name="connsiteY3350" fmla="*/ 4082248 h 6479439"/>
              <a:gd name="connsiteX3351" fmla="*/ 7653906 w 9586368"/>
              <a:gd name="connsiteY3351" fmla="*/ 4072377 h 6479439"/>
              <a:gd name="connsiteX3352" fmla="*/ 7418611 w 9586368"/>
              <a:gd name="connsiteY3352" fmla="*/ 4068339 h 6479439"/>
              <a:gd name="connsiteX3353" fmla="*/ 7428521 w 9586368"/>
              <a:gd name="connsiteY3353" fmla="*/ 4068339 h 6479439"/>
              <a:gd name="connsiteX3354" fmla="*/ 7432540 w 9586368"/>
              <a:gd name="connsiteY3354" fmla="*/ 4072377 h 6479439"/>
              <a:gd name="connsiteX3355" fmla="*/ 7432540 w 9586368"/>
              <a:gd name="connsiteY3355" fmla="*/ 4082248 h 6479439"/>
              <a:gd name="connsiteX3356" fmla="*/ 7428521 w 9586368"/>
              <a:gd name="connsiteY3356" fmla="*/ 4086287 h 6479439"/>
              <a:gd name="connsiteX3357" fmla="*/ 7418611 w 9586368"/>
              <a:gd name="connsiteY3357" fmla="*/ 4086287 h 6479439"/>
              <a:gd name="connsiteX3358" fmla="*/ 7414592 w 9586368"/>
              <a:gd name="connsiteY3358" fmla="*/ 4082248 h 6479439"/>
              <a:gd name="connsiteX3359" fmla="*/ 7414592 w 9586368"/>
              <a:gd name="connsiteY3359" fmla="*/ 4072377 h 6479439"/>
              <a:gd name="connsiteX3360" fmla="*/ 7179298 w 9586368"/>
              <a:gd name="connsiteY3360" fmla="*/ 4068339 h 6479439"/>
              <a:gd name="connsiteX3361" fmla="*/ 7189209 w 9586368"/>
              <a:gd name="connsiteY3361" fmla="*/ 4068339 h 6479439"/>
              <a:gd name="connsiteX3362" fmla="*/ 7193228 w 9586368"/>
              <a:gd name="connsiteY3362" fmla="*/ 4072377 h 6479439"/>
              <a:gd name="connsiteX3363" fmla="*/ 7193228 w 9586368"/>
              <a:gd name="connsiteY3363" fmla="*/ 4082248 h 6479439"/>
              <a:gd name="connsiteX3364" fmla="*/ 7189209 w 9586368"/>
              <a:gd name="connsiteY3364" fmla="*/ 4086287 h 6479439"/>
              <a:gd name="connsiteX3365" fmla="*/ 7179298 w 9586368"/>
              <a:gd name="connsiteY3365" fmla="*/ 4086287 h 6479439"/>
              <a:gd name="connsiteX3366" fmla="*/ 7175279 w 9586368"/>
              <a:gd name="connsiteY3366" fmla="*/ 4082248 h 6479439"/>
              <a:gd name="connsiteX3367" fmla="*/ 7175279 w 9586368"/>
              <a:gd name="connsiteY3367" fmla="*/ 4072377 h 6479439"/>
              <a:gd name="connsiteX3368" fmla="*/ 6939983 w 9586368"/>
              <a:gd name="connsiteY3368" fmla="*/ 4068339 h 6479439"/>
              <a:gd name="connsiteX3369" fmla="*/ 6949894 w 9586368"/>
              <a:gd name="connsiteY3369" fmla="*/ 4068339 h 6479439"/>
              <a:gd name="connsiteX3370" fmla="*/ 6953913 w 9586368"/>
              <a:gd name="connsiteY3370" fmla="*/ 4072377 h 6479439"/>
              <a:gd name="connsiteX3371" fmla="*/ 6953913 w 9586368"/>
              <a:gd name="connsiteY3371" fmla="*/ 4082248 h 6479439"/>
              <a:gd name="connsiteX3372" fmla="*/ 6949894 w 9586368"/>
              <a:gd name="connsiteY3372" fmla="*/ 4086287 h 6479439"/>
              <a:gd name="connsiteX3373" fmla="*/ 6939983 w 9586368"/>
              <a:gd name="connsiteY3373" fmla="*/ 4086287 h 6479439"/>
              <a:gd name="connsiteX3374" fmla="*/ 6935964 w 9586368"/>
              <a:gd name="connsiteY3374" fmla="*/ 4082248 h 6479439"/>
              <a:gd name="connsiteX3375" fmla="*/ 6935964 w 9586368"/>
              <a:gd name="connsiteY3375" fmla="*/ 4072377 h 6479439"/>
              <a:gd name="connsiteX3376" fmla="*/ 6700670 w 9586368"/>
              <a:gd name="connsiteY3376" fmla="*/ 4068339 h 6479439"/>
              <a:gd name="connsiteX3377" fmla="*/ 6710581 w 9586368"/>
              <a:gd name="connsiteY3377" fmla="*/ 4068339 h 6479439"/>
              <a:gd name="connsiteX3378" fmla="*/ 6714600 w 9586368"/>
              <a:gd name="connsiteY3378" fmla="*/ 4072377 h 6479439"/>
              <a:gd name="connsiteX3379" fmla="*/ 6714600 w 9586368"/>
              <a:gd name="connsiteY3379" fmla="*/ 4082248 h 6479439"/>
              <a:gd name="connsiteX3380" fmla="*/ 6710581 w 9586368"/>
              <a:gd name="connsiteY3380" fmla="*/ 4086287 h 6479439"/>
              <a:gd name="connsiteX3381" fmla="*/ 6700670 w 9586368"/>
              <a:gd name="connsiteY3381" fmla="*/ 4086287 h 6479439"/>
              <a:gd name="connsiteX3382" fmla="*/ 6696651 w 9586368"/>
              <a:gd name="connsiteY3382" fmla="*/ 4082248 h 6479439"/>
              <a:gd name="connsiteX3383" fmla="*/ 6696651 w 9586368"/>
              <a:gd name="connsiteY3383" fmla="*/ 4072377 h 6479439"/>
              <a:gd name="connsiteX3384" fmla="*/ 6461356 w 9586368"/>
              <a:gd name="connsiteY3384" fmla="*/ 4068339 h 6479439"/>
              <a:gd name="connsiteX3385" fmla="*/ 6471266 w 9586368"/>
              <a:gd name="connsiteY3385" fmla="*/ 4068339 h 6479439"/>
              <a:gd name="connsiteX3386" fmla="*/ 6475285 w 9586368"/>
              <a:gd name="connsiteY3386" fmla="*/ 4072377 h 6479439"/>
              <a:gd name="connsiteX3387" fmla="*/ 6475285 w 9586368"/>
              <a:gd name="connsiteY3387" fmla="*/ 4082248 h 6479439"/>
              <a:gd name="connsiteX3388" fmla="*/ 6471266 w 9586368"/>
              <a:gd name="connsiteY3388" fmla="*/ 4086287 h 6479439"/>
              <a:gd name="connsiteX3389" fmla="*/ 6461356 w 9586368"/>
              <a:gd name="connsiteY3389" fmla="*/ 4086287 h 6479439"/>
              <a:gd name="connsiteX3390" fmla="*/ 6457337 w 9586368"/>
              <a:gd name="connsiteY3390" fmla="*/ 4082248 h 6479439"/>
              <a:gd name="connsiteX3391" fmla="*/ 6457337 w 9586368"/>
              <a:gd name="connsiteY3391" fmla="*/ 4072377 h 6479439"/>
              <a:gd name="connsiteX3392" fmla="*/ 6222042 w 9586368"/>
              <a:gd name="connsiteY3392" fmla="*/ 4068339 h 6479439"/>
              <a:gd name="connsiteX3393" fmla="*/ 6231952 w 9586368"/>
              <a:gd name="connsiteY3393" fmla="*/ 4068339 h 6479439"/>
              <a:gd name="connsiteX3394" fmla="*/ 6235971 w 9586368"/>
              <a:gd name="connsiteY3394" fmla="*/ 4072377 h 6479439"/>
              <a:gd name="connsiteX3395" fmla="*/ 6235971 w 9586368"/>
              <a:gd name="connsiteY3395" fmla="*/ 4082248 h 6479439"/>
              <a:gd name="connsiteX3396" fmla="*/ 6231952 w 9586368"/>
              <a:gd name="connsiteY3396" fmla="*/ 4086287 h 6479439"/>
              <a:gd name="connsiteX3397" fmla="*/ 6222042 w 9586368"/>
              <a:gd name="connsiteY3397" fmla="*/ 4086287 h 6479439"/>
              <a:gd name="connsiteX3398" fmla="*/ 6218023 w 9586368"/>
              <a:gd name="connsiteY3398" fmla="*/ 4082248 h 6479439"/>
              <a:gd name="connsiteX3399" fmla="*/ 6218023 w 9586368"/>
              <a:gd name="connsiteY3399" fmla="*/ 4072377 h 6479439"/>
              <a:gd name="connsiteX3400" fmla="*/ 5982729 w 9586368"/>
              <a:gd name="connsiteY3400" fmla="*/ 4068339 h 6479439"/>
              <a:gd name="connsiteX3401" fmla="*/ 5992639 w 9586368"/>
              <a:gd name="connsiteY3401" fmla="*/ 4068339 h 6479439"/>
              <a:gd name="connsiteX3402" fmla="*/ 5996658 w 9586368"/>
              <a:gd name="connsiteY3402" fmla="*/ 4072377 h 6479439"/>
              <a:gd name="connsiteX3403" fmla="*/ 5996658 w 9586368"/>
              <a:gd name="connsiteY3403" fmla="*/ 4082248 h 6479439"/>
              <a:gd name="connsiteX3404" fmla="*/ 5992639 w 9586368"/>
              <a:gd name="connsiteY3404" fmla="*/ 4086287 h 6479439"/>
              <a:gd name="connsiteX3405" fmla="*/ 5982729 w 9586368"/>
              <a:gd name="connsiteY3405" fmla="*/ 4086287 h 6479439"/>
              <a:gd name="connsiteX3406" fmla="*/ 5978710 w 9586368"/>
              <a:gd name="connsiteY3406" fmla="*/ 4082248 h 6479439"/>
              <a:gd name="connsiteX3407" fmla="*/ 5978710 w 9586368"/>
              <a:gd name="connsiteY3407" fmla="*/ 4072377 h 6479439"/>
              <a:gd name="connsiteX3408" fmla="*/ 5743412 w 9586368"/>
              <a:gd name="connsiteY3408" fmla="*/ 4068339 h 6479439"/>
              <a:gd name="connsiteX3409" fmla="*/ 5753323 w 9586368"/>
              <a:gd name="connsiteY3409" fmla="*/ 4068339 h 6479439"/>
              <a:gd name="connsiteX3410" fmla="*/ 5757342 w 9586368"/>
              <a:gd name="connsiteY3410" fmla="*/ 4072377 h 6479439"/>
              <a:gd name="connsiteX3411" fmla="*/ 5757342 w 9586368"/>
              <a:gd name="connsiteY3411" fmla="*/ 4082248 h 6479439"/>
              <a:gd name="connsiteX3412" fmla="*/ 5753323 w 9586368"/>
              <a:gd name="connsiteY3412" fmla="*/ 4086287 h 6479439"/>
              <a:gd name="connsiteX3413" fmla="*/ 5743412 w 9586368"/>
              <a:gd name="connsiteY3413" fmla="*/ 4086287 h 6479439"/>
              <a:gd name="connsiteX3414" fmla="*/ 5739393 w 9586368"/>
              <a:gd name="connsiteY3414" fmla="*/ 4082248 h 6479439"/>
              <a:gd name="connsiteX3415" fmla="*/ 5739393 w 9586368"/>
              <a:gd name="connsiteY3415" fmla="*/ 4072377 h 6479439"/>
              <a:gd name="connsiteX3416" fmla="*/ 5504099 w 9586368"/>
              <a:gd name="connsiteY3416" fmla="*/ 4068339 h 6479439"/>
              <a:gd name="connsiteX3417" fmla="*/ 5514010 w 9586368"/>
              <a:gd name="connsiteY3417" fmla="*/ 4068339 h 6479439"/>
              <a:gd name="connsiteX3418" fmla="*/ 5518029 w 9586368"/>
              <a:gd name="connsiteY3418" fmla="*/ 4072377 h 6479439"/>
              <a:gd name="connsiteX3419" fmla="*/ 5518029 w 9586368"/>
              <a:gd name="connsiteY3419" fmla="*/ 4082248 h 6479439"/>
              <a:gd name="connsiteX3420" fmla="*/ 5514010 w 9586368"/>
              <a:gd name="connsiteY3420" fmla="*/ 4086287 h 6479439"/>
              <a:gd name="connsiteX3421" fmla="*/ 5504099 w 9586368"/>
              <a:gd name="connsiteY3421" fmla="*/ 4086287 h 6479439"/>
              <a:gd name="connsiteX3422" fmla="*/ 5500080 w 9586368"/>
              <a:gd name="connsiteY3422" fmla="*/ 4082248 h 6479439"/>
              <a:gd name="connsiteX3423" fmla="*/ 5500080 w 9586368"/>
              <a:gd name="connsiteY3423" fmla="*/ 4072377 h 6479439"/>
              <a:gd name="connsiteX3424" fmla="*/ 5264784 w 9586368"/>
              <a:gd name="connsiteY3424" fmla="*/ 4068339 h 6479439"/>
              <a:gd name="connsiteX3425" fmla="*/ 5274694 w 9586368"/>
              <a:gd name="connsiteY3425" fmla="*/ 4068339 h 6479439"/>
              <a:gd name="connsiteX3426" fmla="*/ 5278713 w 9586368"/>
              <a:gd name="connsiteY3426" fmla="*/ 4072377 h 6479439"/>
              <a:gd name="connsiteX3427" fmla="*/ 5278713 w 9586368"/>
              <a:gd name="connsiteY3427" fmla="*/ 4082248 h 6479439"/>
              <a:gd name="connsiteX3428" fmla="*/ 5274694 w 9586368"/>
              <a:gd name="connsiteY3428" fmla="*/ 4086287 h 6479439"/>
              <a:gd name="connsiteX3429" fmla="*/ 5264784 w 9586368"/>
              <a:gd name="connsiteY3429" fmla="*/ 4086287 h 6479439"/>
              <a:gd name="connsiteX3430" fmla="*/ 5260765 w 9586368"/>
              <a:gd name="connsiteY3430" fmla="*/ 4082248 h 6479439"/>
              <a:gd name="connsiteX3431" fmla="*/ 5260765 w 9586368"/>
              <a:gd name="connsiteY3431" fmla="*/ 4072377 h 6479439"/>
              <a:gd name="connsiteX3432" fmla="*/ 5025470 w 9586368"/>
              <a:gd name="connsiteY3432" fmla="*/ 4068339 h 6479439"/>
              <a:gd name="connsiteX3433" fmla="*/ 5035381 w 9586368"/>
              <a:gd name="connsiteY3433" fmla="*/ 4068339 h 6479439"/>
              <a:gd name="connsiteX3434" fmla="*/ 5039400 w 9586368"/>
              <a:gd name="connsiteY3434" fmla="*/ 4072377 h 6479439"/>
              <a:gd name="connsiteX3435" fmla="*/ 5039400 w 9586368"/>
              <a:gd name="connsiteY3435" fmla="*/ 4082248 h 6479439"/>
              <a:gd name="connsiteX3436" fmla="*/ 5035381 w 9586368"/>
              <a:gd name="connsiteY3436" fmla="*/ 4086287 h 6479439"/>
              <a:gd name="connsiteX3437" fmla="*/ 5025470 w 9586368"/>
              <a:gd name="connsiteY3437" fmla="*/ 4086287 h 6479439"/>
              <a:gd name="connsiteX3438" fmla="*/ 5021451 w 9586368"/>
              <a:gd name="connsiteY3438" fmla="*/ 4082248 h 6479439"/>
              <a:gd name="connsiteX3439" fmla="*/ 5021451 w 9586368"/>
              <a:gd name="connsiteY3439" fmla="*/ 4072377 h 6479439"/>
              <a:gd name="connsiteX3440" fmla="*/ 4786241 w 9586368"/>
              <a:gd name="connsiteY3440" fmla="*/ 4068339 h 6479439"/>
              <a:gd name="connsiteX3441" fmla="*/ 4796152 w 9586368"/>
              <a:gd name="connsiteY3441" fmla="*/ 4068339 h 6479439"/>
              <a:gd name="connsiteX3442" fmla="*/ 4800171 w 9586368"/>
              <a:gd name="connsiteY3442" fmla="*/ 4072377 h 6479439"/>
              <a:gd name="connsiteX3443" fmla="*/ 4800171 w 9586368"/>
              <a:gd name="connsiteY3443" fmla="*/ 4082248 h 6479439"/>
              <a:gd name="connsiteX3444" fmla="*/ 4796152 w 9586368"/>
              <a:gd name="connsiteY3444" fmla="*/ 4086287 h 6479439"/>
              <a:gd name="connsiteX3445" fmla="*/ 4786241 w 9586368"/>
              <a:gd name="connsiteY3445" fmla="*/ 4086287 h 6479439"/>
              <a:gd name="connsiteX3446" fmla="*/ 4782224 w 9586368"/>
              <a:gd name="connsiteY3446" fmla="*/ 4082248 h 6479439"/>
              <a:gd name="connsiteX3447" fmla="*/ 4782224 w 9586368"/>
              <a:gd name="connsiteY3447" fmla="*/ 4072377 h 6479439"/>
              <a:gd name="connsiteX3448" fmla="*/ 4546929 w 9586368"/>
              <a:gd name="connsiteY3448" fmla="*/ 4068339 h 6479439"/>
              <a:gd name="connsiteX3449" fmla="*/ 4556840 w 9586368"/>
              <a:gd name="connsiteY3449" fmla="*/ 4068339 h 6479439"/>
              <a:gd name="connsiteX3450" fmla="*/ 4560859 w 9586368"/>
              <a:gd name="connsiteY3450" fmla="*/ 4072377 h 6479439"/>
              <a:gd name="connsiteX3451" fmla="*/ 4560859 w 9586368"/>
              <a:gd name="connsiteY3451" fmla="*/ 4082248 h 6479439"/>
              <a:gd name="connsiteX3452" fmla="*/ 4556840 w 9586368"/>
              <a:gd name="connsiteY3452" fmla="*/ 4086287 h 6479439"/>
              <a:gd name="connsiteX3453" fmla="*/ 4546929 w 9586368"/>
              <a:gd name="connsiteY3453" fmla="*/ 4086287 h 6479439"/>
              <a:gd name="connsiteX3454" fmla="*/ 4542910 w 9586368"/>
              <a:gd name="connsiteY3454" fmla="*/ 4082248 h 6479439"/>
              <a:gd name="connsiteX3455" fmla="*/ 4542910 w 9586368"/>
              <a:gd name="connsiteY3455" fmla="*/ 4072377 h 6479439"/>
              <a:gd name="connsiteX3456" fmla="*/ 4307612 w 9586368"/>
              <a:gd name="connsiteY3456" fmla="*/ 4068339 h 6479439"/>
              <a:gd name="connsiteX3457" fmla="*/ 4317523 w 9586368"/>
              <a:gd name="connsiteY3457" fmla="*/ 4068339 h 6479439"/>
              <a:gd name="connsiteX3458" fmla="*/ 4321543 w 9586368"/>
              <a:gd name="connsiteY3458" fmla="*/ 4072377 h 6479439"/>
              <a:gd name="connsiteX3459" fmla="*/ 4321543 w 9586368"/>
              <a:gd name="connsiteY3459" fmla="*/ 4082248 h 6479439"/>
              <a:gd name="connsiteX3460" fmla="*/ 4317523 w 9586368"/>
              <a:gd name="connsiteY3460" fmla="*/ 4086287 h 6479439"/>
              <a:gd name="connsiteX3461" fmla="*/ 4307612 w 9586368"/>
              <a:gd name="connsiteY3461" fmla="*/ 4086287 h 6479439"/>
              <a:gd name="connsiteX3462" fmla="*/ 4303595 w 9586368"/>
              <a:gd name="connsiteY3462" fmla="*/ 4082248 h 6479439"/>
              <a:gd name="connsiteX3463" fmla="*/ 4303595 w 9586368"/>
              <a:gd name="connsiteY3463" fmla="*/ 4072377 h 6479439"/>
              <a:gd name="connsiteX3464" fmla="*/ 4068297 w 9586368"/>
              <a:gd name="connsiteY3464" fmla="*/ 4068339 h 6479439"/>
              <a:gd name="connsiteX3465" fmla="*/ 4078210 w 9586368"/>
              <a:gd name="connsiteY3465" fmla="*/ 4068339 h 6479439"/>
              <a:gd name="connsiteX3466" fmla="*/ 4082229 w 9586368"/>
              <a:gd name="connsiteY3466" fmla="*/ 4072377 h 6479439"/>
              <a:gd name="connsiteX3467" fmla="*/ 4082229 w 9586368"/>
              <a:gd name="connsiteY3467" fmla="*/ 4082248 h 6479439"/>
              <a:gd name="connsiteX3468" fmla="*/ 4078210 w 9586368"/>
              <a:gd name="connsiteY3468" fmla="*/ 4086287 h 6479439"/>
              <a:gd name="connsiteX3469" fmla="*/ 4068297 w 9586368"/>
              <a:gd name="connsiteY3469" fmla="*/ 4086287 h 6479439"/>
              <a:gd name="connsiteX3470" fmla="*/ 4064278 w 9586368"/>
              <a:gd name="connsiteY3470" fmla="*/ 4082248 h 6479439"/>
              <a:gd name="connsiteX3471" fmla="*/ 4064278 w 9586368"/>
              <a:gd name="connsiteY3471" fmla="*/ 4072377 h 6479439"/>
              <a:gd name="connsiteX3472" fmla="*/ 3828990 w 9586368"/>
              <a:gd name="connsiteY3472" fmla="*/ 4068339 h 6479439"/>
              <a:gd name="connsiteX3473" fmla="*/ 3838899 w 9586368"/>
              <a:gd name="connsiteY3473" fmla="*/ 4068339 h 6479439"/>
              <a:gd name="connsiteX3474" fmla="*/ 3842917 w 9586368"/>
              <a:gd name="connsiteY3474" fmla="*/ 4072377 h 6479439"/>
              <a:gd name="connsiteX3475" fmla="*/ 3842917 w 9586368"/>
              <a:gd name="connsiteY3475" fmla="*/ 4082248 h 6479439"/>
              <a:gd name="connsiteX3476" fmla="*/ 3838899 w 9586368"/>
              <a:gd name="connsiteY3476" fmla="*/ 4086287 h 6479439"/>
              <a:gd name="connsiteX3477" fmla="*/ 3828990 w 9586368"/>
              <a:gd name="connsiteY3477" fmla="*/ 4086287 h 6479439"/>
              <a:gd name="connsiteX3478" fmla="*/ 3824971 w 9586368"/>
              <a:gd name="connsiteY3478" fmla="*/ 4082248 h 6479439"/>
              <a:gd name="connsiteX3479" fmla="*/ 3824971 w 9586368"/>
              <a:gd name="connsiteY3479" fmla="*/ 4072377 h 6479439"/>
              <a:gd name="connsiteX3480" fmla="*/ 3589676 w 9586368"/>
              <a:gd name="connsiteY3480" fmla="*/ 4068339 h 6479439"/>
              <a:gd name="connsiteX3481" fmla="*/ 3599585 w 9586368"/>
              <a:gd name="connsiteY3481" fmla="*/ 4068339 h 6479439"/>
              <a:gd name="connsiteX3482" fmla="*/ 3603604 w 9586368"/>
              <a:gd name="connsiteY3482" fmla="*/ 4072377 h 6479439"/>
              <a:gd name="connsiteX3483" fmla="*/ 3603604 w 9586368"/>
              <a:gd name="connsiteY3483" fmla="*/ 4082248 h 6479439"/>
              <a:gd name="connsiteX3484" fmla="*/ 3599585 w 9586368"/>
              <a:gd name="connsiteY3484" fmla="*/ 4086287 h 6479439"/>
              <a:gd name="connsiteX3485" fmla="*/ 3589676 w 9586368"/>
              <a:gd name="connsiteY3485" fmla="*/ 4086287 h 6479439"/>
              <a:gd name="connsiteX3486" fmla="*/ 3585657 w 9586368"/>
              <a:gd name="connsiteY3486" fmla="*/ 4082248 h 6479439"/>
              <a:gd name="connsiteX3487" fmla="*/ 3585657 w 9586368"/>
              <a:gd name="connsiteY3487" fmla="*/ 4072377 h 6479439"/>
              <a:gd name="connsiteX3488" fmla="*/ 3350359 w 9586368"/>
              <a:gd name="connsiteY3488" fmla="*/ 4068339 h 6479439"/>
              <a:gd name="connsiteX3489" fmla="*/ 3360268 w 9586368"/>
              <a:gd name="connsiteY3489" fmla="*/ 4068339 h 6479439"/>
              <a:gd name="connsiteX3490" fmla="*/ 3364287 w 9586368"/>
              <a:gd name="connsiteY3490" fmla="*/ 4072377 h 6479439"/>
              <a:gd name="connsiteX3491" fmla="*/ 3364287 w 9586368"/>
              <a:gd name="connsiteY3491" fmla="*/ 4082248 h 6479439"/>
              <a:gd name="connsiteX3492" fmla="*/ 3360268 w 9586368"/>
              <a:gd name="connsiteY3492" fmla="*/ 4086287 h 6479439"/>
              <a:gd name="connsiteX3493" fmla="*/ 3350359 w 9586368"/>
              <a:gd name="connsiteY3493" fmla="*/ 4086287 h 6479439"/>
              <a:gd name="connsiteX3494" fmla="*/ 3346340 w 9586368"/>
              <a:gd name="connsiteY3494" fmla="*/ 4082248 h 6479439"/>
              <a:gd name="connsiteX3495" fmla="*/ 3346340 w 9586368"/>
              <a:gd name="connsiteY3495" fmla="*/ 4072377 h 6479439"/>
              <a:gd name="connsiteX3496" fmla="*/ 3111048 w 9586368"/>
              <a:gd name="connsiteY3496" fmla="*/ 4068339 h 6479439"/>
              <a:gd name="connsiteX3497" fmla="*/ 3120959 w 9586368"/>
              <a:gd name="connsiteY3497" fmla="*/ 4068339 h 6479439"/>
              <a:gd name="connsiteX3498" fmla="*/ 3124977 w 9586368"/>
              <a:gd name="connsiteY3498" fmla="*/ 4072377 h 6479439"/>
              <a:gd name="connsiteX3499" fmla="*/ 3124977 w 9586368"/>
              <a:gd name="connsiteY3499" fmla="*/ 4082248 h 6479439"/>
              <a:gd name="connsiteX3500" fmla="*/ 3120959 w 9586368"/>
              <a:gd name="connsiteY3500" fmla="*/ 4086287 h 6479439"/>
              <a:gd name="connsiteX3501" fmla="*/ 3111048 w 9586368"/>
              <a:gd name="connsiteY3501" fmla="*/ 4086287 h 6479439"/>
              <a:gd name="connsiteX3502" fmla="*/ 3107029 w 9586368"/>
              <a:gd name="connsiteY3502" fmla="*/ 4082248 h 6479439"/>
              <a:gd name="connsiteX3503" fmla="*/ 3107029 w 9586368"/>
              <a:gd name="connsiteY3503" fmla="*/ 4072377 h 6479439"/>
              <a:gd name="connsiteX3504" fmla="*/ 2871737 w 9586368"/>
              <a:gd name="connsiteY3504" fmla="*/ 4068339 h 6479439"/>
              <a:gd name="connsiteX3505" fmla="*/ 2881646 w 9586368"/>
              <a:gd name="connsiteY3505" fmla="*/ 4068339 h 6479439"/>
              <a:gd name="connsiteX3506" fmla="*/ 2885666 w 9586368"/>
              <a:gd name="connsiteY3506" fmla="*/ 4072377 h 6479439"/>
              <a:gd name="connsiteX3507" fmla="*/ 2885666 w 9586368"/>
              <a:gd name="connsiteY3507" fmla="*/ 4082248 h 6479439"/>
              <a:gd name="connsiteX3508" fmla="*/ 2881646 w 9586368"/>
              <a:gd name="connsiteY3508" fmla="*/ 4086287 h 6479439"/>
              <a:gd name="connsiteX3509" fmla="*/ 2871737 w 9586368"/>
              <a:gd name="connsiteY3509" fmla="*/ 4086287 h 6479439"/>
              <a:gd name="connsiteX3510" fmla="*/ 2867717 w 9586368"/>
              <a:gd name="connsiteY3510" fmla="*/ 4082248 h 6479439"/>
              <a:gd name="connsiteX3511" fmla="*/ 2867717 w 9586368"/>
              <a:gd name="connsiteY3511" fmla="*/ 4072377 h 6479439"/>
              <a:gd name="connsiteX3512" fmla="*/ 2632423 w 9586368"/>
              <a:gd name="connsiteY3512" fmla="*/ 4068339 h 6479439"/>
              <a:gd name="connsiteX3513" fmla="*/ 2642334 w 9586368"/>
              <a:gd name="connsiteY3513" fmla="*/ 4068339 h 6479439"/>
              <a:gd name="connsiteX3514" fmla="*/ 2646352 w 9586368"/>
              <a:gd name="connsiteY3514" fmla="*/ 4072377 h 6479439"/>
              <a:gd name="connsiteX3515" fmla="*/ 2646352 w 9586368"/>
              <a:gd name="connsiteY3515" fmla="*/ 4082248 h 6479439"/>
              <a:gd name="connsiteX3516" fmla="*/ 2642334 w 9586368"/>
              <a:gd name="connsiteY3516" fmla="*/ 4086287 h 6479439"/>
              <a:gd name="connsiteX3517" fmla="*/ 2632423 w 9586368"/>
              <a:gd name="connsiteY3517" fmla="*/ 4086287 h 6479439"/>
              <a:gd name="connsiteX3518" fmla="*/ 2628404 w 9586368"/>
              <a:gd name="connsiteY3518" fmla="*/ 4082248 h 6479439"/>
              <a:gd name="connsiteX3519" fmla="*/ 2628404 w 9586368"/>
              <a:gd name="connsiteY3519" fmla="*/ 4072377 h 6479439"/>
              <a:gd name="connsiteX3520" fmla="*/ 2393104 w 9586368"/>
              <a:gd name="connsiteY3520" fmla="*/ 4068339 h 6479439"/>
              <a:gd name="connsiteX3521" fmla="*/ 2403015 w 9586368"/>
              <a:gd name="connsiteY3521" fmla="*/ 4068339 h 6479439"/>
              <a:gd name="connsiteX3522" fmla="*/ 2407034 w 9586368"/>
              <a:gd name="connsiteY3522" fmla="*/ 4072377 h 6479439"/>
              <a:gd name="connsiteX3523" fmla="*/ 2407034 w 9586368"/>
              <a:gd name="connsiteY3523" fmla="*/ 4082248 h 6479439"/>
              <a:gd name="connsiteX3524" fmla="*/ 2403015 w 9586368"/>
              <a:gd name="connsiteY3524" fmla="*/ 4086287 h 6479439"/>
              <a:gd name="connsiteX3525" fmla="*/ 2393104 w 9586368"/>
              <a:gd name="connsiteY3525" fmla="*/ 4086287 h 6479439"/>
              <a:gd name="connsiteX3526" fmla="*/ 2389087 w 9586368"/>
              <a:gd name="connsiteY3526" fmla="*/ 4082248 h 6479439"/>
              <a:gd name="connsiteX3527" fmla="*/ 2389087 w 9586368"/>
              <a:gd name="connsiteY3527" fmla="*/ 4072377 h 6479439"/>
              <a:gd name="connsiteX3528" fmla="*/ 2157819 w 9586368"/>
              <a:gd name="connsiteY3528" fmla="*/ 4068339 h 6479439"/>
              <a:gd name="connsiteX3529" fmla="*/ 2167729 w 9586368"/>
              <a:gd name="connsiteY3529" fmla="*/ 4068339 h 6479439"/>
              <a:gd name="connsiteX3530" fmla="*/ 2171749 w 9586368"/>
              <a:gd name="connsiteY3530" fmla="*/ 4072377 h 6479439"/>
              <a:gd name="connsiteX3531" fmla="*/ 2171749 w 9586368"/>
              <a:gd name="connsiteY3531" fmla="*/ 4082248 h 6479439"/>
              <a:gd name="connsiteX3532" fmla="*/ 2167729 w 9586368"/>
              <a:gd name="connsiteY3532" fmla="*/ 4086287 h 6479439"/>
              <a:gd name="connsiteX3533" fmla="*/ 2157819 w 9586368"/>
              <a:gd name="connsiteY3533" fmla="*/ 4086287 h 6479439"/>
              <a:gd name="connsiteX3534" fmla="*/ 2153801 w 9586368"/>
              <a:gd name="connsiteY3534" fmla="*/ 4082248 h 6479439"/>
              <a:gd name="connsiteX3535" fmla="*/ 2153801 w 9586368"/>
              <a:gd name="connsiteY3535" fmla="*/ 4072377 h 6479439"/>
              <a:gd name="connsiteX3536" fmla="*/ 1918511 w 9586368"/>
              <a:gd name="connsiteY3536" fmla="*/ 4068339 h 6479439"/>
              <a:gd name="connsiteX3537" fmla="*/ 1928421 w 9586368"/>
              <a:gd name="connsiteY3537" fmla="*/ 4068339 h 6479439"/>
              <a:gd name="connsiteX3538" fmla="*/ 1932440 w 9586368"/>
              <a:gd name="connsiteY3538" fmla="*/ 4072377 h 6479439"/>
              <a:gd name="connsiteX3539" fmla="*/ 1932440 w 9586368"/>
              <a:gd name="connsiteY3539" fmla="*/ 4082248 h 6479439"/>
              <a:gd name="connsiteX3540" fmla="*/ 1928421 w 9586368"/>
              <a:gd name="connsiteY3540" fmla="*/ 4086287 h 6479439"/>
              <a:gd name="connsiteX3541" fmla="*/ 1918511 w 9586368"/>
              <a:gd name="connsiteY3541" fmla="*/ 4086287 h 6479439"/>
              <a:gd name="connsiteX3542" fmla="*/ 1914492 w 9586368"/>
              <a:gd name="connsiteY3542" fmla="*/ 4082248 h 6479439"/>
              <a:gd name="connsiteX3543" fmla="*/ 1914492 w 9586368"/>
              <a:gd name="connsiteY3543" fmla="*/ 4072377 h 6479439"/>
              <a:gd name="connsiteX3544" fmla="*/ 1679207 w 9586368"/>
              <a:gd name="connsiteY3544" fmla="*/ 4068339 h 6479439"/>
              <a:gd name="connsiteX3545" fmla="*/ 1689117 w 9586368"/>
              <a:gd name="connsiteY3545" fmla="*/ 4068339 h 6479439"/>
              <a:gd name="connsiteX3546" fmla="*/ 1693137 w 9586368"/>
              <a:gd name="connsiteY3546" fmla="*/ 4072377 h 6479439"/>
              <a:gd name="connsiteX3547" fmla="*/ 1693137 w 9586368"/>
              <a:gd name="connsiteY3547" fmla="*/ 4082248 h 6479439"/>
              <a:gd name="connsiteX3548" fmla="*/ 1689117 w 9586368"/>
              <a:gd name="connsiteY3548" fmla="*/ 4086287 h 6479439"/>
              <a:gd name="connsiteX3549" fmla="*/ 1679207 w 9586368"/>
              <a:gd name="connsiteY3549" fmla="*/ 4086287 h 6479439"/>
              <a:gd name="connsiteX3550" fmla="*/ 1675189 w 9586368"/>
              <a:gd name="connsiteY3550" fmla="*/ 4082248 h 6479439"/>
              <a:gd name="connsiteX3551" fmla="*/ 1675189 w 9586368"/>
              <a:gd name="connsiteY3551" fmla="*/ 4072377 h 6479439"/>
              <a:gd name="connsiteX3552" fmla="*/ 1439891 w 9586368"/>
              <a:gd name="connsiteY3552" fmla="*/ 4068339 h 6479439"/>
              <a:gd name="connsiteX3553" fmla="*/ 1449802 w 9586368"/>
              <a:gd name="connsiteY3553" fmla="*/ 4068339 h 6479439"/>
              <a:gd name="connsiteX3554" fmla="*/ 1453820 w 9586368"/>
              <a:gd name="connsiteY3554" fmla="*/ 4072377 h 6479439"/>
              <a:gd name="connsiteX3555" fmla="*/ 1453820 w 9586368"/>
              <a:gd name="connsiteY3555" fmla="*/ 4082248 h 6479439"/>
              <a:gd name="connsiteX3556" fmla="*/ 1449802 w 9586368"/>
              <a:gd name="connsiteY3556" fmla="*/ 4086287 h 6479439"/>
              <a:gd name="connsiteX3557" fmla="*/ 1439891 w 9586368"/>
              <a:gd name="connsiteY3557" fmla="*/ 4086287 h 6479439"/>
              <a:gd name="connsiteX3558" fmla="*/ 1435873 w 9586368"/>
              <a:gd name="connsiteY3558" fmla="*/ 4082248 h 6479439"/>
              <a:gd name="connsiteX3559" fmla="*/ 1435873 w 9586368"/>
              <a:gd name="connsiteY3559" fmla="*/ 4072377 h 6479439"/>
              <a:gd name="connsiteX3560" fmla="*/ 1200576 w 9586368"/>
              <a:gd name="connsiteY3560" fmla="*/ 4068339 h 6479439"/>
              <a:gd name="connsiteX3561" fmla="*/ 1210486 w 9586368"/>
              <a:gd name="connsiteY3561" fmla="*/ 4068339 h 6479439"/>
              <a:gd name="connsiteX3562" fmla="*/ 1214505 w 9586368"/>
              <a:gd name="connsiteY3562" fmla="*/ 4072377 h 6479439"/>
              <a:gd name="connsiteX3563" fmla="*/ 1214505 w 9586368"/>
              <a:gd name="connsiteY3563" fmla="*/ 4082248 h 6479439"/>
              <a:gd name="connsiteX3564" fmla="*/ 1210486 w 9586368"/>
              <a:gd name="connsiteY3564" fmla="*/ 4086287 h 6479439"/>
              <a:gd name="connsiteX3565" fmla="*/ 1200576 w 9586368"/>
              <a:gd name="connsiteY3565" fmla="*/ 4086287 h 6479439"/>
              <a:gd name="connsiteX3566" fmla="*/ 1196558 w 9586368"/>
              <a:gd name="connsiteY3566" fmla="*/ 4082248 h 6479439"/>
              <a:gd name="connsiteX3567" fmla="*/ 1196558 w 9586368"/>
              <a:gd name="connsiteY3567" fmla="*/ 4072377 h 6479439"/>
              <a:gd name="connsiteX3568" fmla="*/ 961263 w 9586368"/>
              <a:gd name="connsiteY3568" fmla="*/ 4068339 h 6479439"/>
              <a:gd name="connsiteX3569" fmla="*/ 971174 w 9586368"/>
              <a:gd name="connsiteY3569" fmla="*/ 4068339 h 6479439"/>
              <a:gd name="connsiteX3570" fmla="*/ 975192 w 9586368"/>
              <a:gd name="connsiteY3570" fmla="*/ 4072377 h 6479439"/>
              <a:gd name="connsiteX3571" fmla="*/ 975192 w 9586368"/>
              <a:gd name="connsiteY3571" fmla="*/ 4082248 h 6479439"/>
              <a:gd name="connsiteX3572" fmla="*/ 971174 w 9586368"/>
              <a:gd name="connsiteY3572" fmla="*/ 4086287 h 6479439"/>
              <a:gd name="connsiteX3573" fmla="*/ 961263 w 9586368"/>
              <a:gd name="connsiteY3573" fmla="*/ 4086287 h 6479439"/>
              <a:gd name="connsiteX3574" fmla="*/ 957244 w 9586368"/>
              <a:gd name="connsiteY3574" fmla="*/ 4082248 h 6479439"/>
              <a:gd name="connsiteX3575" fmla="*/ 957244 w 9586368"/>
              <a:gd name="connsiteY3575" fmla="*/ 4072377 h 6479439"/>
              <a:gd name="connsiteX3576" fmla="*/ 721965 w 9586368"/>
              <a:gd name="connsiteY3576" fmla="*/ 4068339 h 6479439"/>
              <a:gd name="connsiteX3577" fmla="*/ 731876 w 9586368"/>
              <a:gd name="connsiteY3577" fmla="*/ 4068339 h 6479439"/>
              <a:gd name="connsiteX3578" fmla="*/ 735894 w 9586368"/>
              <a:gd name="connsiteY3578" fmla="*/ 4072377 h 6479439"/>
              <a:gd name="connsiteX3579" fmla="*/ 735894 w 9586368"/>
              <a:gd name="connsiteY3579" fmla="*/ 4082248 h 6479439"/>
              <a:gd name="connsiteX3580" fmla="*/ 731876 w 9586368"/>
              <a:gd name="connsiteY3580" fmla="*/ 4086287 h 6479439"/>
              <a:gd name="connsiteX3581" fmla="*/ 721965 w 9586368"/>
              <a:gd name="connsiteY3581" fmla="*/ 4086287 h 6479439"/>
              <a:gd name="connsiteX3582" fmla="*/ 717946 w 9586368"/>
              <a:gd name="connsiteY3582" fmla="*/ 4082248 h 6479439"/>
              <a:gd name="connsiteX3583" fmla="*/ 717946 w 9586368"/>
              <a:gd name="connsiteY3583" fmla="*/ 4072377 h 6479439"/>
              <a:gd name="connsiteX3584" fmla="*/ 482653 w 9586368"/>
              <a:gd name="connsiteY3584" fmla="*/ 4068339 h 6479439"/>
              <a:gd name="connsiteX3585" fmla="*/ 492563 w 9586368"/>
              <a:gd name="connsiteY3585" fmla="*/ 4068339 h 6479439"/>
              <a:gd name="connsiteX3586" fmla="*/ 496583 w 9586368"/>
              <a:gd name="connsiteY3586" fmla="*/ 4072377 h 6479439"/>
              <a:gd name="connsiteX3587" fmla="*/ 496583 w 9586368"/>
              <a:gd name="connsiteY3587" fmla="*/ 4082248 h 6479439"/>
              <a:gd name="connsiteX3588" fmla="*/ 492563 w 9586368"/>
              <a:gd name="connsiteY3588" fmla="*/ 4086287 h 6479439"/>
              <a:gd name="connsiteX3589" fmla="*/ 482653 w 9586368"/>
              <a:gd name="connsiteY3589" fmla="*/ 4086287 h 6479439"/>
              <a:gd name="connsiteX3590" fmla="*/ 478634 w 9586368"/>
              <a:gd name="connsiteY3590" fmla="*/ 4082248 h 6479439"/>
              <a:gd name="connsiteX3591" fmla="*/ 478634 w 9586368"/>
              <a:gd name="connsiteY3591" fmla="*/ 4072377 h 6479439"/>
              <a:gd name="connsiteX3592" fmla="*/ 243339 w 9586368"/>
              <a:gd name="connsiteY3592" fmla="*/ 4068339 h 6479439"/>
              <a:gd name="connsiteX3593" fmla="*/ 253250 w 9586368"/>
              <a:gd name="connsiteY3593" fmla="*/ 4068339 h 6479439"/>
              <a:gd name="connsiteX3594" fmla="*/ 257269 w 9586368"/>
              <a:gd name="connsiteY3594" fmla="*/ 4072377 h 6479439"/>
              <a:gd name="connsiteX3595" fmla="*/ 257269 w 9586368"/>
              <a:gd name="connsiteY3595" fmla="*/ 4082248 h 6479439"/>
              <a:gd name="connsiteX3596" fmla="*/ 253250 w 9586368"/>
              <a:gd name="connsiteY3596" fmla="*/ 4086287 h 6479439"/>
              <a:gd name="connsiteX3597" fmla="*/ 243339 w 9586368"/>
              <a:gd name="connsiteY3597" fmla="*/ 4086287 h 6479439"/>
              <a:gd name="connsiteX3598" fmla="*/ 239320 w 9586368"/>
              <a:gd name="connsiteY3598" fmla="*/ 4082248 h 6479439"/>
              <a:gd name="connsiteX3599" fmla="*/ 239320 w 9586368"/>
              <a:gd name="connsiteY3599" fmla="*/ 4072377 h 6479439"/>
              <a:gd name="connsiteX3600" fmla="*/ 4026 w 9586368"/>
              <a:gd name="connsiteY3600" fmla="*/ 4068339 h 6479439"/>
              <a:gd name="connsiteX3601" fmla="*/ 13936 w 9586368"/>
              <a:gd name="connsiteY3601" fmla="*/ 4068339 h 6479439"/>
              <a:gd name="connsiteX3602" fmla="*/ 17956 w 9586368"/>
              <a:gd name="connsiteY3602" fmla="*/ 4072377 h 6479439"/>
              <a:gd name="connsiteX3603" fmla="*/ 17956 w 9586368"/>
              <a:gd name="connsiteY3603" fmla="*/ 4082248 h 6479439"/>
              <a:gd name="connsiteX3604" fmla="*/ 13936 w 9586368"/>
              <a:gd name="connsiteY3604" fmla="*/ 4086287 h 6479439"/>
              <a:gd name="connsiteX3605" fmla="*/ 4026 w 9586368"/>
              <a:gd name="connsiteY3605" fmla="*/ 4086287 h 6479439"/>
              <a:gd name="connsiteX3606" fmla="*/ 7 w 9586368"/>
              <a:gd name="connsiteY3606" fmla="*/ 4082248 h 6479439"/>
              <a:gd name="connsiteX3607" fmla="*/ 7 w 9586368"/>
              <a:gd name="connsiteY3607" fmla="*/ 4072377 h 6479439"/>
              <a:gd name="connsiteX3608" fmla="*/ 2157820 w 9586368"/>
              <a:gd name="connsiteY3608" fmla="*/ 3829058 h 6479439"/>
              <a:gd name="connsiteX3609" fmla="*/ 2167731 w 9586368"/>
              <a:gd name="connsiteY3609" fmla="*/ 3829058 h 6479439"/>
              <a:gd name="connsiteX3610" fmla="*/ 2171749 w 9586368"/>
              <a:gd name="connsiteY3610" fmla="*/ 3833097 h 6479439"/>
              <a:gd name="connsiteX3611" fmla="*/ 2171749 w 9586368"/>
              <a:gd name="connsiteY3611" fmla="*/ 3842968 h 6479439"/>
              <a:gd name="connsiteX3612" fmla="*/ 2167731 w 9586368"/>
              <a:gd name="connsiteY3612" fmla="*/ 3847007 h 6479439"/>
              <a:gd name="connsiteX3613" fmla="*/ 2157820 w 9586368"/>
              <a:gd name="connsiteY3613" fmla="*/ 3847007 h 6479439"/>
              <a:gd name="connsiteX3614" fmla="*/ 2153801 w 9586368"/>
              <a:gd name="connsiteY3614" fmla="*/ 3842968 h 6479439"/>
              <a:gd name="connsiteX3615" fmla="*/ 2153801 w 9586368"/>
              <a:gd name="connsiteY3615" fmla="*/ 3833097 h 6479439"/>
              <a:gd name="connsiteX3616" fmla="*/ 1918511 w 9586368"/>
              <a:gd name="connsiteY3616" fmla="*/ 3829058 h 6479439"/>
              <a:gd name="connsiteX3617" fmla="*/ 1928421 w 9586368"/>
              <a:gd name="connsiteY3617" fmla="*/ 3829058 h 6479439"/>
              <a:gd name="connsiteX3618" fmla="*/ 1932440 w 9586368"/>
              <a:gd name="connsiteY3618" fmla="*/ 3833097 h 6479439"/>
              <a:gd name="connsiteX3619" fmla="*/ 1932440 w 9586368"/>
              <a:gd name="connsiteY3619" fmla="*/ 3842968 h 6479439"/>
              <a:gd name="connsiteX3620" fmla="*/ 1928421 w 9586368"/>
              <a:gd name="connsiteY3620" fmla="*/ 3847007 h 6479439"/>
              <a:gd name="connsiteX3621" fmla="*/ 1918511 w 9586368"/>
              <a:gd name="connsiteY3621" fmla="*/ 3847007 h 6479439"/>
              <a:gd name="connsiteX3622" fmla="*/ 1914493 w 9586368"/>
              <a:gd name="connsiteY3622" fmla="*/ 3842968 h 6479439"/>
              <a:gd name="connsiteX3623" fmla="*/ 1914493 w 9586368"/>
              <a:gd name="connsiteY3623" fmla="*/ 3833097 h 6479439"/>
              <a:gd name="connsiteX3624" fmla="*/ 1679209 w 9586368"/>
              <a:gd name="connsiteY3624" fmla="*/ 3829058 h 6479439"/>
              <a:gd name="connsiteX3625" fmla="*/ 1689118 w 9586368"/>
              <a:gd name="connsiteY3625" fmla="*/ 3829058 h 6479439"/>
              <a:gd name="connsiteX3626" fmla="*/ 1693137 w 9586368"/>
              <a:gd name="connsiteY3626" fmla="*/ 3833097 h 6479439"/>
              <a:gd name="connsiteX3627" fmla="*/ 1693137 w 9586368"/>
              <a:gd name="connsiteY3627" fmla="*/ 3842968 h 6479439"/>
              <a:gd name="connsiteX3628" fmla="*/ 1689118 w 9586368"/>
              <a:gd name="connsiteY3628" fmla="*/ 3847007 h 6479439"/>
              <a:gd name="connsiteX3629" fmla="*/ 1679209 w 9586368"/>
              <a:gd name="connsiteY3629" fmla="*/ 3847007 h 6479439"/>
              <a:gd name="connsiteX3630" fmla="*/ 1675189 w 9586368"/>
              <a:gd name="connsiteY3630" fmla="*/ 3842968 h 6479439"/>
              <a:gd name="connsiteX3631" fmla="*/ 1675189 w 9586368"/>
              <a:gd name="connsiteY3631" fmla="*/ 3833097 h 6479439"/>
              <a:gd name="connsiteX3632" fmla="*/ 1439892 w 9586368"/>
              <a:gd name="connsiteY3632" fmla="*/ 3829058 h 6479439"/>
              <a:gd name="connsiteX3633" fmla="*/ 1449802 w 9586368"/>
              <a:gd name="connsiteY3633" fmla="*/ 3829058 h 6479439"/>
              <a:gd name="connsiteX3634" fmla="*/ 1453820 w 9586368"/>
              <a:gd name="connsiteY3634" fmla="*/ 3833097 h 6479439"/>
              <a:gd name="connsiteX3635" fmla="*/ 1453820 w 9586368"/>
              <a:gd name="connsiteY3635" fmla="*/ 3842968 h 6479439"/>
              <a:gd name="connsiteX3636" fmla="*/ 1449802 w 9586368"/>
              <a:gd name="connsiteY3636" fmla="*/ 3847007 h 6479439"/>
              <a:gd name="connsiteX3637" fmla="*/ 1439892 w 9586368"/>
              <a:gd name="connsiteY3637" fmla="*/ 3847007 h 6479439"/>
              <a:gd name="connsiteX3638" fmla="*/ 1435874 w 9586368"/>
              <a:gd name="connsiteY3638" fmla="*/ 3842968 h 6479439"/>
              <a:gd name="connsiteX3639" fmla="*/ 1435874 w 9586368"/>
              <a:gd name="connsiteY3639" fmla="*/ 3833097 h 6479439"/>
              <a:gd name="connsiteX3640" fmla="*/ 1200577 w 9586368"/>
              <a:gd name="connsiteY3640" fmla="*/ 3829058 h 6479439"/>
              <a:gd name="connsiteX3641" fmla="*/ 1210487 w 9586368"/>
              <a:gd name="connsiteY3641" fmla="*/ 3829058 h 6479439"/>
              <a:gd name="connsiteX3642" fmla="*/ 1214506 w 9586368"/>
              <a:gd name="connsiteY3642" fmla="*/ 3833097 h 6479439"/>
              <a:gd name="connsiteX3643" fmla="*/ 1214506 w 9586368"/>
              <a:gd name="connsiteY3643" fmla="*/ 3842968 h 6479439"/>
              <a:gd name="connsiteX3644" fmla="*/ 1210487 w 9586368"/>
              <a:gd name="connsiteY3644" fmla="*/ 3847007 h 6479439"/>
              <a:gd name="connsiteX3645" fmla="*/ 1200577 w 9586368"/>
              <a:gd name="connsiteY3645" fmla="*/ 3847007 h 6479439"/>
              <a:gd name="connsiteX3646" fmla="*/ 1196558 w 9586368"/>
              <a:gd name="connsiteY3646" fmla="*/ 3842968 h 6479439"/>
              <a:gd name="connsiteX3647" fmla="*/ 1196558 w 9586368"/>
              <a:gd name="connsiteY3647" fmla="*/ 3833097 h 6479439"/>
              <a:gd name="connsiteX3648" fmla="*/ 961264 w 9586368"/>
              <a:gd name="connsiteY3648" fmla="*/ 3829058 h 6479439"/>
              <a:gd name="connsiteX3649" fmla="*/ 971174 w 9586368"/>
              <a:gd name="connsiteY3649" fmla="*/ 3829058 h 6479439"/>
              <a:gd name="connsiteX3650" fmla="*/ 975193 w 9586368"/>
              <a:gd name="connsiteY3650" fmla="*/ 3833097 h 6479439"/>
              <a:gd name="connsiteX3651" fmla="*/ 975193 w 9586368"/>
              <a:gd name="connsiteY3651" fmla="*/ 3842968 h 6479439"/>
              <a:gd name="connsiteX3652" fmla="*/ 971174 w 9586368"/>
              <a:gd name="connsiteY3652" fmla="*/ 3847007 h 6479439"/>
              <a:gd name="connsiteX3653" fmla="*/ 961264 w 9586368"/>
              <a:gd name="connsiteY3653" fmla="*/ 3847007 h 6479439"/>
              <a:gd name="connsiteX3654" fmla="*/ 957245 w 9586368"/>
              <a:gd name="connsiteY3654" fmla="*/ 3842968 h 6479439"/>
              <a:gd name="connsiteX3655" fmla="*/ 957245 w 9586368"/>
              <a:gd name="connsiteY3655" fmla="*/ 3833097 h 6479439"/>
              <a:gd name="connsiteX3656" fmla="*/ 9572438 w 9586368"/>
              <a:gd name="connsiteY3656" fmla="*/ 3829008 h 6479439"/>
              <a:gd name="connsiteX3657" fmla="*/ 9582349 w 9586368"/>
              <a:gd name="connsiteY3657" fmla="*/ 3829008 h 6479439"/>
              <a:gd name="connsiteX3658" fmla="*/ 9586368 w 9586368"/>
              <a:gd name="connsiteY3658" fmla="*/ 3833046 h 6479439"/>
              <a:gd name="connsiteX3659" fmla="*/ 9586368 w 9586368"/>
              <a:gd name="connsiteY3659" fmla="*/ 3842917 h 6479439"/>
              <a:gd name="connsiteX3660" fmla="*/ 9582349 w 9586368"/>
              <a:gd name="connsiteY3660" fmla="*/ 3846956 h 6479439"/>
              <a:gd name="connsiteX3661" fmla="*/ 9572438 w 9586368"/>
              <a:gd name="connsiteY3661" fmla="*/ 3846956 h 6479439"/>
              <a:gd name="connsiteX3662" fmla="*/ 9568419 w 9586368"/>
              <a:gd name="connsiteY3662" fmla="*/ 3842917 h 6479439"/>
              <a:gd name="connsiteX3663" fmla="*/ 9568419 w 9586368"/>
              <a:gd name="connsiteY3663" fmla="*/ 3833046 h 6479439"/>
              <a:gd name="connsiteX3664" fmla="*/ 9333125 w 9586368"/>
              <a:gd name="connsiteY3664" fmla="*/ 3829008 h 6479439"/>
              <a:gd name="connsiteX3665" fmla="*/ 9343036 w 9586368"/>
              <a:gd name="connsiteY3665" fmla="*/ 3829008 h 6479439"/>
              <a:gd name="connsiteX3666" fmla="*/ 9347055 w 9586368"/>
              <a:gd name="connsiteY3666" fmla="*/ 3833046 h 6479439"/>
              <a:gd name="connsiteX3667" fmla="*/ 9347055 w 9586368"/>
              <a:gd name="connsiteY3667" fmla="*/ 3842917 h 6479439"/>
              <a:gd name="connsiteX3668" fmla="*/ 9343036 w 9586368"/>
              <a:gd name="connsiteY3668" fmla="*/ 3846956 h 6479439"/>
              <a:gd name="connsiteX3669" fmla="*/ 9333125 w 9586368"/>
              <a:gd name="connsiteY3669" fmla="*/ 3846956 h 6479439"/>
              <a:gd name="connsiteX3670" fmla="*/ 9329106 w 9586368"/>
              <a:gd name="connsiteY3670" fmla="*/ 3842917 h 6479439"/>
              <a:gd name="connsiteX3671" fmla="*/ 9329106 w 9586368"/>
              <a:gd name="connsiteY3671" fmla="*/ 3833046 h 6479439"/>
              <a:gd name="connsiteX3672" fmla="*/ 9093811 w 9586368"/>
              <a:gd name="connsiteY3672" fmla="*/ 3829008 h 6479439"/>
              <a:gd name="connsiteX3673" fmla="*/ 9103722 w 9586368"/>
              <a:gd name="connsiteY3673" fmla="*/ 3829008 h 6479439"/>
              <a:gd name="connsiteX3674" fmla="*/ 9107741 w 9586368"/>
              <a:gd name="connsiteY3674" fmla="*/ 3833046 h 6479439"/>
              <a:gd name="connsiteX3675" fmla="*/ 9107741 w 9586368"/>
              <a:gd name="connsiteY3675" fmla="*/ 3842917 h 6479439"/>
              <a:gd name="connsiteX3676" fmla="*/ 9103722 w 9586368"/>
              <a:gd name="connsiteY3676" fmla="*/ 3846956 h 6479439"/>
              <a:gd name="connsiteX3677" fmla="*/ 9093811 w 9586368"/>
              <a:gd name="connsiteY3677" fmla="*/ 3846956 h 6479439"/>
              <a:gd name="connsiteX3678" fmla="*/ 9089792 w 9586368"/>
              <a:gd name="connsiteY3678" fmla="*/ 3842917 h 6479439"/>
              <a:gd name="connsiteX3679" fmla="*/ 9089792 w 9586368"/>
              <a:gd name="connsiteY3679" fmla="*/ 3833046 h 6479439"/>
              <a:gd name="connsiteX3680" fmla="*/ 8854496 w 9586368"/>
              <a:gd name="connsiteY3680" fmla="*/ 3829008 h 6479439"/>
              <a:gd name="connsiteX3681" fmla="*/ 8864407 w 9586368"/>
              <a:gd name="connsiteY3681" fmla="*/ 3829008 h 6479439"/>
              <a:gd name="connsiteX3682" fmla="*/ 8868426 w 9586368"/>
              <a:gd name="connsiteY3682" fmla="*/ 3833046 h 6479439"/>
              <a:gd name="connsiteX3683" fmla="*/ 8868426 w 9586368"/>
              <a:gd name="connsiteY3683" fmla="*/ 3842917 h 6479439"/>
              <a:gd name="connsiteX3684" fmla="*/ 8864407 w 9586368"/>
              <a:gd name="connsiteY3684" fmla="*/ 3846956 h 6479439"/>
              <a:gd name="connsiteX3685" fmla="*/ 8854496 w 9586368"/>
              <a:gd name="connsiteY3685" fmla="*/ 3846956 h 6479439"/>
              <a:gd name="connsiteX3686" fmla="*/ 8850477 w 9586368"/>
              <a:gd name="connsiteY3686" fmla="*/ 3842917 h 6479439"/>
              <a:gd name="connsiteX3687" fmla="*/ 8850477 w 9586368"/>
              <a:gd name="connsiteY3687" fmla="*/ 3833046 h 6479439"/>
              <a:gd name="connsiteX3688" fmla="*/ 8615184 w 9586368"/>
              <a:gd name="connsiteY3688" fmla="*/ 3829008 h 6479439"/>
              <a:gd name="connsiteX3689" fmla="*/ 8625095 w 9586368"/>
              <a:gd name="connsiteY3689" fmla="*/ 3829008 h 6479439"/>
              <a:gd name="connsiteX3690" fmla="*/ 8629114 w 9586368"/>
              <a:gd name="connsiteY3690" fmla="*/ 3833046 h 6479439"/>
              <a:gd name="connsiteX3691" fmla="*/ 8629114 w 9586368"/>
              <a:gd name="connsiteY3691" fmla="*/ 3842917 h 6479439"/>
              <a:gd name="connsiteX3692" fmla="*/ 8625095 w 9586368"/>
              <a:gd name="connsiteY3692" fmla="*/ 3846956 h 6479439"/>
              <a:gd name="connsiteX3693" fmla="*/ 8615184 w 9586368"/>
              <a:gd name="connsiteY3693" fmla="*/ 3846956 h 6479439"/>
              <a:gd name="connsiteX3694" fmla="*/ 8611165 w 9586368"/>
              <a:gd name="connsiteY3694" fmla="*/ 3842917 h 6479439"/>
              <a:gd name="connsiteX3695" fmla="*/ 8611165 w 9586368"/>
              <a:gd name="connsiteY3695" fmla="*/ 3833046 h 6479439"/>
              <a:gd name="connsiteX3696" fmla="*/ 8375869 w 9586368"/>
              <a:gd name="connsiteY3696" fmla="*/ 3829008 h 6479439"/>
              <a:gd name="connsiteX3697" fmla="*/ 8385779 w 9586368"/>
              <a:gd name="connsiteY3697" fmla="*/ 3829008 h 6479439"/>
              <a:gd name="connsiteX3698" fmla="*/ 8389799 w 9586368"/>
              <a:gd name="connsiteY3698" fmla="*/ 3833046 h 6479439"/>
              <a:gd name="connsiteX3699" fmla="*/ 8389799 w 9586368"/>
              <a:gd name="connsiteY3699" fmla="*/ 3842917 h 6479439"/>
              <a:gd name="connsiteX3700" fmla="*/ 8385779 w 9586368"/>
              <a:gd name="connsiteY3700" fmla="*/ 3846956 h 6479439"/>
              <a:gd name="connsiteX3701" fmla="*/ 8375869 w 9586368"/>
              <a:gd name="connsiteY3701" fmla="*/ 3846956 h 6479439"/>
              <a:gd name="connsiteX3702" fmla="*/ 8371850 w 9586368"/>
              <a:gd name="connsiteY3702" fmla="*/ 3842917 h 6479439"/>
              <a:gd name="connsiteX3703" fmla="*/ 8371850 w 9586368"/>
              <a:gd name="connsiteY3703" fmla="*/ 3833046 h 6479439"/>
              <a:gd name="connsiteX3704" fmla="*/ 8136553 w 9586368"/>
              <a:gd name="connsiteY3704" fmla="*/ 3829008 h 6479439"/>
              <a:gd name="connsiteX3705" fmla="*/ 8146464 w 9586368"/>
              <a:gd name="connsiteY3705" fmla="*/ 3829008 h 6479439"/>
              <a:gd name="connsiteX3706" fmla="*/ 8150483 w 9586368"/>
              <a:gd name="connsiteY3706" fmla="*/ 3833046 h 6479439"/>
              <a:gd name="connsiteX3707" fmla="*/ 8150483 w 9586368"/>
              <a:gd name="connsiteY3707" fmla="*/ 3842917 h 6479439"/>
              <a:gd name="connsiteX3708" fmla="*/ 8146464 w 9586368"/>
              <a:gd name="connsiteY3708" fmla="*/ 3846956 h 6479439"/>
              <a:gd name="connsiteX3709" fmla="*/ 8136553 w 9586368"/>
              <a:gd name="connsiteY3709" fmla="*/ 3846956 h 6479439"/>
              <a:gd name="connsiteX3710" fmla="*/ 8132534 w 9586368"/>
              <a:gd name="connsiteY3710" fmla="*/ 3842917 h 6479439"/>
              <a:gd name="connsiteX3711" fmla="*/ 8132534 w 9586368"/>
              <a:gd name="connsiteY3711" fmla="*/ 3833046 h 6479439"/>
              <a:gd name="connsiteX3712" fmla="*/ 7897241 w 9586368"/>
              <a:gd name="connsiteY3712" fmla="*/ 3829008 h 6479439"/>
              <a:gd name="connsiteX3713" fmla="*/ 7907151 w 9586368"/>
              <a:gd name="connsiteY3713" fmla="*/ 3829008 h 6479439"/>
              <a:gd name="connsiteX3714" fmla="*/ 7911170 w 9586368"/>
              <a:gd name="connsiteY3714" fmla="*/ 3833046 h 6479439"/>
              <a:gd name="connsiteX3715" fmla="*/ 7911170 w 9586368"/>
              <a:gd name="connsiteY3715" fmla="*/ 3842917 h 6479439"/>
              <a:gd name="connsiteX3716" fmla="*/ 7907151 w 9586368"/>
              <a:gd name="connsiteY3716" fmla="*/ 3846956 h 6479439"/>
              <a:gd name="connsiteX3717" fmla="*/ 7897241 w 9586368"/>
              <a:gd name="connsiteY3717" fmla="*/ 3846956 h 6479439"/>
              <a:gd name="connsiteX3718" fmla="*/ 7893222 w 9586368"/>
              <a:gd name="connsiteY3718" fmla="*/ 3842917 h 6479439"/>
              <a:gd name="connsiteX3719" fmla="*/ 7893222 w 9586368"/>
              <a:gd name="connsiteY3719" fmla="*/ 3833046 h 6479439"/>
              <a:gd name="connsiteX3720" fmla="*/ 7657926 w 9586368"/>
              <a:gd name="connsiteY3720" fmla="*/ 3829008 h 6479439"/>
              <a:gd name="connsiteX3721" fmla="*/ 7667836 w 9586368"/>
              <a:gd name="connsiteY3721" fmla="*/ 3829008 h 6479439"/>
              <a:gd name="connsiteX3722" fmla="*/ 7671855 w 9586368"/>
              <a:gd name="connsiteY3722" fmla="*/ 3833046 h 6479439"/>
              <a:gd name="connsiteX3723" fmla="*/ 7671855 w 9586368"/>
              <a:gd name="connsiteY3723" fmla="*/ 3842917 h 6479439"/>
              <a:gd name="connsiteX3724" fmla="*/ 7667836 w 9586368"/>
              <a:gd name="connsiteY3724" fmla="*/ 3846956 h 6479439"/>
              <a:gd name="connsiteX3725" fmla="*/ 7657926 w 9586368"/>
              <a:gd name="connsiteY3725" fmla="*/ 3846956 h 6479439"/>
              <a:gd name="connsiteX3726" fmla="*/ 7653906 w 9586368"/>
              <a:gd name="connsiteY3726" fmla="*/ 3842917 h 6479439"/>
              <a:gd name="connsiteX3727" fmla="*/ 7653906 w 9586368"/>
              <a:gd name="connsiteY3727" fmla="*/ 3833046 h 6479439"/>
              <a:gd name="connsiteX3728" fmla="*/ 7418611 w 9586368"/>
              <a:gd name="connsiteY3728" fmla="*/ 3829008 h 6479439"/>
              <a:gd name="connsiteX3729" fmla="*/ 7428521 w 9586368"/>
              <a:gd name="connsiteY3729" fmla="*/ 3829008 h 6479439"/>
              <a:gd name="connsiteX3730" fmla="*/ 7432540 w 9586368"/>
              <a:gd name="connsiteY3730" fmla="*/ 3833046 h 6479439"/>
              <a:gd name="connsiteX3731" fmla="*/ 7432540 w 9586368"/>
              <a:gd name="connsiteY3731" fmla="*/ 3842917 h 6479439"/>
              <a:gd name="connsiteX3732" fmla="*/ 7428521 w 9586368"/>
              <a:gd name="connsiteY3732" fmla="*/ 3846956 h 6479439"/>
              <a:gd name="connsiteX3733" fmla="*/ 7418611 w 9586368"/>
              <a:gd name="connsiteY3733" fmla="*/ 3846956 h 6479439"/>
              <a:gd name="connsiteX3734" fmla="*/ 7414592 w 9586368"/>
              <a:gd name="connsiteY3734" fmla="*/ 3842917 h 6479439"/>
              <a:gd name="connsiteX3735" fmla="*/ 7414592 w 9586368"/>
              <a:gd name="connsiteY3735" fmla="*/ 3833046 h 6479439"/>
              <a:gd name="connsiteX3736" fmla="*/ 7179298 w 9586368"/>
              <a:gd name="connsiteY3736" fmla="*/ 3829008 h 6479439"/>
              <a:gd name="connsiteX3737" fmla="*/ 7189209 w 9586368"/>
              <a:gd name="connsiteY3737" fmla="*/ 3829008 h 6479439"/>
              <a:gd name="connsiteX3738" fmla="*/ 7193228 w 9586368"/>
              <a:gd name="connsiteY3738" fmla="*/ 3833046 h 6479439"/>
              <a:gd name="connsiteX3739" fmla="*/ 7193228 w 9586368"/>
              <a:gd name="connsiteY3739" fmla="*/ 3842917 h 6479439"/>
              <a:gd name="connsiteX3740" fmla="*/ 7189209 w 9586368"/>
              <a:gd name="connsiteY3740" fmla="*/ 3846956 h 6479439"/>
              <a:gd name="connsiteX3741" fmla="*/ 7179298 w 9586368"/>
              <a:gd name="connsiteY3741" fmla="*/ 3846956 h 6479439"/>
              <a:gd name="connsiteX3742" fmla="*/ 7175279 w 9586368"/>
              <a:gd name="connsiteY3742" fmla="*/ 3842917 h 6479439"/>
              <a:gd name="connsiteX3743" fmla="*/ 7175279 w 9586368"/>
              <a:gd name="connsiteY3743" fmla="*/ 3833046 h 6479439"/>
              <a:gd name="connsiteX3744" fmla="*/ 6939983 w 9586368"/>
              <a:gd name="connsiteY3744" fmla="*/ 3829008 h 6479439"/>
              <a:gd name="connsiteX3745" fmla="*/ 6949894 w 9586368"/>
              <a:gd name="connsiteY3745" fmla="*/ 3829008 h 6479439"/>
              <a:gd name="connsiteX3746" fmla="*/ 6953913 w 9586368"/>
              <a:gd name="connsiteY3746" fmla="*/ 3833046 h 6479439"/>
              <a:gd name="connsiteX3747" fmla="*/ 6953913 w 9586368"/>
              <a:gd name="connsiteY3747" fmla="*/ 3842917 h 6479439"/>
              <a:gd name="connsiteX3748" fmla="*/ 6949894 w 9586368"/>
              <a:gd name="connsiteY3748" fmla="*/ 3846956 h 6479439"/>
              <a:gd name="connsiteX3749" fmla="*/ 6939983 w 9586368"/>
              <a:gd name="connsiteY3749" fmla="*/ 3846956 h 6479439"/>
              <a:gd name="connsiteX3750" fmla="*/ 6935964 w 9586368"/>
              <a:gd name="connsiteY3750" fmla="*/ 3842917 h 6479439"/>
              <a:gd name="connsiteX3751" fmla="*/ 6935964 w 9586368"/>
              <a:gd name="connsiteY3751" fmla="*/ 3833046 h 6479439"/>
              <a:gd name="connsiteX3752" fmla="*/ 6700670 w 9586368"/>
              <a:gd name="connsiteY3752" fmla="*/ 3829008 h 6479439"/>
              <a:gd name="connsiteX3753" fmla="*/ 6710581 w 9586368"/>
              <a:gd name="connsiteY3753" fmla="*/ 3829008 h 6479439"/>
              <a:gd name="connsiteX3754" fmla="*/ 6714600 w 9586368"/>
              <a:gd name="connsiteY3754" fmla="*/ 3833046 h 6479439"/>
              <a:gd name="connsiteX3755" fmla="*/ 6714600 w 9586368"/>
              <a:gd name="connsiteY3755" fmla="*/ 3842917 h 6479439"/>
              <a:gd name="connsiteX3756" fmla="*/ 6710581 w 9586368"/>
              <a:gd name="connsiteY3756" fmla="*/ 3846956 h 6479439"/>
              <a:gd name="connsiteX3757" fmla="*/ 6700670 w 9586368"/>
              <a:gd name="connsiteY3757" fmla="*/ 3846956 h 6479439"/>
              <a:gd name="connsiteX3758" fmla="*/ 6696651 w 9586368"/>
              <a:gd name="connsiteY3758" fmla="*/ 3842917 h 6479439"/>
              <a:gd name="connsiteX3759" fmla="*/ 6696651 w 9586368"/>
              <a:gd name="connsiteY3759" fmla="*/ 3833046 h 6479439"/>
              <a:gd name="connsiteX3760" fmla="*/ 6461356 w 9586368"/>
              <a:gd name="connsiteY3760" fmla="*/ 3829008 h 6479439"/>
              <a:gd name="connsiteX3761" fmla="*/ 6471266 w 9586368"/>
              <a:gd name="connsiteY3761" fmla="*/ 3829008 h 6479439"/>
              <a:gd name="connsiteX3762" fmla="*/ 6475285 w 9586368"/>
              <a:gd name="connsiteY3762" fmla="*/ 3833046 h 6479439"/>
              <a:gd name="connsiteX3763" fmla="*/ 6475285 w 9586368"/>
              <a:gd name="connsiteY3763" fmla="*/ 3842917 h 6479439"/>
              <a:gd name="connsiteX3764" fmla="*/ 6471266 w 9586368"/>
              <a:gd name="connsiteY3764" fmla="*/ 3846956 h 6479439"/>
              <a:gd name="connsiteX3765" fmla="*/ 6461356 w 9586368"/>
              <a:gd name="connsiteY3765" fmla="*/ 3846956 h 6479439"/>
              <a:gd name="connsiteX3766" fmla="*/ 6457337 w 9586368"/>
              <a:gd name="connsiteY3766" fmla="*/ 3842917 h 6479439"/>
              <a:gd name="connsiteX3767" fmla="*/ 6457337 w 9586368"/>
              <a:gd name="connsiteY3767" fmla="*/ 3833046 h 6479439"/>
              <a:gd name="connsiteX3768" fmla="*/ 6222042 w 9586368"/>
              <a:gd name="connsiteY3768" fmla="*/ 3829008 h 6479439"/>
              <a:gd name="connsiteX3769" fmla="*/ 6231952 w 9586368"/>
              <a:gd name="connsiteY3769" fmla="*/ 3829008 h 6479439"/>
              <a:gd name="connsiteX3770" fmla="*/ 6235971 w 9586368"/>
              <a:gd name="connsiteY3770" fmla="*/ 3833046 h 6479439"/>
              <a:gd name="connsiteX3771" fmla="*/ 6235971 w 9586368"/>
              <a:gd name="connsiteY3771" fmla="*/ 3842917 h 6479439"/>
              <a:gd name="connsiteX3772" fmla="*/ 6231952 w 9586368"/>
              <a:gd name="connsiteY3772" fmla="*/ 3846956 h 6479439"/>
              <a:gd name="connsiteX3773" fmla="*/ 6222042 w 9586368"/>
              <a:gd name="connsiteY3773" fmla="*/ 3846956 h 6479439"/>
              <a:gd name="connsiteX3774" fmla="*/ 6218023 w 9586368"/>
              <a:gd name="connsiteY3774" fmla="*/ 3842917 h 6479439"/>
              <a:gd name="connsiteX3775" fmla="*/ 6218023 w 9586368"/>
              <a:gd name="connsiteY3775" fmla="*/ 3833046 h 6479439"/>
              <a:gd name="connsiteX3776" fmla="*/ 5982729 w 9586368"/>
              <a:gd name="connsiteY3776" fmla="*/ 3829008 h 6479439"/>
              <a:gd name="connsiteX3777" fmla="*/ 5992639 w 9586368"/>
              <a:gd name="connsiteY3777" fmla="*/ 3829008 h 6479439"/>
              <a:gd name="connsiteX3778" fmla="*/ 5996658 w 9586368"/>
              <a:gd name="connsiteY3778" fmla="*/ 3833046 h 6479439"/>
              <a:gd name="connsiteX3779" fmla="*/ 5996658 w 9586368"/>
              <a:gd name="connsiteY3779" fmla="*/ 3842917 h 6479439"/>
              <a:gd name="connsiteX3780" fmla="*/ 5992639 w 9586368"/>
              <a:gd name="connsiteY3780" fmla="*/ 3846956 h 6479439"/>
              <a:gd name="connsiteX3781" fmla="*/ 5982729 w 9586368"/>
              <a:gd name="connsiteY3781" fmla="*/ 3846956 h 6479439"/>
              <a:gd name="connsiteX3782" fmla="*/ 5978710 w 9586368"/>
              <a:gd name="connsiteY3782" fmla="*/ 3842917 h 6479439"/>
              <a:gd name="connsiteX3783" fmla="*/ 5978710 w 9586368"/>
              <a:gd name="connsiteY3783" fmla="*/ 3833046 h 6479439"/>
              <a:gd name="connsiteX3784" fmla="*/ 5743412 w 9586368"/>
              <a:gd name="connsiteY3784" fmla="*/ 3829008 h 6479439"/>
              <a:gd name="connsiteX3785" fmla="*/ 5753323 w 9586368"/>
              <a:gd name="connsiteY3785" fmla="*/ 3829008 h 6479439"/>
              <a:gd name="connsiteX3786" fmla="*/ 5757342 w 9586368"/>
              <a:gd name="connsiteY3786" fmla="*/ 3833046 h 6479439"/>
              <a:gd name="connsiteX3787" fmla="*/ 5757342 w 9586368"/>
              <a:gd name="connsiteY3787" fmla="*/ 3842917 h 6479439"/>
              <a:gd name="connsiteX3788" fmla="*/ 5753323 w 9586368"/>
              <a:gd name="connsiteY3788" fmla="*/ 3846956 h 6479439"/>
              <a:gd name="connsiteX3789" fmla="*/ 5743412 w 9586368"/>
              <a:gd name="connsiteY3789" fmla="*/ 3846956 h 6479439"/>
              <a:gd name="connsiteX3790" fmla="*/ 5739393 w 9586368"/>
              <a:gd name="connsiteY3790" fmla="*/ 3842917 h 6479439"/>
              <a:gd name="connsiteX3791" fmla="*/ 5739393 w 9586368"/>
              <a:gd name="connsiteY3791" fmla="*/ 3833046 h 6479439"/>
              <a:gd name="connsiteX3792" fmla="*/ 5504099 w 9586368"/>
              <a:gd name="connsiteY3792" fmla="*/ 3829008 h 6479439"/>
              <a:gd name="connsiteX3793" fmla="*/ 5514010 w 9586368"/>
              <a:gd name="connsiteY3793" fmla="*/ 3829008 h 6479439"/>
              <a:gd name="connsiteX3794" fmla="*/ 5518029 w 9586368"/>
              <a:gd name="connsiteY3794" fmla="*/ 3833046 h 6479439"/>
              <a:gd name="connsiteX3795" fmla="*/ 5518029 w 9586368"/>
              <a:gd name="connsiteY3795" fmla="*/ 3842917 h 6479439"/>
              <a:gd name="connsiteX3796" fmla="*/ 5514010 w 9586368"/>
              <a:gd name="connsiteY3796" fmla="*/ 3846956 h 6479439"/>
              <a:gd name="connsiteX3797" fmla="*/ 5504099 w 9586368"/>
              <a:gd name="connsiteY3797" fmla="*/ 3846956 h 6479439"/>
              <a:gd name="connsiteX3798" fmla="*/ 5500080 w 9586368"/>
              <a:gd name="connsiteY3798" fmla="*/ 3842917 h 6479439"/>
              <a:gd name="connsiteX3799" fmla="*/ 5500080 w 9586368"/>
              <a:gd name="connsiteY3799" fmla="*/ 3833046 h 6479439"/>
              <a:gd name="connsiteX3800" fmla="*/ 5264784 w 9586368"/>
              <a:gd name="connsiteY3800" fmla="*/ 3829008 h 6479439"/>
              <a:gd name="connsiteX3801" fmla="*/ 5274694 w 9586368"/>
              <a:gd name="connsiteY3801" fmla="*/ 3829008 h 6479439"/>
              <a:gd name="connsiteX3802" fmla="*/ 5278713 w 9586368"/>
              <a:gd name="connsiteY3802" fmla="*/ 3833046 h 6479439"/>
              <a:gd name="connsiteX3803" fmla="*/ 5278713 w 9586368"/>
              <a:gd name="connsiteY3803" fmla="*/ 3842917 h 6479439"/>
              <a:gd name="connsiteX3804" fmla="*/ 5274694 w 9586368"/>
              <a:gd name="connsiteY3804" fmla="*/ 3846956 h 6479439"/>
              <a:gd name="connsiteX3805" fmla="*/ 5264784 w 9586368"/>
              <a:gd name="connsiteY3805" fmla="*/ 3846956 h 6479439"/>
              <a:gd name="connsiteX3806" fmla="*/ 5260765 w 9586368"/>
              <a:gd name="connsiteY3806" fmla="*/ 3842917 h 6479439"/>
              <a:gd name="connsiteX3807" fmla="*/ 5260765 w 9586368"/>
              <a:gd name="connsiteY3807" fmla="*/ 3833046 h 6479439"/>
              <a:gd name="connsiteX3808" fmla="*/ 5025470 w 9586368"/>
              <a:gd name="connsiteY3808" fmla="*/ 3829008 h 6479439"/>
              <a:gd name="connsiteX3809" fmla="*/ 5035381 w 9586368"/>
              <a:gd name="connsiteY3809" fmla="*/ 3829008 h 6479439"/>
              <a:gd name="connsiteX3810" fmla="*/ 5039400 w 9586368"/>
              <a:gd name="connsiteY3810" fmla="*/ 3833046 h 6479439"/>
              <a:gd name="connsiteX3811" fmla="*/ 5039400 w 9586368"/>
              <a:gd name="connsiteY3811" fmla="*/ 3842917 h 6479439"/>
              <a:gd name="connsiteX3812" fmla="*/ 5035381 w 9586368"/>
              <a:gd name="connsiteY3812" fmla="*/ 3846956 h 6479439"/>
              <a:gd name="connsiteX3813" fmla="*/ 5025470 w 9586368"/>
              <a:gd name="connsiteY3813" fmla="*/ 3846956 h 6479439"/>
              <a:gd name="connsiteX3814" fmla="*/ 5021451 w 9586368"/>
              <a:gd name="connsiteY3814" fmla="*/ 3842917 h 6479439"/>
              <a:gd name="connsiteX3815" fmla="*/ 5021451 w 9586368"/>
              <a:gd name="connsiteY3815" fmla="*/ 3833046 h 6479439"/>
              <a:gd name="connsiteX3816" fmla="*/ 4786241 w 9586368"/>
              <a:gd name="connsiteY3816" fmla="*/ 3829008 h 6479439"/>
              <a:gd name="connsiteX3817" fmla="*/ 4796152 w 9586368"/>
              <a:gd name="connsiteY3817" fmla="*/ 3829008 h 6479439"/>
              <a:gd name="connsiteX3818" fmla="*/ 4800171 w 9586368"/>
              <a:gd name="connsiteY3818" fmla="*/ 3833046 h 6479439"/>
              <a:gd name="connsiteX3819" fmla="*/ 4800171 w 9586368"/>
              <a:gd name="connsiteY3819" fmla="*/ 3842917 h 6479439"/>
              <a:gd name="connsiteX3820" fmla="*/ 4796152 w 9586368"/>
              <a:gd name="connsiteY3820" fmla="*/ 3846956 h 6479439"/>
              <a:gd name="connsiteX3821" fmla="*/ 4786241 w 9586368"/>
              <a:gd name="connsiteY3821" fmla="*/ 3846956 h 6479439"/>
              <a:gd name="connsiteX3822" fmla="*/ 4782224 w 9586368"/>
              <a:gd name="connsiteY3822" fmla="*/ 3842917 h 6479439"/>
              <a:gd name="connsiteX3823" fmla="*/ 4782224 w 9586368"/>
              <a:gd name="connsiteY3823" fmla="*/ 3833046 h 6479439"/>
              <a:gd name="connsiteX3824" fmla="*/ 4546929 w 9586368"/>
              <a:gd name="connsiteY3824" fmla="*/ 3829008 h 6479439"/>
              <a:gd name="connsiteX3825" fmla="*/ 4556840 w 9586368"/>
              <a:gd name="connsiteY3825" fmla="*/ 3829008 h 6479439"/>
              <a:gd name="connsiteX3826" fmla="*/ 4560859 w 9586368"/>
              <a:gd name="connsiteY3826" fmla="*/ 3833046 h 6479439"/>
              <a:gd name="connsiteX3827" fmla="*/ 4560859 w 9586368"/>
              <a:gd name="connsiteY3827" fmla="*/ 3842917 h 6479439"/>
              <a:gd name="connsiteX3828" fmla="*/ 4556840 w 9586368"/>
              <a:gd name="connsiteY3828" fmla="*/ 3846956 h 6479439"/>
              <a:gd name="connsiteX3829" fmla="*/ 4546929 w 9586368"/>
              <a:gd name="connsiteY3829" fmla="*/ 3846956 h 6479439"/>
              <a:gd name="connsiteX3830" fmla="*/ 4542910 w 9586368"/>
              <a:gd name="connsiteY3830" fmla="*/ 3842917 h 6479439"/>
              <a:gd name="connsiteX3831" fmla="*/ 4542910 w 9586368"/>
              <a:gd name="connsiteY3831" fmla="*/ 3833046 h 6479439"/>
              <a:gd name="connsiteX3832" fmla="*/ 4307612 w 9586368"/>
              <a:gd name="connsiteY3832" fmla="*/ 3829008 h 6479439"/>
              <a:gd name="connsiteX3833" fmla="*/ 4317523 w 9586368"/>
              <a:gd name="connsiteY3833" fmla="*/ 3829008 h 6479439"/>
              <a:gd name="connsiteX3834" fmla="*/ 4321543 w 9586368"/>
              <a:gd name="connsiteY3834" fmla="*/ 3833046 h 6479439"/>
              <a:gd name="connsiteX3835" fmla="*/ 4321543 w 9586368"/>
              <a:gd name="connsiteY3835" fmla="*/ 3842917 h 6479439"/>
              <a:gd name="connsiteX3836" fmla="*/ 4317523 w 9586368"/>
              <a:gd name="connsiteY3836" fmla="*/ 3846956 h 6479439"/>
              <a:gd name="connsiteX3837" fmla="*/ 4307612 w 9586368"/>
              <a:gd name="connsiteY3837" fmla="*/ 3846956 h 6479439"/>
              <a:gd name="connsiteX3838" fmla="*/ 4303595 w 9586368"/>
              <a:gd name="connsiteY3838" fmla="*/ 3842917 h 6479439"/>
              <a:gd name="connsiteX3839" fmla="*/ 4303595 w 9586368"/>
              <a:gd name="connsiteY3839" fmla="*/ 3833046 h 6479439"/>
              <a:gd name="connsiteX3840" fmla="*/ 4068297 w 9586368"/>
              <a:gd name="connsiteY3840" fmla="*/ 3829008 h 6479439"/>
              <a:gd name="connsiteX3841" fmla="*/ 4078210 w 9586368"/>
              <a:gd name="connsiteY3841" fmla="*/ 3829008 h 6479439"/>
              <a:gd name="connsiteX3842" fmla="*/ 4082229 w 9586368"/>
              <a:gd name="connsiteY3842" fmla="*/ 3833046 h 6479439"/>
              <a:gd name="connsiteX3843" fmla="*/ 4082229 w 9586368"/>
              <a:gd name="connsiteY3843" fmla="*/ 3842917 h 6479439"/>
              <a:gd name="connsiteX3844" fmla="*/ 4078210 w 9586368"/>
              <a:gd name="connsiteY3844" fmla="*/ 3846956 h 6479439"/>
              <a:gd name="connsiteX3845" fmla="*/ 4068297 w 9586368"/>
              <a:gd name="connsiteY3845" fmla="*/ 3846956 h 6479439"/>
              <a:gd name="connsiteX3846" fmla="*/ 4064278 w 9586368"/>
              <a:gd name="connsiteY3846" fmla="*/ 3842917 h 6479439"/>
              <a:gd name="connsiteX3847" fmla="*/ 4064278 w 9586368"/>
              <a:gd name="connsiteY3847" fmla="*/ 3833046 h 6479439"/>
              <a:gd name="connsiteX3848" fmla="*/ 3828990 w 9586368"/>
              <a:gd name="connsiteY3848" fmla="*/ 3829008 h 6479439"/>
              <a:gd name="connsiteX3849" fmla="*/ 3838899 w 9586368"/>
              <a:gd name="connsiteY3849" fmla="*/ 3829008 h 6479439"/>
              <a:gd name="connsiteX3850" fmla="*/ 3842917 w 9586368"/>
              <a:gd name="connsiteY3850" fmla="*/ 3833046 h 6479439"/>
              <a:gd name="connsiteX3851" fmla="*/ 3842917 w 9586368"/>
              <a:gd name="connsiteY3851" fmla="*/ 3842917 h 6479439"/>
              <a:gd name="connsiteX3852" fmla="*/ 3838899 w 9586368"/>
              <a:gd name="connsiteY3852" fmla="*/ 3846956 h 6479439"/>
              <a:gd name="connsiteX3853" fmla="*/ 3828990 w 9586368"/>
              <a:gd name="connsiteY3853" fmla="*/ 3846956 h 6479439"/>
              <a:gd name="connsiteX3854" fmla="*/ 3824971 w 9586368"/>
              <a:gd name="connsiteY3854" fmla="*/ 3842917 h 6479439"/>
              <a:gd name="connsiteX3855" fmla="*/ 3824971 w 9586368"/>
              <a:gd name="connsiteY3855" fmla="*/ 3833046 h 6479439"/>
              <a:gd name="connsiteX3856" fmla="*/ 3589676 w 9586368"/>
              <a:gd name="connsiteY3856" fmla="*/ 3829008 h 6479439"/>
              <a:gd name="connsiteX3857" fmla="*/ 3599585 w 9586368"/>
              <a:gd name="connsiteY3857" fmla="*/ 3829008 h 6479439"/>
              <a:gd name="connsiteX3858" fmla="*/ 3603604 w 9586368"/>
              <a:gd name="connsiteY3858" fmla="*/ 3833046 h 6479439"/>
              <a:gd name="connsiteX3859" fmla="*/ 3603604 w 9586368"/>
              <a:gd name="connsiteY3859" fmla="*/ 3842917 h 6479439"/>
              <a:gd name="connsiteX3860" fmla="*/ 3599585 w 9586368"/>
              <a:gd name="connsiteY3860" fmla="*/ 3846956 h 6479439"/>
              <a:gd name="connsiteX3861" fmla="*/ 3589676 w 9586368"/>
              <a:gd name="connsiteY3861" fmla="*/ 3846956 h 6479439"/>
              <a:gd name="connsiteX3862" fmla="*/ 3585657 w 9586368"/>
              <a:gd name="connsiteY3862" fmla="*/ 3842917 h 6479439"/>
              <a:gd name="connsiteX3863" fmla="*/ 3585657 w 9586368"/>
              <a:gd name="connsiteY3863" fmla="*/ 3833046 h 6479439"/>
              <a:gd name="connsiteX3864" fmla="*/ 3350359 w 9586368"/>
              <a:gd name="connsiteY3864" fmla="*/ 3829008 h 6479439"/>
              <a:gd name="connsiteX3865" fmla="*/ 3360268 w 9586368"/>
              <a:gd name="connsiteY3865" fmla="*/ 3829008 h 6479439"/>
              <a:gd name="connsiteX3866" fmla="*/ 3364287 w 9586368"/>
              <a:gd name="connsiteY3866" fmla="*/ 3833046 h 6479439"/>
              <a:gd name="connsiteX3867" fmla="*/ 3364287 w 9586368"/>
              <a:gd name="connsiteY3867" fmla="*/ 3842917 h 6479439"/>
              <a:gd name="connsiteX3868" fmla="*/ 3360268 w 9586368"/>
              <a:gd name="connsiteY3868" fmla="*/ 3846956 h 6479439"/>
              <a:gd name="connsiteX3869" fmla="*/ 3350359 w 9586368"/>
              <a:gd name="connsiteY3869" fmla="*/ 3846956 h 6479439"/>
              <a:gd name="connsiteX3870" fmla="*/ 3346340 w 9586368"/>
              <a:gd name="connsiteY3870" fmla="*/ 3842917 h 6479439"/>
              <a:gd name="connsiteX3871" fmla="*/ 3346340 w 9586368"/>
              <a:gd name="connsiteY3871" fmla="*/ 3833046 h 6479439"/>
              <a:gd name="connsiteX3872" fmla="*/ 3111048 w 9586368"/>
              <a:gd name="connsiteY3872" fmla="*/ 3829008 h 6479439"/>
              <a:gd name="connsiteX3873" fmla="*/ 3120959 w 9586368"/>
              <a:gd name="connsiteY3873" fmla="*/ 3829008 h 6479439"/>
              <a:gd name="connsiteX3874" fmla="*/ 3124977 w 9586368"/>
              <a:gd name="connsiteY3874" fmla="*/ 3833046 h 6479439"/>
              <a:gd name="connsiteX3875" fmla="*/ 3124977 w 9586368"/>
              <a:gd name="connsiteY3875" fmla="*/ 3842917 h 6479439"/>
              <a:gd name="connsiteX3876" fmla="*/ 3120959 w 9586368"/>
              <a:gd name="connsiteY3876" fmla="*/ 3846956 h 6479439"/>
              <a:gd name="connsiteX3877" fmla="*/ 3111048 w 9586368"/>
              <a:gd name="connsiteY3877" fmla="*/ 3846956 h 6479439"/>
              <a:gd name="connsiteX3878" fmla="*/ 3107029 w 9586368"/>
              <a:gd name="connsiteY3878" fmla="*/ 3842917 h 6479439"/>
              <a:gd name="connsiteX3879" fmla="*/ 3107029 w 9586368"/>
              <a:gd name="connsiteY3879" fmla="*/ 3833046 h 6479439"/>
              <a:gd name="connsiteX3880" fmla="*/ 2871737 w 9586368"/>
              <a:gd name="connsiteY3880" fmla="*/ 3829008 h 6479439"/>
              <a:gd name="connsiteX3881" fmla="*/ 2881646 w 9586368"/>
              <a:gd name="connsiteY3881" fmla="*/ 3829008 h 6479439"/>
              <a:gd name="connsiteX3882" fmla="*/ 2885666 w 9586368"/>
              <a:gd name="connsiteY3882" fmla="*/ 3833046 h 6479439"/>
              <a:gd name="connsiteX3883" fmla="*/ 2885666 w 9586368"/>
              <a:gd name="connsiteY3883" fmla="*/ 3842917 h 6479439"/>
              <a:gd name="connsiteX3884" fmla="*/ 2881646 w 9586368"/>
              <a:gd name="connsiteY3884" fmla="*/ 3846956 h 6479439"/>
              <a:gd name="connsiteX3885" fmla="*/ 2871737 w 9586368"/>
              <a:gd name="connsiteY3885" fmla="*/ 3846956 h 6479439"/>
              <a:gd name="connsiteX3886" fmla="*/ 2867717 w 9586368"/>
              <a:gd name="connsiteY3886" fmla="*/ 3842917 h 6479439"/>
              <a:gd name="connsiteX3887" fmla="*/ 2867717 w 9586368"/>
              <a:gd name="connsiteY3887" fmla="*/ 3833046 h 6479439"/>
              <a:gd name="connsiteX3888" fmla="*/ 2632423 w 9586368"/>
              <a:gd name="connsiteY3888" fmla="*/ 3829008 h 6479439"/>
              <a:gd name="connsiteX3889" fmla="*/ 2642334 w 9586368"/>
              <a:gd name="connsiteY3889" fmla="*/ 3829008 h 6479439"/>
              <a:gd name="connsiteX3890" fmla="*/ 2646352 w 9586368"/>
              <a:gd name="connsiteY3890" fmla="*/ 3833046 h 6479439"/>
              <a:gd name="connsiteX3891" fmla="*/ 2646352 w 9586368"/>
              <a:gd name="connsiteY3891" fmla="*/ 3842917 h 6479439"/>
              <a:gd name="connsiteX3892" fmla="*/ 2642334 w 9586368"/>
              <a:gd name="connsiteY3892" fmla="*/ 3846956 h 6479439"/>
              <a:gd name="connsiteX3893" fmla="*/ 2632423 w 9586368"/>
              <a:gd name="connsiteY3893" fmla="*/ 3846956 h 6479439"/>
              <a:gd name="connsiteX3894" fmla="*/ 2628404 w 9586368"/>
              <a:gd name="connsiteY3894" fmla="*/ 3842917 h 6479439"/>
              <a:gd name="connsiteX3895" fmla="*/ 2628404 w 9586368"/>
              <a:gd name="connsiteY3895" fmla="*/ 3833046 h 6479439"/>
              <a:gd name="connsiteX3896" fmla="*/ 2393104 w 9586368"/>
              <a:gd name="connsiteY3896" fmla="*/ 3829008 h 6479439"/>
              <a:gd name="connsiteX3897" fmla="*/ 2403015 w 9586368"/>
              <a:gd name="connsiteY3897" fmla="*/ 3829008 h 6479439"/>
              <a:gd name="connsiteX3898" fmla="*/ 2407034 w 9586368"/>
              <a:gd name="connsiteY3898" fmla="*/ 3833046 h 6479439"/>
              <a:gd name="connsiteX3899" fmla="*/ 2407034 w 9586368"/>
              <a:gd name="connsiteY3899" fmla="*/ 3842917 h 6479439"/>
              <a:gd name="connsiteX3900" fmla="*/ 2403015 w 9586368"/>
              <a:gd name="connsiteY3900" fmla="*/ 3846956 h 6479439"/>
              <a:gd name="connsiteX3901" fmla="*/ 2393104 w 9586368"/>
              <a:gd name="connsiteY3901" fmla="*/ 3846956 h 6479439"/>
              <a:gd name="connsiteX3902" fmla="*/ 2389087 w 9586368"/>
              <a:gd name="connsiteY3902" fmla="*/ 3842917 h 6479439"/>
              <a:gd name="connsiteX3903" fmla="*/ 2389087 w 9586368"/>
              <a:gd name="connsiteY3903" fmla="*/ 3833046 h 6479439"/>
              <a:gd name="connsiteX3904" fmla="*/ 721966 w 9586368"/>
              <a:gd name="connsiteY3904" fmla="*/ 3829008 h 6479439"/>
              <a:gd name="connsiteX3905" fmla="*/ 731876 w 9586368"/>
              <a:gd name="connsiteY3905" fmla="*/ 3829008 h 6479439"/>
              <a:gd name="connsiteX3906" fmla="*/ 735895 w 9586368"/>
              <a:gd name="connsiteY3906" fmla="*/ 3833046 h 6479439"/>
              <a:gd name="connsiteX3907" fmla="*/ 735895 w 9586368"/>
              <a:gd name="connsiteY3907" fmla="*/ 3842917 h 6479439"/>
              <a:gd name="connsiteX3908" fmla="*/ 731876 w 9586368"/>
              <a:gd name="connsiteY3908" fmla="*/ 3846956 h 6479439"/>
              <a:gd name="connsiteX3909" fmla="*/ 721966 w 9586368"/>
              <a:gd name="connsiteY3909" fmla="*/ 3846956 h 6479439"/>
              <a:gd name="connsiteX3910" fmla="*/ 717947 w 9586368"/>
              <a:gd name="connsiteY3910" fmla="*/ 3842917 h 6479439"/>
              <a:gd name="connsiteX3911" fmla="*/ 717947 w 9586368"/>
              <a:gd name="connsiteY3911" fmla="*/ 3833046 h 6479439"/>
              <a:gd name="connsiteX3912" fmla="*/ 482654 w 9586368"/>
              <a:gd name="connsiteY3912" fmla="*/ 3829008 h 6479439"/>
              <a:gd name="connsiteX3913" fmla="*/ 492564 w 9586368"/>
              <a:gd name="connsiteY3913" fmla="*/ 3829008 h 6479439"/>
              <a:gd name="connsiteX3914" fmla="*/ 496583 w 9586368"/>
              <a:gd name="connsiteY3914" fmla="*/ 3833046 h 6479439"/>
              <a:gd name="connsiteX3915" fmla="*/ 496583 w 9586368"/>
              <a:gd name="connsiteY3915" fmla="*/ 3842917 h 6479439"/>
              <a:gd name="connsiteX3916" fmla="*/ 492564 w 9586368"/>
              <a:gd name="connsiteY3916" fmla="*/ 3846956 h 6479439"/>
              <a:gd name="connsiteX3917" fmla="*/ 482654 w 9586368"/>
              <a:gd name="connsiteY3917" fmla="*/ 3846956 h 6479439"/>
              <a:gd name="connsiteX3918" fmla="*/ 478635 w 9586368"/>
              <a:gd name="connsiteY3918" fmla="*/ 3842917 h 6479439"/>
              <a:gd name="connsiteX3919" fmla="*/ 478635 w 9586368"/>
              <a:gd name="connsiteY3919" fmla="*/ 3833046 h 6479439"/>
              <a:gd name="connsiteX3920" fmla="*/ 243340 w 9586368"/>
              <a:gd name="connsiteY3920" fmla="*/ 3829008 h 6479439"/>
              <a:gd name="connsiteX3921" fmla="*/ 253250 w 9586368"/>
              <a:gd name="connsiteY3921" fmla="*/ 3829008 h 6479439"/>
              <a:gd name="connsiteX3922" fmla="*/ 257269 w 9586368"/>
              <a:gd name="connsiteY3922" fmla="*/ 3833046 h 6479439"/>
              <a:gd name="connsiteX3923" fmla="*/ 257269 w 9586368"/>
              <a:gd name="connsiteY3923" fmla="*/ 3842917 h 6479439"/>
              <a:gd name="connsiteX3924" fmla="*/ 253250 w 9586368"/>
              <a:gd name="connsiteY3924" fmla="*/ 3846956 h 6479439"/>
              <a:gd name="connsiteX3925" fmla="*/ 243340 w 9586368"/>
              <a:gd name="connsiteY3925" fmla="*/ 3846956 h 6479439"/>
              <a:gd name="connsiteX3926" fmla="*/ 239321 w 9586368"/>
              <a:gd name="connsiteY3926" fmla="*/ 3842917 h 6479439"/>
              <a:gd name="connsiteX3927" fmla="*/ 239321 w 9586368"/>
              <a:gd name="connsiteY3927" fmla="*/ 3833046 h 6479439"/>
              <a:gd name="connsiteX3928" fmla="*/ 4027 w 9586368"/>
              <a:gd name="connsiteY3928" fmla="*/ 3829008 h 6479439"/>
              <a:gd name="connsiteX3929" fmla="*/ 13937 w 9586368"/>
              <a:gd name="connsiteY3929" fmla="*/ 3829008 h 6479439"/>
              <a:gd name="connsiteX3930" fmla="*/ 17956 w 9586368"/>
              <a:gd name="connsiteY3930" fmla="*/ 3833046 h 6479439"/>
              <a:gd name="connsiteX3931" fmla="*/ 17956 w 9586368"/>
              <a:gd name="connsiteY3931" fmla="*/ 3842917 h 6479439"/>
              <a:gd name="connsiteX3932" fmla="*/ 13937 w 9586368"/>
              <a:gd name="connsiteY3932" fmla="*/ 3846956 h 6479439"/>
              <a:gd name="connsiteX3933" fmla="*/ 4027 w 9586368"/>
              <a:gd name="connsiteY3933" fmla="*/ 3846956 h 6479439"/>
              <a:gd name="connsiteX3934" fmla="*/ 8 w 9586368"/>
              <a:gd name="connsiteY3934" fmla="*/ 3842917 h 6479439"/>
              <a:gd name="connsiteX3935" fmla="*/ 8 w 9586368"/>
              <a:gd name="connsiteY3935" fmla="*/ 3833046 h 6479439"/>
              <a:gd name="connsiteX3936" fmla="*/ 2157820 w 9586368"/>
              <a:gd name="connsiteY3936" fmla="*/ 3589728 h 6479439"/>
              <a:gd name="connsiteX3937" fmla="*/ 2167731 w 9586368"/>
              <a:gd name="connsiteY3937" fmla="*/ 3589728 h 6479439"/>
              <a:gd name="connsiteX3938" fmla="*/ 2171749 w 9586368"/>
              <a:gd name="connsiteY3938" fmla="*/ 3593767 h 6479439"/>
              <a:gd name="connsiteX3939" fmla="*/ 2171749 w 9586368"/>
              <a:gd name="connsiteY3939" fmla="*/ 3603637 h 6479439"/>
              <a:gd name="connsiteX3940" fmla="*/ 2167731 w 9586368"/>
              <a:gd name="connsiteY3940" fmla="*/ 3607676 h 6479439"/>
              <a:gd name="connsiteX3941" fmla="*/ 2157820 w 9586368"/>
              <a:gd name="connsiteY3941" fmla="*/ 3607676 h 6479439"/>
              <a:gd name="connsiteX3942" fmla="*/ 2153801 w 9586368"/>
              <a:gd name="connsiteY3942" fmla="*/ 3603637 h 6479439"/>
              <a:gd name="connsiteX3943" fmla="*/ 2153801 w 9586368"/>
              <a:gd name="connsiteY3943" fmla="*/ 3593767 h 6479439"/>
              <a:gd name="connsiteX3944" fmla="*/ 1918511 w 9586368"/>
              <a:gd name="connsiteY3944" fmla="*/ 3589728 h 6479439"/>
              <a:gd name="connsiteX3945" fmla="*/ 1928421 w 9586368"/>
              <a:gd name="connsiteY3945" fmla="*/ 3589728 h 6479439"/>
              <a:gd name="connsiteX3946" fmla="*/ 1932441 w 9586368"/>
              <a:gd name="connsiteY3946" fmla="*/ 3593767 h 6479439"/>
              <a:gd name="connsiteX3947" fmla="*/ 1932441 w 9586368"/>
              <a:gd name="connsiteY3947" fmla="*/ 3603637 h 6479439"/>
              <a:gd name="connsiteX3948" fmla="*/ 1928421 w 9586368"/>
              <a:gd name="connsiteY3948" fmla="*/ 3607676 h 6479439"/>
              <a:gd name="connsiteX3949" fmla="*/ 1918511 w 9586368"/>
              <a:gd name="connsiteY3949" fmla="*/ 3607676 h 6479439"/>
              <a:gd name="connsiteX3950" fmla="*/ 1914493 w 9586368"/>
              <a:gd name="connsiteY3950" fmla="*/ 3603637 h 6479439"/>
              <a:gd name="connsiteX3951" fmla="*/ 1914493 w 9586368"/>
              <a:gd name="connsiteY3951" fmla="*/ 3593767 h 6479439"/>
              <a:gd name="connsiteX3952" fmla="*/ 1679209 w 9586368"/>
              <a:gd name="connsiteY3952" fmla="*/ 3589728 h 6479439"/>
              <a:gd name="connsiteX3953" fmla="*/ 1689118 w 9586368"/>
              <a:gd name="connsiteY3953" fmla="*/ 3589728 h 6479439"/>
              <a:gd name="connsiteX3954" fmla="*/ 1693138 w 9586368"/>
              <a:gd name="connsiteY3954" fmla="*/ 3593767 h 6479439"/>
              <a:gd name="connsiteX3955" fmla="*/ 1693138 w 9586368"/>
              <a:gd name="connsiteY3955" fmla="*/ 3603637 h 6479439"/>
              <a:gd name="connsiteX3956" fmla="*/ 1689118 w 9586368"/>
              <a:gd name="connsiteY3956" fmla="*/ 3607676 h 6479439"/>
              <a:gd name="connsiteX3957" fmla="*/ 1679209 w 9586368"/>
              <a:gd name="connsiteY3957" fmla="*/ 3607676 h 6479439"/>
              <a:gd name="connsiteX3958" fmla="*/ 1675190 w 9586368"/>
              <a:gd name="connsiteY3958" fmla="*/ 3603637 h 6479439"/>
              <a:gd name="connsiteX3959" fmla="*/ 1675190 w 9586368"/>
              <a:gd name="connsiteY3959" fmla="*/ 3593767 h 6479439"/>
              <a:gd name="connsiteX3960" fmla="*/ 1439892 w 9586368"/>
              <a:gd name="connsiteY3960" fmla="*/ 3589728 h 6479439"/>
              <a:gd name="connsiteX3961" fmla="*/ 1449803 w 9586368"/>
              <a:gd name="connsiteY3961" fmla="*/ 3589728 h 6479439"/>
              <a:gd name="connsiteX3962" fmla="*/ 1453822 w 9586368"/>
              <a:gd name="connsiteY3962" fmla="*/ 3593767 h 6479439"/>
              <a:gd name="connsiteX3963" fmla="*/ 1453822 w 9586368"/>
              <a:gd name="connsiteY3963" fmla="*/ 3603637 h 6479439"/>
              <a:gd name="connsiteX3964" fmla="*/ 1449803 w 9586368"/>
              <a:gd name="connsiteY3964" fmla="*/ 3607676 h 6479439"/>
              <a:gd name="connsiteX3965" fmla="*/ 1439892 w 9586368"/>
              <a:gd name="connsiteY3965" fmla="*/ 3607676 h 6479439"/>
              <a:gd name="connsiteX3966" fmla="*/ 1435874 w 9586368"/>
              <a:gd name="connsiteY3966" fmla="*/ 3603637 h 6479439"/>
              <a:gd name="connsiteX3967" fmla="*/ 1435874 w 9586368"/>
              <a:gd name="connsiteY3967" fmla="*/ 3593767 h 6479439"/>
              <a:gd name="connsiteX3968" fmla="*/ 1200577 w 9586368"/>
              <a:gd name="connsiteY3968" fmla="*/ 3589728 h 6479439"/>
              <a:gd name="connsiteX3969" fmla="*/ 1210488 w 9586368"/>
              <a:gd name="connsiteY3969" fmla="*/ 3589728 h 6479439"/>
              <a:gd name="connsiteX3970" fmla="*/ 1214506 w 9586368"/>
              <a:gd name="connsiteY3970" fmla="*/ 3593767 h 6479439"/>
              <a:gd name="connsiteX3971" fmla="*/ 1214506 w 9586368"/>
              <a:gd name="connsiteY3971" fmla="*/ 3603637 h 6479439"/>
              <a:gd name="connsiteX3972" fmla="*/ 1210488 w 9586368"/>
              <a:gd name="connsiteY3972" fmla="*/ 3607676 h 6479439"/>
              <a:gd name="connsiteX3973" fmla="*/ 1200577 w 9586368"/>
              <a:gd name="connsiteY3973" fmla="*/ 3607676 h 6479439"/>
              <a:gd name="connsiteX3974" fmla="*/ 1196559 w 9586368"/>
              <a:gd name="connsiteY3974" fmla="*/ 3603637 h 6479439"/>
              <a:gd name="connsiteX3975" fmla="*/ 1196559 w 9586368"/>
              <a:gd name="connsiteY3975" fmla="*/ 3593767 h 6479439"/>
              <a:gd name="connsiteX3976" fmla="*/ 961265 w 9586368"/>
              <a:gd name="connsiteY3976" fmla="*/ 3589728 h 6479439"/>
              <a:gd name="connsiteX3977" fmla="*/ 971175 w 9586368"/>
              <a:gd name="connsiteY3977" fmla="*/ 3589728 h 6479439"/>
              <a:gd name="connsiteX3978" fmla="*/ 975193 w 9586368"/>
              <a:gd name="connsiteY3978" fmla="*/ 3593767 h 6479439"/>
              <a:gd name="connsiteX3979" fmla="*/ 975193 w 9586368"/>
              <a:gd name="connsiteY3979" fmla="*/ 3603637 h 6479439"/>
              <a:gd name="connsiteX3980" fmla="*/ 971175 w 9586368"/>
              <a:gd name="connsiteY3980" fmla="*/ 3607676 h 6479439"/>
              <a:gd name="connsiteX3981" fmla="*/ 961265 w 9586368"/>
              <a:gd name="connsiteY3981" fmla="*/ 3607676 h 6479439"/>
              <a:gd name="connsiteX3982" fmla="*/ 957246 w 9586368"/>
              <a:gd name="connsiteY3982" fmla="*/ 3603637 h 6479439"/>
              <a:gd name="connsiteX3983" fmla="*/ 957246 w 9586368"/>
              <a:gd name="connsiteY3983" fmla="*/ 3593767 h 6479439"/>
              <a:gd name="connsiteX3984" fmla="*/ 9572438 w 9586368"/>
              <a:gd name="connsiteY3984" fmla="*/ 3589677 h 6479439"/>
              <a:gd name="connsiteX3985" fmla="*/ 9582349 w 9586368"/>
              <a:gd name="connsiteY3985" fmla="*/ 3589677 h 6479439"/>
              <a:gd name="connsiteX3986" fmla="*/ 9586368 w 9586368"/>
              <a:gd name="connsiteY3986" fmla="*/ 3593716 h 6479439"/>
              <a:gd name="connsiteX3987" fmla="*/ 9586368 w 9586368"/>
              <a:gd name="connsiteY3987" fmla="*/ 3603586 h 6479439"/>
              <a:gd name="connsiteX3988" fmla="*/ 9582349 w 9586368"/>
              <a:gd name="connsiteY3988" fmla="*/ 3607625 h 6479439"/>
              <a:gd name="connsiteX3989" fmla="*/ 9572438 w 9586368"/>
              <a:gd name="connsiteY3989" fmla="*/ 3607625 h 6479439"/>
              <a:gd name="connsiteX3990" fmla="*/ 9568419 w 9586368"/>
              <a:gd name="connsiteY3990" fmla="*/ 3603586 h 6479439"/>
              <a:gd name="connsiteX3991" fmla="*/ 9568419 w 9586368"/>
              <a:gd name="connsiteY3991" fmla="*/ 3593716 h 6479439"/>
              <a:gd name="connsiteX3992" fmla="*/ 9333125 w 9586368"/>
              <a:gd name="connsiteY3992" fmla="*/ 3589677 h 6479439"/>
              <a:gd name="connsiteX3993" fmla="*/ 9343036 w 9586368"/>
              <a:gd name="connsiteY3993" fmla="*/ 3589677 h 6479439"/>
              <a:gd name="connsiteX3994" fmla="*/ 9347055 w 9586368"/>
              <a:gd name="connsiteY3994" fmla="*/ 3593716 h 6479439"/>
              <a:gd name="connsiteX3995" fmla="*/ 9347055 w 9586368"/>
              <a:gd name="connsiteY3995" fmla="*/ 3603586 h 6479439"/>
              <a:gd name="connsiteX3996" fmla="*/ 9343036 w 9586368"/>
              <a:gd name="connsiteY3996" fmla="*/ 3607625 h 6479439"/>
              <a:gd name="connsiteX3997" fmla="*/ 9333125 w 9586368"/>
              <a:gd name="connsiteY3997" fmla="*/ 3607625 h 6479439"/>
              <a:gd name="connsiteX3998" fmla="*/ 9329106 w 9586368"/>
              <a:gd name="connsiteY3998" fmla="*/ 3603586 h 6479439"/>
              <a:gd name="connsiteX3999" fmla="*/ 9329106 w 9586368"/>
              <a:gd name="connsiteY3999" fmla="*/ 3593716 h 6479439"/>
              <a:gd name="connsiteX4000" fmla="*/ 9093811 w 9586368"/>
              <a:gd name="connsiteY4000" fmla="*/ 3589677 h 6479439"/>
              <a:gd name="connsiteX4001" fmla="*/ 9103722 w 9586368"/>
              <a:gd name="connsiteY4001" fmla="*/ 3589677 h 6479439"/>
              <a:gd name="connsiteX4002" fmla="*/ 9107741 w 9586368"/>
              <a:gd name="connsiteY4002" fmla="*/ 3593716 h 6479439"/>
              <a:gd name="connsiteX4003" fmla="*/ 9107741 w 9586368"/>
              <a:gd name="connsiteY4003" fmla="*/ 3603586 h 6479439"/>
              <a:gd name="connsiteX4004" fmla="*/ 9103722 w 9586368"/>
              <a:gd name="connsiteY4004" fmla="*/ 3607625 h 6479439"/>
              <a:gd name="connsiteX4005" fmla="*/ 9093811 w 9586368"/>
              <a:gd name="connsiteY4005" fmla="*/ 3607625 h 6479439"/>
              <a:gd name="connsiteX4006" fmla="*/ 9089792 w 9586368"/>
              <a:gd name="connsiteY4006" fmla="*/ 3603586 h 6479439"/>
              <a:gd name="connsiteX4007" fmla="*/ 9089792 w 9586368"/>
              <a:gd name="connsiteY4007" fmla="*/ 3593716 h 6479439"/>
              <a:gd name="connsiteX4008" fmla="*/ 8854496 w 9586368"/>
              <a:gd name="connsiteY4008" fmla="*/ 3589677 h 6479439"/>
              <a:gd name="connsiteX4009" fmla="*/ 8864407 w 9586368"/>
              <a:gd name="connsiteY4009" fmla="*/ 3589677 h 6479439"/>
              <a:gd name="connsiteX4010" fmla="*/ 8868426 w 9586368"/>
              <a:gd name="connsiteY4010" fmla="*/ 3593716 h 6479439"/>
              <a:gd name="connsiteX4011" fmla="*/ 8868426 w 9586368"/>
              <a:gd name="connsiteY4011" fmla="*/ 3603586 h 6479439"/>
              <a:gd name="connsiteX4012" fmla="*/ 8864407 w 9586368"/>
              <a:gd name="connsiteY4012" fmla="*/ 3607625 h 6479439"/>
              <a:gd name="connsiteX4013" fmla="*/ 8854496 w 9586368"/>
              <a:gd name="connsiteY4013" fmla="*/ 3607625 h 6479439"/>
              <a:gd name="connsiteX4014" fmla="*/ 8850477 w 9586368"/>
              <a:gd name="connsiteY4014" fmla="*/ 3603586 h 6479439"/>
              <a:gd name="connsiteX4015" fmla="*/ 8850477 w 9586368"/>
              <a:gd name="connsiteY4015" fmla="*/ 3593716 h 6479439"/>
              <a:gd name="connsiteX4016" fmla="*/ 8615184 w 9586368"/>
              <a:gd name="connsiteY4016" fmla="*/ 3589677 h 6479439"/>
              <a:gd name="connsiteX4017" fmla="*/ 8625095 w 9586368"/>
              <a:gd name="connsiteY4017" fmla="*/ 3589677 h 6479439"/>
              <a:gd name="connsiteX4018" fmla="*/ 8629114 w 9586368"/>
              <a:gd name="connsiteY4018" fmla="*/ 3593716 h 6479439"/>
              <a:gd name="connsiteX4019" fmla="*/ 8629114 w 9586368"/>
              <a:gd name="connsiteY4019" fmla="*/ 3603586 h 6479439"/>
              <a:gd name="connsiteX4020" fmla="*/ 8625095 w 9586368"/>
              <a:gd name="connsiteY4020" fmla="*/ 3607625 h 6479439"/>
              <a:gd name="connsiteX4021" fmla="*/ 8615184 w 9586368"/>
              <a:gd name="connsiteY4021" fmla="*/ 3607625 h 6479439"/>
              <a:gd name="connsiteX4022" fmla="*/ 8611165 w 9586368"/>
              <a:gd name="connsiteY4022" fmla="*/ 3603586 h 6479439"/>
              <a:gd name="connsiteX4023" fmla="*/ 8611165 w 9586368"/>
              <a:gd name="connsiteY4023" fmla="*/ 3593716 h 6479439"/>
              <a:gd name="connsiteX4024" fmla="*/ 8375869 w 9586368"/>
              <a:gd name="connsiteY4024" fmla="*/ 3589677 h 6479439"/>
              <a:gd name="connsiteX4025" fmla="*/ 8385779 w 9586368"/>
              <a:gd name="connsiteY4025" fmla="*/ 3589677 h 6479439"/>
              <a:gd name="connsiteX4026" fmla="*/ 8389799 w 9586368"/>
              <a:gd name="connsiteY4026" fmla="*/ 3593716 h 6479439"/>
              <a:gd name="connsiteX4027" fmla="*/ 8389799 w 9586368"/>
              <a:gd name="connsiteY4027" fmla="*/ 3603586 h 6479439"/>
              <a:gd name="connsiteX4028" fmla="*/ 8385779 w 9586368"/>
              <a:gd name="connsiteY4028" fmla="*/ 3607625 h 6479439"/>
              <a:gd name="connsiteX4029" fmla="*/ 8375869 w 9586368"/>
              <a:gd name="connsiteY4029" fmla="*/ 3607625 h 6479439"/>
              <a:gd name="connsiteX4030" fmla="*/ 8371850 w 9586368"/>
              <a:gd name="connsiteY4030" fmla="*/ 3603586 h 6479439"/>
              <a:gd name="connsiteX4031" fmla="*/ 8371850 w 9586368"/>
              <a:gd name="connsiteY4031" fmla="*/ 3593716 h 6479439"/>
              <a:gd name="connsiteX4032" fmla="*/ 8136553 w 9586368"/>
              <a:gd name="connsiteY4032" fmla="*/ 3589677 h 6479439"/>
              <a:gd name="connsiteX4033" fmla="*/ 8146464 w 9586368"/>
              <a:gd name="connsiteY4033" fmla="*/ 3589677 h 6479439"/>
              <a:gd name="connsiteX4034" fmla="*/ 8150483 w 9586368"/>
              <a:gd name="connsiteY4034" fmla="*/ 3593716 h 6479439"/>
              <a:gd name="connsiteX4035" fmla="*/ 8150483 w 9586368"/>
              <a:gd name="connsiteY4035" fmla="*/ 3603586 h 6479439"/>
              <a:gd name="connsiteX4036" fmla="*/ 8146464 w 9586368"/>
              <a:gd name="connsiteY4036" fmla="*/ 3607625 h 6479439"/>
              <a:gd name="connsiteX4037" fmla="*/ 8136553 w 9586368"/>
              <a:gd name="connsiteY4037" fmla="*/ 3607625 h 6479439"/>
              <a:gd name="connsiteX4038" fmla="*/ 8132534 w 9586368"/>
              <a:gd name="connsiteY4038" fmla="*/ 3603586 h 6479439"/>
              <a:gd name="connsiteX4039" fmla="*/ 8132534 w 9586368"/>
              <a:gd name="connsiteY4039" fmla="*/ 3593716 h 6479439"/>
              <a:gd name="connsiteX4040" fmla="*/ 7897241 w 9586368"/>
              <a:gd name="connsiteY4040" fmla="*/ 3589677 h 6479439"/>
              <a:gd name="connsiteX4041" fmla="*/ 7907151 w 9586368"/>
              <a:gd name="connsiteY4041" fmla="*/ 3589677 h 6479439"/>
              <a:gd name="connsiteX4042" fmla="*/ 7911170 w 9586368"/>
              <a:gd name="connsiteY4042" fmla="*/ 3593716 h 6479439"/>
              <a:gd name="connsiteX4043" fmla="*/ 7911170 w 9586368"/>
              <a:gd name="connsiteY4043" fmla="*/ 3603586 h 6479439"/>
              <a:gd name="connsiteX4044" fmla="*/ 7907151 w 9586368"/>
              <a:gd name="connsiteY4044" fmla="*/ 3607625 h 6479439"/>
              <a:gd name="connsiteX4045" fmla="*/ 7897241 w 9586368"/>
              <a:gd name="connsiteY4045" fmla="*/ 3607625 h 6479439"/>
              <a:gd name="connsiteX4046" fmla="*/ 7893222 w 9586368"/>
              <a:gd name="connsiteY4046" fmla="*/ 3603586 h 6479439"/>
              <a:gd name="connsiteX4047" fmla="*/ 7893222 w 9586368"/>
              <a:gd name="connsiteY4047" fmla="*/ 3593716 h 6479439"/>
              <a:gd name="connsiteX4048" fmla="*/ 7657926 w 9586368"/>
              <a:gd name="connsiteY4048" fmla="*/ 3589677 h 6479439"/>
              <a:gd name="connsiteX4049" fmla="*/ 7667836 w 9586368"/>
              <a:gd name="connsiteY4049" fmla="*/ 3589677 h 6479439"/>
              <a:gd name="connsiteX4050" fmla="*/ 7671855 w 9586368"/>
              <a:gd name="connsiteY4050" fmla="*/ 3593716 h 6479439"/>
              <a:gd name="connsiteX4051" fmla="*/ 7671855 w 9586368"/>
              <a:gd name="connsiteY4051" fmla="*/ 3603586 h 6479439"/>
              <a:gd name="connsiteX4052" fmla="*/ 7667836 w 9586368"/>
              <a:gd name="connsiteY4052" fmla="*/ 3607625 h 6479439"/>
              <a:gd name="connsiteX4053" fmla="*/ 7657926 w 9586368"/>
              <a:gd name="connsiteY4053" fmla="*/ 3607625 h 6479439"/>
              <a:gd name="connsiteX4054" fmla="*/ 7653906 w 9586368"/>
              <a:gd name="connsiteY4054" fmla="*/ 3603586 h 6479439"/>
              <a:gd name="connsiteX4055" fmla="*/ 7653906 w 9586368"/>
              <a:gd name="connsiteY4055" fmla="*/ 3593716 h 6479439"/>
              <a:gd name="connsiteX4056" fmla="*/ 7418611 w 9586368"/>
              <a:gd name="connsiteY4056" fmla="*/ 3589677 h 6479439"/>
              <a:gd name="connsiteX4057" fmla="*/ 7428521 w 9586368"/>
              <a:gd name="connsiteY4057" fmla="*/ 3589677 h 6479439"/>
              <a:gd name="connsiteX4058" fmla="*/ 7432540 w 9586368"/>
              <a:gd name="connsiteY4058" fmla="*/ 3593716 h 6479439"/>
              <a:gd name="connsiteX4059" fmla="*/ 7432540 w 9586368"/>
              <a:gd name="connsiteY4059" fmla="*/ 3603586 h 6479439"/>
              <a:gd name="connsiteX4060" fmla="*/ 7428521 w 9586368"/>
              <a:gd name="connsiteY4060" fmla="*/ 3607625 h 6479439"/>
              <a:gd name="connsiteX4061" fmla="*/ 7418611 w 9586368"/>
              <a:gd name="connsiteY4061" fmla="*/ 3607625 h 6479439"/>
              <a:gd name="connsiteX4062" fmla="*/ 7414592 w 9586368"/>
              <a:gd name="connsiteY4062" fmla="*/ 3603586 h 6479439"/>
              <a:gd name="connsiteX4063" fmla="*/ 7414592 w 9586368"/>
              <a:gd name="connsiteY4063" fmla="*/ 3593716 h 6479439"/>
              <a:gd name="connsiteX4064" fmla="*/ 7179298 w 9586368"/>
              <a:gd name="connsiteY4064" fmla="*/ 3589677 h 6479439"/>
              <a:gd name="connsiteX4065" fmla="*/ 7189209 w 9586368"/>
              <a:gd name="connsiteY4065" fmla="*/ 3589677 h 6479439"/>
              <a:gd name="connsiteX4066" fmla="*/ 7193228 w 9586368"/>
              <a:gd name="connsiteY4066" fmla="*/ 3593716 h 6479439"/>
              <a:gd name="connsiteX4067" fmla="*/ 7193228 w 9586368"/>
              <a:gd name="connsiteY4067" fmla="*/ 3603586 h 6479439"/>
              <a:gd name="connsiteX4068" fmla="*/ 7189209 w 9586368"/>
              <a:gd name="connsiteY4068" fmla="*/ 3607625 h 6479439"/>
              <a:gd name="connsiteX4069" fmla="*/ 7179298 w 9586368"/>
              <a:gd name="connsiteY4069" fmla="*/ 3607625 h 6479439"/>
              <a:gd name="connsiteX4070" fmla="*/ 7175279 w 9586368"/>
              <a:gd name="connsiteY4070" fmla="*/ 3603586 h 6479439"/>
              <a:gd name="connsiteX4071" fmla="*/ 7175279 w 9586368"/>
              <a:gd name="connsiteY4071" fmla="*/ 3593716 h 6479439"/>
              <a:gd name="connsiteX4072" fmla="*/ 6939983 w 9586368"/>
              <a:gd name="connsiteY4072" fmla="*/ 3589677 h 6479439"/>
              <a:gd name="connsiteX4073" fmla="*/ 6949894 w 9586368"/>
              <a:gd name="connsiteY4073" fmla="*/ 3589677 h 6479439"/>
              <a:gd name="connsiteX4074" fmla="*/ 6953913 w 9586368"/>
              <a:gd name="connsiteY4074" fmla="*/ 3593716 h 6479439"/>
              <a:gd name="connsiteX4075" fmla="*/ 6953913 w 9586368"/>
              <a:gd name="connsiteY4075" fmla="*/ 3603586 h 6479439"/>
              <a:gd name="connsiteX4076" fmla="*/ 6949894 w 9586368"/>
              <a:gd name="connsiteY4076" fmla="*/ 3607625 h 6479439"/>
              <a:gd name="connsiteX4077" fmla="*/ 6939983 w 9586368"/>
              <a:gd name="connsiteY4077" fmla="*/ 3607625 h 6479439"/>
              <a:gd name="connsiteX4078" fmla="*/ 6935964 w 9586368"/>
              <a:gd name="connsiteY4078" fmla="*/ 3603586 h 6479439"/>
              <a:gd name="connsiteX4079" fmla="*/ 6935964 w 9586368"/>
              <a:gd name="connsiteY4079" fmla="*/ 3593716 h 6479439"/>
              <a:gd name="connsiteX4080" fmla="*/ 6700670 w 9586368"/>
              <a:gd name="connsiteY4080" fmla="*/ 3589677 h 6479439"/>
              <a:gd name="connsiteX4081" fmla="*/ 6710581 w 9586368"/>
              <a:gd name="connsiteY4081" fmla="*/ 3589677 h 6479439"/>
              <a:gd name="connsiteX4082" fmla="*/ 6714600 w 9586368"/>
              <a:gd name="connsiteY4082" fmla="*/ 3593716 h 6479439"/>
              <a:gd name="connsiteX4083" fmla="*/ 6714600 w 9586368"/>
              <a:gd name="connsiteY4083" fmla="*/ 3603586 h 6479439"/>
              <a:gd name="connsiteX4084" fmla="*/ 6710581 w 9586368"/>
              <a:gd name="connsiteY4084" fmla="*/ 3607625 h 6479439"/>
              <a:gd name="connsiteX4085" fmla="*/ 6700670 w 9586368"/>
              <a:gd name="connsiteY4085" fmla="*/ 3607625 h 6479439"/>
              <a:gd name="connsiteX4086" fmla="*/ 6696651 w 9586368"/>
              <a:gd name="connsiteY4086" fmla="*/ 3603586 h 6479439"/>
              <a:gd name="connsiteX4087" fmla="*/ 6696651 w 9586368"/>
              <a:gd name="connsiteY4087" fmla="*/ 3593716 h 6479439"/>
              <a:gd name="connsiteX4088" fmla="*/ 6461356 w 9586368"/>
              <a:gd name="connsiteY4088" fmla="*/ 3589677 h 6479439"/>
              <a:gd name="connsiteX4089" fmla="*/ 6471266 w 9586368"/>
              <a:gd name="connsiteY4089" fmla="*/ 3589677 h 6479439"/>
              <a:gd name="connsiteX4090" fmla="*/ 6475285 w 9586368"/>
              <a:gd name="connsiteY4090" fmla="*/ 3593716 h 6479439"/>
              <a:gd name="connsiteX4091" fmla="*/ 6475285 w 9586368"/>
              <a:gd name="connsiteY4091" fmla="*/ 3603586 h 6479439"/>
              <a:gd name="connsiteX4092" fmla="*/ 6471266 w 9586368"/>
              <a:gd name="connsiteY4092" fmla="*/ 3607625 h 6479439"/>
              <a:gd name="connsiteX4093" fmla="*/ 6461356 w 9586368"/>
              <a:gd name="connsiteY4093" fmla="*/ 3607625 h 6479439"/>
              <a:gd name="connsiteX4094" fmla="*/ 6457337 w 9586368"/>
              <a:gd name="connsiteY4094" fmla="*/ 3603586 h 6479439"/>
              <a:gd name="connsiteX4095" fmla="*/ 6457337 w 9586368"/>
              <a:gd name="connsiteY4095" fmla="*/ 3593716 h 6479439"/>
              <a:gd name="connsiteX4096" fmla="*/ 6222042 w 9586368"/>
              <a:gd name="connsiteY4096" fmla="*/ 3589677 h 6479439"/>
              <a:gd name="connsiteX4097" fmla="*/ 6231952 w 9586368"/>
              <a:gd name="connsiteY4097" fmla="*/ 3589677 h 6479439"/>
              <a:gd name="connsiteX4098" fmla="*/ 6235971 w 9586368"/>
              <a:gd name="connsiteY4098" fmla="*/ 3593716 h 6479439"/>
              <a:gd name="connsiteX4099" fmla="*/ 6235971 w 9586368"/>
              <a:gd name="connsiteY4099" fmla="*/ 3603586 h 6479439"/>
              <a:gd name="connsiteX4100" fmla="*/ 6231952 w 9586368"/>
              <a:gd name="connsiteY4100" fmla="*/ 3607625 h 6479439"/>
              <a:gd name="connsiteX4101" fmla="*/ 6222042 w 9586368"/>
              <a:gd name="connsiteY4101" fmla="*/ 3607625 h 6479439"/>
              <a:gd name="connsiteX4102" fmla="*/ 6218023 w 9586368"/>
              <a:gd name="connsiteY4102" fmla="*/ 3603586 h 6479439"/>
              <a:gd name="connsiteX4103" fmla="*/ 6218023 w 9586368"/>
              <a:gd name="connsiteY4103" fmla="*/ 3593716 h 6479439"/>
              <a:gd name="connsiteX4104" fmla="*/ 5982729 w 9586368"/>
              <a:gd name="connsiteY4104" fmla="*/ 3589677 h 6479439"/>
              <a:gd name="connsiteX4105" fmla="*/ 5992639 w 9586368"/>
              <a:gd name="connsiteY4105" fmla="*/ 3589677 h 6479439"/>
              <a:gd name="connsiteX4106" fmla="*/ 5996658 w 9586368"/>
              <a:gd name="connsiteY4106" fmla="*/ 3593716 h 6479439"/>
              <a:gd name="connsiteX4107" fmla="*/ 5996658 w 9586368"/>
              <a:gd name="connsiteY4107" fmla="*/ 3603586 h 6479439"/>
              <a:gd name="connsiteX4108" fmla="*/ 5992639 w 9586368"/>
              <a:gd name="connsiteY4108" fmla="*/ 3607625 h 6479439"/>
              <a:gd name="connsiteX4109" fmla="*/ 5982729 w 9586368"/>
              <a:gd name="connsiteY4109" fmla="*/ 3607625 h 6479439"/>
              <a:gd name="connsiteX4110" fmla="*/ 5978710 w 9586368"/>
              <a:gd name="connsiteY4110" fmla="*/ 3603586 h 6479439"/>
              <a:gd name="connsiteX4111" fmla="*/ 5978710 w 9586368"/>
              <a:gd name="connsiteY4111" fmla="*/ 3593716 h 6479439"/>
              <a:gd name="connsiteX4112" fmla="*/ 5743412 w 9586368"/>
              <a:gd name="connsiteY4112" fmla="*/ 3589677 h 6479439"/>
              <a:gd name="connsiteX4113" fmla="*/ 5753323 w 9586368"/>
              <a:gd name="connsiteY4113" fmla="*/ 3589677 h 6479439"/>
              <a:gd name="connsiteX4114" fmla="*/ 5757342 w 9586368"/>
              <a:gd name="connsiteY4114" fmla="*/ 3593716 h 6479439"/>
              <a:gd name="connsiteX4115" fmla="*/ 5757342 w 9586368"/>
              <a:gd name="connsiteY4115" fmla="*/ 3603586 h 6479439"/>
              <a:gd name="connsiteX4116" fmla="*/ 5753323 w 9586368"/>
              <a:gd name="connsiteY4116" fmla="*/ 3607625 h 6479439"/>
              <a:gd name="connsiteX4117" fmla="*/ 5743412 w 9586368"/>
              <a:gd name="connsiteY4117" fmla="*/ 3607625 h 6479439"/>
              <a:gd name="connsiteX4118" fmla="*/ 5739393 w 9586368"/>
              <a:gd name="connsiteY4118" fmla="*/ 3603586 h 6479439"/>
              <a:gd name="connsiteX4119" fmla="*/ 5739393 w 9586368"/>
              <a:gd name="connsiteY4119" fmla="*/ 3593716 h 6479439"/>
              <a:gd name="connsiteX4120" fmla="*/ 5504099 w 9586368"/>
              <a:gd name="connsiteY4120" fmla="*/ 3589677 h 6479439"/>
              <a:gd name="connsiteX4121" fmla="*/ 5514010 w 9586368"/>
              <a:gd name="connsiteY4121" fmla="*/ 3589677 h 6479439"/>
              <a:gd name="connsiteX4122" fmla="*/ 5518029 w 9586368"/>
              <a:gd name="connsiteY4122" fmla="*/ 3593716 h 6479439"/>
              <a:gd name="connsiteX4123" fmla="*/ 5518029 w 9586368"/>
              <a:gd name="connsiteY4123" fmla="*/ 3603586 h 6479439"/>
              <a:gd name="connsiteX4124" fmla="*/ 5514010 w 9586368"/>
              <a:gd name="connsiteY4124" fmla="*/ 3607625 h 6479439"/>
              <a:gd name="connsiteX4125" fmla="*/ 5504099 w 9586368"/>
              <a:gd name="connsiteY4125" fmla="*/ 3607625 h 6479439"/>
              <a:gd name="connsiteX4126" fmla="*/ 5500080 w 9586368"/>
              <a:gd name="connsiteY4126" fmla="*/ 3603586 h 6479439"/>
              <a:gd name="connsiteX4127" fmla="*/ 5500080 w 9586368"/>
              <a:gd name="connsiteY4127" fmla="*/ 3593716 h 6479439"/>
              <a:gd name="connsiteX4128" fmla="*/ 5264784 w 9586368"/>
              <a:gd name="connsiteY4128" fmla="*/ 3589677 h 6479439"/>
              <a:gd name="connsiteX4129" fmla="*/ 5274694 w 9586368"/>
              <a:gd name="connsiteY4129" fmla="*/ 3589677 h 6479439"/>
              <a:gd name="connsiteX4130" fmla="*/ 5278713 w 9586368"/>
              <a:gd name="connsiteY4130" fmla="*/ 3593716 h 6479439"/>
              <a:gd name="connsiteX4131" fmla="*/ 5278713 w 9586368"/>
              <a:gd name="connsiteY4131" fmla="*/ 3603586 h 6479439"/>
              <a:gd name="connsiteX4132" fmla="*/ 5274694 w 9586368"/>
              <a:gd name="connsiteY4132" fmla="*/ 3607625 h 6479439"/>
              <a:gd name="connsiteX4133" fmla="*/ 5264784 w 9586368"/>
              <a:gd name="connsiteY4133" fmla="*/ 3607625 h 6479439"/>
              <a:gd name="connsiteX4134" fmla="*/ 5260765 w 9586368"/>
              <a:gd name="connsiteY4134" fmla="*/ 3603586 h 6479439"/>
              <a:gd name="connsiteX4135" fmla="*/ 5260765 w 9586368"/>
              <a:gd name="connsiteY4135" fmla="*/ 3593716 h 6479439"/>
              <a:gd name="connsiteX4136" fmla="*/ 5025470 w 9586368"/>
              <a:gd name="connsiteY4136" fmla="*/ 3589677 h 6479439"/>
              <a:gd name="connsiteX4137" fmla="*/ 5035381 w 9586368"/>
              <a:gd name="connsiteY4137" fmla="*/ 3589677 h 6479439"/>
              <a:gd name="connsiteX4138" fmla="*/ 5039400 w 9586368"/>
              <a:gd name="connsiteY4138" fmla="*/ 3593716 h 6479439"/>
              <a:gd name="connsiteX4139" fmla="*/ 5039400 w 9586368"/>
              <a:gd name="connsiteY4139" fmla="*/ 3603586 h 6479439"/>
              <a:gd name="connsiteX4140" fmla="*/ 5035381 w 9586368"/>
              <a:gd name="connsiteY4140" fmla="*/ 3607625 h 6479439"/>
              <a:gd name="connsiteX4141" fmla="*/ 5025470 w 9586368"/>
              <a:gd name="connsiteY4141" fmla="*/ 3607625 h 6479439"/>
              <a:gd name="connsiteX4142" fmla="*/ 5021451 w 9586368"/>
              <a:gd name="connsiteY4142" fmla="*/ 3603586 h 6479439"/>
              <a:gd name="connsiteX4143" fmla="*/ 5021451 w 9586368"/>
              <a:gd name="connsiteY4143" fmla="*/ 3593716 h 6479439"/>
              <a:gd name="connsiteX4144" fmla="*/ 4786241 w 9586368"/>
              <a:gd name="connsiteY4144" fmla="*/ 3589677 h 6479439"/>
              <a:gd name="connsiteX4145" fmla="*/ 4796152 w 9586368"/>
              <a:gd name="connsiteY4145" fmla="*/ 3589677 h 6479439"/>
              <a:gd name="connsiteX4146" fmla="*/ 4800171 w 9586368"/>
              <a:gd name="connsiteY4146" fmla="*/ 3593716 h 6479439"/>
              <a:gd name="connsiteX4147" fmla="*/ 4800171 w 9586368"/>
              <a:gd name="connsiteY4147" fmla="*/ 3603586 h 6479439"/>
              <a:gd name="connsiteX4148" fmla="*/ 4796152 w 9586368"/>
              <a:gd name="connsiteY4148" fmla="*/ 3607625 h 6479439"/>
              <a:gd name="connsiteX4149" fmla="*/ 4786241 w 9586368"/>
              <a:gd name="connsiteY4149" fmla="*/ 3607625 h 6479439"/>
              <a:gd name="connsiteX4150" fmla="*/ 4782224 w 9586368"/>
              <a:gd name="connsiteY4150" fmla="*/ 3603586 h 6479439"/>
              <a:gd name="connsiteX4151" fmla="*/ 4782224 w 9586368"/>
              <a:gd name="connsiteY4151" fmla="*/ 3593716 h 6479439"/>
              <a:gd name="connsiteX4152" fmla="*/ 4546929 w 9586368"/>
              <a:gd name="connsiteY4152" fmla="*/ 3589677 h 6479439"/>
              <a:gd name="connsiteX4153" fmla="*/ 4556840 w 9586368"/>
              <a:gd name="connsiteY4153" fmla="*/ 3589677 h 6479439"/>
              <a:gd name="connsiteX4154" fmla="*/ 4560859 w 9586368"/>
              <a:gd name="connsiteY4154" fmla="*/ 3593716 h 6479439"/>
              <a:gd name="connsiteX4155" fmla="*/ 4560859 w 9586368"/>
              <a:gd name="connsiteY4155" fmla="*/ 3603586 h 6479439"/>
              <a:gd name="connsiteX4156" fmla="*/ 4556840 w 9586368"/>
              <a:gd name="connsiteY4156" fmla="*/ 3607625 h 6479439"/>
              <a:gd name="connsiteX4157" fmla="*/ 4546929 w 9586368"/>
              <a:gd name="connsiteY4157" fmla="*/ 3607625 h 6479439"/>
              <a:gd name="connsiteX4158" fmla="*/ 4542910 w 9586368"/>
              <a:gd name="connsiteY4158" fmla="*/ 3603586 h 6479439"/>
              <a:gd name="connsiteX4159" fmla="*/ 4542910 w 9586368"/>
              <a:gd name="connsiteY4159" fmla="*/ 3593716 h 6479439"/>
              <a:gd name="connsiteX4160" fmla="*/ 4307612 w 9586368"/>
              <a:gd name="connsiteY4160" fmla="*/ 3589677 h 6479439"/>
              <a:gd name="connsiteX4161" fmla="*/ 4317523 w 9586368"/>
              <a:gd name="connsiteY4161" fmla="*/ 3589677 h 6479439"/>
              <a:gd name="connsiteX4162" fmla="*/ 4321543 w 9586368"/>
              <a:gd name="connsiteY4162" fmla="*/ 3593716 h 6479439"/>
              <a:gd name="connsiteX4163" fmla="*/ 4321543 w 9586368"/>
              <a:gd name="connsiteY4163" fmla="*/ 3603586 h 6479439"/>
              <a:gd name="connsiteX4164" fmla="*/ 4317523 w 9586368"/>
              <a:gd name="connsiteY4164" fmla="*/ 3607625 h 6479439"/>
              <a:gd name="connsiteX4165" fmla="*/ 4307612 w 9586368"/>
              <a:gd name="connsiteY4165" fmla="*/ 3607625 h 6479439"/>
              <a:gd name="connsiteX4166" fmla="*/ 4303595 w 9586368"/>
              <a:gd name="connsiteY4166" fmla="*/ 3603586 h 6479439"/>
              <a:gd name="connsiteX4167" fmla="*/ 4303595 w 9586368"/>
              <a:gd name="connsiteY4167" fmla="*/ 3593716 h 6479439"/>
              <a:gd name="connsiteX4168" fmla="*/ 4068297 w 9586368"/>
              <a:gd name="connsiteY4168" fmla="*/ 3589677 h 6479439"/>
              <a:gd name="connsiteX4169" fmla="*/ 4078210 w 9586368"/>
              <a:gd name="connsiteY4169" fmla="*/ 3589677 h 6479439"/>
              <a:gd name="connsiteX4170" fmla="*/ 4082229 w 9586368"/>
              <a:gd name="connsiteY4170" fmla="*/ 3593716 h 6479439"/>
              <a:gd name="connsiteX4171" fmla="*/ 4082229 w 9586368"/>
              <a:gd name="connsiteY4171" fmla="*/ 3603586 h 6479439"/>
              <a:gd name="connsiteX4172" fmla="*/ 4078210 w 9586368"/>
              <a:gd name="connsiteY4172" fmla="*/ 3607625 h 6479439"/>
              <a:gd name="connsiteX4173" fmla="*/ 4068297 w 9586368"/>
              <a:gd name="connsiteY4173" fmla="*/ 3607625 h 6479439"/>
              <a:gd name="connsiteX4174" fmla="*/ 4064278 w 9586368"/>
              <a:gd name="connsiteY4174" fmla="*/ 3603586 h 6479439"/>
              <a:gd name="connsiteX4175" fmla="*/ 4064278 w 9586368"/>
              <a:gd name="connsiteY4175" fmla="*/ 3593716 h 6479439"/>
              <a:gd name="connsiteX4176" fmla="*/ 3828990 w 9586368"/>
              <a:gd name="connsiteY4176" fmla="*/ 3589677 h 6479439"/>
              <a:gd name="connsiteX4177" fmla="*/ 3838899 w 9586368"/>
              <a:gd name="connsiteY4177" fmla="*/ 3589677 h 6479439"/>
              <a:gd name="connsiteX4178" fmla="*/ 3842917 w 9586368"/>
              <a:gd name="connsiteY4178" fmla="*/ 3593716 h 6479439"/>
              <a:gd name="connsiteX4179" fmla="*/ 3842917 w 9586368"/>
              <a:gd name="connsiteY4179" fmla="*/ 3603586 h 6479439"/>
              <a:gd name="connsiteX4180" fmla="*/ 3838899 w 9586368"/>
              <a:gd name="connsiteY4180" fmla="*/ 3607625 h 6479439"/>
              <a:gd name="connsiteX4181" fmla="*/ 3828990 w 9586368"/>
              <a:gd name="connsiteY4181" fmla="*/ 3607625 h 6479439"/>
              <a:gd name="connsiteX4182" fmla="*/ 3824971 w 9586368"/>
              <a:gd name="connsiteY4182" fmla="*/ 3603586 h 6479439"/>
              <a:gd name="connsiteX4183" fmla="*/ 3824971 w 9586368"/>
              <a:gd name="connsiteY4183" fmla="*/ 3593716 h 6479439"/>
              <a:gd name="connsiteX4184" fmla="*/ 3589676 w 9586368"/>
              <a:gd name="connsiteY4184" fmla="*/ 3589677 h 6479439"/>
              <a:gd name="connsiteX4185" fmla="*/ 3599585 w 9586368"/>
              <a:gd name="connsiteY4185" fmla="*/ 3589677 h 6479439"/>
              <a:gd name="connsiteX4186" fmla="*/ 3603604 w 9586368"/>
              <a:gd name="connsiteY4186" fmla="*/ 3593716 h 6479439"/>
              <a:gd name="connsiteX4187" fmla="*/ 3603604 w 9586368"/>
              <a:gd name="connsiteY4187" fmla="*/ 3603586 h 6479439"/>
              <a:gd name="connsiteX4188" fmla="*/ 3599585 w 9586368"/>
              <a:gd name="connsiteY4188" fmla="*/ 3607625 h 6479439"/>
              <a:gd name="connsiteX4189" fmla="*/ 3589676 w 9586368"/>
              <a:gd name="connsiteY4189" fmla="*/ 3607625 h 6479439"/>
              <a:gd name="connsiteX4190" fmla="*/ 3585657 w 9586368"/>
              <a:gd name="connsiteY4190" fmla="*/ 3603586 h 6479439"/>
              <a:gd name="connsiteX4191" fmla="*/ 3585657 w 9586368"/>
              <a:gd name="connsiteY4191" fmla="*/ 3593716 h 6479439"/>
              <a:gd name="connsiteX4192" fmla="*/ 3350359 w 9586368"/>
              <a:gd name="connsiteY4192" fmla="*/ 3589677 h 6479439"/>
              <a:gd name="connsiteX4193" fmla="*/ 3360268 w 9586368"/>
              <a:gd name="connsiteY4193" fmla="*/ 3589677 h 6479439"/>
              <a:gd name="connsiteX4194" fmla="*/ 3364287 w 9586368"/>
              <a:gd name="connsiteY4194" fmla="*/ 3593716 h 6479439"/>
              <a:gd name="connsiteX4195" fmla="*/ 3364287 w 9586368"/>
              <a:gd name="connsiteY4195" fmla="*/ 3603586 h 6479439"/>
              <a:gd name="connsiteX4196" fmla="*/ 3360268 w 9586368"/>
              <a:gd name="connsiteY4196" fmla="*/ 3607625 h 6479439"/>
              <a:gd name="connsiteX4197" fmla="*/ 3350359 w 9586368"/>
              <a:gd name="connsiteY4197" fmla="*/ 3607625 h 6479439"/>
              <a:gd name="connsiteX4198" fmla="*/ 3346340 w 9586368"/>
              <a:gd name="connsiteY4198" fmla="*/ 3603586 h 6479439"/>
              <a:gd name="connsiteX4199" fmla="*/ 3346340 w 9586368"/>
              <a:gd name="connsiteY4199" fmla="*/ 3593716 h 6479439"/>
              <a:gd name="connsiteX4200" fmla="*/ 3111048 w 9586368"/>
              <a:gd name="connsiteY4200" fmla="*/ 3589677 h 6479439"/>
              <a:gd name="connsiteX4201" fmla="*/ 3120959 w 9586368"/>
              <a:gd name="connsiteY4201" fmla="*/ 3589677 h 6479439"/>
              <a:gd name="connsiteX4202" fmla="*/ 3124977 w 9586368"/>
              <a:gd name="connsiteY4202" fmla="*/ 3593716 h 6479439"/>
              <a:gd name="connsiteX4203" fmla="*/ 3124977 w 9586368"/>
              <a:gd name="connsiteY4203" fmla="*/ 3603586 h 6479439"/>
              <a:gd name="connsiteX4204" fmla="*/ 3120959 w 9586368"/>
              <a:gd name="connsiteY4204" fmla="*/ 3607625 h 6479439"/>
              <a:gd name="connsiteX4205" fmla="*/ 3111048 w 9586368"/>
              <a:gd name="connsiteY4205" fmla="*/ 3607625 h 6479439"/>
              <a:gd name="connsiteX4206" fmla="*/ 3107029 w 9586368"/>
              <a:gd name="connsiteY4206" fmla="*/ 3603586 h 6479439"/>
              <a:gd name="connsiteX4207" fmla="*/ 3107029 w 9586368"/>
              <a:gd name="connsiteY4207" fmla="*/ 3593716 h 6479439"/>
              <a:gd name="connsiteX4208" fmla="*/ 2871737 w 9586368"/>
              <a:gd name="connsiteY4208" fmla="*/ 3589677 h 6479439"/>
              <a:gd name="connsiteX4209" fmla="*/ 2881646 w 9586368"/>
              <a:gd name="connsiteY4209" fmla="*/ 3589677 h 6479439"/>
              <a:gd name="connsiteX4210" fmla="*/ 2885666 w 9586368"/>
              <a:gd name="connsiteY4210" fmla="*/ 3593716 h 6479439"/>
              <a:gd name="connsiteX4211" fmla="*/ 2885666 w 9586368"/>
              <a:gd name="connsiteY4211" fmla="*/ 3603586 h 6479439"/>
              <a:gd name="connsiteX4212" fmla="*/ 2881646 w 9586368"/>
              <a:gd name="connsiteY4212" fmla="*/ 3607625 h 6479439"/>
              <a:gd name="connsiteX4213" fmla="*/ 2871737 w 9586368"/>
              <a:gd name="connsiteY4213" fmla="*/ 3607625 h 6479439"/>
              <a:gd name="connsiteX4214" fmla="*/ 2867717 w 9586368"/>
              <a:gd name="connsiteY4214" fmla="*/ 3603586 h 6479439"/>
              <a:gd name="connsiteX4215" fmla="*/ 2867717 w 9586368"/>
              <a:gd name="connsiteY4215" fmla="*/ 3593716 h 6479439"/>
              <a:gd name="connsiteX4216" fmla="*/ 2632423 w 9586368"/>
              <a:gd name="connsiteY4216" fmla="*/ 3589677 h 6479439"/>
              <a:gd name="connsiteX4217" fmla="*/ 2642334 w 9586368"/>
              <a:gd name="connsiteY4217" fmla="*/ 3589677 h 6479439"/>
              <a:gd name="connsiteX4218" fmla="*/ 2646352 w 9586368"/>
              <a:gd name="connsiteY4218" fmla="*/ 3593716 h 6479439"/>
              <a:gd name="connsiteX4219" fmla="*/ 2646352 w 9586368"/>
              <a:gd name="connsiteY4219" fmla="*/ 3603586 h 6479439"/>
              <a:gd name="connsiteX4220" fmla="*/ 2642334 w 9586368"/>
              <a:gd name="connsiteY4220" fmla="*/ 3607625 h 6479439"/>
              <a:gd name="connsiteX4221" fmla="*/ 2632423 w 9586368"/>
              <a:gd name="connsiteY4221" fmla="*/ 3607625 h 6479439"/>
              <a:gd name="connsiteX4222" fmla="*/ 2628404 w 9586368"/>
              <a:gd name="connsiteY4222" fmla="*/ 3603586 h 6479439"/>
              <a:gd name="connsiteX4223" fmla="*/ 2628404 w 9586368"/>
              <a:gd name="connsiteY4223" fmla="*/ 3593716 h 6479439"/>
              <a:gd name="connsiteX4224" fmla="*/ 2393104 w 9586368"/>
              <a:gd name="connsiteY4224" fmla="*/ 3589677 h 6479439"/>
              <a:gd name="connsiteX4225" fmla="*/ 2403015 w 9586368"/>
              <a:gd name="connsiteY4225" fmla="*/ 3589677 h 6479439"/>
              <a:gd name="connsiteX4226" fmla="*/ 2407034 w 9586368"/>
              <a:gd name="connsiteY4226" fmla="*/ 3593716 h 6479439"/>
              <a:gd name="connsiteX4227" fmla="*/ 2407034 w 9586368"/>
              <a:gd name="connsiteY4227" fmla="*/ 3603586 h 6479439"/>
              <a:gd name="connsiteX4228" fmla="*/ 2403015 w 9586368"/>
              <a:gd name="connsiteY4228" fmla="*/ 3607625 h 6479439"/>
              <a:gd name="connsiteX4229" fmla="*/ 2393104 w 9586368"/>
              <a:gd name="connsiteY4229" fmla="*/ 3607625 h 6479439"/>
              <a:gd name="connsiteX4230" fmla="*/ 2389087 w 9586368"/>
              <a:gd name="connsiteY4230" fmla="*/ 3603586 h 6479439"/>
              <a:gd name="connsiteX4231" fmla="*/ 2389087 w 9586368"/>
              <a:gd name="connsiteY4231" fmla="*/ 3593716 h 6479439"/>
              <a:gd name="connsiteX4232" fmla="*/ 721966 w 9586368"/>
              <a:gd name="connsiteY4232" fmla="*/ 3589677 h 6479439"/>
              <a:gd name="connsiteX4233" fmla="*/ 731877 w 9586368"/>
              <a:gd name="connsiteY4233" fmla="*/ 3589677 h 6479439"/>
              <a:gd name="connsiteX4234" fmla="*/ 735896 w 9586368"/>
              <a:gd name="connsiteY4234" fmla="*/ 3593716 h 6479439"/>
              <a:gd name="connsiteX4235" fmla="*/ 735896 w 9586368"/>
              <a:gd name="connsiteY4235" fmla="*/ 3603586 h 6479439"/>
              <a:gd name="connsiteX4236" fmla="*/ 731877 w 9586368"/>
              <a:gd name="connsiteY4236" fmla="*/ 3607625 h 6479439"/>
              <a:gd name="connsiteX4237" fmla="*/ 721966 w 9586368"/>
              <a:gd name="connsiteY4237" fmla="*/ 3607625 h 6479439"/>
              <a:gd name="connsiteX4238" fmla="*/ 717948 w 9586368"/>
              <a:gd name="connsiteY4238" fmla="*/ 3603586 h 6479439"/>
              <a:gd name="connsiteX4239" fmla="*/ 717948 w 9586368"/>
              <a:gd name="connsiteY4239" fmla="*/ 3593716 h 6479439"/>
              <a:gd name="connsiteX4240" fmla="*/ 482654 w 9586368"/>
              <a:gd name="connsiteY4240" fmla="*/ 3589677 h 6479439"/>
              <a:gd name="connsiteX4241" fmla="*/ 492565 w 9586368"/>
              <a:gd name="connsiteY4241" fmla="*/ 3589677 h 6479439"/>
              <a:gd name="connsiteX4242" fmla="*/ 496584 w 9586368"/>
              <a:gd name="connsiteY4242" fmla="*/ 3593716 h 6479439"/>
              <a:gd name="connsiteX4243" fmla="*/ 496584 w 9586368"/>
              <a:gd name="connsiteY4243" fmla="*/ 3603586 h 6479439"/>
              <a:gd name="connsiteX4244" fmla="*/ 492565 w 9586368"/>
              <a:gd name="connsiteY4244" fmla="*/ 3607625 h 6479439"/>
              <a:gd name="connsiteX4245" fmla="*/ 482654 w 9586368"/>
              <a:gd name="connsiteY4245" fmla="*/ 3607625 h 6479439"/>
              <a:gd name="connsiteX4246" fmla="*/ 478635 w 9586368"/>
              <a:gd name="connsiteY4246" fmla="*/ 3603586 h 6479439"/>
              <a:gd name="connsiteX4247" fmla="*/ 478635 w 9586368"/>
              <a:gd name="connsiteY4247" fmla="*/ 3593716 h 6479439"/>
              <a:gd name="connsiteX4248" fmla="*/ 243341 w 9586368"/>
              <a:gd name="connsiteY4248" fmla="*/ 3589677 h 6479439"/>
              <a:gd name="connsiteX4249" fmla="*/ 253251 w 9586368"/>
              <a:gd name="connsiteY4249" fmla="*/ 3589677 h 6479439"/>
              <a:gd name="connsiteX4250" fmla="*/ 257270 w 9586368"/>
              <a:gd name="connsiteY4250" fmla="*/ 3593716 h 6479439"/>
              <a:gd name="connsiteX4251" fmla="*/ 257270 w 9586368"/>
              <a:gd name="connsiteY4251" fmla="*/ 3603586 h 6479439"/>
              <a:gd name="connsiteX4252" fmla="*/ 253251 w 9586368"/>
              <a:gd name="connsiteY4252" fmla="*/ 3607625 h 6479439"/>
              <a:gd name="connsiteX4253" fmla="*/ 243341 w 9586368"/>
              <a:gd name="connsiteY4253" fmla="*/ 3607625 h 6479439"/>
              <a:gd name="connsiteX4254" fmla="*/ 239321 w 9586368"/>
              <a:gd name="connsiteY4254" fmla="*/ 3603586 h 6479439"/>
              <a:gd name="connsiteX4255" fmla="*/ 239321 w 9586368"/>
              <a:gd name="connsiteY4255" fmla="*/ 3593716 h 6479439"/>
              <a:gd name="connsiteX4256" fmla="*/ 4027 w 9586368"/>
              <a:gd name="connsiteY4256" fmla="*/ 3589677 h 6479439"/>
              <a:gd name="connsiteX4257" fmla="*/ 13938 w 9586368"/>
              <a:gd name="connsiteY4257" fmla="*/ 3589677 h 6479439"/>
              <a:gd name="connsiteX4258" fmla="*/ 17957 w 9586368"/>
              <a:gd name="connsiteY4258" fmla="*/ 3593716 h 6479439"/>
              <a:gd name="connsiteX4259" fmla="*/ 17957 w 9586368"/>
              <a:gd name="connsiteY4259" fmla="*/ 3603586 h 6479439"/>
              <a:gd name="connsiteX4260" fmla="*/ 13938 w 9586368"/>
              <a:gd name="connsiteY4260" fmla="*/ 3607625 h 6479439"/>
              <a:gd name="connsiteX4261" fmla="*/ 4027 w 9586368"/>
              <a:gd name="connsiteY4261" fmla="*/ 3607625 h 6479439"/>
              <a:gd name="connsiteX4262" fmla="*/ 8 w 9586368"/>
              <a:gd name="connsiteY4262" fmla="*/ 3603586 h 6479439"/>
              <a:gd name="connsiteX4263" fmla="*/ 8 w 9586368"/>
              <a:gd name="connsiteY4263" fmla="*/ 3593716 h 6479439"/>
              <a:gd name="connsiteX4264" fmla="*/ 9572438 w 9586368"/>
              <a:gd name="connsiteY4264" fmla="*/ 3350398 h 6479439"/>
              <a:gd name="connsiteX4265" fmla="*/ 9582349 w 9586368"/>
              <a:gd name="connsiteY4265" fmla="*/ 3350398 h 6479439"/>
              <a:gd name="connsiteX4266" fmla="*/ 9586368 w 9586368"/>
              <a:gd name="connsiteY4266" fmla="*/ 3354436 h 6479439"/>
              <a:gd name="connsiteX4267" fmla="*/ 9586368 w 9586368"/>
              <a:gd name="connsiteY4267" fmla="*/ 3364306 h 6479439"/>
              <a:gd name="connsiteX4268" fmla="*/ 9582349 w 9586368"/>
              <a:gd name="connsiteY4268" fmla="*/ 3368345 h 6479439"/>
              <a:gd name="connsiteX4269" fmla="*/ 9572438 w 9586368"/>
              <a:gd name="connsiteY4269" fmla="*/ 3368345 h 6479439"/>
              <a:gd name="connsiteX4270" fmla="*/ 9568419 w 9586368"/>
              <a:gd name="connsiteY4270" fmla="*/ 3364306 h 6479439"/>
              <a:gd name="connsiteX4271" fmla="*/ 9568419 w 9586368"/>
              <a:gd name="connsiteY4271" fmla="*/ 3354436 h 6479439"/>
              <a:gd name="connsiteX4272" fmla="*/ 9333125 w 9586368"/>
              <a:gd name="connsiteY4272" fmla="*/ 3350398 h 6479439"/>
              <a:gd name="connsiteX4273" fmla="*/ 9343036 w 9586368"/>
              <a:gd name="connsiteY4273" fmla="*/ 3350398 h 6479439"/>
              <a:gd name="connsiteX4274" fmla="*/ 9347055 w 9586368"/>
              <a:gd name="connsiteY4274" fmla="*/ 3354436 h 6479439"/>
              <a:gd name="connsiteX4275" fmla="*/ 9347055 w 9586368"/>
              <a:gd name="connsiteY4275" fmla="*/ 3364306 h 6479439"/>
              <a:gd name="connsiteX4276" fmla="*/ 9343036 w 9586368"/>
              <a:gd name="connsiteY4276" fmla="*/ 3368345 h 6479439"/>
              <a:gd name="connsiteX4277" fmla="*/ 9333125 w 9586368"/>
              <a:gd name="connsiteY4277" fmla="*/ 3368345 h 6479439"/>
              <a:gd name="connsiteX4278" fmla="*/ 9329106 w 9586368"/>
              <a:gd name="connsiteY4278" fmla="*/ 3364306 h 6479439"/>
              <a:gd name="connsiteX4279" fmla="*/ 9329106 w 9586368"/>
              <a:gd name="connsiteY4279" fmla="*/ 3354436 h 6479439"/>
              <a:gd name="connsiteX4280" fmla="*/ 9093811 w 9586368"/>
              <a:gd name="connsiteY4280" fmla="*/ 3350398 h 6479439"/>
              <a:gd name="connsiteX4281" fmla="*/ 9103722 w 9586368"/>
              <a:gd name="connsiteY4281" fmla="*/ 3350398 h 6479439"/>
              <a:gd name="connsiteX4282" fmla="*/ 9107741 w 9586368"/>
              <a:gd name="connsiteY4282" fmla="*/ 3354436 h 6479439"/>
              <a:gd name="connsiteX4283" fmla="*/ 9107741 w 9586368"/>
              <a:gd name="connsiteY4283" fmla="*/ 3364306 h 6479439"/>
              <a:gd name="connsiteX4284" fmla="*/ 9103722 w 9586368"/>
              <a:gd name="connsiteY4284" fmla="*/ 3368345 h 6479439"/>
              <a:gd name="connsiteX4285" fmla="*/ 9093811 w 9586368"/>
              <a:gd name="connsiteY4285" fmla="*/ 3368345 h 6479439"/>
              <a:gd name="connsiteX4286" fmla="*/ 9089792 w 9586368"/>
              <a:gd name="connsiteY4286" fmla="*/ 3364306 h 6479439"/>
              <a:gd name="connsiteX4287" fmla="*/ 9089792 w 9586368"/>
              <a:gd name="connsiteY4287" fmla="*/ 3354436 h 6479439"/>
              <a:gd name="connsiteX4288" fmla="*/ 8854496 w 9586368"/>
              <a:gd name="connsiteY4288" fmla="*/ 3350398 h 6479439"/>
              <a:gd name="connsiteX4289" fmla="*/ 8864407 w 9586368"/>
              <a:gd name="connsiteY4289" fmla="*/ 3350398 h 6479439"/>
              <a:gd name="connsiteX4290" fmla="*/ 8868426 w 9586368"/>
              <a:gd name="connsiteY4290" fmla="*/ 3354436 h 6479439"/>
              <a:gd name="connsiteX4291" fmla="*/ 8868426 w 9586368"/>
              <a:gd name="connsiteY4291" fmla="*/ 3364306 h 6479439"/>
              <a:gd name="connsiteX4292" fmla="*/ 8864407 w 9586368"/>
              <a:gd name="connsiteY4292" fmla="*/ 3368345 h 6479439"/>
              <a:gd name="connsiteX4293" fmla="*/ 8854496 w 9586368"/>
              <a:gd name="connsiteY4293" fmla="*/ 3368345 h 6479439"/>
              <a:gd name="connsiteX4294" fmla="*/ 8850477 w 9586368"/>
              <a:gd name="connsiteY4294" fmla="*/ 3364306 h 6479439"/>
              <a:gd name="connsiteX4295" fmla="*/ 8850477 w 9586368"/>
              <a:gd name="connsiteY4295" fmla="*/ 3354436 h 6479439"/>
              <a:gd name="connsiteX4296" fmla="*/ 8615184 w 9586368"/>
              <a:gd name="connsiteY4296" fmla="*/ 3350398 h 6479439"/>
              <a:gd name="connsiteX4297" fmla="*/ 8625095 w 9586368"/>
              <a:gd name="connsiteY4297" fmla="*/ 3350398 h 6479439"/>
              <a:gd name="connsiteX4298" fmla="*/ 8629114 w 9586368"/>
              <a:gd name="connsiteY4298" fmla="*/ 3354436 h 6479439"/>
              <a:gd name="connsiteX4299" fmla="*/ 8629114 w 9586368"/>
              <a:gd name="connsiteY4299" fmla="*/ 3364306 h 6479439"/>
              <a:gd name="connsiteX4300" fmla="*/ 8625095 w 9586368"/>
              <a:gd name="connsiteY4300" fmla="*/ 3368345 h 6479439"/>
              <a:gd name="connsiteX4301" fmla="*/ 8615184 w 9586368"/>
              <a:gd name="connsiteY4301" fmla="*/ 3368345 h 6479439"/>
              <a:gd name="connsiteX4302" fmla="*/ 8611165 w 9586368"/>
              <a:gd name="connsiteY4302" fmla="*/ 3364306 h 6479439"/>
              <a:gd name="connsiteX4303" fmla="*/ 8611165 w 9586368"/>
              <a:gd name="connsiteY4303" fmla="*/ 3354436 h 6479439"/>
              <a:gd name="connsiteX4304" fmla="*/ 8375869 w 9586368"/>
              <a:gd name="connsiteY4304" fmla="*/ 3350398 h 6479439"/>
              <a:gd name="connsiteX4305" fmla="*/ 8385779 w 9586368"/>
              <a:gd name="connsiteY4305" fmla="*/ 3350398 h 6479439"/>
              <a:gd name="connsiteX4306" fmla="*/ 8389799 w 9586368"/>
              <a:gd name="connsiteY4306" fmla="*/ 3354436 h 6479439"/>
              <a:gd name="connsiteX4307" fmla="*/ 8389799 w 9586368"/>
              <a:gd name="connsiteY4307" fmla="*/ 3364306 h 6479439"/>
              <a:gd name="connsiteX4308" fmla="*/ 8385779 w 9586368"/>
              <a:gd name="connsiteY4308" fmla="*/ 3368345 h 6479439"/>
              <a:gd name="connsiteX4309" fmla="*/ 8375869 w 9586368"/>
              <a:gd name="connsiteY4309" fmla="*/ 3368345 h 6479439"/>
              <a:gd name="connsiteX4310" fmla="*/ 8371850 w 9586368"/>
              <a:gd name="connsiteY4310" fmla="*/ 3364306 h 6479439"/>
              <a:gd name="connsiteX4311" fmla="*/ 8371850 w 9586368"/>
              <a:gd name="connsiteY4311" fmla="*/ 3354436 h 6479439"/>
              <a:gd name="connsiteX4312" fmla="*/ 8136553 w 9586368"/>
              <a:gd name="connsiteY4312" fmla="*/ 3350398 h 6479439"/>
              <a:gd name="connsiteX4313" fmla="*/ 8146464 w 9586368"/>
              <a:gd name="connsiteY4313" fmla="*/ 3350398 h 6479439"/>
              <a:gd name="connsiteX4314" fmla="*/ 8150483 w 9586368"/>
              <a:gd name="connsiteY4314" fmla="*/ 3354436 h 6479439"/>
              <a:gd name="connsiteX4315" fmla="*/ 8150483 w 9586368"/>
              <a:gd name="connsiteY4315" fmla="*/ 3364306 h 6479439"/>
              <a:gd name="connsiteX4316" fmla="*/ 8146464 w 9586368"/>
              <a:gd name="connsiteY4316" fmla="*/ 3368345 h 6479439"/>
              <a:gd name="connsiteX4317" fmla="*/ 8136553 w 9586368"/>
              <a:gd name="connsiteY4317" fmla="*/ 3368345 h 6479439"/>
              <a:gd name="connsiteX4318" fmla="*/ 8132534 w 9586368"/>
              <a:gd name="connsiteY4318" fmla="*/ 3364306 h 6479439"/>
              <a:gd name="connsiteX4319" fmla="*/ 8132534 w 9586368"/>
              <a:gd name="connsiteY4319" fmla="*/ 3354436 h 6479439"/>
              <a:gd name="connsiteX4320" fmla="*/ 7897241 w 9586368"/>
              <a:gd name="connsiteY4320" fmla="*/ 3350398 h 6479439"/>
              <a:gd name="connsiteX4321" fmla="*/ 7907151 w 9586368"/>
              <a:gd name="connsiteY4321" fmla="*/ 3350398 h 6479439"/>
              <a:gd name="connsiteX4322" fmla="*/ 7911170 w 9586368"/>
              <a:gd name="connsiteY4322" fmla="*/ 3354436 h 6479439"/>
              <a:gd name="connsiteX4323" fmla="*/ 7911170 w 9586368"/>
              <a:gd name="connsiteY4323" fmla="*/ 3364306 h 6479439"/>
              <a:gd name="connsiteX4324" fmla="*/ 7907151 w 9586368"/>
              <a:gd name="connsiteY4324" fmla="*/ 3368345 h 6479439"/>
              <a:gd name="connsiteX4325" fmla="*/ 7897241 w 9586368"/>
              <a:gd name="connsiteY4325" fmla="*/ 3368345 h 6479439"/>
              <a:gd name="connsiteX4326" fmla="*/ 7893222 w 9586368"/>
              <a:gd name="connsiteY4326" fmla="*/ 3364306 h 6479439"/>
              <a:gd name="connsiteX4327" fmla="*/ 7893222 w 9586368"/>
              <a:gd name="connsiteY4327" fmla="*/ 3354436 h 6479439"/>
              <a:gd name="connsiteX4328" fmla="*/ 7657926 w 9586368"/>
              <a:gd name="connsiteY4328" fmla="*/ 3350398 h 6479439"/>
              <a:gd name="connsiteX4329" fmla="*/ 7667836 w 9586368"/>
              <a:gd name="connsiteY4329" fmla="*/ 3350398 h 6479439"/>
              <a:gd name="connsiteX4330" fmla="*/ 7671855 w 9586368"/>
              <a:gd name="connsiteY4330" fmla="*/ 3354436 h 6479439"/>
              <a:gd name="connsiteX4331" fmla="*/ 7671855 w 9586368"/>
              <a:gd name="connsiteY4331" fmla="*/ 3364306 h 6479439"/>
              <a:gd name="connsiteX4332" fmla="*/ 7667836 w 9586368"/>
              <a:gd name="connsiteY4332" fmla="*/ 3368345 h 6479439"/>
              <a:gd name="connsiteX4333" fmla="*/ 7657926 w 9586368"/>
              <a:gd name="connsiteY4333" fmla="*/ 3368345 h 6479439"/>
              <a:gd name="connsiteX4334" fmla="*/ 7653906 w 9586368"/>
              <a:gd name="connsiteY4334" fmla="*/ 3364306 h 6479439"/>
              <a:gd name="connsiteX4335" fmla="*/ 7653906 w 9586368"/>
              <a:gd name="connsiteY4335" fmla="*/ 3354436 h 6479439"/>
              <a:gd name="connsiteX4336" fmla="*/ 7418611 w 9586368"/>
              <a:gd name="connsiteY4336" fmla="*/ 3350398 h 6479439"/>
              <a:gd name="connsiteX4337" fmla="*/ 7428521 w 9586368"/>
              <a:gd name="connsiteY4337" fmla="*/ 3350398 h 6479439"/>
              <a:gd name="connsiteX4338" fmla="*/ 7432540 w 9586368"/>
              <a:gd name="connsiteY4338" fmla="*/ 3354436 h 6479439"/>
              <a:gd name="connsiteX4339" fmla="*/ 7432540 w 9586368"/>
              <a:gd name="connsiteY4339" fmla="*/ 3364306 h 6479439"/>
              <a:gd name="connsiteX4340" fmla="*/ 7428521 w 9586368"/>
              <a:gd name="connsiteY4340" fmla="*/ 3368345 h 6479439"/>
              <a:gd name="connsiteX4341" fmla="*/ 7418611 w 9586368"/>
              <a:gd name="connsiteY4341" fmla="*/ 3368345 h 6479439"/>
              <a:gd name="connsiteX4342" fmla="*/ 7414592 w 9586368"/>
              <a:gd name="connsiteY4342" fmla="*/ 3364306 h 6479439"/>
              <a:gd name="connsiteX4343" fmla="*/ 7414592 w 9586368"/>
              <a:gd name="connsiteY4343" fmla="*/ 3354436 h 6479439"/>
              <a:gd name="connsiteX4344" fmla="*/ 7179298 w 9586368"/>
              <a:gd name="connsiteY4344" fmla="*/ 3350398 h 6479439"/>
              <a:gd name="connsiteX4345" fmla="*/ 7189209 w 9586368"/>
              <a:gd name="connsiteY4345" fmla="*/ 3350398 h 6479439"/>
              <a:gd name="connsiteX4346" fmla="*/ 7193228 w 9586368"/>
              <a:gd name="connsiteY4346" fmla="*/ 3354436 h 6479439"/>
              <a:gd name="connsiteX4347" fmla="*/ 7193228 w 9586368"/>
              <a:gd name="connsiteY4347" fmla="*/ 3364306 h 6479439"/>
              <a:gd name="connsiteX4348" fmla="*/ 7189209 w 9586368"/>
              <a:gd name="connsiteY4348" fmla="*/ 3368345 h 6479439"/>
              <a:gd name="connsiteX4349" fmla="*/ 7179298 w 9586368"/>
              <a:gd name="connsiteY4349" fmla="*/ 3368345 h 6479439"/>
              <a:gd name="connsiteX4350" fmla="*/ 7175279 w 9586368"/>
              <a:gd name="connsiteY4350" fmla="*/ 3364306 h 6479439"/>
              <a:gd name="connsiteX4351" fmla="*/ 7175279 w 9586368"/>
              <a:gd name="connsiteY4351" fmla="*/ 3354436 h 6479439"/>
              <a:gd name="connsiteX4352" fmla="*/ 6939983 w 9586368"/>
              <a:gd name="connsiteY4352" fmla="*/ 3350398 h 6479439"/>
              <a:gd name="connsiteX4353" fmla="*/ 6949894 w 9586368"/>
              <a:gd name="connsiteY4353" fmla="*/ 3350398 h 6479439"/>
              <a:gd name="connsiteX4354" fmla="*/ 6953913 w 9586368"/>
              <a:gd name="connsiteY4354" fmla="*/ 3354436 h 6479439"/>
              <a:gd name="connsiteX4355" fmla="*/ 6953913 w 9586368"/>
              <a:gd name="connsiteY4355" fmla="*/ 3364306 h 6479439"/>
              <a:gd name="connsiteX4356" fmla="*/ 6949894 w 9586368"/>
              <a:gd name="connsiteY4356" fmla="*/ 3368345 h 6479439"/>
              <a:gd name="connsiteX4357" fmla="*/ 6939983 w 9586368"/>
              <a:gd name="connsiteY4357" fmla="*/ 3368345 h 6479439"/>
              <a:gd name="connsiteX4358" fmla="*/ 6935964 w 9586368"/>
              <a:gd name="connsiteY4358" fmla="*/ 3364306 h 6479439"/>
              <a:gd name="connsiteX4359" fmla="*/ 6935964 w 9586368"/>
              <a:gd name="connsiteY4359" fmla="*/ 3354436 h 6479439"/>
              <a:gd name="connsiteX4360" fmla="*/ 6700670 w 9586368"/>
              <a:gd name="connsiteY4360" fmla="*/ 3350398 h 6479439"/>
              <a:gd name="connsiteX4361" fmla="*/ 6710581 w 9586368"/>
              <a:gd name="connsiteY4361" fmla="*/ 3350398 h 6479439"/>
              <a:gd name="connsiteX4362" fmla="*/ 6714600 w 9586368"/>
              <a:gd name="connsiteY4362" fmla="*/ 3354436 h 6479439"/>
              <a:gd name="connsiteX4363" fmla="*/ 6714600 w 9586368"/>
              <a:gd name="connsiteY4363" fmla="*/ 3364306 h 6479439"/>
              <a:gd name="connsiteX4364" fmla="*/ 6710581 w 9586368"/>
              <a:gd name="connsiteY4364" fmla="*/ 3368345 h 6479439"/>
              <a:gd name="connsiteX4365" fmla="*/ 6700670 w 9586368"/>
              <a:gd name="connsiteY4365" fmla="*/ 3368345 h 6479439"/>
              <a:gd name="connsiteX4366" fmla="*/ 6696651 w 9586368"/>
              <a:gd name="connsiteY4366" fmla="*/ 3364306 h 6479439"/>
              <a:gd name="connsiteX4367" fmla="*/ 6696651 w 9586368"/>
              <a:gd name="connsiteY4367" fmla="*/ 3354436 h 6479439"/>
              <a:gd name="connsiteX4368" fmla="*/ 6461356 w 9586368"/>
              <a:gd name="connsiteY4368" fmla="*/ 3350398 h 6479439"/>
              <a:gd name="connsiteX4369" fmla="*/ 6471266 w 9586368"/>
              <a:gd name="connsiteY4369" fmla="*/ 3350398 h 6479439"/>
              <a:gd name="connsiteX4370" fmla="*/ 6475285 w 9586368"/>
              <a:gd name="connsiteY4370" fmla="*/ 3354436 h 6479439"/>
              <a:gd name="connsiteX4371" fmla="*/ 6475285 w 9586368"/>
              <a:gd name="connsiteY4371" fmla="*/ 3364306 h 6479439"/>
              <a:gd name="connsiteX4372" fmla="*/ 6471266 w 9586368"/>
              <a:gd name="connsiteY4372" fmla="*/ 3368345 h 6479439"/>
              <a:gd name="connsiteX4373" fmla="*/ 6461356 w 9586368"/>
              <a:gd name="connsiteY4373" fmla="*/ 3368345 h 6479439"/>
              <a:gd name="connsiteX4374" fmla="*/ 6457337 w 9586368"/>
              <a:gd name="connsiteY4374" fmla="*/ 3364306 h 6479439"/>
              <a:gd name="connsiteX4375" fmla="*/ 6457337 w 9586368"/>
              <a:gd name="connsiteY4375" fmla="*/ 3354436 h 6479439"/>
              <a:gd name="connsiteX4376" fmla="*/ 6222042 w 9586368"/>
              <a:gd name="connsiteY4376" fmla="*/ 3350398 h 6479439"/>
              <a:gd name="connsiteX4377" fmla="*/ 6231952 w 9586368"/>
              <a:gd name="connsiteY4377" fmla="*/ 3350398 h 6479439"/>
              <a:gd name="connsiteX4378" fmla="*/ 6235971 w 9586368"/>
              <a:gd name="connsiteY4378" fmla="*/ 3354436 h 6479439"/>
              <a:gd name="connsiteX4379" fmla="*/ 6235971 w 9586368"/>
              <a:gd name="connsiteY4379" fmla="*/ 3364306 h 6479439"/>
              <a:gd name="connsiteX4380" fmla="*/ 6231952 w 9586368"/>
              <a:gd name="connsiteY4380" fmla="*/ 3368345 h 6479439"/>
              <a:gd name="connsiteX4381" fmla="*/ 6222042 w 9586368"/>
              <a:gd name="connsiteY4381" fmla="*/ 3368345 h 6479439"/>
              <a:gd name="connsiteX4382" fmla="*/ 6218023 w 9586368"/>
              <a:gd name="connsiteY4382" fmla="*/ 3364306 h 6479439"/>
              <a:gd name="connsiteX4383" fmla="*/ 6218023 w 9586368"/>
              <a:gd name="connsiteY4383" fmla="*/ 3354436 h 6479439"/>
              <a:gd name="connsiteX4384" fmla="*/ 5982729 w 9586368"/>
              <a:gd name="connsiteY4384" fmla="*/ 3350398 h 6479439"/>
              <a:gd name="connsiteX4385" fmla="*/ 5992639 w 9586368"/>
              <a:gd name="connsiteY4385" fmla="*/ 3350398 h 6479439"/>
              <a:gd name="connsiteX4386" fmla="*/ 5996658 w 9586368"/>
              <a:gd name="connsiteY4386" fmla="*/ 3354436 h 6479439"/>
              <a:gd name="connsiteX4387" fmla="*/ 5996658 w 9586368"/>
              <a:gd name="connsiteY4387" fmla="*/ 3364306 h 6479439"/>
              <a:gd name="connsiteX4388" fmla="*/ 5992639 w 9586368"/>
              <a:gd name="connsiteY4388" fmla="*/ 3368345 h 6479439"/>
              <a:gd name="connsiteX4389" fmla="*/ 5982729 w 9586368"/>
              <a:gd name="connsiteY4389" fmla="*/ 3368345 h 6479439"/>
              <a:gd name="connsiteX4390" fmla="*/ 5978710 w 9586368"/>
              <a:gd name="connsiteY4390" fmla="*/ 3364306 h 6479439"/>
              <a:gd name="connsiteX4391" fmla="*/ 5978710 w 9586368"/>
              <a:gd name="connsiteY4391" fmla="*/ 3354436 h 6479439"/>
              <a:gd name="connsiteX4392" fmla="*/ 5743412 w 9586368"/>
              <a:gd name="connsiteY4392" fmla="*/ 3350398 h 6479439"/>
              <a:gd name="connsiteX4393" fmla="*/ 5753323 w 9586368"/>
              <a:gd name="connsiteY4393" fmla="*/ 3350398 h 6479439"/>
              <a:gd name="connsiteX4394" fmla="*/ 5757342 w 9586368"/>
              <a:gd name="connsiteY4394" fmla="*/ 3354436 h 6479439"/>
              <a:gd name="connsiteX4395" fmla="*/ 5757342 w 9586368"/>
              <a:gd name="connsiteY4395" fmla="*/ 3364306 h 6479439"/>
              <a:gd name="connsiteX4396" fmla="*/ 5753323 w 9586368"/>
              <a:gd name="connsiteY4396" fmla="*/ 3368345 h 6479439"/>
              <a:gd name="connsiteX4397" fmla="*/ 5743412 w 9586368"/>
              <a:gd name="connsiteY4397" fmla="*/ 3368345 h 6479439"/>
              <a:gd name="connsiteX4398" fmla="*/ 5739393 w 9586368"/>
              <a:gd name="connsiteY4398" fmla="*/ 3364306 h 6479439"/>
              <a:gd name="connsiteX4399" fmla="*/ 5739393 w 9586368"/>
              <a:gd name="connsiteY4399" fmla="*/ 3354436 h 6479439"/>
              <a:gd name="connsiteX4400" fmla="*/ 5504099 w 9586368"/>
              <a:gd name="connsiteY4400" fmla="*/ 3350398 h 6479439"/>
              <a:gd name="connsiteX4401" fmla="*/ 5514010 w 9586368"/>
              <a:gd name="connsiteY4401" fmla="*/ 3350398 h 6479439"/>
              <a:gd name="connsiteX4402" fmla="*/ 5518029 w 9586368"/>
              <a:gd name="connsiteY4402" fmla="*/ 3354436 h 6479439"/>
              <a:gd name="connsiteX4403" fmla="*/ 5518029 w 9586368"/>
              <a:gd name="connsiteY4403" fmla="*/ 3364306 h 6479439"/>
              <a:gd name="connsiteX4404" fmla="*/ 5514010 w 9586368"/>
              <a:gd name="connsiteY4404" fmla="*/ 3368345 h 6479439"/>
              <a:gd name="connsiteX4405" fmla="*/ 5504099 w 9586368"/>
              <a:gd name="connsiteY4405" fmla="*/ 3368345 h 6479439"/>
              <a:gd name="connsiteX4406" fmla="*/ 5500080 w 9586368"/>
              <a:gd name="connsiteY4406" fmla="*/ 3364306 h 6479439"/>
              <a:gd name="connsiteX4407" fmla="*/ 5500080 w 9586368"/>
              <a:gd name="connsiteY4407" fmla="*/ 3354436 h 6479439"/>
              <a:gd name="connsiteX4408" fmla="*/ 5264784 w 9586368"/>
              <a:gd name="connsiteY4408" fmla="*/ 3350398 h 6479439"/>
              <a:gd name="connsiteX4409" fmla="*/ 5274694 w 9586368"/>
              <a:gd name="connsiteY4409" fmla="*/ 3350398 h 6479439"/>
              <a:gd name="connsiteX4410" fmla="*/ 5278713 w 9586368"/>
              <a:gd name="connsiteY4410" fmla="*/ 3354436 h 6479439"/>
              <a:gd name="connsiteX4411" fmla="*/ 5278713 w 9586368"/>
              <a:gd name="connsiteY4411" fmla="*/ 3364306 h 6479439"/>
              <a:gd name="connsiteX4412" fmla="*/ 5274694 w 9586368"/>
              <a:gd name="connsiteY4412" fmla="*/ 3368345 h 6479439"/>
              <a:gd name="connsiteX4413" fmla="*/ 5264784 w 9586368"/>
              <a:gd name="connsiteY4413" fmla="*/ 3368345 h 6479439"/>
              <a:gd name="connsiteX4414" fmla="*/ 5260765 w 9586368"/>
              <a:gd name="connsiteY4414" fmla="*/ 3364306 h 6479439"/>
              <a:gd name="connsiteX4415" fmla="*/ 5260765 w 9586368"/>
              <a:gd name="connsiteY4415" fmla="*/ 3354436 h 6479439"/>
              <a:gd name="connsiteX4416" fmla="*/ 5025470 w 9586368"/>
              <a:gd name="connsiteY4416" fmla="*/ 3350398 h 6479439"/>
              <a:gd name="connsiteX4417" fmla="*/ 5035381 w 9586368"/>
              <a:gd name="connsiteY4417" fmla="*/ 3350398 h 6479439"/>
              <a:gd name="connsiteX4418" fmla="*/ 5039400 w 9586368"/>
              <a:gd name="connsiteY4418" fmla="*/ 3354436 h 6479439"/>
              <a:gd name="connsiteX4419" fmla="*/ 5039400 w 9586368"/>
              <a:gd name="connsiteY4419" fmla="*/ 3364306 h 6479439"/>
              <a:gd name="connsiteX4420" fmla="*/ 5035381 w 9586368"/>
              <a:gd name="connsiteY4420" fmla="*/ 3368345 h 6479439"/>
              <a:gd name="connsiteX4421" fmla="*/ 5025470 w 9586368"/>
              <a:gd name="connsiteY4421" fmla="*/ 3368345 h 6479439"/>
              <a:gd name="connsiteX4422" fmla="*/ 5021451 w 9586368"/>
              <a:gd name="connsiteY4422" fmla="*/ 3364306 h 6479439"/>
              <a:gd name="connsiteX4423" fmla="*/ 5021451 w 9586368"/>
              <a:gd name="connsiteY4423" fmla="*/ 3354436 h 6479439"/>
              <a:gd name="connsiteX4424" fmla="*/ 4786241 w 9586368"/>
              <a:gd name="connsiteY4424" fmla="*/ 3350398 h 6479439"/>
              <a:gd name="connsiteX4425" fmla="*/ 4796152 w 9586368"/>
              <a:gd name="connsiteY4425" fmla="*/ 3350398 h 6479439"/>
              <a:gd name="connsiteX4426" fmla="*/ 4800171 w 9586368"/>
              <a:gd name="connsiteY4426" fmla="*/ 3354436 h 6479439"/>
              <a:gd name="connsiteX4427" fmla="*/ 4800171 w 9586368"/>
              <a:gd name="connsiteY4427" fmla="*/ 3364306 h 6479439"/>
              <a:gd name="connsiteX4428" fmla="*/ 4796152 w 9586368"/>
              <a:gd name="connsiteY4428" fmla="*/ 3368345 h 6479439"/>
              <a:gd name="connsiteX4429" fmla="*/ 4786241 w 9586368"/>
              <a:gd name="connsiteY4429" fmla="*/ 3368345 h 6479439"/>
              <a:gd name="connsiteX4430" fmla="*/ 4782224 w 9586368"/>
              <a:gd name="connsiteY4430" fmla="*/ 3364306 h 6479439"/>
              <a:gd name="connsiteX4431" fmla="*/ 4782224 w 9586368"/>
              <a:gd name="connsiteY4431" fmla="*/ 3354436 h 6479439"/>
              <a:gd name="connsiteX4432" fmla="*/ 4546929 w 9586368"/>
              <a:gd name="connsiteY4432" fmla="*/ 3350398 h 6479439"/>
              <a:gd name="connsiteX4433" fmla="*/ 4556840 w 9586368"/>
              <a:gd name="connsiteY4433" fmla="*/ 3350398 h 6479439"/>
              <a:gd name="connsiteX4434" fmla="*/ 4560859 w 9586368"/>
              <a:gd name="connsiteY4434" fmla="*/ 3354436 h 6479439"/>
              <a:gd name="connsiteX4435" fmla="*/ 4560859 w 9586368"/>
              <a:gd name="connsiteY4435" fmla="*/ 3364306 h 6479439"/>
              <a:gd name="connsiteX4436" fmla="*/ 4556840 w 9586368"/>
              <a:gd name="connsiteY4436" fmla="*/ 3368345 h 6479439"/>
              <a:gd name="connsiteX4437" fmla="*/ 4546929 w 9586368"/>
              <a:gd name="connsiteY4437" fmla="*/ 3368345 h 6479439"/>
              <a:gd name="connsiteX4438" fmla="*/ 4542910 w 9586368"/>
              <a:gd name="connsiteY4438" fmla="*/ 3364306 h 6479439"/>
              <a:gd name="connsiteX4439" fmla="*/ 4542910 w 9586368"/>
              <a:gd name="connsiteY4439" fmla="*/ 3354436 h 6479439"/>
              <a:gd name="connsiteX4440" fmla="*/ 4307612 w 9586368"/>
              <a:gd name="connsiteY4440" fmla="*/ 3350398 h 6479439"/>
              <a:gd name="connsiteX4441" fmla="*/ 4317523 w 9586368"/>
              <a:gd name="connsiteY4441" fmla="*/ 3350398 h 6479439"/>
              <a:gd name="connsiteX4442" fmla="*/ 4321543 w 9586368"/>
              <a:gd name="connsiteY4442" fmla="*/ 3354436 h 6479439"/>
              <a:gd name="connsiteX4443" fmla="*/ 4321543 w 9586368"/>
              <a:gd name="connsiteY4443" fmla="*/ 3364306 h 6479439"/>
              <a:gd name="connsiteX4444" fmla="*/ 4317523 w 9586368"/>
              <a:gd name="connsiteY4444" fmla="*/ 3368345 h 6479439"/>
              <a:gd name="connsiteX4445" fmla="*/ 4307612 w 9586368"/>
              <a:gd name="connsiteY4445" fmla="*/ 3368345 h 6479439"/>
              <a:gd name="connsiteX4446" fmla="*/ 4303595 w 9586368"/>
              <a:gd name="connsiteY4446" fmla="*/ 3364306 h 6479439"/>
              <a:gd name="connsiteX4447" fmla="*/ 4303595 w 9586368"/>
              <a:gd name="connsiteY4447" fmla="*/ 3354436 h 6479439"/>
              <a:gd name="connsiteX4448" fmla="*/ 4068297 w 9586368"/>
              <a:gd name="connsiteY4448" fmla="*/ 3350398 h 6479439"/>
              <a:gd name="connsiteX4449" fmla="*/ 4078210 w 9586368"/>
              <a:gd name="connsiteY4449" fmla="*/ 3350398 h 6479439"/>
              <a:gd name="connsiteX4450" fmla="*/ 4082229 w 9586368"/>
              <a:gd name="connsiteY4450" fmla="*/ 3354436 h 6479439"/>
              <a:gd name="connsiteX4451" fmla="*/ 4082229 w 9586368"/>
              <a:gd name="connsiteY4451" fmla="*/ 3364306 h 6479439"/>
              <a:gd name="connsiteX4452" fmla="*/ 4078210 w 9586368"/>
              <a:gd name="connsiteY4452" fmla="*/ 3368345 h 6479439"/>
              <a:gd name="connsiteX4453" fmla="*/ 4068297 w 9586368"/>
              <a:gd name="connsiteY4453" fmla="*/ 3368345 h 6479439"/>
              <a:gd name="connsiteX4454" fmla="*/ 4064278 w 9586368"/>
              <a:gd name="connsiteY4454" fmla="*/ 3364306 h 6479439"/>
              <a:gd name="connsiteX4455" fmla="*/ 4064278 w 9586368"/>
              <a:gd name="connsiteY4455" fmla="*/ 3354436 h 6479439"/>
              <a:gd name="connsiteX4456" fmla="*/ 3828990 w 9586368"/>
              <a:gd name="connsiteY4456" fmla="*/ 3350398 h 6479439"/>
              <a:gd name="connsiteX4457" fmla="*/ 3838899 w 9586368"/>
              <a:gd name="connsiteY4457" fmla="*/ 3350398 h 6479439"/>
              <a:gd name="connsiteX4458" fmla="*/ 3842917 w 9586368"/>
              <a:gd name="connsiteY4458" fmla="*/ 3354436 h 6479439"/>
              <a:gd name="connsiteX4459" fmla="*/ 3842917 w 9586368"/>
              <a:gd name="connsiteY4459" fmla="*/ 3364306 h 6479439"/>
              <a:gd name="connsiteX4460" fmla="*/ 3838899 w 9586368"/>
              <a:gd name="connsiteY4460" fmla="*/ 3368345 h 6479439"/>
              <a:gd name="connsiteX4461" fmla="*/ 3828990 w 9586368"/>
              <a:gd name="connsiteY4461" fmla="*/ 3368345 h 6479439"/>
              <a:gd name="connsiteX4462" fmla="*/ 3824971 w 9586368"/>
              <a:gd name="connsiteY4462" fmla="*/ 3364306 h 6479439"/>
              <a:gd name="connsiteX4463" fmla="*/ 3824971 w 9586368"/>
              <a:gd name="connsiteY4463" fmla="*/ 3354436 h 6479439"/>
              <a:gd name="connsiteX4464" fmla="*/ 3589676 w 9586368"/>
              <a:gd name="connsiteY4464" fmla="*/ 3350398 h 6479439"/>
              <a:gd name="connsiteX4465" fmla="*/ 3599585 w 9586368"/>
              <a:gd name="connsiteY4465" fmla="*/ 3350398 h 6479439"/>
              <a:gd name="connsiteX4466" fmla="*/ 3603604 w 9586368"/>
              <a:gd name="connsiteY4466" fmla="*/ 3354436 h 6479439"/>
              <a:gd name="connsiteX4467" fmla="*/ 3603604 w 9586368"/>
              <a:gd name="connsiteY4467" fmla="*/ 3364306 h 6479439"/>
              <a:gd name="connsiteX4468" fmla="*/ 3599585 w 9586368"/>
              <a:gd name="connsiteY4468" fmla="*/ 3368345 h 6479439"/>
              <a:gd name="connsiteX4469" fmla="*/ 3589676 w 9586368"/>
              <a:gd name="connsiteY4469" fmla="*/ 3368345 h 6479439"/>
              <a:gd name="connsiteX4470" fmla="*/ 3585657 w 9586368"/>
              <a:gd name="connsiteY4470" fmla="*/ 3364306 h 6479439"/>
              <a:gd name="connsiteX4471" fmla="*/ 3585657 w 9586368"/>
              <a:gd name="connsiteY4471" fmla="*/ 3354436 h 6479439"/>
              <a:gd name="connsiteX4472" fmla="*/ 3350359 w 9586368"/>
              <a:gd name="connsiteY4472" fmla="*/ 3350398 h 6479439"/>
              <a:gd name="connsiteX4473" fmla="*/ 3360268 w 9586368"/>
              <a:gd name="connsiteY4473" fmla="*/ 3350398 h 6479439"/>
              <a:gd name="connsiteX4474" fmla="*/ 3364287 w 9586368"/>
              <a:gd name="connsiteY4474" fmla="*/ 3354436 h 6479439"/>
              <a:gd name="connsiteX4475" fmla="*/ 3364287 w 9586368"/>
              <a:gd name="connsiteY4475" fmla="*/ 3364306 h 6479439"/>
              <a:gd name="connsiteX4476" fmla="*/ 3360268 w 9586368"/>
              <a:gd name="connsiteY4476" fmla="*/ 3368345 h 6479439"/>
              <a:gd name="connsiteX4477" fmla="*/ 3350359 w 9586368"/>
              <a:gd name="connsiteY4477" fmla="*/ 3368345 h 6479439"/>
              <a:gd name="connsiteX4478" fmla="*/ 3346340 w 9586368"/>
              <a:gd name="connsiteY4478" fmla="*/ 3364306 h 6479439"/>
              <a:gd name="connsiteX4479" fmla="*/ 3346340 w 9586368"/>
              <a:gd name="connsiteY4479" fmla="*/ 3354436 h 6479439"/>
              <a:gd name="connsiteX4480" fmla="*/ 3111048 w 9586368"/>
              <a:gd name="connsiteY4480" fmla="*/ 3350398 h 6479439"/>
              <a:gd name="connsiteX4481" fmla="*/ 3120959 w 9586368"/>
              <a:gd name="connsiteY4481" fmla="*/ 3350398 h 6479439"/>
              <a:gd name="connsiteX4482" fmla="*/ 3124977 w 9586368"/>
              <a:gd name="connsiteY4482" fmla="*/ 3354436 h 6479439"/>
              <a:gd name="connsiteX4483" fmla="*/ 3124977 w 9586368"/>
              <a:gd name="connsiteY4483" fmla="*/ 3364306 h 6479439"/>
              <a:gd name="connsiteX4484" fmla="*/ 3120959 w 9586368"/>
              <a:gd name="connsiteY4484" fmla="*/ 3368345 h 6479439"/>
              <a:gd name="connsiteX4485" fmla="*/ 3111048 w 9586368"/>
              <a:gd name="connsiteY4485" fmla="*/ 3368345 h 6479439"/>
              <a:gd name="connsiteX4486" fmla="*/ 3107029 w 9586368"/>
              <a:gd name="connsiteY4486" fmla="*/ 3364306 h 6479439"/>
              <a:gd name="connsiteX4487" fmla="*/ 3107029 w 9586368"/>
              <a:gd name="connsiteY4487" fmla="*/ 3354436 h 6479439"/>
              <a:gd name="connsiteX4488" fmla="*/ 2871737 w 9586368"/>
              <a:gd name="connsiteY4488" fmla="*/ 3350398 h 6479439"/>
              <a:gd name="connsiteX4489" fmla="*/ 2881646 w 9586368"/>
              <a:gd name="connsiteY4489" fmla="*/ 3350398 h 6479439"/>
              <a:gd name="connsiteX4490" fmla="*/ 2885666 w 9586368"/>
              <a:gd name="connsiteY4490" fmla="*/ 3354436 h 6479439"/>
              <a:gd name="connsiteX4491" fmla="*/ 2885666 w 9586368"/>
              <a:gd name="connsiteY4491" fmla="*/ 3364306 h 6479439"/>
              <a:gd name="connsiteX4492" fmla="*/ 2881646 w 9586368"/>
              <a:gd name="connsiteY4492" fmla="*/ 3368345 h 6479439"/>
              <a:gd name="connsiteX4493" fmla="*/ 2871737 w 9586368"/>
              <a:gd name="connsiteY4493" fmla="*/ 3368345 h 6479439"/>
              <a:gd name="connsiteX4494" fmla="*/ 2867717 w 9586368"/>
              <a:gd name="connsiteY4494" fmla="*/ 3364306 h 6479439"/>
              <a:gd name="connsiteX4495" fmla="*/ 2867717 w 9586368"/>
              <a:gd name="connsiteY4495" fmla="*/ 3354436 h 6479439"/>
              <a:gd name="connsiteX4496" fmla="*/ 2632423 w 9586368"/>
              <a:gd name="connsiteY4496" fmla="*/ 3350398 h 6479439"/>
              <a:gd name="connsiteX4497" fmla="*/ 2642334 w 9586368"/>
              <a:gd name="connsiteY4497" fmla="*/ 3350398 h 6479439"/>
              <a:gd name="connsiteX4498" fmla="*/ 2646352 w 9586368"/>
              <a:gd name="connsiteY4498" fmla="*/ 3354436 h 6479439"/>
              <a:gd name="connsiteX4499" fmla="*/ 2646352 w 9586368"/>
              <a:gd name="connsiteY4499" fmla="*/ 3364306 h 6479439"/>
              <a:gd name="connsiteX4500" fmla="*/ 2642334 w 9586368"/>
              <a:gd name="connsiteY4500" fmla="*/ 3368345 h 6479439"/>
              <a:gd name="connsiteX4501" fmla="*/ 2632423 w 9586368"/>
              <a:gd name="connsiteY4501" fmla="*/ 3368345 h 6479439"/>
              <a:gd name="connsiteX4502" fmla="*/ 2628404 w 9586368"/>
              <a:gd name="connsiteY4502" fmla="*/ 3364306 h 6479439"/>
              <a:gd name="connsiteX4503" fmla="*/ 2628404 w 9586368"/>
              <a:gd name="connsiteY4503" fmla="*/ 3354436 h 6479439"/>
              <a:gd name="connsiteX4504" fmla="*/ 2393104 w 9586368"/>
              <a:gd name="connsiteY4504" fmla="*/ 3350398 h 6479439"/>
              <a:gd name="connsiteX4505" fmla="*/ 2403015 w 9586368"/>
              <a:gd name="connsiteY4505" fmla="*/ 3350398 h 6479439"/>
              <a:gd name="connsiteX4506" fmla="*/ 2407034 w 9586368"/>
              <a:gd name="connsiteY4506" fmla="*/ 3354436 h 6479439"/>
              <a:gd name="connsiteX4507" fmla="*/ 2407034 w 9586368"/>
              <a:gd name="connsiteY4507" fmla="*/ 3364306 h 6479439"/>
              <a:gd name="connsiteX4508" fmla="*/ 2403015 w 9586368"/>
              <a:gd name="connsiteY4508" fmla="*/ 3368345 h 6479439"/>
              <a:gd name="connsiteX4509" fmla="*/ 2393104 w 9586368"/>
              <a:gd name="connsiteY4509" fmla="*/ 3368345 h 6479439"/>
              <a:gd name="connsiteX4510" fmla="*/ 2389087 w 9586368"/>
              <a:gd name="connsiteY4510" fmla="*/ 3364306 h 6479439"/>
              <a:gd name="connsiteX4511" fmla="*/ 2389087 w 9586368"/>
              <a:gd name="connsiteY4511" fmla="*/ 3354436 h 6479439"/>
              <a:gd name="connsiteX4512" fmla="*/ 2157820 w 9586368"/>
              <a:gd name="connsiteY4512" fmla="*/ 3350398 h 6479439"/>
              <a:gd name="connsiteX4513" fmla="*/ 2167731 w 9586368"/>
              <a:gd name="connsiteY4513" fmla="*/ 3350398 h 6479439"/>
              <a:gd name="connsiteX4514" fmla="*/ 2171749 w 9586368"/>
              <a:gd name="connsiteY4514" fmla="*/ 3354436 h 6479439"/>
              <a:gd name="connsiteX4515" fmla="*/ 2171749 w 9586368"/>
              <a:gd name="connsiteY4515" fmla="*/ 3364306 h 6479439"/>
              <a:gd name="connsiteX4516" fmla="*/ 2167731 w 9586368"/>
              <a:gd name="connsiteY4516" fmla="*/ 3368345 h 6479439"/>
              <a:gd name="connsiteX4517" fmla="*/ 2157820 w 9586368"/>
              <a:gd name="connsiteY4517" fmla="*/ 3368345 h 6479439"/>
              <a:gd name="connsiteX4518" fmla="*/ 2153802 w 9586368"/>
              <a:gd name="connsiteY4518" fmla="*/ 3364306 h 6479439"/>
              <a:gd name="connsiteX4519" fmla="*/ 2153802 w 9586368"/>
              <a:gd name="connsiteY4519" fmla="*/ 3354436 h 6479439"/>
              <a:gd name="connsiteX4520" fmla="*/ 1918511 w 9586368"/>
              <a:gd name="connsiteY4520" fmla="*/ 3350398 h 6479439"/>
              <a:gd name="connsiteX4521" fmla="*/ 1928422 w 9586368"/>
              <a:gd name="connsiteY4521" fmla="*/ 3350398 h 6479439"/>
              <a:gd name="connsiteX4522" fmla="*/ 1932441 w 9586368"/>
              <a:gd name="connsiteY4522" fmla="*/ 3354436 h 6479439"/>
              <a:gd name="connsiteX4523" fmla="*/ 1932441 w 9586368"/>
              <a:gd name="connsiteY4523" fmla="*/ 3364306 h 6479439"/>
              <a:gd name="connsiteX4524" fmla="*/ 1928422 w 9586368"/>
              <a:gd name="connsiteY4524" fmla="*/ 3368345 h 6479439"/>
              <a:gd name="connsiteX4525" fmla="*/ 1918511 w 9586368"/>
              <a:gd name="connsiteY4525" fmla="*/ 3368345 h 6479439"/>
              <a:gd name="connsiteX4526" fmla="*/ 1914493 w 9586368"/>
              <a:gd name="connsiteY4526" fmla="*/ 3364306 h 6479439"/>
              <a:gd name="connsiteX4527" fmla="*/ 1914493 w 9586368"/>
              <a:gd name="connsiteY4527" fmla="*/ 3354436 h 6479439"/>
              <a:gd name="connsiteX4528" fmla="*/ 1679210 w 9586368"/>
              <a:gd name="connsiteY4528" fmla="*/ 3350398 h 6479439"/>
              <a:gd name="connsiteX4529" fmla="*/ 1689120 w 9586368"/>
              <a:gd name="connsiteY4529" fmla="*/ 3350398 h 6479439"/>
              <a:gd name="connsiteX4530" fmla="*/ 1693138 w 9586368"/>
              <a:gd name="connsiteY4530" fmla="*/ 3354436 h 6479439"/>
              <a:gd name="connsiteX4531" fmla="*/ 1693138 w 9586368"/>
              <a:gd name="connsiteY4531" fmla="*/ 3364306 h 6479439"/>
              <a:gd name="connsiteX4532" fmla="*/ 1689120 w 9586368"/>
              <a:gd name="connsiteY4532" fmla="*/ 3368345 h 6479439"/>
              <a:gd name="connsiteX4533" fmla="*/ 1679210 w 9586368"/>
              <a:gd name="connsiteY4533" fmla="*/ 3368345 h 6479439"/>
              <a:gd name="connsiteX4534" fmla="*/ 1675191 w 9586368"/>
              <a:gd name="connsiteY4534" fmla="*/ 3364306 h 6479439"/>
              <a:gd name="connsiteX4535" fmla="*/ 1675191 w 9586368"/>
              <a:gd name="connsiteY4535" fmla="*/ 3354436 h 6479439"/>
              <a:gd name="connsiteX4536" fmla="*/ 1439893 w 9586368"/>
              <a:gd name="connsiteY4536" fmla="*/ 3350398 h 6479439"/>
              <a:gd name="connsiteX4537" fmla="*/ 1449803 w 9586368"/>
              <a:gd name="connsiteY4537" fmla="*/ 3350398 h 6479439"/>
              <a:gd name="connsiteX4538" fmla="*/ 1453823 w 9586368"/>
              <a:gd name="connsiteY4538" fmla="*/ 3354436 h 6479439"/>
              <a:gd name="connsiteX4539" fmla="*/ 1453823 w 9586368"/>
              <a:gd name="connsiteY4539" fmla="*/ 3364306 h 6479439"/>
              <a:gd name="connsiteX4540" fmla="*/ 1449803 w 9586368"/>
              <a:gd name="connsiteY4540" fmla="*/ 3368345 h 6479439"/>
              <a:gd name="connsiteX4541" fmla="*/ 1439893 w 9586368"/>
              <a:gd name="connsiteY4541" fmla="*/ 3368345 h 6479439"/>
              <a:gd name="connsiteX4542" fmla="*/ 1435875 w 9586368"/>
              <a:gd name="connsiteY4542" fmla="*/ 3364306 h 6479439"/>
              <a:gd name="connsiteX4543" fmla="*/ 1435875 w 9586368"/>
              <a:gd name="connsiteY4543" fmla="*/ 3354436 h 6479439"/>
              <a:gd name="connsiteX4544" fmla="*/ 1200578 w 9586368"/>
              <a:gd name="connsiteY4544" fmla="*/ 3350398 h 6479439"/>
              <a:gd name="connsiteX4545" fmla="*/ 1210488 w 9586368"/>
              <a:gd name="connsiteY4545" fmla="*/ 3350398 h 6479439"/>
              <a:gd name="connsiteX4546" fmla="*/ 1214507 w 9586368"/>
              <a:gd name="connsiteY4546" fmla="*/ 3354436 h 6479439"/>
              <a:gd name="connsiteX4547" fmla="*/ 1214507 w 9586368"/>
              <a:gd name="connsiteY4547" fmla="*/ 3364306 h 6479439"/>
              <a:gd name="connsiteX4548" fmla="*/ 1210488 w 9586368"/>
              <a:gd name="connsiteY4548" fmla="*/ 3368345 h 6479439"/>
              <a:gd name="connsiteX4549" fmla="*/ 1200578 w 9586368"/>
              <a:gd name="connsiteY4549" fmla="*/ 3368345 h 6479439"/>
              <a:gd name="connsiteX4550" fmla="*/ 1196559 w 9586368"/>
              <a:gd name="connsiteY4550" fmla="*/ 3364306 h 6479439"/>
              <a:gd name="connsiteX4551" fmla="*/ 1196559 w 9586368"/>
              <a:gd name="connsiteY4551" fmla="*/ 3354436 h 6479439"/>
              <a:gd name="connsiteX4552" fmla="*/ 961265 w 9586368"/>
              <a:gd name="connsiteY4552" fmla="*/ 3350398 h 6479439"/>
              <a:gd name="connsiteX4553" fmla="*/ 971176 w 9586368"/>
              <a:gd name="connsiteY4553" fmla="*/ 3350398 h 6479439"/>
              <a:gd name="connsiteX4554" fmla="*/ 975194 w 9586368"/>
              <a:gd name="connsiteY4554" fmla="*/ 3354436 h 6479439"/>
              <a:gd name="connsiteX4555" fmla="*/ 975194 w 9586368"/>
              <a:gd name="connsiteY4555" fmla="*/ 3364306 h 6479439"/>
              <a:gd name="connsiteX4556" fmla="*/ 971176 w 9586368"/>
              <a:gd name="connsiteY4556" fmla="*/ 3368345 h 6479439"/>
              <a:gd name="connsiteX4557" fmla="*/ 961265 w 9586368"/>
              <a:gd name="connsiteY4557" fmla="*/ 3368345 h 6479439"/>
              <a:gd name="connsiteX4558" fmla="*/ 957246 w 9586368"/>
              <a:gd name="connsiteY4558" fmla="*/ 3364306 h 6479439"/>
              <a:gd name="connsiteX4559" fmla="*/ 957246 w 9586368"/>
              <a:gd name="connsiteY4559" fmla="*/ 3354436 h 6479439"/>
              <a:gd name="connsiteX4560" fmla="*/ 721967 w 9586368"/>
              <a:gd name="connsiteY4560" fmla="*/ 3350398 h 6479439"/>
              <a:gd name="connsiteX4561" fmla="*/ 731877 w 9586368"/>
              <a:gd name="connsiteY4561" fmla="*/ 3350398 h 6479439"/>
              <a:gd name="connsiteX4562" fmla="*/ 735896 w 9586368"/>
              <a:gd name="connsiteY4562" fmla="*/ 3354436 h 6479439"/>
              <a:gd name="connsiteX4563" fmla="*/ 735896 w 9586368"/>
              <a:gd name="connsiteY4563" fmla="*/ 3364306 h 6479439"/>
              <a:gd name="connsiteX4564" fmla="*/ 731877 w 9586368"/>
              <a:gd name="connsiteY4564" fmla="*/ 3368345 h 6479439"/>
              <a:gd name="connsiteX4565" fmla="*/ 721967 w 9586368"/>
              <a:gd name="connsiteY4565" fmla="*/ 3368345 h 6479439"/>
              <a:gd name="connsiteX4566" fmla="*/ 717949 w 9586368"/>
              <a:gd name="connsiteY4566" fmla="*/ 3364306 h 6479439"/>
              <a:gd name="connsiteX4567" fmla="*/ 717949 w 9586368"/>
              <a:gd name="connsiteY4567" fmla="*/ 3354436 h 6479439"/>
              <a:gd name="connsiteX4568" fmla="*/ 482655 w 9586368"/>
              <a:gd name="connsiteY4568" fmla="*/ 3350398 h 6479439"/>
              <a:gd name="connsiteX4569" fmla="*/ 492565 w 9586368"/>
              <a:gd name="connsiteY4569" fmla="*/ 3350398 h 6479439"/>
              <a:gd name="connsiteX4570" fmla="*/ 496584 w 9586368"/>
              <a:gd name="connsiteY4570" fmla="*/ 3354436 h 6479439"/>
              <a:gd name="connsiteX4571" fmla="*/ 496584 w 9586368"/>
              <a:gd name="connsiteY4571" fmla="*/ 3364306 h 6479439"/>
              <a:gd name="connsiteX4572" fmla="*/ 492565 w 9586368"/>
              <a:gd name="connsiteY4572" fmla="*/ 3368345 h 6479439"/>
              <a:gd name="connsiteX4573" fmla="*/ 482655 w 9586368"/>
              <a:gd name="connsiteY4573" fmla="*/ 3368345 h 6479439"/>
              <a:gd name="connsiteX4574" fmla="*/ 478636 w 9586368"/>
              <a:gd name="connsiteY4574" fmla="*/ 3364306 h 6479439"/>
              <a:gd name="connsiteX4575" fmla="*/ 478636 w 9586368"/>
              <a:gd name="connsiteY4575" fmla="*/ 3354436 h 6479439"/>
              <a:gd name="connsiteX4576" fmla="*/ 243341 w 9586368"/>
              <a:gd name="connsiteY4576" fmla="*/ 3350398 h 6479439"/>
              <a:gd name="connsiteX4577" fmla="*/ 253252 w 9586368"/>
              <a:gd name="connsiteY4577" fmla="*/ 3350398 h 6479439"/>
              <a:gd name="connsiteX4578" fmla="*/ 257271 w 9586368"/>
              <a:gd name="connsiteY4578" fmla="*/ 3354436 h 6479439"/>
              <a:gd name="connsiteX4579" fmla="*/ 257271 w 9586368"/>
              <a:gd name="connsiteY4579" fmla="*/ 3364306 h 6479439"/>
              <a:gd name="connsiteX4580" fmla="*/ 253252 w 9586368"/>
              <a:gd name="connsiteY4580" fmla="*/ 3368345 h 6479439"/>
              <a:gd name="connsiteX4581" fmla="*/ 243341 w 9586368"/>
              <a:gd name="connsiteY4581" fmla="*/ 3368345 h 6479439"/>
              <a:gd name="connsiteX4582" fmla="*/ 239322 w 9586368"/>
              <a:gd name="connsiteY4582" fmla="*/ 3364306 h 6479439"/>
              <a:gd name="connsiteX4583" fmla="*/ 239322 w 9586368"/>
              <a:gd name="connsiteY4583" fmla="*/ 3354436 h 6479439"/>
              <a:gd name="connsiteX4584" fmla="*/ 4029 w 9586368"/>
              <a:gd name="connsiteY4584" fmla="*/ 3350398 h 6479439"/>
              <a:gd name="connsiteX4585" fmla="*/ 13938 w 9586368"/>
              <a:gd name="connsiteY4585" fmla="*/ 3350398 h 6479439"/>
              <a:gd name="connsiteX4586" fmla="*/ 17957 w 9586368"/>
              <a:gd name="connsiteY4586" fmla="*/ 3354436 h 6479439"/>
              <a:gd name="connsiteX4587" fmla="*/ 17957 w 9586368"/>
              <a:gd name="connsiteY4587" fmla="*/ 3364306 h 6479439"/>
              <a:gd name="connsiteX4588" fmla="*/ 13938 w 9586368"/>
              <a:gd name="connsiteY4588" fmla="*/ 3368345 h 6479439"/>
              <a:gd name="connsiteX4589" fmla="*/ 4029 w 9586368"/>
              <a:gd name="connsiteY4589" fmla="*/ 3368345 h 6479439"/>
              <a:gd name="connsiteX4590" fmla="*/ 9 w 9586368"/>
              <a:gd name="connsiteY4590" fmla="*/ 3364306 h 6479439"/>
              <a:gd name="connsiteX4591" fmla="*/ 9 w 9586368"/>
              <a:gd name="connsiteY4591" fmla="*/ 3354436 h 6479439"/>
              <a:gd name="connsiteX4592" fmla="*/ 2157820 w 9586368"/>
              <a:gd name="connsiteY4592" fmla="*/ 3111118 h 6479439"/>
              <a:gd name="connsiteX4593" fmla="*/ 2167731 w 9586368"/>
              <a:gd name="connsiteY4593" fmla="*/ 3111118 h 6479439"/>
              <a:gd name="connsiteX4594" fmla="*/ 2171750 w 9586368"/>
              <a:gd name="connsiteY4594" fmla="*/ 3115157 h 6479439"/>
              <a:gd name="connsiteX4595" fmla="*/ 2171750 w 9586368"/>
              <a:gd name="connsiteY4595" fmla="*/ 3125027 h 6479439"/>
              <a:gd name="connsiteX4596" fmla="*/ 2167731 w 9586368"/>
              <a:gd name="connsiteY4596" fmla="*/ 3129066 h 6479439"/>
              <a:gd name="connsiteX4597" fmla="*/ 2157820 w 9586368"/>
              <a:gd name="connsiteY4597" fmla="*/ 3129066 h 6479439"/>
              <a:gd name="connsiteX4598" fmla="*/ 2153802 w 9586368"/>
              <a:gd name="connsiteY4598" fmla="*/ 3125027 h 6479439"/>
              <a:gd name="connsiteX4599" fmla="*/ 2153802 w 9586368"/>
              <a:gd name="connsiteY4599" fmla="*/ 3115157 h 6479439"/>
              <a:gd name="connsiteX4600" fmla="*/ 1918513 w 9586368"/>
              <a:gd name="connsiteY4600" fmla="*/ 3111118 h 6479439"/>
              <a:gd name="connsiteX4601" fmla="*/ 1928422 w 9586368"/>
              <a:gd name="connsiteY4601" fmla="*/ 3111118 h 6479439"/>
              <a:gd name="connsiteX4602" fmla="*/ 1932441 w 9586368"/>
              <a:gd name="connsiteY4602" fmla="*/ 3115157 h 6479439"/>
              <a:gd name="connsiteX4603" fmla="*/ 1932441 w 9586368"/>
              <a:gd name="connsiteY4603" fmla="*/ 3125027 h 6479439"/>
              <a:gd name="connsiteX4604" fmla="*/ 1928422 w 9586368"/>
              <a:gd name="connsiteY4604" fmla="*/ 3129066 h 6479439"/>
              <a:gd name="connsiteX4605" fmla="*/ 1918513 w 9586368"/>
              <a:gd name="connsiteY4605" fmla="*/ 3129066 h 6479439"/>
              <a:gd name="connsiteX4606" fmla="*/ 1914493 w 9586368"/>
              <a:gd name="connsiteY4606" fmla="*/ 3125027 h 6479439"/>
              <a:gd name="connsiteX4607" fmla="*/ 1914493 w 9586368"/>
              <a:gd name="connsiteY4607" fmla="*/ 3115157 h 6479439"/>
              <a:gd name="connsiteX4608" fmla="*/ 1679211 w 9586368"/>
              <a:gd name="connsiteY4608" fmla="*/ 3111118 h 6479439"/>
              <a:gd name="connsiteX4609" fmla="*/ 1689121 w 9586368"/>
              <a:gd name="connsiteY4609" fmla="*/ 3111118 h 6479439"/>
              <a:gd name="connsiteX4610" fmla="*/ 1693139 w 9586368"/>
              <a:gd name="connsiteY4610" fmla="*/ 3115157 h 6479439"/>
              <a:gd name="connsiteX4611" fmla="*/ 1693139 w 9586368"/>
              <a:gd name="connsiteY4611" fmla="*/ 3125027 h 6479439"/>
              <a:gd name="connsiteX4612" fmla="*/ 1689121 w 9586368"/>
              <a:gd name="connsiteY4612" fmla="*/ 3129066 h 6479439"/>
              <a:gd name="connsiteX4613" fmla="*/ 1679211 w 9586368"/>
              <a:gd name="connsiteY4613" fmla="*/ 3129066 h 6479439"/>
              <a:gd name="connsiteX4614" fmla="*/ 1675191 w 9586368"/>
              <a:gd name="connsiteY4614" fmla="*/ 3125027 h 6479439"/>
              <a:gd name="connsiteX4615" fmla="*/ 1675191 w 9586368"/>
              <a:gd name="connsiteY4615" fmla="*/ 3115157 h 6479439"/>
              <a:gd name="connsiteX4616" fmla="*/ 1439895 w 9586368"/>
              <a:gd name="connsiteY4616" fmla="*/ 3111118 h 6479439"/>
              <a:gd name="connsiteX4617" fmla="*/ 1449805 w 9586368"/>
              <a:gd name="connsiteY4617" fmla="*/ 3111118 h 6479439"/>
              <a:gd name="connsiteX4618" fmla="*/ 1453823 w 9586368"/>
              <a:gd name="connsiteY4618" fmla="*/ 3115157 h 6479439"/>
              <a:gd name="connsiteX4619" fmla="*/ 1453823 w 9586368"/>
              <a:gd name="connsiteY4619" fmla="*/ 3125027 h 6479439"/>
              <a:gd name="connsiteX4620" fmla="*/ 1449805 w 9586368"/>
              <a:gd name="connsiteY4620" fmla="*/ 3129066 h 6479439"/>
              <a:gd name="connsiteX4621" fmla="*/ 1439895 w 9586368"/>
              <a:gd name="connsiteY4621" fmla="*/ 3129066 h 6479439"/>
              <a:gd name="connsiteX4622" fmla="*/ 1435875 w 9586368"/>
              <a:gd name="connsiteY4622" fmla="*/ 3125027 h 6479439"/>
              <a:gd name="connsiteX4623" fmla="*/ 1435875 w 9586368"/>
              <a:gd name="connsiteY4623" fmla="*/ 3115157 h 6479439"/>
              <a:gd name="connsiteX4624" fmla="*/ 1200578 w 9586368"/>
              <a:gd name="connsiteY4624" fmla="*/ 3111118 h 6479439"/>
              <a:gd name="connsiteX4625" fmla="*/ 1210489 w 9586368"/>
              <a:gd name="connsiteY4625" fmla="*/ 3111118 h 6479439"/>
              <a:gd name="connsiteX4626" fmla="*/ 1214507 w 9586368"/>
              <a:gd name="connsiteY4626" fmla="*/ 3115157 h 6479439"/>
              <a:gd name="connsiteX4627" fmla="*/ 1214507 w 9586368"/>
              <a:gd name="connsiteY4627" fmla="*/ 3125027 h 6479439"/>
              <a:gd name="connsiteX4628" fmla="*/ 1210489 w 9586368"/>
              <a:gd name="connsiteY4628" fmla="*/ 3129066 h 6479439"/>
              <a:gd name="connsiteX4629" fmla="*/ 1200578 w 9586368"/>
              <a:gd name="connsiteY4629" fmla="*/ 3129066 h 6479439"/>
              <a:gd name="connsiteX4630" fmla="*/ 1196560 w 9586368"/>
              <a:gd name="connsiteY4630" fmla="*/ 3125027 h 6479439"/>
              <a:gd name="connsiteX4631" fmla="*/ 1196560 w 9586368"/>
              <a:gd name="connsiteY4631" fmla="*/ 3115157 h 6479439"/>
              <a:gd name="connsiteX4632" fmla="*/ 961266 w 9586368"/>
              <a:gd name="connsiteY4632" fmla="*/ 3111118 h 6479439"/>
              <a:gd name="connsiteX4633" fmla="*/ 971176 w 9586368"/>
              <a:gd name="connsiteY4633" fmla="*/ 3111118 h 6479439"/>
              <a:gd name="connsiteX4634" fmla="*/ 975195 w 9586368"/>
              <a:gd name="connsiteY4634" fmla="*/ 3115157 h 6479439"/>
              <a:gd name="connsiteX4635" fmla="*/ 975195 w 9586368"/>
              <a:gd name="connsiteY4635" fmla="*/ 3125027 h 6479439"/>
              <a:gd name="connsiteX4636" fmla="*/ 971176 w 9586368"/>
              <a:gd name="connsiteY4636" fmla="*/ 3129066 h 6479439"/>
              <a:gd name="connsiteX4637" fmla="*/ 961266 w 9586368"/>
              <a:gd name="connsiteY4637" fmla="*/ 3129066 h 6479439"/>
              <a:gd name="connsiteX4638" fmla="*/ 957247 w 9586368"/>
              <a:gd name="connsiteY4638" fmla="*/ 3125027 h 6479439"/>
              <a:gd name="connsiteX4639" fmla="*/ 957247 w 9586368"/>
              <a:gd name="connsiteY4639" fmla="*/ 3115157 h 6479439"/>
              <a:gd name="connsiteX4640" fmla="*/ 9572438 w 9586368"/>
              <a:gd name="connsiteY4640" fmla="*/ 3111067 h 6479439"/>
              <a:gd name="connsiteX4641" fmla="*/ 9582349 w 9586368"/>
              <a:gd name="connsiteY4641" fmla="*/ 3111067 h 6479439"/>
              <a:gd name="connsiteX4642" fmla="*/ 9586368 w 9586368"/>
              <a:gd name="connsiteY4642" fmla="*/ 3115105 h 6479439"/>
              <a:gd name="connsiteX4643" fmla="*/ 9586368 w 9586368"/>
              <a:gd name="connsiteY4643" fmla="*/ 3124976 h 6479439"/>
              <a:gd name="connsiteX4644" fmla="*/ 9582349 w 9586368"/>
              <a:gd name="connsiteY4644" fmla="*/ 3129015 h 6479439"/>
              <a:gd name="connsiteX4645" fmla="*/ 9572438 w 9586368"/>
              <a:gd name="connsiteY4645" fmla="*/ 3129015 h 6479439"/>
              <a:gd name="connsiteX4646" fmla="*/ 9568419 w 9586368"/>
              <a:gd name="connsiteY4646" fmla="*/ 3124976 h 6479439"/>
              <a:gd name="connsiteX4647" fmla="*/ 9568419 w 9586368"/>
              <a:gd name="connsiteY4647" fmla="*/ 3115105 h 6479439"/>
              <a:gd name="connsiteX4648" fmla="*/ 9333125 w 9586368"/>
              <a:gd name="connsiteY4648" fmla="*/ 3111067 h 6479439"/>
              <a:gd name="connsiteX4649" fmla="*/ 9343036 w 9586368"/>
              <a:gd name="connsiteY4649" fmla="*/ 3111067 h 6479439"/>
              <a:gd name="connsiteX4650" fmla="*/ 9347055 w 9586368"/>
              <a:gd name="connsiteY4650" fmla="*/ 3115105 h 6479439"/>
              <a:gd name="connsiteX4651" fmla="*/ 9347055 w 9586368"/>
              <a:gd name="connsiteY4651" fmla="*/ 3124976 h 6479439"/>
              <a:gd name="connsiteX4652" fmla="*/ 9343036 w 9586368"/>
              <a:gd name="connsiteY4652" fmla="*/ 3129015 h 6479439"/>
              <a:gd name="connsiteX4653" fmla="*/ 9333125 w 9586368"/>
              <a:gd name="connsiteY4653" fmla="*/ 3129015 h 6479439"/>
              <a:gd name="connsiteX4654" fmla="*/ 9329106 w 9586368"/>
              <a:gd name="connsiteY4654" fmla="*/ 3124976 h 6479439"/>
              <a:gd name="connsiteX4655" fmla="*/ 9329106 w 9586368"/>
              <a:gd name="connsiteY4655" fmla="*/ 3115105 h 6479439"/>
              <a:gd name="connsiteX4656" fmla="*/ 9093811 w 9586368"/>
              <a:gd name="connsiteY4656" fmla="*/ 3111067 h 6479439"/>
              <a:gd name="connsiteX4657" fmla="*/ 9103722 w 9586368"/>
              <a:gd name="connsiteY4657" fmla="*/ 3111067 h 6479439"/>
              <a:gd name="connsiteX4658" fmla="*/ 9107741 w 9586368"/>
              <a:gd name="connsiteY4658" fmla="*/ 3115105 h 6479439"/>
              <a:gd name="connsiteX4659" fmla="*/ 9107741 w 9586368"/>
              <a:gd name="connsiteY4659" fmla="*/ 3124976 h 6479439"/>
              <a:gd name="connsiteX4660" fmla="*/ 9103722 w 9586368"/>
              <a:gd name="connsiteY4660" fmla="*/ 3129015 h 6479439"/>
              <a:gd name="connsiteX4661" fmla="*/ 9093811 w 9586368"/>
              <a:gd name="connsiteY4661" fmla="*/ 3129015 h 6479439"/>
              <a:gd name="connsiteX4662" fmla="*/ 9089792 w 9586368"/>
              <a:gd name="connsiteY4662" fmla="*/ 3124976 h 6479439"/>
              <a:gd name="connsiteX4663" fmla="*/ 9089792 w 9586368"/>
              <a:gd name="connsiteY4663" fmla="*/ 3115105 h 6479439"/>
              <a:gd name="connsiteX4664" fmla="*/ 8854496 w 9586368"/>
              <a:gd name="connsiteY4664" fmla="*/ 3111067 h 6479439"/>
              <a:gd name="connsiteX4665" fmla="*/ 8864407 w 9586368"/>
              <a:gd name="connsiteY4665" fmla="*/ 3111067 h 6479439"/>
              <a:gd name="connsiteX4666" fmla="*/ 8868426 w 9586368"/>
              <a:gd name="connsiteY4666" fmla="*/ 3115105 h 6479439"/>
              <a:gd name="connsiteX4667" fmla="*/ 8868426 w 9586368"/>
              <a:gd name="connsiteY4667" fmla="*/ 3124976 h 6479439"/>
              <a:gd name="connsiteX4668" fmla="*/ 8864407 w 9586368"/>
              <a:gd name="connsiteY4668" fmla="*/ 3129015 h 6479439"/>
              <a:gd name="connsiteX4669" fmla="*/ 8854496 w 9586368"/>
              <a:gd name="connsiteY4669" fmla="*/ 3129015 h 6479439"/>
              <a:gd name="connsiteX4670" fmla="*/ 8850477 w 9586368"/>
              <a:gd name="connsiteY4670" fmla="*/ 3124976 h 6479439"/>
              <a:gd name="connsiteX4671" fmla="*/ 8850477 w 9586368"/>
              <a:gd name="connsiteY4671" fmla="*/ 3115105 h 6479439"/>
              <a:gd name="connsiteX4672" fmla="*/ 8615184 w 9586368"/>
              <a:gd name="connsiteY4672" fmla="*/ 3111067 h 6479439"/>
              <a:gd name="connsiteX4673" fmla="*/ 8625095 w 9586368"/>
              <a:gd name="connsiteY4673" fmla="*/ 3111067 h 6479439"/>
              <a:gd name="connsiteX4674" fmla="*/ 8629114 w 9586368"/>
              <a:gd name="connsiteY4674" fmla="*/ 3115105 h 6479439"/>
              <a:gd name="connsiteX4675" fmla="*/ 8629114 w 9586368"/>
              <a:gd name="connsiteY4675" fmla="*/ 3124976 h 6479439"/>
              <a:gd name="connsiteX4676" fmla="*/ 8625095 w 9586368"/>
              <a:gd name="connsiteY4676" fmla="*/ 3129015 h 6479439"/>
              <a:gd name="connsiteX4677" fmla="*/ 8615184 w 9586368"/>
              <a:gd name="connsiteY4677" fmla="*/ 3129015 h 6479439"/>
              <a:gd name="connsiteX4678" fmla="*/ 8611165 w 9586368"/>
              <a:gd name="connsiteY4678" fmla="*/ 3124976 h 6479439"/>
              <a:gd name="connsiteX4679" fmla="*/ 8611165 w 9586368"/>
              <a:gd name="connsiteY4679" fmla="*/ 3115105 h 6479439"/>
              <a:gd name="connsiteX4680" fmla="*/ 8375869 w 9586368"/>
              <a:gd name="connsiteY4680" fmla="*/ 3111067 h 6479439"/>
              <a:gd name="connsiteX4681" fmla="*/ 8385779 w 9586368"/>
              <a:gd name="connsiteY4681" fmla="*/ 3111067 h 6479439"/>
              <a:gd name="connsiteX4682" fmla="*/ 8389799 w 9586368"/>
              <a:gd name="connsiteY4682" fmla="*/ 3115105 h 6479439"/>
              <a:gd name="connsiteX4683" fmla="*/ 8389799 w 9586368"/>
              <a:gd name="connsiteY4683" fmla="*/ 3124976 h 6479439"/>
              <a:gd name="connsiteX4684" fmla="*/ 8385779 w 9586368"/>
              <a:gd name="connsiteY4684" fmla="*/ 3129015 h 6479439"/>
              <a:gd name="connsiteX4685" fmla="*/ 8375869 w 9586368"/>
              <a:gd name="connsiteY4685" fmla="*/ 3129015 h 6479439"/>
              <a:gd name="connsiteX4686" fmla="*/ 8371850 w 9586368"/>
              <a:gd name="connsiteY4686" fmla="*/ 3124976 h 6479439"/>
              <a:gd name="connsiteX4687" fmla="*/ 8371850 w 9586368"/>
              <a:gd name="connsiteY4687" fmla="*/ 3115105 h 6479439"/>
              <a:gd name="connsiteX4688" fmla="*/ 8136553 w 9586368"/>
              <a:gd name="connsiteY4688" fmla="*/ 3111067 h 6479439"/>
              <a:gd name="connsiteX4689" fmla="*/ 8146464 w 9586368"/>
              <a:gd name="connsiteY4689" fmla="*/ 3111067 h 6479439"/>
              <a:gd name="connsiteX4690" fmla="*/ 8150483 w 9586368"/>
              <a:gd name="connsiteY4690" fmla="*/ 3115105 h 6479439"/>
              <a:gd name="connsiteX4691" fmla="*/ 8150483 w 9586368"/>
              <a:gd name="connsiteY4691" fmla="*/ 3124976 h 6479439"/>
              <a:gd name="connsiteX4692" fmla="*/ 8146464 w 9586368"/>
              <a:gd name="connsiteY4692" fmla="*/ 3129015 h 6479439"/>
              <a:gd name="connsiteX4693" fmla="*/ 8136553 w 9586368"/>
              <a:gd name="connsiteY4693" fmla="*/ 3129015 h 6479439"/>
              <a:gd name="connsiteX4694" fmla="*/ 8132534 w 9586368"/>
              <a:gd name="connsiteY4694" fmla="*/ 3124976 h 6479439"/>
              <a:gd name="connsiteX4695" fmla="*/ 8132534 w 9586368"/>
              <a:gd name="connsiteY4695" fmla="*/ 3115105 h 6479439"/>
              <a:gd name="connsiteX4696" fmla="*/ 7897241 w 9586368"/>
              <a:gd name="connsiteY4696" fmla="*/ 3111067 h 6479439"/>
              <a:gd name="connsiteX4697" fmla="*/ 7907151 w 9586368"/>
              <a:gd name="connsiteY4697" fmla="*/ 3111067 h 6479439"/>
              <a:gd name="connsiteX4698" fmla="*/ 7911170 w 9586368"/>
              <a:gd name="connsiteY4698" fmla="*/ 3115105 h 6479439"/>
              <a:gd name="connsiteX4699" fmla="*/ 7911170 w 9586368"/>
              <a:gd name="connsiteY4699" fmla="*/ 3124976 h 6479439"/>
              <a:gd name="connsiteX4700" fmla="*/ 7907151 w 9586368"/>
              <a:gd name="connsiteY4700" fmla="*/ 3129015 h 6479439"/>
              <a:gd name="connsiteX4701" fmla="*/ 7897241 w 9586368"/>
              <a:gd name="connsiteY4701" fmla="*/ 3129015 h 6479439"/>
              <a:gd name="connsiteX4702" fmla="*/ 7893222 w 9586368"/>
              <a:gd name="connsiteY4702" fmla="*/ 3124976 h 6479439"/>
              <a:gd name="connsiteX4703" fmla="*/ 7893222 w 9586368"/>
              <a:gd name="connsiteY4703" fmla="*/ 3115105 h 6479439"/>
              <a:gd name="connsiteX4704" fmla="*/ 7657926 w 9586368"/>
              <a:gd name="connsiteY4704" fmla="*/ 3111067 h 6479439"/>
              <a:gd name="connsiteX4705" fmla="*/ 7667836 w 9586368"/>
              <a:gd name="connsiteY4705" fmla="*/ 3111067 h 6479439"/>
              <a:gd name="connsiteX4706" fmla="*/ 7671855 w 9586368"/>
              <a:gd name="connsiteY4706" fmla="*/ 3115105 h 6479439"/>
              <a:gd name="connsiteX4707" fmla="*/ 7671855 w 9586368"/>
              <a:gd name="connsiteY4707" fmla="*/ 3124976 h 6479439"/>
              <a:gd name="connsiteX4708" fmla="*/ 7667836 w 9586368"/>
              <a:gd name="connsiteY4708" fmla="*/ 3129015 h 6479439"/>
              <a:gd name="connsiteX4709" fmla="*/ 7657926 w 9586368"/>
              <a:gd name="connsiteY4709" fmla="*/ 3129015 h 6479439"/>
              <a:gd name="connsiteX4710" fmla="*/ 7653906 w 9586368"/>
              <a:gd name="connsiteY4710" fmla="*/ 3124976 h 6479439"/>
              <a:gd name="connsiteX4711" fmla="*/ 7653906 w 9586368"/>
              <a:gd name="connsiteY4711" fmla="*/ 3115105 h 6479439"/>
              <a:gd name="connsiteX4712" fmla="*/ 7418611 w 9586368"/>
              <a:gd name="connsiteY4712" fmla="*/ 3111067 h 6479439"/>
              <a:gd name="connsiteX4713" fmla="*/ 7428521 w 9586368"/>
              <a:gd name="connsiteY4713" fmla="*/ 3111067 h 6479439"/>
              <a:gd name="connsiteX4714" fmla="*/ 7432540 w 9586368"/>
              <a:gd name="connsiteY4714" fmla="*/ 3115105 h 6479439"/>
              <a:gd name="connsiteX4715" fmla="*/ 7432540 w 9586368"/>
              <a:gd name="connsiteY4715" fmla="*/ 3124976 h 6479439"/>
              <a:gd name="connsiteX4716" fmla="*/ 7428521 w 9586368"/>
              <a:gd name="connsiteY4716" fmla="*/ 3129015 h 6479439"/>
              <a:gd name="connsiteX4717" fmla="*/ 7418611 w 9586368"/>
              <a:gd name="connsiteY4717" fmla="*/ 3129015 h 6479439"/>
              <a:gd name="connsiteX4718" fmla="*/ 7414592 w 9586368"/>
              <a:gd name="connsiteY4718" fmla="*/ 3124976 h 6479439"/>
              <a:gd name="connsiteX4719" fmla="*/ 7414592 w 9586368"/>
              <a:gd name="connsiteY4719" fmla="*/ 3115105 h 6479439"/>
              <a:gd name="connsiteX4720" fmla="*/ 7179298 w 9586368"/>
              <a:gd name="connsiteY4720" fmla="*/ 3111067 h 6479439"/>
              <a:gd name="connsiteX4721" fmla="*/ 7189209 w 9586368"/>
              <a:gd name="connsiteY4721" fmla="*/ 3111067 h 6479439"/>
              <a:gd name="connsiteX4722" fmla="*/ 7193228 w 9586368"/>
              <a:gd name="connsiteY4722" fmla="*/ 3115105 h 6479439"/>
              <a:gd name="connsiteX4723" fmla="*/ 7193228 w 9586368"/>
              <a:gd name="connsiteY4723" fmla="*/ 3124976 h 6479439"/>
              <a:gd name="connsiteX4724" fmla="*/ 7189209 w 9586368"/>
              <a:gd name="connsiteY4724" fmla="*/ 3129015 h 6479439"/>
              <a:gd name="connsiteX4725" fmla="*/ 7179298 w 9586368"/>
              <a:gd name="connsiteY4725" fmla="*/ 3129015 h 6479439"/>
              <a:gd name="connsiteX4726" fmla="*/ 7175279 w 9586368"/>
              <a:gd name="connsiteY4726" fmla="*/ 3124976 h 6479439"/>
              <a:gd name="connsiteX4727" fmla="*/ 7175279 w 9586368"/>
              <a:gd name="connsiteY4727" fmla="*/ 3115105 h 6479439"/>
              <a:gd name="connsiteX4728" fmla="*/ 6939983 w 9586368"/>
              <a:gd name="connsiteY4728" fmla="*/ 3111067 h 6479439"/>
              <a:gd name="connsiteX4729" fmla="*/ 6949894 w 9586368"/>
              <a:gd name="connsiteY4729" fmla="*/ 3111067 h 6479439"/>
              <a:gd name="connsiteX4730" fmla="*/ 6953913 w 9586368"/>
              <a:gd name="connsiteY4730" fmla="*/ 3115105 h 6479439"/>
              <a:gd name="connsiteX4731" fmla="*/ 6953913 w 9586368"/>
              <a:gd name="connsiteY4731" fmla="*/ 3124976 h 6479439"/>
              <a:gd name="connsiteX4732" fmla="*/ 6949894 w 9586368"/>
              <a:gd name="connsiteY4732" fmla="*/ 3129015 h 6479439"/>
              <a:gd name="connsiteX4733" fmla="*/ 6939983 w 9586368"/>
              <a:gd name="connsiteY4733" fmla="*/ 3129015 h 6479439"/>
              <a:gd name="connsiteX4734" fmla="*/ 6935964 w 9586368"/>
              <a:gd name="connsiteY4734" fmla="*/ 3124976 h 6479439"/>
              <a:gd name="connsiteX4735" fmla="*/ 6935964 w 9586368"/>
              <a:gd name="connsiteY4735" fmla="*/ 3115105 h 6479439"/>
              <a:gd name="connsiteX4736" fmla="*/ 6700670 w 9586368"/>
              <a:gd name="connsiteY4736" fmla="*/ 3111067 h 6479439"/>
              <a:gd name="connsiteX4737" fmla="*/ 6710581 w 9586368"/>
              <a:gd name="connsiteY4737" fmla="*/ 3111067 h 6479439"/>
              <a:gd name="connsiteX4738" fmla="*/ 6714600 w 9586368"/>
              <a:gd name="connsiteY4738" fmla="*/ 3115105 h 6479439"/>
              <a:gd name="connsiteX4739" fmla="*/ 6714600 w 9586368"/>
              <a:gd name="connsiteY4739" fmla="*/ 3124976 h 6479439"/>
              <a:gd name="connsiteX4740" fmla="*/ 6710581 w 9586368"/>
              <a:gd name="connsiteY4740" fmla="*/ 3129015 h 6479439"/>
              <a:gd name="connsiteX4741" fmla="*/ 6700670 w 9586368"/>
              <a:gd name="connsiteY4741" fmla="*/ 3129015 h 6479439"/>
              <a:gd name="connsiteX4742" fmla="*/ 6696651 w 9586368"/>
              <a:gd name="connsiteY4742" fmla="*/ 3124976 h 6479439"/>
              <a:gd name="connsiteX4743" fmla="*/ 6696651 w 9586368"/>
              <a:gd name="connsiteY4743" fmla="*/ 3115105 h 6479439"/>
              <a:gd name="connsiteX4744" fmla="*/ 6461356 w 9586368"/>
              <a:gd name="connsiteY4744" fmla="*/ 3111067 h 6479439"/>
              <a:gd name="connsiteX4745" fmla="*/ 6471266 w 9586368"/>
              <a:gd name="connsiteY4745" fmla="*/ 3111067 h 6479439"/>
              <a:gd name="connsiteX4746" fmla="*/ 6475285 w 9586368"/>
              <a:gd name="connsiteY4746" fmla="*/ 3115105 h 6479439"/>
              <a:gd name="connsiteX4747" fmla="*/ 6475285 w 9586368"/>
              <a:gd name="connsiteY4747" fmla="*/ 3124976 h 6479439"/>
              <a:gd name="connsiteX4748" fmla="*/ 6471266 w 9586368"/>
              <a:gd name="connsiteY4748" fmla="*/ 3129015 h 6479439"/>
              <a:gd name="connsiteX4749" fmla="*/ 6461356 w 9586368"/>
              <a:gd name="connsiteY4749" fmla="*/ 3129015 h 6479439"/>
              <a:gd name="connsiteX4750" fmla="*/ 6457337 w 9586368"/>
              <a:gd name="connsiteY4750" fmla="*/ 3124976 h 6479439"/>
              <a:gd name="connsiteX4751" fmla="*/ 6457337 w 9586368"/>
              <a:gd name="connsiteY4751" fmla="*/ 3115105 h 6479439"/>
              <a:gd name="connsiteX4752" fmla="*/ 6222042 w 9586368"/>
              <a:gd name="connsiteY4752" fmla="*/ 3111067 h 6479439"/>
              <a:gd name="connsiteX4753" fmla="*/ 6231952 w 9586368"/>
              <a:gd name="connsiteY4753" fmla="*/ 3111067 h 6479439"/>
              <a:gd name="connsiteX4754" fmla="*/ 6235971 w 9586368"/>
              <a:gd name="connsiteY4754" fmla="*/ 3115105 h 6479439"/>
              <a:gd name="connsiteX4755" fmla="*/ 6235971 w 9586368"/>
              <a:gd name="connsiteY4755" fmla="*/ 3124976 h 6479439"/>
              <a:gd name="connsiteX4756" fmla="*/ 6231952 w 9586368"/>
              <a:gd name="connsiteY4756" fmla="*/ 3129015 h 6479439"/>
              <a:gd name="connsiteX4757" fmla="*/ 6222042 w 9586368"/>
              <a:gd name="connsiteY4757" fmla="*/ 3129015 h 6479439"/>
              <a:gd name="connsiteX4758" fmla="*/ 6218023 w 9586368"/>
              <a:gd name="connsiteY4758" fmla="*/ 3124976 h 6479439"/>
              <a:gd name="connsiteX4759" fmla="*/ 6218023 w 9586368"/>
              <a:gd name="connsiteY4759" fmla="*/ 3115105 h 6479439"/>
              <a:gd name="connsiteX4760" fmla="*/ 5982729 w 9586368"/>
              <a:gd name="connsiteY4760" fmla="*/ 3111067 h 6479439"/>
              <a:gd name="connsiteX4761" fmla="*/ 5992639 w 9586368"/>
              <a:gd name="connsiteY4761" fmla="*/ 3111067 h 6479439"/>
              <a:gd name="connsiteX4762" fmla="*/ 5996658 w 9586368"/>
              <a:gd name="connsiteY4762" fmla="*/ 3115105 h 6479439"/>
              <a:gd name="connsiteX4763" fmla="*/ 5996658 w 9586368"/>
              <a:gd name="connsiteY4763" fmla="*/ 3124976 h 6479439"/>
              <a:gd name="connsiteX4764" fmla="*/ 5992639 w 9586368"/>
              <a:gd name="connsiteY4764" fmla="*/ 3129015 h 6479439"/>
              <a:gd name="connsiteX4765" fmla="*/ 5982729 w 9586368"/>
              <a:gd name="connsiteY4765" fmla="*/ 3129015 h 6479439"/>
              <a:gd name="connsiteX4766" fmla="*/ 5978710 w 9586368"/>
              <a:gd name="connsiteY4766" fmla="*/ 3124976 h 6479439"/>
              <a:gd name="connsiteX4767" fmla="*/ 5978710 w 9586368"/>
              <a:gd name="connsiteY4767" fmla="*/ 3115105 h 6479439"/>
              <a:gd name="connsiteX4768" fmla="*/ 5743412 w 9586368"/>
              <a:gd name="connsiteY4768" fmla="*/ 3111067 h 6479439"/>
              <a:gd name="connsiteX4769" fmla="*/ 5753323 w 9586368"/>
              <a:gd name="connsiteY4769" fmla="*/ 3111067 h 6479439"/>
              <a:gd name="connsiteX4770" fmla="*/ 5757342 w 9586368"/>
              <a:gd name="connsiteY4770" fmla="*/ 3115105 h 6479439"/>
              <a:gd name="connsiteX4771" fmla="*/ 5757342 w 9586368"/>
              <a:gd name="connsiteY4771" fmla="*/ 3124976 h 6479439"/>
              <a:gd name="connsiteX4772" fmla="*/ 5753323 w 9586368"/>
              <a:gd name="connsiteY4772" fmla="*/ 3129015 h 6479439"/>
              <a:gd name="connsiteX4773" fmla="*/ 5743412 w 9586368"/>
              <a:gd name="connsiteY4773" fmla="*/ 3129015 h 6479439"/>
              <a:gd name="connsiteX4774" fmla="*/ 5739393 w 9586368"/>
              <a:gd name="connsiteY4774" fmla="*/ 3124976 h 6479439"/>
              <a:gd name="connsiteX4775" fmla="*/ 5739393 w 9586368"/>
              <a:gd name="connsiteY4775" fmla="*/ 3115105 h 6479439"/>
              <a:gd name="connsiteX4776" fmla="*/ 5504099 w 9586368"/>
              <a:gd name="connsiteY4776" fmla="*/ 3111067 h 6479439"/>
              <a:gd name="connsiteX4777" fmla="*/ 5514010 w 9586368"/>
              <a:gd name="connsiteY4777" fmla="*/ 3111067 h 6479439"/>
              <a:gd name="connsiteX4778" fmla="*/ 5518029 w 9586368"/>
              <a:gd name="connsiteY4778" fmla="*/ 3115105 h 6479439"/>
              <a:gd name="connsiteX4779" fmla="*/ 5518029 w 9586368"/>
              <a:gd name="connsiteY4779" fmla="*/ 3124976 h 6479439"/>
              <a:gd name="connsiteX4780" fmla="*/ 5514010 w 9586368"/>
              <a:gd name="connsiteY4780" fmla="*/ 3129015 h 6479439"/>
              <a:gd name="connsiteX4781" fmla="*/ 5504099 w 9586368"/>
              <a:gd name="connsiteY4781" fmla="*/ 3129015 h 6479439"/>
              <a:gd name="connsiteX4782" fmla="*/ 5500080 w 9586368"/>
              <a:gd name="connsiteY4782" fmla="*/ 3124976 h 6479439"/>
              <a:gd name="connsiteX4783" fmla="*/ 5500080 w 9586368"/>
              <a:gd name="connsiteY4783" fmla="*/ 3115105 h 6479439"/>
              <a:gd name="connsiteX4784" fmla="*/ 5264784 w 9586368"/>
              <a:gd name="connsiteY4784" fmla="*/ 3111067 h 6479439"/>
              <a:gd name="connsiteX4785" fmla="*/ 5274694 w 9586368"/>
              <a:gd name="connsiteY4785" fmla="*/ 3111067 h 6479439"/>
              <a:gd name="connsiteX4786" fmla="*/ 5278713 w 9586368"/>
              <a:gd name="connsiteY4786" fmla="*/ 3115105 h 6479439"/>
              <a:gd name="connsiteX4787" fmla="*/ 5278713 w 9586368"/>
              <a:gd name="connsiteY4787" fmla="*/ 3124976 h 6479439"/>
              <a:gd name="connsiteX4788" fmla="*/ 5274694 w 9586368"/>
              <a:gd name="connsiteY4788" fmla="*/ 3129015 h 6479439"/>
              <a:gd name="connsiteX4789" fmla="*/ 5264784 w 9586368"/>
              <a:gd name="connsiteY4789" fmla="*/ 3129015 h 6479439"/>
              <a:gd name="connsiteX4790" fmla="*/ 5260765 w 9586368"/>
              <a:gd name="connsiteY4790" fmla="*/ 3124976 h 6479439"/>
              <a:gd name="connsiteX4791" fmla="*/ 5260765 w 9586368"/>
              <a:gd name="connsiteY4791" fmla="*/ 3115105 h 6479439"/>
              <a:gd name="connsiteX4792" fmla="*/ 5025470 w 9586368"/>
              <a:gd name="connsiteY4792" fmla="*/ 3111067 h 6479439"/>
              <a:gd name="connsiteX4793" fmla="*/ 5035381 w 9586368"/>
              <a:gd name="connsiteY4793" fmla="*/ 3111067 h 6479439"/>
              <a:gd name="connsiteX4794" fmla="*/ 5039400 w 9586368"/>
              <a:gd name="connsiteY4794" fmla="*/ 3115105 h 6479439"/>
              <a:gd name="connsiteX4795" fmla="*/ 5039400 w 9586368"/>
              <a:gd name="connsiteY4795" fmla="*/ 3124976 h 6479439"/>
              <a:gd name="connsiteX4796" fmla="*/ 5035381 w 9586368"/>
              <a:gd name="connsiteY4796" fmla="*/ 3129015 h 6479439"/>
              <a:gd name="connsiteX4797" fmla="*/ 5025470 w 9586368"/>
              <a:gd name="connsiteY4797" fmla="*/ 3129015 h 6479439"/>
              <a:gd name="connsiteX4798" fmla="*/ 5021451 w 9586368"/>
              <a:gd name="connsiteY4798" fmla="*/ 3124976 h 6479439"/>
              <a:gd name="connsiteX4799" fmla="*/ 5021451 w 9586368"/>
              <a:gd name="connsiteY4799" fmla="*/ 3115105 h 6479439"/>
              <a:gd name="connsiteX4800" fmla="*/ 4786241 w 9586368"/>
              <a:gd name="connsiteY4800" fmla="*/ 3111067 h 6479439"/>
              <a:gd name="connsiteX4801" fmla="*/ 4796152 w 9586368"/>
              <a:gd name="connsiteY4801" fmla="*/ 3111067 h 6479439"/>
              <a:gd name="connsiteX4802" fmla="*/ 4800171 w 9586368"/>
              <a:gd name="connsiteY4802" fmla="*/ 3115105 h 6479439"/>
              <a:gd name="connsiteX4803" fmla="*/ 4800171 w 9586368"/>
              <a:gd name="connsiteY4803" fmla="*/ 3124976 h 6479439"/>
              <a:gd name="connsiteX4804" fmla="*/ 4796152 w 9586368"/>
              <a:gd name="connsiteY4804" fmla="*/ 3129015 h 6479439"/>
              <a:gd name="connsiteX4805" fmla="*/ 4786241 w 9586368"/>
              <a:gd name="connsiteY4805" fmla="*/ 3129015 h 6479439"/>
              <a:gd name="connsiteX4806" fmla="*/ 4782224 w 9586368"/>
              <a:gd name="connsiteY4806" fmla="*/ 3124976 h 6479439"/>
              <a:gd name="connsiteX4807" fmla="*/ 4782224 w 9586368"/>
              <a:gd name="connsiteY4807" fmla="*/ 3115105 h 6479439"/>
              <a:gd name="connsiteX4808" fmla="*/ 4546929 w 9586368"/>
              <a:gd name="connsiteY4808" fmla="*/ 3111067 h 6479439"/>
              <a:gd name="connsiteX4809" fmla="*/ 4556840 w 9586368"/>
              <a:gd name="connsiteY4809" fmla="*/ 3111067 h 6479439"/>
              <a:gd name="connsiteX4810" fmla="*/ 4560859 w 9586368"/>
              <a:gd name="connsiteY4810" fmla="*/ 3115105 h 6479439"/>
              <a:gd name="connsiteX4811" fmla="*/ 4560859 w 9586368"/>
              <a:gd name="connsiteY4811" fmla="*/ 3124976 h 6479439"/>
              <a:gd name="connsiteX4812" fmla="*/ 4556840 w 9586368"/>
              <a:gd name="connsiteY4812" fmla="*/ 3129015 h 6479439"/>
              <a:gd name="connsiteX4813" fmla="*/ 4546929 w 9586368"/>
              <a:gd name="connsiteY4813" fmla="*/ 3129015 h 6479439"/>
              <a:gd name="connsiteX4814" fmla="*/ 4542910 w 9586368"/>
              <a:gd name="connsiteY4814" fmla="*/ 3124976 h 6479439"/>
              <a:gd name="connsiteX4815" fmla="*/ 4542910 w 9586368"/>
              <a:gd name="connsiteY4815" fmla="*/ 3115105 h 6479439"/>
              <a:gd name="connsiteX4816" fmla="*/ 4307612 w 9586368"/>
              <a:gd name="connsiteY4816" fmla="*/ 3111067 h 6479439"/>
              <a:gd name="connsiteX4817" fmla="*/ 4317523 w 9586368"/>
              <a:gd name="connsiteY4817" fmla="*/ 3111067 h 6479439"/>
              <a:gd name="connsiteX4818" fmla="*/ 4321543 w 9586368"/>
              <a:gd name="connsiteY4818" fmla="*/ 3115105 h 6479439"/>
              <a:gd name="connsiteX4819" fmla="*/ 4321543 w 9586368"/>
              <a:gd name="connsiteY4819" fmla="*/ 3124976 h 6479439"/>
              <a:gd name="connsiteX4820" fmla="*/ 4317523 w 9586368"/>
              <a:gd name="connsiteY4820" fmla="*/ 3129015 h 6479439"/>
              <a:gd name="connsiteX4821" fmla="*/ 4307612 w 9586368"/>
              <a:gd name="connsiteY4821" fmla="*/ 3129015 h 6479439"/>
              <a:gd name="connsiteX4822" fmla="*/ 4303595 w 9586368"/>
              <a:gd name="connsiteY4822" fmla="*/ 3124976 h 6479439"/>
              <a:gd name="connsiteX4823" fmla="*/ 4303595 w 9586368"/>
              <a:gd name="connsiteY4823" fmla="*/ 3115105 h 6479439"/>
              <a:gd name="connsiteX4824" fmla="*/ 4068297 w 9586368"/>
              <a:gd name="connsiteY4824" fmla="*/ 3111067 h 6479439"/>
              <a:gd name="connsiteX4825" fmla="*/ 4078210 w 9586368"/>
              <a:gd name="connsiteY4825" fmla="*/ 3111067 h 6479439"/>
              <a:gd name="connsiteX4826" fmla="*/ 4082229 w 9586368"/>
              <a:gd name="connsiteY4826" fmla="*/ 3115105 h 6479439"/>
              <a:gd name="connsiteX4827" fmla="*/ 4082229 w 9586368"/>
              <a:gd name="connsiteY4827" fmla="*/ 3124976 h 6479439"/>
              <a:gd name="connsiteX4828" fmla="*/ 4078210 w 9586368"/>
              <a:gd name="connsiteY4828" fmla="*/ 3129015 h 6479439"/>
              <a:gd name="connsiteX4829" fmla="*/ 4068297 w 9586368"/>
              <a:gd name="connsiteY4829" fmla="*/ 3129015 h 6479439"/>
              <a:gd name="connsiteX4830" fmla="*/ 4064278 w 9586368"/>
              <a:gd name="connsiteY4830" fmla="*/ 3124976 h 6479439"/>
              <a:gd name="connsiteX4831" fmla="*/ 4064278 w 9586368"/>
              <a:gd name="connsiteY4831" fmla="*/ 3115105 h 6479439"/>
              <a:gd name="connsiteX4832" fmla="*/ 3828990 w 9586368"/>
              <a:gd name="connsiteY4832" fmla="*/ 3111067 h 6479439"/>
              <a:gd name="connsiteX4833" fmla="*/ 3838899 w 9586368"/>
              <a:gd name="connsiteY4833" fmla="*/ 3111067 h 6479439"/>
              <a:gd name="connsiteX4834" fmla="*/ 3842917 w 9586368"/>
              <a:gd name="connsiteY4834" fmla="*/ 3115105 h 6479439"/>
              <a:gd name="connsiteX4835" fmla="*/ 3842917 w 9586368"/>
              <a:gd name="connsiteY4835" fmla="*/ 3124976 h 6479439"/>
              <a:gd name="connsiteX4836" fmla="*/ 3838899 w 9586368"/>
              <a:gd name="connsiteY4836" fmla="*/ 3129015 h 6479439"/>
              <a:gd name="connsiteX4837" fmla="*/ 3828990 w 9586368"/>
              <a:gd name="connsiteY4837" fmla="*/ 3129015 h 6479439"/>
              <a:gd name="connsiteX4838" fmla="*/ 3824971 w 9586368"/>
              <a:gd name="connsiteY4838" fmla="*/ 3124976 h 6479439"/>
              <a:gd name="connsiteX4839" fmla="*/ 3824971 w 9586368"/>
              <a:gd name="connsiteY4839" fmla="*/ 3115105 h 6479439"/>
              <a:gd name="connsiteX4840" fmla="*/ 3589676 w 9586368"/>
              <a:gd name="connsiteY4840" fmla="*/ 3111067 h 6479439"/>
              <a:gd name="connsiteX4841" fmla="*/ 3599585 w 9586368"/>
              <a:gd name="connsiteY4841" fmla="*/ 3111067 h 6479439"/>
              <a:gd name="connsiteX4842" fmla="*/ 3603604 w 9586368"/>
              <a:gd name="connsiteY4842" fmla="*/ 3115105 h 6479439"/>
              <a:gd name="connsiteX4843" fmla="*/ 3603604 w 9586368"/>
              <a:gd name="connsiteY4843" fmla="*/ 3124976 h 6479439"/>
              <a:gd name="connsiteX4844" fmla="*/ 3599585 w 9586368"/>
              <a:gd name="connsiteY4844" fmla="*/ 3129015 h 6479439"/>
              <a:gd name="connsiteX4845" fmla="*/ 3589676 w 9586368"/>
              <a:gd name="connsiteY4845" fmla="*/ 3129015 h 6479439"/>
              <a:gd name="connsiteX4846" fmla="*/ 3585657 w 9586368"/>
              <a:gd name="connsiteY4846" fmla="*/ 3124976 h 6479439"/>
              <a:gd name="connsiteX4847" fmla="*/ 3585657 w 9586368"/>
              <a:gd name="connsiteY4847" fmla="*/ 3115105 h 6479439"/>
              <a:gd name="connsiteX4848" fmla="*/ 3350359 w 9586368"/>
              <a:gd name="connsiteY4848" fmla="*/ 3111067 h 6479439"/>
              <a:gd name="connsiteX4849" fmla="*/ 3360268 w 9586368"/>
              <a:gd name="connsiteY4849" fmla="*/ 3111067 h 6479439"/>
              <a:gd name="connsiteX4850" fmla="*/ 3364287 w 9586368"/>
              <a:gd name="connsiteY4850" fmla="*/ 3115105 h 6479439"/>
              <a:gd name="connsiteX4851" fmla="*/ 3364287 w 9586368"/>
              <a:gd name="connsiteY4851" fmla="*/ 3124976 h 6479439"/>
              <a:gd name="connsiteX4852" fmla="*/ 3360268 w 9586368"/>
              <a:gd name="connsiteY4852" fmla="*/ 3129015 h 6479439"/>
              <a:gd name="connsiteX4853" fmla="*/ 3350359 w 9586368"/>
              <a:gd name="connsiteY4853" fmla="*/ 3129015 h 6479439"/>
              <a:gd name="connsiteX4854" fmla="*/ 3346340 w 9586368"/>
              <a:gd name="connsiteY4854" fmla="*/ 3124976 h 6479439"/>
              <a:gd name="connsiteX4855" fmla="*/ 3346340 w 9586368"/>
              <a:gd name="connsiteY4855" fmla="*/ 3115105 h 6479439"/>
              <a:gd name="connsiteX4856" fmla="*/ 3111048 w 9586368"/>
              <a:gd name="connsiteY4856" fmla="*/ 3111067 h 6479439"/>
              <a:gd name="connsiteX4857" fmla="*/ 3120959 w 9586368"/>
              <a:gd name="connsiteY4857" fmla="*/ 3111067 h 6479439"/>
              <a:gd name="connsiteX4858" fmla="*/ 3124977 w 9586368"/>
              <a:gd name="connsiteY4858" fmla="*/ 3115105 h 6479439"/>
              <a:gd name="connsiteX4859" fmla="*/ 3124977 w 9586368"/>
              <a:gd name="connsiteY4859" fmla="*/ 3124976 h 6479439"/>
              <a:gd name="connsiteX4860" fmla="*/ 3120959 w 9586368"/>
              <a:gd name="connsiteY4860" fmla="*/ 3129015 h 6479439"/>
              <a:gd name="connsiteX4861" fmla="*/ 3111048 w 9586368"/>
              <a:gd name="connsiteY4861" fmla="*/ 3129015 h 6479439"/>
              <a:gd name="connsiteX4862" fmla="*/ 3107029 w 9586368"/>
              <a:gd name="connsiteY4862" fmla="*/ 3124976 h 6479439"/>
              <a:gd name="connsiteX4863" fmla="*/ 3107029 w 9586368"/>
              <a:gd name="connsiteY4863" fmla="*/ 3115105 h 6479439"/>
              <a:gd name="connsiteX4864" fmla="*/ 2871737 w 9586368"/>
              <a:gd name="connsiteY4864" fmla="*/ 3111067 h 6479439"/>
              <a:gd name="connsiteX4865" fmla="*/ 2881646 w 9586368"/>
              <a:gd name="connsiteY4865" fmla="*/ 3111067 h 6479439"/>
              <a:gd name="connsiteX4866" fmla="*/ 2885666 w 9586368"/>
              <a:gd name="connsiteY4866" fmla="*/ 3115105 h 6479439"/>
              <a:gd name="connsiteX4867" fmla="*/ 2885666 w 9586368"/>
              <a:gd name="connsiteY4867" fmla="*/ 3124976 h 6479439"/>
              <a:gd name="connsiteX4868" fmla="*/ 2881646 w 9586368"/>
              <a:gd name="connsiteY4868" fmla="*/ 3129015 h 6479439"/>
              <a:gd name="connsiteX4869" fmla="*/ 2871737 w 9586368"/>
              <a:gd name="connsiteY4869" fmla="*/ 3129015 h 6479439"/>
              <a:gd name="connsiteX4870" fmla="*/ 2867717 w 9586368"/>
              <a:gd name="connsiteY4870" fmla="*/ 3124976 h 6479439"/>
              <a:gd name="connsiteX4871" fmla="*/ 2867717 w 9586368"/>
              <a:gd name="connsiteY4871" fmla="*/ 3115105 h 6479439"/>
              <a:gd name="connsiteX4872" fmla="*/ 2632423 w 9586368"/>
              <a:gd name="connsiteY4872" fmla="*/ 3111067 h 6479439"/>
              <a:gd name="connsiteX4873" fmla="*/ 2642334 w 9586368"/>
              <a:gd name="connsiteY4873" fmla="*/ 3111067 h 6479439"/>
              <a:gd name="connsiteX4874" fmla="*/ 2646352 w 9586368"/>
              <a:gd name="connsiteY4874" fmla="*/ 3115105 h 6479439"/>
              <a:gd name="connsiteX4875" fmla="*/ 2646352 w 9586368"/>
              <a:gd name="connsiteY4875" fmla="*/ 3124976 h 6479439"/>
              <a:gd name="connsiteX4876" fmla="*/ 2642334 w 9586368"/>
              <a:gd name="connsiteY4876" fmla="*/ 3129015 h 6479439"/>
              <a:gd name="connsiteX4877" fmla="*/ 2632423 w 9586368"/>
              <a:gd name="connsiteY4877" fmla="*/ 3129015 h 6479439"/>
              <a:gd name="connsiteX4878" fmla="*/ 2628404 w 9586368"/>
              <a:gd name="connsiteY4878" fmla="*/ 3124976 h 6479439"/>
              <a:gd name="connsiteX4879" fmla="*/ 2628404 w 9586368"/>
              <a:gd name="connsiteY4879" fmla="*/ 3115105 h 6479439"/>
              <a:gd name="connsiteX4880" fmla="*/ 2393104 w 9586368"/>
              <a:gd name="connsiteY4880" fmla="*/ 3111067 h 6479439"/>
              <a:gd name="connsiteX4881" fmla="*/ 2403015 w 9586368"/>
              <a:gd name="connsiteY4881" fmla="*/ 3111067 h 6479439"/>
              <a:gd name="connsiteX4882" fmla="*/ 2407034 w 9586368"/>
              <a:gd name="connsiteY4882" fmla="*/ 3115105 h 6479439"/>
              <a:gd name="connsiteX4883" fmla="*/ 2407034 w 9586368"/>
              <a:gd name="connsiteY4883" fmla="*/ 3124976 h 6479439"/>
              <a:gd name="connsiteX4884" fmla="*/ 2403015 w 9586368"/>
              <a:gd name="connsiteY4884" fmla="*/ 3129015 h 6479439"/>
              <a:gd name="connsiteX4885" fmla="*/ 2393104 w 9586368"/>
              <a:gd name="connsiteY4885" fmla="*/ 3129015 h 6479439"/>
              <a:gd name="connsiteX4886" fmla="*/ 2389087 w 9586368"/>
              <a:gd name="connsiteY4886" fmla="*/ 3124976 h 6479439"/>
              <a:gd name="connsiteX4887" fmla="*/ 2389087 w 9586368"/>
              <a:gd name="connsiteY4887" fmla="*/ 3115105 h 6479439"/>
              <a:gd name="connsiteX4888" fmla="*/ 721968 w 9586368"/>
              <a:gd name="connsiteY4888" fmla="*/ 3111067 h 6479439"/>
              <a:gd name="connsiteX4889" fmla="*/ 731878 w 9586368"/>
              <a:gd name="connsiteY4889" fmla="*/ 3111067 h 6479439"/>
              <a:gd name="connsiteX4890" fmla="*/ 735897 w 9586368"/>
              <a:gd name="connsiteY4890" fmla="*/ 3115105 h 6479439"/>
              <a:gd name="connsiteX4891" fmla="*/ 735897 w 9586368"/>
              <a:gd name="connsiteY4891" fmla="*/ 3124976 h 6479439"/>
              <a:gd name="connsiteX4892" fmla="*/ 731878 w 9586368"/>
              <a:gd name="connsiteY4892" fmla="*/ 3129015 h 6479439"/>
              <a:gd name="connsiteX4893" fmla="*/ 721968 w 9586368"/>
              <a:gd name="connsiteY4893" fmla="*/ 3129015 h 6479439"/>
              <a:gd name="connsiteX4894" fmla="*/ 717949 w 9586368"/>
              <a:gd name="connsiteY4894" fmla="*/ 3124976 h 6479439"/>
              <a:gd name="connsiteX4895" fmla="*/ 717949 w 9586368"/>
              <a:gd name="connsiteY4895" fmla="*/ 3115105 h 6479439"/>
              <a:gd name="connsiteX4896" fmla="*/ 482656 w 9586368"/>
              <a:gd name="connsiteY4896" fmla="*/ 3111067 h 6479439"/>
              <a:gd name="connsiteX4897" fmla="*/ 492566 w 9586368"/>
              <a:gd name="connsiteY4897" fmla="*/ 3111067 h 6479439"/>
              <a:gd name="connsiteX4898" fmla="*/ 496585 w 9586368"/>
              <a:gd name="connsiteY4898" fmla="*/ 3115105 h 6479439"/>
              <a:gd name="connsiteX4899" fmla="*/ 496585 w 9586368"/>
              <a:gd name="connsiteY4899" fmla="*/ 3124976 h 6479439"/>
              <a:gd name="connsiteX4900" fmla="*/ 492566 w 9586368"/>
              <a:gd name="connsiteY4900" fmla="*/ 3129015 h 6479439"/>
              <a:gd name="connsiteX4901" fmla="*/ 482656 w 9586368"/>
              <a:gd name="connsiteY4901" fmla="*/ 3129015 h 6479439"/>
              <a:gd name="connsiteX4902" fmla="*/ 478637 w 9586368"/>
              <a:gd name="connsiteY4902" fmla="*/ 3124976 h 6479439"/>
              <a:gd name="connsiteX4903" fmla="*/ 478637 w 9586368"/>
              <a:gd name="connsiteY4903" fmla="*/ 3115105 h 6479439"/>
              <a:gd name="connsiteX4904" fmla="*/ 243342 w 9586368"/>
              <a:gd name="connsiteY4904" fmla="*/ 3111067 h 6479439"/>
              <a:gd name="connsiteX4905" fmla="*/ 253252 w 9586368"/>
              <a:gd name="connsiteY4905" fmla="*/ 3111067 h 6479439"/>
              <a:gd name="connsiteX4906" fmla="*/ 257271 w 9586368"/>
              <a:gd name="connsiteY4906" fmla="*/ 3115105 h 6479439"/>
              <a:gd name="connsiteX4907" fmla="*/ 257271 w 9586368"/>
              <a:gd name="connsiteY4907" fmla="*/ 3124976 h 6479439"/>
              <a:gd name="connsiteX4908" fmla="*/ 253252 w 9586368"/>
              <a:gd name="connsiteY4908" fmla="*/ 3129015 h 6479439"/>
              <a:gd name="connsiteX4909" fmla="*/ 243342 w 9586368"/>
              <a:gd name="connsiteY4909" fmla="*/ 3129015 h 6479439"/>
              <a:gd name="connsiteX4910" fmla="*/ 239323 w 9586368"/>
              <a:gd name="connsiteY4910" fmla="*/ 3124976 h 6479439"/>
              <a:gd name="connsiteX4911" fmla="*/ 239323 w 9586368"/>
              <a:gd name="connsiteY4911" fmla="*/ 3115105 h 6479439"/>
              <a:gd name="connsiteX4912" fmla="*/ 4029 w 9586368"/>
              <a:gd name="connsiteY4912" fmla="*/ 3111067 h 6479439"/>
              <a:gd name="connsiteX4913" fmla="*/ 13939 w 9586368"/>
              <a:gd name="connsiteY4913" fmla="*/ 3111067 h 6479439"/>
              <a:gd name="connsiteX4914" fmla="*/ 17959 w 9586368"/>
              <a:gd name="connsiteY4914" fmla="*/ 3115105 h 6479439"/>
              <a:gd name="connsiteX4915" fmla="*/ 17959 w 9586368"/>
              <a:gd name="connsiteY4915" fmla="*/ 3124976 h 6479439"/>
              <a:gd name="connsiteX4916" fmla="*/ 13939 w 9586368"/>
              <a:gd name="connsiteY4916" fmla="*/ 3129015 h 6479439"/>
              <a:gd name="connsiteX4917" fmla="*/ 4029 w 9586368"/>
              <a:gd name="connsiteY4917" fmla="*/ 3129015 h 6479439"/>
              <a:gd name="connsiteX4918" fmla="*/ 10 w 9586368"/>
              <a:gd name="connsiteY4918" fmla="*/ 3124976 h 6479439"/>
              <a:gd name="connsiteX4919" fmla="*/ 10 w 9586368"/>
              <a:gd name="connsiteY4919" fmla="*/ 3115105 h 6479439"/>
              <a:gd name="connsiteX4920" fmla="*/ 2157820 w 9586368"/>
              <a:gd name="connsiteY4920" fmla="*/ 2871788 h 6479439"/>
              <a:gd name="connsiteX4921" fmla="*/ 2167732 w 9586368"/>
              <a:gd name="connsiteY4921" fmla="*/ 2871788 h 6479439"/>
              <a:gd name="connsiteX4922" fmla="*/ 2171750 w 9586368"/>
              <a:gd name="connsiteY4922" fmla="*/ 2875826 h 6479439"/>
              <a:gd name="connsiteX4923" fmla="*/ 2171750 w 9586368"/>
              <a:gd name="connsiteY4923" fmla="*/ 2885696 h 6479439"/>
              <a:gd name="connsiteX4924" fmla="*/ 2167732 w 9586368"/>
              <a:gd name="connsiteY4924" fmla="*/ 2889735 h 6479439"/>
              <a:gd name="connsiteX4925" fmla="*/ 2157820 w 9586368"/>
              <a:gd name="connsiteY4925" fmla="*/ 2889735 h 6479439"/>
              <a:gd name="connsiteX4926" fmla="*/ 2153802 w 9586368"/>
              <a:gd name="connsiteY4926" fmla="*/ 2885696 h 6479439"/>
              <a:gd name="connsiteX4927" fmla="*/ 2153802 w 9586368"/>
              <a:gd name="connsiteY4927" fmla="*/ 2875826 h 6479439"/>
              <a:gd name="connsiteX4928" fmla="*/ 1918513 w 9586368"/>
              <a:gd name="connsiteY4928" fmla="*/ 2871788 h 6479439"/>
              <a:gd name="connsiteX4929" fmla="*/ 1928422 w 9586368"/>
              <a:gd name="connsiteY4929" fmla="*/ 2871788 h 6479439"/>
              <a:gd name="connsiteX4930" fmla="*/ 1932441 w 9586368"/>
              <a:gd name="connsiteY4930" fmla="*/ 2875826 h 6479439"/>
              <a:gd name="connsiteX4931" fmla="*/ 1932441 w 9586368"/>
              <a:gd name="connsiteY4931" fmla="*/ 2885696 h 6479439"/>
              <a:gd name="connsiteX4932" fmla="*/ 1928422 w 9586368"/>
              <a:gd name="connsiteY4932" fmla="*/ 2889735 h 6479439"/>
              <a:gd name="connsiteX4933" fmla="*/ 1918513 w 9586368"/>
              <a:gd name="connsiteY4933" fmla="*/ 2889735 h 6479439"/>
              <a:gd name="connsiteX4934" fmla="*/ 1914493 w 9586368"/>
              <a:gd name="connsiteY4934" fmla="*/ 2885696 h 6479439"/>
              <a:gd name="connsiteX4935" fmla="*/ 1914493 w 9586368"/>
              <a:gd name="connsiteY4935" fmla="*/ 2875826 h 6479439"/>
              <a:gd name="connsiteX4936" fmla="*/ 1679211 w 9586368"/>
              <a:gd name="connsiteY4936" fmla="*/ 2871788 h 6479439"/>
              <a:gd name="connsiteX4937" fmla="*/ 1689121 w 9586368"/>
              <a:gd name="connsiteY4937" fmla="*/ 2871788 h 6479439"/>
              <a:gd name="connsiteX4938" fmla="*/ 1693141 w 9586368"/>
              <a:gd name="connsiteY4938" fmla="*/ 2875826 h 6479439"/>
              <a:gd name="connsiteX4939" fmla="*/ 1693141 w 9586368"/>
              <a:gd name="connsiteY4939" fmla="*/ 2885696 h 6479439"/>
              <a:gd name="connsiteX4940" fmla="*/ 1689121 w 9586368"/>
              <a:gd name="connsiteY4940" fmla="*/ 2889735 h 6479439"/>
              <a:gd name="connsiteX4941" fmla="*/ 1679211 w 9586368"/>
              <a:gd name="connsiteY4941" fmla="*/ 2889735 h 6479439"/>
              <a:gd name="connsiteX4942" fmla="*/ 1675193 w 9586368"/>
              <a:gd name="connsiteY4942" fmla="*/ 2885696 h 6479439"/>
              <a:gd name="connsiteX4943" fmla="*/ 1675193 w 9586368"/>
              <a:gd name="connsiteY4943" fmla="*/ 2875826 h 6479439"/>
              <a:gd name="connsiteX4944" fmla="*/ 1439895 w 9586368"/>
              <a:gd name="connsiteY4944" fmla="*/ 2871788 h 6479439"/>
              <a:gd name="connsiteX4945" fmla="*/ 1449805 w 9586368"/>
              <a:gd name="connsiteY4945" fmla="*/ 2871788 h 6479439"/>
              <a:gd name="connsiteX4946" fmla="*/ 1453824 w 9586368"/>
              <a:gd name="connsiteY4946" fmla="*/ 2875826 h 6479439"/>
              <a:gd name="connsiteX4947" fmla="*/ 1453824 w 9586368"/>
              <a:gd name="connsiteY4947" fmla="*/ 2885696 h 6479439"/>
              <a:gd name="connsiteX4948" fmla="*/ 1449805 w 9586368"/>
              <a:gd name="connsiteY4948" fmla="*/ 2889735 h 6479439"/>
              <a:gd name="connsiteX4949" fmla="*/ 1439895 w 9586368"/>
              <a:gd name="connsiteY4949" fmla="*/ 2889735 h 6479439"/>
              <a:gd name="connsiteX4950" fmla="*/ 1435876 w 9586368"/>
              <a:gd name="connsiteY4950" fmla="*/ 2885696 h 6479439"/>
              <a:gd name="connsiteX4951" fmla="*/ 1435876 w 9586368"/>
              <a:gd name="connsiteY4951" fmla="*/ 2875826 h 6479439"/>
              <a:gd name="connsiteX4952" fmla="*/ 1200579 w 9586368"/>
              <a:gd name="connsiteY4952" fmla="*/ 2871788 h 6479439"/>
              <a:gd name="connsiteX4953" fmla="*/ 1210489 w 9586368"/>
              <a:gd name="connsiteY4953" fmla="*/ 2871788 h 6479439"/>
              <a:gd name="connsiteX4954" fmla="*/ 1214509 w 9586368"/>
              <a:gd name="connsiteY4954" fmla="*/ 2875826 h 6479439"/>
              <a:gd name="connsiteX4955" fmla="*/ 1214509 w 9586368"/>
              <a:gd name="connsiteY4955" fmla="*/ 2885696 h 6479439"/>
              <a:gd name="connsiteX4956" fmla="*/ 1210489 w 9586368"/>
              <a:gd name="connsiteY4956" fmla="*/ 2889735 h 6479439"/>
              <a:gd name="connsiteX4957" fmla="*/ 1200579 w 9586368"/>
              <a:gd name="connsiteY4957" fmla="*/ 2889735 h 6479439"/>
              <a:gd name="connsiteX4958" fmla="*/ 1196560 w 9586368"/>
              <a:gd name="connsiteY4958" fmla="*/ 2885696 h 6479439"/>
              <a:gd name="connsiteX4959" fmla="*/ 1196560 w 9586368"/>
              <a:gd name="connsiteY4959" fmla="*/ 2875826 h 6479439"/>
              <a:gd name="connsiteX4960" fmla="*/ 961267 w 9586368"/>
              <a:gd name="connsiteY4960" fmla="*/ 2871788 h 6479439"/>
              <a:gd name="connsiteX4961" fmla="*/ 971177 w 9586368"/>
              <a:gd name="connsiteY4961" fmla="*/ 2871788 h 6479439"/>
              <a:gd name="connsiteX4962" fmla="*/ 975195 w 9586368"/>
              <a:gd name="connsiteY4962" fmla="*/ 2875826 h 6479439"/>
              <a:gd name="connsiteX4963" fmla="*/ 975195 w 9586368"/>
              <a:gd name="connsiteY4963" fmla="*/ 2885696 h 6479439"/>
              <a:gd name="connsiteX4964" fmla="*/ 971177 w 9586368"/>
              <a:gd name="connsiteY4964" fmla="*/ 2889735 h 6479439"/>
              <a:gd name="connsiteX4965" fmla="*/ 961267 w 9586368"/>
              <a:gd name="connsiteY4965" fmla="*/ 2889735 h 6479439"/>
              <a:gd name="connsiteX4966" fmla="*/ 957247 w 9586368"/>
              <a:gd name="connsiteY4966" fmla="*/ 2885696 h 6479439"/>
              <a:gd name="connsiteX4967" fmla="*/ 957247 w 9586368"/>
              <a:gd name="connsiteY4967" fmla="*/ 2875826 h 6479439"/>
              <a:gd name="connsiteX4968" fmla="*/ 9572438 w 9586368"/>
              <a:gd name="connsiteY4968" fmla="*/ 2871736 h 6479439"/>
              <a:gd name="connsiteX4969" fmla="*/ 9582349 w 9586368"/>
              <a:gd name="connsiteY4969" fmla="*/ 2871736 h 6479439"/>
              <a:gd name="connsiteX4970" fmla="*/ 9586368 w 9586368"/>
              <a:gd name="connsiteY4970" fmla="*/ 2875775 h 6479439"/>
              <a:gd name="connsiteX4971" fmla="*/ 9586368 w 9586368"/>
              <a:gd name="connsiteY4971" fmla="*/ 2885645 h 6479439"/>
              <a:gd name="connsiteX4972" fmla="*/ 9582349 w 9586368"/>
              <a:gd name="connsiteY4972" fmla="*/ 2889684 h 6479439"/>
              <a:gd name="connsiteX4973" fmla="*/ 9572438 w 9586368"/>
              <a:gd name="connsiteY4973" fmla="*/ 2889684 h 6479439"/>
              <a:gd name="connsiteX4974" fmla="*/ 9568419 w 9586368"/>
              <a:gd name="connsiteY4974" fmla="*/ 2885645 h 6479439"/>
              <a:gd name="connsiteX4975" fmla="*/ 9568419 w 9586368"/>
              <a:gd name="connsiteY4975" fmla="*/ 2875775 h 6479439"/>
              <a:gd name="connsiteX4976" fmla="*/ 9333125 w 9586368"/>
              <a:gd name="connsiteY4976" fmla="*/ 2871736 h 6479439"/>
              <a:gd name="connsiteX4977" fmla="*/ 9343036 w 9586368"/>
              <a:gd name="connsiteY4977" fmla="*/ 2871736 h 6479439"/>
              <a:gd name="connsiteX4978" fmla="*/ 9347055 w 9586368"/>
              <a:gd name="connsiteY4978" fmla="*/ 2875775 h 6479439"/>
              <a:gd name="connsiteX4979" fmla="*/ 9347055 w 9586368"/>
              <a:gd name="connsiteY4979" fmla="*/ 2885645 h 6479439"/>
              <a:gd name="connsiteX4980" fmla="*/ 9343036 w 9586368"/>
              <a:gd name="connsiteY4980" fmla="*/ 2889684 h 6479439"/>
              <a:gd name="connsiteX4981" fmla="*/ 9333125 w 9586368"/>
              <a:gd name="connsiteY4981" fmla="*/ 2889684 h 6479439"/>
              <a:gd name="connsiteX4982" fmla="*/ 9329106 w 9586368"/>
              <a:gd name="connsiteY4982" fmla="*/ 2885645 h 6479439"/>
              <a:gd name="connsiteX4983" fmla="*/ 9329106 w 9586368"/>
              <a:gd name="connsiteY4983" fmla="*/ 2875775 h 6479439"/>
              <a:gd name="connsiteX4984" fmla="*/ 9093811 w 9586368"/>
              <a:gd name="connsiteY4984" fmla="*/ 2871736 h 6479439"/>
              <a:gd name="connsiteX4985" fmla="*/ 9103722 w 9586368"/>
              <a:gd name="connsiteY4985" fmla="*/ 2871736 h 6479439"/>
              <a:gd name="connsiteX4986" fmla="*/ 9107741 w 9586368"/>
              <a:gd name="connsiteY4986" fmla="*/ 2875775 h 6479439"/>
              <a:gd name="connsiteX4987" fmla="*/ 9107741 w 9586368"/>
              <a:gd name="connsiteY4987" fmla="*/ 2885645 h 6479439"/>
              <a:gd name="connsiteX4988" fmla="*/ 9103722 w 9586368"/>
              <a:gd name="connsiteY4988" fmla="*/ 2889684 h 6479439"/>
              <a:gd name="connsiteX4989" fmla="*/ 9093811 w 9586368"/>
              <a:gd name="connsiteY4989" fmla="*/ 2889684 h 6479439"/>
              <a:gd name="connsiteX4990" fmla="*/ 9089792 w 9586368"/>
              <a:gd name="connsiteY4990" fmla="*/ 2885645 h 6479439"/>
              <a:gd name="connsiteX4991" fmla="*/ 9089792 w 9586368"/>
              <a:gd name="connsiteY4991" fmla="*/ 2875775 h 6479439"/>
              <a:gd name="connsiteX4992" fmla="*/ 8854496 w 9586368"/>
              <a:gd name="connsiteY4992" fmla="*/ 2871736 h 6479439"/>
              <a:gd name="connsiteX4993" fmla="*/ 8864407 w 9586368"/>
              <a:gd name="connsiteY4993" fmla="*/ 2871736 h 6479439"/>
              <a:gd name="connsiteX4994" fmla="*/ 8868426 w 9586368"/>
              <a:gd name="connsiteY4994" fmla="*/ 2875775 h 6479439"/>
              <a:gd name="connsiteX4995" fmla="*/ 8868426 w 9586368"/>
              <a:gd name="connsiteY4995" fmla="*/ 2885645 h 6479439"/>
              <a:gd name="connsiteX4996" fmla="*/ 8864407 w 9586368"/>
              <a:gd name="connsiteY4996" fmla="*/ 2889684 h 6479439"/>
              <a:gd name="connsiteX4997" fmla="*/ 8854496 w 9586368"/>
              <a:gd name="connsiteY4997" fmla="*/ 2889684 h 6479439"/>
              <a:gd name="connsiteX4998" fmla="*/ 8850477 w 9586368"/>
              <a:gd name="connsiteY4998" fmla="*/ 2885645 h 6479439"/>
              <a:gd name="connsiteX4999" fmla="*/ 8850477 w 9586368"/>
              <a:gd name="connsiteY4999" fmla="*/ 2875775 h 6479439"/>
              <a:gd name="connsiteX5000" fmla="*/ 8615184 w 9586368"/>
              <a:gd name="connsiteY5000" fmla="*/ 2871736 h 6479439"/>
              <a:gd name="connsiteX5001" fmla="*/ 8625095 w 9586368"/>
              <a:gd name="connsiteY5001" fmla="*/ 2871736 h 6479439"/>
              <a:gd name="connsiteX5002" fmla="*/ 8629114 w 9586368"/>
              <a:gd name="connsiteY5002" fmla="*/ 2875775 h 6479439"/>
              <a:gd name="connsiteX5003" fmla="*/ 8629114 w 9586368"/>
              <a:gd name="connsiteY5003" fmla="*/ 2885645 h 6479439"/>
              <a:gd name="connsiteX5004" fmla="*/ 8625095 w 9586368"/>
              <a:gd name="connsiteY5004" fmla="*/ 2889684 h 6479439"/>
              <a:gd name="connsiteX5005" fmla="*/ 8615184 w 9586368"/>
              <a:gd name="connsiteY5005" fmla="*/ 2889684 h 6479439"/>
              <a:gd name="connsiteX5006" fmla="*/ 8611165 w 9586368"/>
              <a:gd name="connsiteY5006" fmla="*/ 2885645 h 6479439"/>
              <a:gd name="connsiteX5007" fmla="*/ 8611165 w 9586368"/>
              <a:gd name="connsiteY5007" fmla="*/ 2875775 h 6479439"/>
              <a:gd name="connsiteX5008" fmla="*/ 8375869 w 9586368"/>
              <a:gd name="connsiteY5008" fmla="*/ 2871736 h 6479439"/>
              <a:gd name="connsiteX5009" fmla="*/ 8385779 w 9586368"/>
              <a:gd name="connsiteY5009" fmla="*/ 2871736 h 6479439"/>
              <a:gd name="connsiteX5010" fmla="*/ 8389799 w 9586368"/>
              <a:gd name="connsiteY5010" fmla="*/ 2875775 h 6479439"/>
              <a:gd name="connsiteX5011" fmla="*/ 8389799 w 9586368"/>
              <a:gd name="connsiteY5011" fmla="*/ 2885645 h 6479439"/>
              <a:gd name="connsiteX5012" fmla="*/ 8385779 w 9586368"/>
              <a:gd name="connsiteY5012" fmla="*/ 2889684 h 6479439"/>
              <a:gd name="connsiteX5013" fmla="*/ 8375869 w 9586368"/>
              <a:gd name="connsiteY5013" fmla="*/ 2889684 h 6479439"/>
              <a:gd name="connsiteX5014" fmla="*/ 8371850 w 9586368"/>
              <a:gd name="connsiteY5014" fmla="*/ 2885645 h 6479439"/>
              <a:gd name="connsiteX5015" fmla="*/ 8371850 w 9586368"/>
              <a:gd name="connsiteY5015" fmla="*/ 2875775 h 6479439"/>
              <a:gd name="connsiteX5016" fmla="*/ 8136553 w 9586368"/>
              <a:gd name="connsiteY5016" fmla="*/ 2871736 h 6479439"/>
              <a:gd name="connsiteX5017" fmla="*/ 8146464 w 9586368"/>
              <a:gd name="connsiteY5017" fmla="*/ 2871736 h 6479439"/>
              <a:gd name="connsiteX5018" fmla="*/ 8150483 w 9586368"/>
              <a:gd name="connsiteY5018" fmla="*/ 2875775 h 6479439"/>
              <a:gd name="connsiteX5019" fmla="*/ 8150483 w 9586368"/>
              <a:gd name="connsiteY5019" fmla="*/ 2885645 h 6479439"/>
              <a:gd name="connsiteX5020" fmla="*/ 8146464 w 9586368"/>
              <a:gd name="connsiteY5020" fmla="*/ 2889684 h 6479439"/>
              <a:gd name="connsiteX5021" fmla="*/ 8136553 w 9586368"/>
              <a:gd name="connsiteY5021" fmla="*/ 2889684 h 6479439"/>
              <a:gd name="connsiteX5022" fmla="*/ 8132534 w 9586368"/>
              <a:gd name="connsiteY5022" fmla="*/ 2885645 h 6479439"/>
              <a:gd name="connsiteX5023" fmla="*/ 8132534 w 9586368"/>
              <a:gd name="connsiteY5023" fmla="*/ 2875775 h 6479439"/>
              <a:gd name="connsiteX5024" fmla="*/ 7897241 w 9586368"/>
              <a:gd name="connsiteY5024" fmla="*/ 2871736 h 6479439"/>
              <a:gd name="connsiteX5025" fmla="*/ 7907151 w 9586368"/>
              <a:gd name="connsiteY5025" fmla="*/ 2871736 h 6479439"/>
              <a:gd name="connsiteX5026" fmla="*/ 7911170 w 9586368"/>
              <a:gd name="connsiteY5026" fmla="*/ 2875775 h 6479439"/>
              <a:gd name="connsiteX5027" fmla="*/ 7911170 w 9586368"/>
              <a:gd name="connsiteY5027" fmla="*/ 2885645 h 6479439"/>
              <a:gd name="connsiteX5028" fmla="*/ 7907151 w 9586368"/>
              <a:gd name="connsiteY5028" fmla="*/ 2889684 h 6479439"/>
              <a:gd name="connsiteX5029" fmla="*/ 7897241 w 9586368"/>
              <a:gd name="connsiteY5029" fmla="*/ 2889684 h 6479439"/>
              <a:gd name="connsiteX5030" fmla="*/ 7893222 w 9586368"/>
              <a:gd name="connsiteY5030" fmla="*/ 2885645 h 6479439"/>
              <a:gd name="connsiteX5031" fmla="*/ 7893222 w 9586368"/>
              <a:gd name="connsiteY5031" fmla="*/ 2875775 h 6479439"/>
              <a:gd name="connsiteX5032" fmla="*/ 7657926 w 9586368"/>
              <a:gd name="connsiteY5032" fmla="*/ 2871736 h 6479439"/>
              <a:gd name="connsiteX5033" fmla="*/ 7667836 w 9586368"/>
              <a:gd name="connsiteY5033" fmla="*/ 2871736 h 6479439"/>
              <a:gd name="connsiteX5034" fmla="*/ 7671855 w 9586368"/>
              <a:gd name="connsiteY5034" fmla="*/ 2875775 h 6479439"/>
              <a:gd name="connsiteX5035" fmla="*/ 7671855 w 9586368"/>
              <a:gd name="connsiteY5035" fmla="*/ 2885645 h 6479439"/>
              <a:gd name="connsiteX5036" fmla="*/ 7667836 w 9586368"/>
              <a:gd name="connsiteY5036" fmla="*/ 2889684 h 6479439"/>
              <a:gd name="connsiteX5037" fmla="*/ 7657926 w 9586368"/>
              <a:gd name="connsiteY5037" fmla="*/ 2889684 h 6479439"/>
              <a:gd name="connsiteX5038" fmla="*/ 7653906 w 9586368"/>
              <a:gd name="connsiteY5038" fmla="*/ 2885645 h 6479439"/>
              <a:gd name="connsiteX5039" fmla="*/ 7653906 w 9586368"/>
              <a:gd name="connsiteY5039" fmla="*/ 2875775 h 6479439"/>
              <a:gd name="connsiteX5040" fmla="*/ 7418611 w 9586368"/>
              <a:gd name="connsiteY5040" fmla="*/ 2871736 h 6479439"/>
              <a:gd name="connsiteX5041" fmla="*/ 7428521 w 9586368"/>
              <a:gd name="connsiteY5041" fmla="*/ 2871736 h 6479439"/>
              <a:gd name="connsiteX5042" fmla="*/ 7432540 w 9586368"/>
              <a:gd name="connsiteY5042" fmla="*/ 2875775 h 6479439"/>
              <a:gd name="connsiteX5043" fmla="*/ 7432540 w 9586368"/>
              <a:gd name="connsiteY5043" fmla="*/ 2885645 h 6479439"/>
              <a:gd name="connsiteX5044" fmla="*/ 7428521 w 9586368"/>
              <a:gd name="connsiteY5044" fmla="*/ 2889684 h 6479439"/>
              <a:gd name="connsiteX5045" fmla="*/ 7418611 w 9586368"/>
              <a:gd name="connsiteY5045" fmla="*/ 2889684 h 6479439"/>
              <a:gd name="connsiteX5046" fmla="*/ 7414592 w 9586368"/>
              <a:gd name="connsiteY5046" fmla="*/ 2885645 h 6479439"/>
              <a:gd name="connsiteX5047" fmla="*/ 7414592 w 9586368"/>
              <a:gd name="connsiteY5047" fmla="*/ 2875775 h 6479439"/>
              <a:gd name="connsiteX5048" fmla="*/ 7179298 w 9586368"/>
              <a:gd name="connsiteY5048" fmla="*/ 2871736 h 6479439"/>
              <a:gd name="connsiteX5049" fmla="*/ 7189209 w 9586368"/>
              <a:gd name="connsiteY5049" fmla="*/ 2871736 h 6479439"/>
              <a:gd name="connsiteX5050" fmla="*/ 7193228 w 9586368"/>
              <a:gd name="connsiteY5050" fmla="*/ 2875775 h 6479439"/>
              <a:gd name="connsiteX5051" fmla="*/ 7193228 w 9586368"/>
              <a:gd name="connsiteY5051" fmla="*/ 2885645 h 6479439"/>
              <a:gd name="connsiteX5052" fmla="*/ 7189209 w 9586368"/>
              <a:gd name="connsiteY5052" fmla="*/ 2889684 h 6479439"/>
              <a:gd name="connsiteX5053" fmla="*/ 7179298 w 9586368"/>
              <a:gd name="connsiteY5053" fmla="*/ 2889684 h 6479439"/>
              <a:gd name="connsiteX5054" fmla="*/ 7175279 w 9586368"/>
              <a:gd name="connsiteY5054" fmla="*/ 2885645 h 6479439"/>
              <a:gd name="connsiteX5055" fmla="*/ 7175279 w 9586368"/>
              <a:gd name="connsiteY5055" fmla="*/ 2875775 h 6479439"/>
              <a:gd name="connsiteX5056" fmla="*/ 6939983 w 9586368"/>
              <a:gd name="connsiteY5056" fmla="*/ 2871736 h 6479439"/>
              <a:gd name="connsiteX5057" fmla="*/ 6949894 w 9586368"/>
              <a:gd name="connsiteY5057" fmla="*/ 2871736 h 6479439"/>
              <a:gd name="connsiteX5058" fmla="*/ 6953913 w 9586368"/>
              <a:gd name="connsiteY5058" fmla="*/ 2875775 h 6479439"/>
              <a:gd name="connsiteX5059" fmla="*/ 6953913 w 9586368"/>
              <a:gd name="connsiteY5059" fmla="*/ 2885645 h 6479439"/>
              <a:gd name="connsiteX5060" fmla="*/ 6949894 w 9586368"/>
              <a:gd name="connsiteY5060" fmla="*/ 2889684 h 6479439"/>
              <a:gd name="connsiteX5061" fmla="*/ 6939983 w 9586368"/>
              <a:gd name="connsiteY5061" fmla="*/ 2889684 h 6479439"/>
              <a:gd name="connsiteX5062" fmla="*/ 6935964 w 9586368"/>
              <a:gd name="connsiteY5062" fmla="*/ 2885645 h 6479439"/>
              <a:gd name="connsiteX5063" fmla="*/ 6935964 w 9586368"/>
              <a:gd name="connsiteY5063" fmla="*/ 2875775 h 6479439"/>
              <a:gd name="connsiteX5064" fmla="*/ 6700670 w 9586368"/>
              <a:gd name="connsiteY5064" fmla="*/ 2871736 h 6479439"/>
              <a:gd name="connsiteX5065" fmla="*/ 6710581 w 9586368"/>
              <a:gd name="connsiteY5065" fmla="*/ 2871736 h 6479439"/>
              <a:gd name="connsiteX5066" fmla="*/ 6714600 w 9586368"/>
              <a:gd name="connsiteY5066" fmla="*/ 2875775 h 6479439"/>
              <a:gd name="connsiteX5067" fmla="*/ 6714600 w 9586368"/>
              <a:gd name="connsiteY5067" fmla="*/ 2885645 h 6479439"/>
              <a:gd name="connsiteX5068" fmla="*/ 6710581 w 9586368"/>
              <a:gd name="connsiteY5068" fmla="*/ 2889684 h 6479439"/>
              <a:gd name="connsiteX5069" fmla="*/ 6700670 w 9586368"/>
              <a:gd name="connsiteY5069" fmla="*/ 2889684 h 6479439"/>
              <a:gd name="connsiteX5070" fmla="*/ 6696651 w 9586368"/>
              <a:gd name="connsiteY5070" fmla="*/ 2885645 h 6479439"/>
              <a:gd name="connsiteX5071" fmla="*/ 6696651 w 9586368"/>
              <a:gd name="connsiteY5071" fmla="*/ 2875775 h 6479439"/>
              <a:gd name="connsiteX5072" fmla="*/ 6461356 w 9586368"/>
              <a:gd name="connsiteY5072" fmla="*/ 2871736 h 6479439"/>
              <a:gd name="connsiteX5073" fmla="*/ 6471266 w 9586368"/>
              <a:gd name="connsiteY5073" fmla="*/ 2871736 h 6479439"/>
              <a:gd name="connsiteX5074" fmla="*/ 6475285 w 9586368"/>
              <a:gd name="connsiteY5074" fmla="*/ 2875775 h 6479439"/>
              <a:gd name="connsiteX5075" fmla="*/ 6475285 w 9586368"/>
              <a:gd name="connsiteY5075" fmla="*/ 2885645 h 6479439"/>
              <a:gd name="connsiteX5076" fmla="*/ 6471266 w 9586368"/>
              <a:gd name="connsiteY5076" fmla="*/ 2889684 h 6479439"/>
              <a:gd name="connsiteX5077" fmla="*/ 6461356 w 9586368"/>
              <a:gd name="connsiteY5077" fmla="*/ 2889684 h 6479439"/>
              <a:gd name="connsiteX5078" fmla="*/ 6457337 w 9586368"/>
              <a:gd name="connsiteY5078" fmla="*/ 2885645 h 6479439"/>
              <a:gd name="connsiteX5079" fmla="*/ 6457337 w 9586368"/>
              <a:gd name="connsiteY5079" fmla="*/ 2875775 h 6479439"/>
              <a:gd name="connsiteX5080" fmla="*/ 6222042 w 9586368"/>
              <a:gd name="connsiteY5080" fmla="*/ 2871736 h 6479439"/>
              <a:gd name="connsiteX5081" fmla="*/ 6231952 w 9586368"/>
              <a:gd name="connsiteY5081" fmla="*/ 2871736 h 6479439"/>
              <a:gd name="connsiteX5082" fmla="*/ 6235971 w 9586368"/>
              <a:gd name="connsiteY5082" fmla="*/ 2875775 h 6479439"/>
              <a:gd name="connsiteX5083" fmla="*/ 6235971 w 9586368"/>
              <a:gd name="connsiteY5083" fmla="*/ 2885645 h 6479439"/>
              <a:gd name="connsiteX5084" fmla="*/ 6231952 w 9586368"/>
              <a:gd name="connsiteY5084" fmla="*/ 2889684 h 6479439"/>
              <a:gd name="connsiteX5085" fmla="*/ 6222042 w 9586368"/>
              <a:gd name="connsiteY5085" fmla="*/ 2889684 h 6479439"/>
              <a:gd name="connsiteX5086" fmla="*/ 6218023 w 9586368"/>
              <a:gd name="connsiteY5086" fmla="*/ 2885645 h 6479439"/>
              <a:gd name="connsiteX5087" fmla="*/ 6218023 w 9586368"/>
              <a:gd name="connsiteY5087" fmla="*/ 2875775 h 6479439"/>
              <a:gd name="connsiteX5088" fmla="*/ 5982729 w 9586368"/>
              <a:gd name="connsiteY5088" fmla="*/ 2871736 h 6479439"/>
              <a:gd name="connsiteX5089" fmla="*/ 5992639 w 9586368"/>
              <a:gd name="connsiteY5089" fmla="*/ 2871736 h 6479439"/>
              <a:gd name="connsiteX5090" fmla="*/ 5996658 w 9586368"/>
              <a:gd name="connsiteY5090" fmla="*/ 2875775 h 6479439"/>
              <a:gd name="connsiteX5091" fmla="*/ 5996658 w 9586368"/>
              <a:gd name="connsiteY5091" fmla="*/ 2885645 h 6479439"/>
              <a:gd name="connsiteX5092" fmla="*/ 5992639 w 9586368"/>
              <a:gd name="connsiteY5092" fmla="*/ 2889684 h 6479439"/>
              <a:gd name="connsiteX5093" fmla="*/ 5982729 w 9586368"/>
              <a:gd name="connsiteY5093" fmla="*/ 2889684 h 6479439"/>
              <a:gd name="connsiteX5094" fmla="*/ 5978710 w 9586368"/>
              <a:gd name="connsiteY5094" fmla="*/ 2885645 h 6479439"/>
              <a:gd name="connsiteX5095" fmla="*/ 5978710 w 9586368"/>
              <a:gd name="connsiteY5095" fmla="*/ 2875775 h 6479439"/>
              <a:gd name="connsiteX5096" fmla="*/ 5743412 w 9586368"/>
              <a:gd name="connsiteY5096" fmla="*/ 2871736 h 6479439"/>
              <a:gd name="connsiteX5097" fmla="*/ 5753323 w 9586368"/>
              <a:gd name="connsiteY5097" fmla="*/ 2871736 h 6479439"/>
              <a:gd name="connsiteX5098" fmla="*/ 5757342 w 9586368"/>
              <a:gd name="connsiteY5098" fmla="*/ 2875775 h 6479439"/>
              <a:gd name="connsiteX5099" fmla="*/ 5757342 w 9586368"/>
              <a:gd name="connsiteY5099" fmla="*/ 2885645 h 6479439"/>
              <a:gd name="connsiteX5100" fmla="*/ 5753323 w 9586368"/>
              <a:gd name="connsiteY5100" fmla="*/ 2889684 h 6479439"/>
              <a:gd name="connsiteX5101" fmla="*/ 5743412 w 9586368"/>
              <a:gd name="connsiteY5101" fmla="*/ 2889684 h 6479439"/>
              <a:gd name="connsiteX5102" fmla="*/ 5739393 w 9586368"/>
              <a:gd name="connsiteY5102" fmla="*/ 2885645 h 6479439"/>
              <a:gd name="connsiteX5103" fmla="*/ 5739393 w 9586368"/>
              <a:gd name="connsiteY5103" fmla="*/ 2875775 h 6479439"/>
              <a:gd name="connsiteX5104" fmla="*/ 5504099 w 9586368"/>
              <a:gd name="connsiteY5104" fmla="*/ 2871736 h 6479439"/>
              <a:gd name="connsiteX5105" fmla="*/ 5514010 w 9586368"/>
              <a:gd name="connsiteY5105" fmla="*/ 2871736 h 6479439"/>
              <a:gd name="connsiteX5106" fmla="*/ 5518029 w 9586368"/>
              <a:gd name="connsiteY5106" fmla="*/ 2875775 h 6479439"/>
              <a:gd name="connsiteX5107" fmla="*/ 5518029 w 9586368"/>
              <a:gd name="connsiteY5107" fmla="*/ 2885645 h 6479439"/>
              <a:gd name="connsiteX5108" fmla="*/ 5514010 w 9586368"/>
              <a:gd name="connsiteY5108" fmla="*/ 2889684 h 6479439"/>
              <a:gd name="connsiteX5109" fmla="*/ 5504099 w 9586368"/>
              <a:gd name="connsiteY5109" fmla="*/ 2889684 h 6479439"/>
              <a:gd name="connsiteX5110" fmla="*/ 5500080 w 9586368"/>
              <a:gd name="connsiteY5110" fmla="*/ 2885645 h 6479439"/>
              <a:gd name="connsiteX5111" fmla="*/ 5500080 w 9586368"/>
              <a:gd name="connsiteY5111" fmla="*/ 2875775 h 6479439"/>
              <a:gd name="connsiteX5112" fmla="*/ 5264784 w 9586368"/>
              <a:gd name="connsiteY5112" fmla="*/ 2871736 h 6479439"/>
              <a:gd name="connsiteX5113" fmla="*/ 5274694 w 9586368"/>
              <a:gd name="connsiteY5113" fmla="*/ 2871736 h 6479439"/>
              <a:gd name="connsiteX5114" fmla="*/ 5278713 w 9586368"/>
              <a:gd name="connsiteY5114" fmla="*/ 2875775 h 6479439"/>
              <a:gd name="connsiteX5115" fmla="*/ 5278713 w 9586368"/>
              <a:gd name="connsiteY5115" fmla="*/ 2885645 h 6479439"/>
              <a:gd name="connsiteX5116" fmla="*/ 5274694 w 9586368"/>
              <a:gd name="connsiteY5116" fmla="*/ 2889684 h 6479439"/>
              <a:gd name="connsiteX5117" fmla="*/ 5264784 w 9586368"/>
              <a:gd name="connsiteY5117" fmla="*/ 2889684 h 6479439"/>
              <a:gd name="connsiteX5118" fmla="*/ 5260765 w 9586368"/>
              <a:gd name="connsiteY5118" fmla="*/ 2885645 h 6479439"/>
              <a:gd name="connsiteX5119" fmla="*/ 5260765 w 9586368"/>
              <a:gd name="connsiteY5119" fmla="*/ 2875775 h 6479439"/>
              <a:gd name="connsiteX5120" fmla="*/ 5025470 w 9586368"/>
              <a:gd name="connsiteY5120" fmla="*/ 2871736 h 6479439"/>
              <a:gd name="connsiteX5121" fmla="*/ 5035381 w 9586368"/>
              <a:gd name="connsiteY5121" fmla="*/ 2871736 h 6479439"/>
              <a:gd name="connsiteX5122" fmla="*/ 5039400 w 9586368"/>
              <a:gd name="connsiteY5122" fmla="*/ 2875775 h 6479439"/>
              <a:gd name="connsiteX5123" fmla="*/ 5039400 w 9586368"/>
              <a:gd name="connsiteY5123" fmla="*/ 2885645 h 6479439"/>
              <a:gd name="connsiteX5124" fmla="*/ 5035381 w 9586368"/>
              <a:gd name="connsiteY5124" fmla="*/ 2889684 h 6479439"/>
              <a:gd name="connsiteX5125" fmla="*/ 5025470 w 9586368"/>
              <a:gd name="connsiteY5125" fmla="*/ 2889684 h 6479439"/>
              <a:gd name="connsiteX5126" fmla="*/ 5021451 w 9586368"/>
              <a:gd name="connsiteY5126" fmla="*/ 2885645 h 6479439"/>
              <a:gd name="connsiteX5127" fmla="*/ 5021451 w 9586368"/>
              <a:gd name="connsiteY5127" fmla="*/ 2875775 h 6479439"/>
              <a:gd name="connsiteX5128" fmla="*/ 4786241 w 9586368"/>
              <a:gd name="connsiteY5128" fmla="*/ 2871736 h 6479439"/>
              <a:gd name="connsiteX5129" fmla="*/ 4796152 w 9586368"/>
              <a:gd name="connsiteY5129" fmla="*/ 2871736 h 6479439"/>
              <a:gd name="connsiteX5130" fmla="*/ 4800171 w 9586368"/>
              <a:gd name="connsiteY5130" fmla="*/ 2875775 h 6479439"/>
              <a:gd name="connsiteX5131" fmla="*/ 4800171 w 9586368"/>
              <a:gd name="connsiteY5131" fmla="*/ 2885645 h 6479439"/>
              <a:gd name="connsiteX5132" fmla="*/ 4796152 w 9586368"/>
              <a:gd name="connsiteY5132" fmla="*/ 2889684 h 6479439"/>
              <a:gd name="connsiteX5133" fmla="*/ 4786241 w 9586368"/>
              <a:gd name="connsiteY5133" fmla="*/ 2889684 h 6479439"/>
              <a:gd name="connsiteX5134" fmla="*/ 4782224 w 9586368"/>
              <a:gd name="connsiteY5134" fmla="*/ 2885645 h 6479439"/>
              <a:gd name="connsiteX5135" fmla="*/ 4782224 w 9586368"/>
              <a:gd name="connsiteY5135" fmla="*/ 2875775 h 6479439"/>
              <a:gd name="connsiteX5136" fmla="*/ 4546929 w 9586368"/>
              <a:gd name="connsiteY5136" fmla="*/ 2871736 h 6479439"/>
              <a:gd name="connsiteX5137" fmla="*/ 4556840 w 9586368"/>
              <a:gd name="connsiteY5137" fmla="*/ 2871736 h 6479439"/>
              <a:gd name="connsiteX5138" fmla="*/ 4560859 w 9586368"/>
              <a:gd name="connsiteY5138" fmla="*/ 2875775 h 6479439"/>
              <a:gd name="connsiteX5139" fmla="*/ 4560859 w 9586368"/>
              <a:gd name="connsiteY5139" fmla="*/ 2885645 h 6479439"/>
              <a:gd name="connsiteX5140" fmla="*/ 4556840 w 9586368"/>
              <a:gd name="connsiteY5140" fmla="*/ 2889684 h 6479439"/>
              <a:gd name="connsiteX5141" fmla="*/ 4546929 w 9586368"/>
              <a:gd name="connsiteY5141" fmla="*/ 2889684 h 6479439"/>
              <a:gd name="connsiteX5142" fmla="*/ 4542910 w 9586368"/>
              <a:gd name="connsiteY5142" fmla="*/ 2885645 h 6479439"/>
              <a:gd name="connsiteX5143" fmla="*/ 4542910 w 9586368"/>
              <a:gd name="connsiteY5143" fmla="*/ 2875775 h 6479439"/>
              <a:gd name="connsiteX5144" fmla="*/ 4307612 w 9586368"/>
              <a:gd name="connsiteY5144" fmla="*/ 2871736 h 6479439"/>
              <a:gd name="connsiteX5145" fmla="*/ 4317523 w 9586368"/>
              <a:gd name="connsiteY5145" fmla="*/ 2871736 h 6479439"/>
              <a:gd name="connsiteX5146" fmla="*/ 4321543 w 9586368"/>
              <a:gd name="connsiteY5146" fmla="*/ 2875775 h 6479439"/>
              <a:gd name="connsiteX5147" fmla="*/ 4321543 w 9586368"/>
              <a:gd name="connsiteY5147" fmla="*/ 2885645 h 6479439"/>
              <a:gd name="connsiteX5148" fmla="*/ 4317523 w 9586368"/>
              <a:gd name="connsiteY5148" fmla="*/ 2889684 h 6479439"/>
              <a:gd name="connsiteX5149" fmla="*/ 4307612 w 9586368"/>
              <a:gd name="connsiteY5149" fmla="*/ 2889684 h 6479439"/>
              <a:gd name="connsiteX5150" fmla="*/ 4303595 w 9586368"/>
              <a:gd name="connsiteY5150" fmla="*/ 2885645 h 6479439"/>
              <a:gd name="connsiteX5151" fmla="*/ 4303595 w 9586368"/>
              <a:gd name="connsiteY5151" fmla="*/ 2875775 h 6479439"/>
              <a:gd name="connsiteX5152" fmla="*/ 4068297 w 9586368"/>
              <a:gd name="connsiteY5152" fmla="*/ 2871736 h 6479439"/>
              <a:gd name="connsiteX5153" fmla="*/ 4078210 w 9586368"/>
              <a:gd name="connsiteY5153" fmla="*/ 2871736 h 6479439"/>
              <a:gd name="connsiteX5154" fmla="*/ 4082229 w 9586368"/>
              <a:gd name="connsiteY5154" fmla="*/ 2875775 h 6479439"/>
              <a:gd name="connsiteX5155" fmla="*/ 4082229 w 9586368"/>
              <a:gd name="connsiteY5155" fmla="*/ 2885645 h 6479439"/>
              <a:gd name="connsiteX5156" fmla="*/ 4078210 w 9586368"/>
              <a:gd name="connsiteY5156" fmla="*/ 2889684 h 6479439"/>
              <a:gd name="connsiteX5157" fmla="*/ 4068297 w 9586368"/>
              <a:gd name="connsiteY5157" fmla="*/ 2889684 h 6479439"/>
              <a:gd name="connsiteX5158" fmla="*/ 4064278 w 9586368"/>
              <a:gd name="connsiteY5158" fmla="*/ 2885645 h 6479439"/>
              <a:gd name="connsiteX5159" fmla="*/ 4064278 w 9586368"/>
              <a:gd name="connsiteY5159" fmla="*/ 2875775 h 6479439"/>
              <a:gd name="connsiteX5160" fmla="*/ 3828990 w 9586368"/>
              <a:gd name="connsiteY5160" fmla="*/ 2871736 h 6479439"/>
              <a:gd name="connsiteX5161" fmla="*/ 3838899 w 9586368"/>
              <a:gd name="connsiteY5161" fmla="*/ 2871736 h 6479439"/>
              <a:gd name="connsiteX5162" fmla="*/ 3842917 w 9586368"/>
              <a:gd name="connsiteY5162" fmla="*/ 2875775 h 6479439"/>
              <a:gd name="connsiteX5163" fmla="*/ 3842917 w 9586368"/>
              <a:gd name="connsiteY5163" fmla="*/ 2885645 h 6479439"/>
              <a:gd name="connsiteX5164" fmla="*/ 3838899 w 9586368"/>
              <a:gd name="connsiteY5164" fmla="*/ 2889684 h 6479439"/>
              <a:gd name="connsiteX5165" fmla="*/ 3828990 w 9586368"/>
              <a:gd name="connsiteY5165" fmla="*/ 2889684 h 6479439"/>
              <a:gd name="connsiteX5166" fmla="*/ 3824971 w 9586368"/>
              <a:gd name="connsiteY5166" fmla="*/ 2885645 h 6479439"/>
              <a:gd name="connsiteX5167" fmla="*/ 3824971 w 9586368"/>
              <a:gd name="connsiteY5167" fmla="*/ 2875775 h 6479439"/>
              <a:gd name="connsiteX5168" fmla="*/ 3589676 w 9586368"/>
              <a:gd name="connsiteY5168" fmla="*/ 2871736 h 6479439"/>
              <a:gd name="connsiteX5169" fmla="*/ 3599585 w 9586368"/>
              <a:gd name="connsiteY5169" fmla="*/ 2871736 h 6479439"/>
              <a:gd name="connsiteX5170" fmla="*/ 3603604 w 9586368"/>
              <a:gd name="connsiteY5170" fmla="*/ 2875775 h 6479439"/>
              <a:gd name="connsiteX5171" fmla="*/ 3603604 w 9586368"/>
              <a:gd name="connsiteY5171" fmla="*/ 2885645 h 6479439"/>
              <a:gd name="connsiteX5172" fmla="*/ 3599585 w 9586368"/>
              <a:gd name="connsiteY5172" fmla="*/ 2889684 h 6479439"/>
              <a:gd name="connsiteX5173" fmla="*/ 3589676 w 9586368"/>
              <a:gd name="connsiteY5173" fmla="*/ 2889684 h 6479439"/>
              <a:gd name="connsiteX5174" fmla="*/ 3585657 w 9586368"/>
              <a:gd name="connsiteY5174" fmla="*/ 2885645 h 6479439"/>
              <a:gd name="connsiteX5175" fmla="*/ 3585657 w 9586368"/>
              <a:gd name="connsiteY5175" fmla="*/ 2875775 h 6479439"/>
              <a:gd name="connsiteX5176" fmla="*/ 3350359 w 9586368"/>
              <a:gd name="connsiteY5176" fmla="*/ 2871736 h 6479439"/>
              <a:gd name="connsiteX5177" fmla="*/ 3360268 w 9586368"/>
              <a:gd name="connsiteY5177" fmla="*/ 2871736 h 6479439"/>
              <a:gd name="connsiteX5178" fmla="*/ 3364287 w 9586368"/>
              <a:gd name="connsiteY5178" fmla="*/ 2875775 h 6479439"/>
              <a:gd name="connsiteX5179" fmla="*/ 3364287 w 9586368"/>
              <a:gd name="connsiteY5179" fmla="*/ 2885645 h 6479439"/>
              <a:gd name="connsiteX5180" fmla="*/ 3360268 w 9586368"/>
              <a:gd name="connsiteY5180" fmla="*/ 2889684 h 6479439"/>
              <a:gd name="connsiteX5181" fmla="*/ 3350359 w 9586368"/>
              <a:gd name="connsiteY5181" fmla="*/ 2889684 h 6479439"/>
              <a:gd name="connsiteX5182" fmla="*/ 3346340 w 9586368"/>
              <a:gd name="connsiteY5182" fmla="*/ 2885645 h 6479439"/>
              <a:gd name="connsiteX5183" fmla="*/ 3346340 w 9586368"/>
              <a:gd name="connsiteY5183" fmla="*/ 2875775 h 6479439"/>
              <a:gd name="connsiteX5184" fmla="*/ 3111048 w 9586368"/>
              <a:gd name="connsiteY5184" fmla="*/ 2871736 h 6479439"/>
              <a:gd name="connsiteX5185" fmla="*/ 3120959 w 9586368"/>
              <a:gd name="connsiteY5185" fmla="*/ 2871736 h 6479439"/>
              <a:gd name="connsiteX5186" fmla="*/ 3124977 w 9586368"/>
              <a:gd name="connsiteY5186" fmla="*/ 2875775 h 6479439"/>
              <a:gd name="connsiteX5187" fmla="*/ 3124977 w 9586368"/>
              <a:gd name="connsiteY5187" fmla="*/ 2885645 h 6479439"/>
              <a:gd name="connsiteX5188" fmla="*/ 3120959 w 9586368"/>
              <a:gd name="connsiteY5188" fmla="*/ 2889684 h 6479439"/>
              <a:gd name="connsiteX5189" fmla="*/ 3111048 w 9586368"/>
              <a:gd name="connsiteY5189" fmla="*/ 2889684 h 6479439"/>
              <a:gd name="connsiteX5190" fmla="*/ 3107029 w 9586368"/>
              <a:gd name="connsiteY5190" fmla="*/ 2885645 h 6479439"/>
              <a:gd name="connsiteX5191" fmla="*/ 3107029 w 9586368"/>
              <a:gd name="connsiteY5191" fmla="*/ 2875775 h 6479439"/>
              <a:gd name="connsiteX5192" fmla="*/ 2871737 w 9586368"/>
              <a:gd name="connsiteY5192" fmla="*/ 2871736 h 6479439"/>
              <a:gd name="connsiteX5193" fmla="*/ 2881646 w 9586368"/>
              <a:gd name="connsiteY5193" fmla="*/ 2871736 h 6479439"/>
              <a:gd name="connsiteX5194" fmla="*/ 2885666 w 9586368"/>
              <a:gd name="connsiteY5194" fmla="*/ 2875775 h 6479439"/>
              <a:gd name="connsiteX5195" fmla="*/ 2885666 w 9586368"/>
              <a:gd name="connsiteY5195" fmla="*/ 2885645 h 6479439"/>
              <a:gd name="connsiteX5196" fmla="*/ 2881646 w 9586368"/>
              <a:gd name="connsiteY5196" fmla="*/ 2889684 h 6479439"/>
              <a:gd name="connsiteX5197" fmla="*/ 2871737 w 9586368"/>
              <a:gd name="connsiteY5197" fmla="*/ 2889684 h 6479439"/>
              <a:gd name="connsiteX5198" fmla="*/ 2867717 w 9586368"/>
              <a:gd name="connsiteY5198" fmla="*/ 2885645 h 6479439"/>
              <a:gd name="connsiteX5199" fmla="*/ 2867717 w 9586368"/>
              <a:gd name="connsiteY5199" fmla="*/ 2875775 h 6479439"/>
              <a:gd name="connsiteX5200" fmla="*/ 2632423 w 9586368"/>
              <a:gd name="connsiteY5200" fmla="*/ 2871736 h 6479439"/>
              <a:gd name="connsiteX5201" fmla="*/ 2642334 w 9586368"/>
              <a:gd name="connsiteY5201" fmla="*/ 2871736 h 6479439"/>
              <a:gd name="connsiteX5202" fmla="*/ 2646352 w 9586368"/>
              <a:gd name="connsiteY5202" fmla="*/ 2875775 h 6479439"/>
              <a:gd name="connsiteX5203" fmla="*/ 2646352 w 9586368"/>
              <a:gd name="connsiteY5203" fmla="*/ 2885645 h 6479439"/>
              <a:gd name="connsiteX5204" fmla="*/ 2642334 w 9586368"/>
              <a:gd name="connsiteY5204" fmla="*/ 2889684 h 6479439"/>
              <a:gd name="connsiteX5205" fmla="*/ 2632423 w 9586368"/>
              <a:gd name="connsiteY5205" fmla="*/ 2889684 h 6479439"/>
              <a:gd name="connsiteX5206" fmla="*/ 2628404 w 9586368"/>
              <a:gd name="connsiteY5206" fmla="*/ 2885645 h 6479439"/>
              <a:gd name="connsiteX5207" fmla="*/ 2628404 w 9586368"/>
              <a:gd name="connsiteY5207" fmla="*/ 2875775 h 6479439"/>
              <a:gd name="connsiteX5208" fmla="*/ 2393104 w 9586368"/>
              <a:gd name="connsiteY5208" fmla="*/ 2871736 h 6479439"/>
              <a:gd name="connsiteX5209" fmla="*/ 2403015 w 9586368"/>
              <a:gd name="connsiteY5209" fmla="*/ 2871736 h 6479439"/>
              <a:gd name="connsiteX5210" fmla="*/ 2407034 w 9586368"/>
              <a:gd name="connsiteY5210" fmla="*/ 2875775 h 6479439"/>
              <a:gd name="connsiteX5211" fmla="*/ 2407034 w 9586368"/>
              <a:gd name="connsiteY5211" fmla="*/ 2885645 h 6479439"/>
              <a:gd name="connsiteX5212" fmla="*/ 2403015 w 9586368"/>
              <a:gd name="connsiteY5212" fmla="*/ 2889684 h 6479439"/>
              <a:gd name="connsiteX5213" fmla="*/ 2393104 w 9586368"/>
              <a:gd name="connsiteY5213" fmla="*/ 2889684 h 6479439"/>
              <a:gd name="connsiteX5214" fmla="*/ 2389087 w 9586368"/>
              <a:gd name="connsiteY5214" fmla="*/ 2885645 h 6479439"/>
              <a:gd name="connsiteX5215" fmla="*/ 2389087 w 9586368"/>
              <a:gd name="connsiteY5215" fmla="*/ 2875775 h 6479439"/>
              <a:gd name="connsiteX5216" fmla="*/ 721969 w 9586368"/>
              <a:gd name="connsiteY5216" fmla="*/ 2871736 h 6479439"/>
              <a:gd name="connsiteX5217" fmla="*/ 731879 w 9586368"/>
              <a:gd name="connsiteY5217" fmla="*/ 2871736 h 6479439"/>
              <a:gd name="connsiteX5218" fmla="*/ 735898 w 9586368"/>
              <a:gd name="connsiteY5218" fmla="*/ 2875775 h 6479439"/>
              <a:gd name="connsiteX5219" fmla="*/ 735898 w 9586368"/>
              <a:gd name="connsiteY5219" fmla="*/ 2885645 h 6479439"/>
              <a:gd name="connsiteX5220" fmla="*/ 731879 w 9586368"/>
              <a:gd name="connsiteY5220" fmla="*/ 2889684 h 6479439"/>
              <a:gd name="connsiteX5221" fmla="*/ 721969 w 9586368"/>
              <a:gd name="connsiteY5221" fmla="*/ 2889684 h 6479439"/>
              <a:gd name="connsiteX5222" fmla="*/ 717950 w 9586368"/>
              <a:gd name="connsiteY5222" fmla="*/ 2885645 h 6479439"/>
              <a:gd name="connsiteX5223" fmla="*/ 717950 w 9586368"/>
              <a:gd name="connsiteY5223" fmla="*/ 2875775 h 6479439"/>
              <a:gd name="connsiteX5224" fmla="*/ 482656 w 9586368"/>
              <a:gd name="connsiteY5224" fmla="*/ 2871736 h 6479439"/>
              <a:gd name="connsiteX5225" fmla="*/ 492567 w 9586368"/>
              <a:gd name="connsiteY5225" fmla="*/ 2871736 h 6479439"/>
              <a:gd name="connsiteX5226" fmla="*/ 496586 w 9586368"/>
              <a:gd name="connsiteY5226" fmla="*/ 2875775 h 6479439"/>
              <a:gd name="connsiteX5227" fmla="*/ 496586 w 9586368"/>
              <a:gd name="connsiteY5227" fmla="*/ 2885645 h 6479439"/>
              <a:gd name="connsiteX5228" fmla="*/ 492567 w 9586368"/>
              <a:gd name="connsiteY5228" fmla="*/ 2889684 h 6479439"/>
              <a:gd name="connsiteX5229" fmla="*/ 482656 w 9586368"/>
              <a:gd name="connsiteY5229" fmla="*/ 2889684 h 6479439"/>
              <a:gd name="connsiteX5230" fmla="*/ 478637 w 9586368"/>
              <a:gd name="connsiteY5230" fmla="*/ 2885645 h 6479439"/>
              <a:gd name="connsiteX5231" fmla="*/ 478637 w 9586368"/>
              <a:gd name="connsiteY5231" fmla="*/ 2875775 h 6479439"/>
              <a:gd name="connsiteX5232" fmla="*/ 243343 w 9586368"/>
              <a:gd name="connsiteY5232" fmla="*/ 2871736 h 6479439"/>
              <a:gd name="connsiteX5233" fmla="*/ 253253 w 9586368"/>
              <a:gd name="connsiteY5233" fmla="*/ 2871736 h 6479439"/>
              <a:gd name="connsiteX5234" fmla="*/ 257272 w 9586368"/>
              <a:gd name="connsiteY5234" fmla="*/ 2875775 h 6479439"/>
              <a:gd name="connsiteX5235" fmla="*/ 257272 w 9586368"/>
              <a:gd name="connsiteY5235" fmla="*/ 2885645 h 6479439"/>
              <a:gd name="connsiteX5236" fmla="*/ 253253 w 9586368"/>
              <a:gd name="connsiteY5236" fmla="*/ 2889684 h 6479439"/>
              <a:gd name="connsiteX5237" fmla="*/ 243343 w 9586368"/>
              <a:gd name="connsiteY5237" fmla="*/ 2889684 h 6479439"/>
              <a:gd name="connsiteX5238" fmla="*/ 239324 w 9586368"/>
              <a:gd name="connsiteY5238" fmla="*/ 2885645 h 6479439"/>
              <a:gd name="connsiteX5239" fmla="*/ 239324 w 9586368"/>
              <a:gd name="connsiteY5239" fmla="*/ 2875775 h 6479439"/>
              <a:gd name="connsiteX5240" fmla="*/ 4030 w 9586368"/>
              <a:gd name="connsiteY5240" fmla="*/ 2871736 h 6479439"/>
              <a:gd name="connsiteX5241" fmla="*/ 13940 w 9586368"/>
              <a:gd name="connsiteY5241" fmla="*/ 2871736 h 6479439"/>
              <a:gd name="connsiteX5242" fmla="*/ 17959 w 9586368"/>
              <a:gd name="connsiteY5242" fmla="*/ 2875775 h 6479439"/>
              <a:gd name="connsiteX5243" fmla="*/ 17959 w 9586368"/>
              <a:gd name="connsiteY5243" fmla="*/ 2885645 h 6479439"/>
              <a:gd name="connsiteX5244" fmla="*/ 13940 w 9586368"/>
              <a:gd name="connsiteY5244" fmla="*/ 2889684 h 6479439"/>
              <a:gd name="connsiteX5245" fmla="*/ 4030 w 9586368"/>
              <a:gd name="connsiteY5245" fmla="*/ 2889684 h 6479439"/>
              <a:gd name="connsiteX5246" fmla="*/ 11 w 9586368"/>
              <a:gd name="connsiteY5246" fmla="*/ 2885645 h 6479439"/>
              <a:gd name="connsiteX5247" fmla="*/ 11 w 9586368"/>
              <a:gd name="connsiteY5247" fmla="*/ 2875775 h 6479439"/>
              <a:gd name="connsiteX5248" fmla="*/ 9572438 w 9586368"/>
              <a:gd name="connsiteY5248" fmla="*/ 2632457 h 6479439"/>
              <a:gd name="connsiteX5249" fmla="*/ 9582349 w 9586368"/>
              <a:gd name="connsiteY5249" fmla="*/ 2632457 h 6479439"/>
              <a:gd name="connsiteX5250" fmla="*/ 9586368 w 9586368"/>
              <a:gd name="connsiteY5250" fmla="*/ 2636496 h 6479439"/>
              <a:gd name="connsiteX5251" fmla="*/ 9586368 w 9586368"/>
              <a:gd name="connsiteY5251" fmla="*/ 2646366 h 6479439"/>
              <a:gd name="connsiteX5252" fmla="*/ 9582349 w 9586368"/>
              <a:gd name="connsiteY5252" fmla="*/ 2650405 h 6479439"/>
              <a:gd name="connsiteX5253" fmla="*/ 9572438 w 9586368"/>
              <a:gd name="connsiteY5253" fmla="*/ 2650405 h 6479439"/>
              <a:gd name="connsiteX5254" fmla="*/ 9568419 w 9586368"/>
              <a:gd name="connsiteY5254" fmla="*/ 2646366 h 6479439"/>
              <a:gd name="connsiteX5255" fmla="*/ 9568419 w 9586368"/>
              <a:gd name="connsiteY5255" fmla="*/ 2636496 h 6479439"/>
              <a:gd name="connsiteX5256" fmla="*/ 9333125 w 9586368"/>
              <a:gd name="connsiteY5256" fmla="*/ 2632457 h 6479439"/>
              <a:gd name="connsiteX5257" fmla="*/ 9343036 w 9586368"/>
              <a:gd name="connsiteY5257" fmla="*/ 2632457 h 6479439"/>
              <a:gd name="connsiteX5258" fmla="*/ 9347055 w 9586368"/>
              <a:gd name="connsiteY5258" fmla="*/ 2636496 h 6479439"/>
              <a:gd name="connsiteX5259" fmla="*/ 9347055 w 9586368"/>
              <a:gd name="connsiteY5259" fmla="*/ 2646366 h 6479439"/>
              <a:gd name="connsiteX5260" fmla="*/ 9343036 w 9586368"/>
              <a:gd name="connsiteY5260" fmla="*/ 2650405 h 6479439"/>
              <a:gd name="connsiteX5261" fmla="*/ 9333125 w 9586368"/>
              <a:gd name="connsiteY5261" fmla="*/ 2650405 h 6479439"/>
              <a:gd name="connsiteX5262" fmla="*/ 9329106 w 9586368"/>
              <a:gd name="connsiteY5262" fmla="*/ 2646366 h 6479439"/>
              <a:gd name="connsiteX5263" fmla="*/ 9329106 w 9586368"/>
              <a:gd name="connsiteY5263" fmla="*/ 2636496 h 6479439"/>
              <a:gd name="connsiteX5264" fmla="*/ 9093811 w 9586368"/>
              <a:gd name="connsiteY5264" fmla="*/ 2632457 h 6479439"/>
              <a:gd name="connsiteX5265" fmla="*/ 9103722 w 9586368"/>
              <a:gd name="connsiteY5265" fmla="*/ 2632457 h 6479439"/>
              <a:gd name="connsiteX5266" fmla="*/ 9107741 w 9586368"/>
              <a:gd name="connsiteY5266" fmla="*/ 2636496 h 6479439"/>
              <a:gd name="connsiteX5267" fmla="*/ 9107741 w 9586368"/>
              <a:gd name="connsiteY5267" fmla="*/ 2646366 h 6479439"/>
              <a:gd name="connsiteX5268" fmla="*/ 9103722 w 9586368"/>
              <a:gd name="connsiteY5268" fmla="*/ 2650405 h 6479439"/>
              <a:gd name="connsiteX5269" fmla="*/ 9093811 w 9586368"/>
              <a:gd name="connsiteY5269" fmla="*/ 2650405 h 6479439"/>
              <a:gd name="connsiteX5270" fmla="*/ 9089792 w 9586368"/>
              <a:gd name="connsiteY5270" fmla="*/ 2646366 h 6479439"/>
              <a:gd name="connsiteX5271" fmla="*/ 9089792 w 9586368"/>
              <a:gd name="connsiteY5271" fmla="*/ 2636496 h 6479439"/>
              <a:gd name="connsiteX5272" fmla="*/ 8854496 w 9586368"/>
              <a:gd name="connsiteY5272" fmla="*/ 2632457 h 6479439"/>
              <a:gd name="connsiteX5273" fmla="*/ 8864407 w 9586368"/>
              <a:gd name="connsiteY5273" fmla="*/ 2632457 h 6479439"/>
              <a:gd name="connsiteX5274" fmla="*/ 8868426 w 9586368"/>
              <a:gd name="connsiteY5274" fmla="*/ 2636496 h 6479439"/>
              <a:gd name="connsiteX5275" fmla="*/ 8868426 w 9586368"/>
              <a:gd name="connsiteY5275" fmla="*/ 2646366 h 6479439"/>
              <a:gd name="connsiteX5276" fmla="*/ 8864407 w 9586368"/>
              <a:gd name="connsiteY5276" fmla="*/ 2650405 h 6479439"/>
              <a:gd name="connsiteX5277" fmla="*/ 8854496 w 9586368"/>
              <a:gd name="connsiteY5277" fmla="*/ 2650405 h 6479439"/>
              <a:gd name="connsiteX5278" fmla="*/ 8850477 w 9586368"/>
              <a:gd name="connsiteY5278" fmla="*/ 2646366 h 6479439"/>
              <a:gd name="connsiteX5279" fmla="*/ 8850477 w 9586368"/>
              <a:gd name="connsiteY5279" fmla="*/ 2636496 h 6479439"/>
              <a:gd name="connsiteX5280" fmla="*/ 8615184 w 9586368"/>
              <a:gd name="connsiteY5280" fmla="*/ 2632457 h 6479439"/>
              <a:gd name="connsiteX5281" fmla="*/ 8625095 w 9586368"/>
              <a:gd name="connsiteY5281" fmla="*/ 2632457 h 6479439"/>
              <a:gd name="connsiteX5282" fmla="*/ 8629114 w 9586368"/>
              <a:gd name="connsiteY5282" fmla="*/ 2636496 h 6479439"/>
              <a:gd name="connsiteX5283" fmla="*/ 8629114 w 9586368"/>
              <a:gd name="connsiteY5283" fmla="*/ 2646366 h 6479439"/>
              <a:gd name="connsiteX5284" fmla="*/ 8625095 w 9586368"/>
              <a:gd name="connsiteY5284" fmla="*/ 2650405 h 6479439"/>
              <a:gd name="connsiteX5285" fmla="*/ 8615184 w 9586368"/>
              <a:gd name="connsiteY5285" fmla="*/ 2650405 h 6479439"/>
              <a:gd name="connsiteX5286" fmla="*/ 8611165 w 9586368"/>
              <a:gd name="connsiteY5286" fmla="*/ 2646366 h 6479439"/>
              <a:gd name="connsiteX5287" fmla="*/ 8611165 w 9586368"/>
              <a:gd name="connsiteY5287" fmla="*/ 2636496 h 6479439"/>
              <a:gd name="connsiteX5288" fmla="*/ 8375869 w 9586368"/>
              <a:gd name="connsiteY5288" fmla="*/ 2632457 h 6479439"/>
              <a:gd name="connsiteX5289" fmla="*/ 8385779 w 9586368"/>
              <a:gd name="connsiteY5289" fmla="*/ 2632457 h 6479439"/>
              <a:gd name="connsiteX5290" fmla="*/ 8389799 w 9586368"/>
              <a:gd name="connsiteY5290" fmla="*/ 2636496 h 6479439"/>
              <a:gd name="connsiteX5291" fmla="*/ 8389799 w 9586368"/>
              <a:gd name="connsiteY5291" fmla="*/ 2646366 h 6479439"/>
              <a:gd name="connsiteX5292" fmla="*/ 8385779 w 9586368"/>
              <a:gd name="connsiteY5292" fmla="*/ 2650405 h 6479439"/>
              <a:gd name="connsiteX5293" fmla="*/ 8375869 w 9586368"/>
              <a:gd name="connsiteY5293" fmla="*/ 2650405 h 6479439"/>
              <a:gd name="connsiteX5294" fmla="*/ 8371850 w 9586368"/>
              <a:gd name="connsiteY5294" fmla="*/ 2646366 h 6479439"/>
              <a:gd name="connsiteX5295" fmla="*/ 8371850 w 9586368"/>
              <a:gd name="connsiteY5295" fmla="*/ 2636496 h 6479439"/>
              <a:gd name="connsiteX5296" fmla="*/ 8136553 w 9586368"/>
              <a:gd name="connsiteY5296" fmla="*/ 2632457 h 6479439"/>
              <a:gd name="connsiteX5297" fmla="*/ 8146464 w 9586368"/>
              <a:gd name="connsiteY5297" fmla="*/ 2632457 h 6479439"/>
              <a:gd name="connsiteX5298" fmla="*/ 8150483 w 9586368"/>
              <a:gd name="connsiteY5298" fmla="*/ 2636496 h 6479439"/>
              <a:gd name="connsiteX5299" fmla="*/ 8150483 w 9586368"/>
              <a:gd name="connsiteY5299" fmla="*/ 2646366 h 6479439"/>
              <a:gd name="connsiteX5300" fmla="*/ 8146464 w 9586368"/>
              <a:gd name="connsiteY5300" fmla="*/ 2650405 h 6479439"/>
              <a:gd name="connsiteX5301" fmla="*/ 8136553 w 9586368"/>
              <a:gd name="connsiteY5301" fmla="*/ 2650405 h 6479439"/>
              <a:gd name="connsiteX5302" fmla="*/ 8132534 w 9586368"/>
              <a:gd name="connsiteY5302" fmla="*/ 2646366 h 6479439"/>
              <a:gd name="connsiteX5303" fmla="*/ 8132534 w 9586368"/>
              <a:gd name="connsiteY5303" fmla="*/ 2636496 h 6479439"/>
              <a:gd name="connsiteX5304" fmla="*/ 7897241 w 9586368"/>
              <a:gd name="connsiteY5304" fmla="*/ 2632457 h 6479439"/>
              <a:gd name="connsiteX5305" fmla="*/ 7907151 w 9586368"/>
              <a:gd name="connsiteY5305" fmla="*/ 2632457 h 6479439"/>
              <a:gd name="connsiteX5306" fmla="*/ 7911170 w 9586368"/>
              <a:gd name="connsiteY5306" fmla="*/ 2636496 h 6479439"/>
              <a:gd name="connsiteX5307" fmla="*/ 7911170 w 9586368"/>
              <a:gd name="connsiteY5307" fmla="*/ 2646366 h 6479439"/>
              <a:gd name="connsiteX5308" fmla="*/ 7907151 w 9586368"/>
              <a:gd name="connsiteY5308" fmla="*/ 2650405 h 6479439"/>
              <a:gd name="connsiteX5309" fmla="*/ 7897241 w 9586368"/>
              <a:gd name="connsiteY5309" fmla="*/ 2650405 h 6479439"/>
              <a:gd name="connsiteX5310" fmla="*/ 7893222 w 9586368"/>
              <a:gd name="connsiteY5310" fmla="*/ 2646366 h 6479439"/>
              <a:gd name="connsiteX5311" fmla="*/ 7893222 w 9586368"/>
              <a:gd name="connsiteY5311" fmla="*/ 2636496 h 6479439"/>
              <a:gd name="connsiteX5312" fmla="*/ 7657926 w 9586368"/>
              <a:gd name="connsiteY5312" fmla="*/ 2632457 h 6479439"/>
              <a:gd name="connsiteX5313" fmla="*/ 7667836 w 9586368"/>
              <a:gd name="connsiteY5313" fmla="*/ 2632457 h 6479439"/>
              <a:gd name="connsiteX5314" fmla="*/ 7671855 w 9586368"/>
              <a:gd name="connsiteY5314" fmla="*/ 2636496 h 6479439"/>
              <a:gd name="connsiteX5315" fmla="*/ 7671855 w 9586368"/>
              <a:gd name="connsiteY5315" fmla="*/ 2646366 h 6479439"/>
              <a:gd name="connsiteX5316" fmla="*/ 7667836 w 9586368"/>
              <a:gd name="connsiteY5316" fmla="*/ 2650405 h 6479439"/>
              <a:gd name="connsiteX5317" fmla="*/ 7657926 w 9586368"/>
              <a:gd name="connsiteY5317" fmla="*/ 2650405 h 6479439"/>
              <a:gd name="connsiteX5318" fmla="*/ 7653906 w 9586368"/>
              <a:gd name="connsiteY5318" fmla="*/ 2646366 h 6479439"/>
              <a:gd name="connsiteX5319" fmla="*/ 7653906 w 9586368"/>
              <a:gd name="connsiteY5319" fmla="*/ 2636496 h 6479439"/>
              <a:gd name="connsiteX5320" fmla="*/ 7418611 w 9586368"/>
              <a:gd name="connsiteY5320" fmla="*/ 2632457 h 6479439"/>
              <a:gd name="connsiteX5321" fmla="*/ 7428521 w 9586368"/>
              <a:gd name="connsiteY5321" fmla="*/ 2632457 h 6479439"/>
              <a:gd name="connsiteX5322" fmla="*/ 7432540 w 9586368"/>
              <a:gd name="connsiteY5322" fmla="*/ 2636496 h 6479439"/>
              <a:gd name="connsiteX5323" fmla="*/ 7432540 w 9586368"/>
              <a:gd name="connsiteY5323" fmla="*/ 2646366 h 6479439"/>
              <a:gd name="connsiteX5324" fmla="*/ 7428521 w 9586368"/>
              <a:gd name="connsiteY5324" fmla="*/ 2650405 h 6479439"/>
              <a:gd name="connsiteX5325" fmla="*/ 7418611 w 9586368"/>
              <a:gd name="connsiteY5325" fmla="*/ 2650405 h 6479439"/>
              <a:gd name="connsiteX5326" fmla="*/ 7414592 w 9586368"/>
              <a:gd name="connsiteY5326" fmla="*/ 2646366 h 6479439"/>
              <a:gd name="connsiteX5327" fmla="*/ 7414592 w 9586368"/>
              <a:gd name="connsiteY5327" fmla="*/ 2636496 h 6479439"/>
              <a:gd name="connsiteX5328" fmla="*/ 7179298 w 9586368"/>
              <a:gd name="connsiteY5328" fmla="*/ 2632457 h 6479439"/>
              <a:gd name="connsiteX5329" fmla="*/ 7189209 w 9586368"/>
              <a:gd name="connsiteY5329" fmla="*/ 2632457 h 6479439"/>
              <a:gd name="connsiteX5330" fmla="*/ 7193228 w 9586368"/>
              <a:gd name="connsiteY5330" fmla="*/ 2636496 h 6479439"/>
              <a:gd name="connsiteX5331" fmla="*/ 7193228 w 9586368"/>
              <a:gd name="connsiteY5331" fmla="*/ 2646366 h 6479439"/>
              <a:gd name="connsiteX5332" fmla="*/ 7189209 w 9586368"/>
              <a:gd name="connsiteY5332" fmla="*/ 2650405 h 6479439"/>
              <a:gd name="connsiteX5333" fmla="*/ 7179298 w 9586368"/>
              <a:gd name="connsiteY5333" fmla="*/ 2650405 h 6479439"/>
              <a:gd name="connsiteX5334" fmla="*/ 7175279 w 9586368"/>
              <a:gd name="connsiteY5334" fmla="*/ 2646366 h 6479439"/>
              <a:gd name="connsiteX5335" fmla="*/ 7175279 w 9586368"/>
              <a:gd name="connsiteY5335" fmla="*/ 2636496 h 6479439"/>
              <a:gd name="connsiteX5336" fmla="*/ 6939983 w 9586368"/>
              <a:gd name="connsiteY5336" fmla="*/ 2632457 h 6479439"/>
              <a:gd name="connsiteX5337" fmla="*/ 6949894 w 9586368"/>
              <a:gd name="connsiteY5337" fmla="*/ 2632457 h 6479439"/>
              <a:gd name="connsiteX5338" fmla="*/ 6953913 w 9586368"/>
              <a:gd name="connsiteY5338" fmla="*/ 2636496 h 6479439"/>
              <a:gd name="connsiteX5339" fmla="*/ 6953913 w 9586368"/>
              <a:gd name="connsiteY5339" fmla="*/ 2646366 h 6479439"/>
              <a:gd name="connsiteX5340" fmla="*/ 6949894 w 9586368"/>
              <a:gd name="connsiteY5340" fmla="*/ 2650405 h 6479439"/>
              <a:gd name="connsiteX5341" fmla="*/ 6939983 w 9586368"/>
              <a:gd name="connsiteY5341" fmla="*/ 2650405 h 6479439"/>
              <a:gd name="connsiteX5342" fmla="*/ 6935964 w 9586368"/>
              <a:gd name="connsiteY5342" fmla="*/ 2646366 h 6479439"/>
              <a:gd name="connsiteX5343" fmla="*/ 6935964 w 9586368"/>
              <a:gd name="connsiteY5343" fmla="*/ 2636496 h 6479439"/>
              <a:gd name="connsiteX5344" fmla="*/ 6700670 w 9586368"/>
              <a:gd name="connsiteY5344" fmla="*/ 2632457 h 6479439"/>
              <a:gd name="connsiteX5345" fmla="*/ 6710581 w 9586368"/>
              <a:gd name="connsiteY5345" fmla="*/ 2632457 h 6479439"/>
              <a:gd name="connsiteX5346" fmla="*/ 6714600 w 9586368"/>
              <a:gd name="connsiteY5346" fmla="*/ 2636496 h 6479439"/>
              <a:gd name="connsiteX5347" fmla="*/ 6714600 w 9586368"/>
              <a:gd name="connsiteY5347" fmla="*/ 2646366 h 6479439"/>
              <a:gd name="connsiteX5348" fmla="*/ 6710581 w 9586368"/>
              <a:gd name="connsiteY5348" fmla="*/ 2650405 h 6479439"/>
              <a:gd name="connsiteX5349" fmla="*/ 6700670 w 9586368"/>
              <a:gd name="connsiteY5349" fmla="*/ 2650405 h 6479439"/>
              <a:gd name="connsiteX5350" fmla="*/ 6696651 w 9586368"/>
              <a:gd name="connsiteY5350" fmla="*/ 2646366 h 6479439"/>
              <a:gd name="connsiteX5351" fmla="*/ 6696651 w 9586368"/>
              <a:gd name="connsiteY5351" fmla="*/ 2636496 h 6479439"/>
              <a:gd name="connsiteX5352" fmla="*/ 6461356 w 9586368"/>
              <a:gd name="connsiteY5352" fmla="*/ 2632457 h 6479439"/>
              <a:gd name="connsiteX5353" fmla="*/ 6471266 w 9586368"/>
              <a:gd name="connsiteY5353" fmla="*/ 2632457 h 6479439"/>
              <a:gd name="connsiteX5354" fmla="*/ 6475285 w 9586368"/>
              <a:gd name="connsiteY5354" fmla="*/ 2636496 h 6479439"/>
              <a:gd name="connsiteX5355" fmla="*/ 6475285 w 9586368"/>
              <a:gd name="connsiteY5355" fmla="*/ 2646366 h 6479439"/>
              <a:gd name="connsiteX5356" fmla="*/ 6471266 w 9586368"/>
              <a:gd name="connsiteY5356" fmla="*/ 2650405 h 6479439"/>
              <a:gd name="connsiteX5357" fmla="*/ 6461356 w 9586368"/>
              <a:gd name="connsiteY5357" fmla="*/ 2650405 h 6479439"/>
              <a:gd name="connsiteX5358" fmla="*/ 6457337 w 9586368"/>
              <a:gd name="connsiteY5358" fmla="*/ 2646366 h 6479439"/>
              <a:gd name="connsiteX5359" fmla="*/ 6457337 w 9586368"/>
              <a:gd name="connsiteY5359" fmla="*/ 2636496 h 6479439"/>
              <a:gd name="connsiteX5360" fmla="*/ 6222042 w 9586368"/>
              <a:gd name="connsiteY5360" fmla="*/ 2632457 h 6479439"/>
              <a:gd name="connsiteX5361" fmla="*/ 6231952 w 9586368"/>
              <a:gd name="connsiteY5361" fmla="*/ 2632457 h 6479439"/>
              <a:gd name="connsiteX5362" fmla="*/ 6235971 w 9586368"/>
              <a:gd name="connsiteY5362" fmla="*/ 2636496 h 6479439"/>
              <a:gd name="connsiteX5363" fmla="*/ 6235971 w 9586368"/>
              <a:gd name="connsiteY5363" fmla="*/ 2646366 h 6479439"/>
              <a:gd name="connsiteX5364" fmla="*/ 6231952 w 9586368"/>
              <a:gd name="connsiteY5364" fmla="*/ 2650405 h 6479439"/>
              <a:gd name="connsiteX5365" fmla="*/ 6222042 w 9586368"/>
              <a:gd name="connsiteY5365" fmla="*/ 2650405 h 6479439"/>
              <a:gd name="connsiteX5366" fmla="*/ 6218023 w 9586368"/>
              <a:gd name="connsiteY5366" fmla="*/ 2646366 h 6479439"/>
              <a:gd name="connsiteX5367" fmla="*/ 6218023 w 9586368"/>
              <a:gd name="connsiteY5367" fmla="*/ 2636496 h 6479439"/>
              <a:gd name="connsiteX5368" fmla="*/ 5982729 w 9586368"/>
              <a:gd name="connsiteY5368" fmla="*/ 2632457 h 6479439"/>
              <a:gd name="connsiteX5369" fmla="*/ 5992639 w 9586368"/>
              <a:gd name="connsiteY5369" fmla="*/ 2632457 h 6479439"/>
              <a:gd name="connsiteX5370" fmla="*/ 5996658 w 9586368"/>
              <a:gd name="connsiteY5370" fmla="*/ 2636496 h 6479439"/>
              <a:gd name="connsiteX5371" fmla="*/ 5996658 w 9586368"/>
              <a:gd name="connsiteY5371" fmla="*/ 2646366 h 6479439"/>
              <a:gd name="connsiteX5372" fmla="*/ 5992639 w 9586368"/>
              <a:gd name="connsiteY5372" fmla="*/ 2650405 h 6479439"/>
              <a:gd name="connsiteX5373" fmla="*/ 5982729 w 9586368"/>
              <a:gd name="connsiteY5373" fmla="*/ 2650405 h 6479439"/>
              <a:gd name="connsiteX5374" fmla="*/ 5978710 w 9586368"/>
              <a:gd name="connsiteY5374" fmla="*/ 2646366 h 6479439"/>
              <a:gd name="connsiteX5375" fmla="*/ 5978710 w 9586368"/>
              <a:gd name="connsiteY5375" fmla="*/ 2636496 h 6479439"/>
              <a:gd name="connsiteX5376" fmla="*/ 5743412 w 9586368"/>
              <a:gd name="connsiteY5376" fmla="*/ 2632457 h 6479439"/>
              <a:gd name="connsiteX5377" fmla="*/ 5753323 w 9586368"/>
              <a:gd name="connsiteY5377" fmla="*/ 2632457 h 6479439"/>
              <a:gd name="connsiteX5378" fmla="*/ 5757342 w 9586368"/>
              <a:gd name="connsiteY5378" fmla="*/ 2636496 h 6479439"/>
              <a:gd name="connsiteX5379" fmla="*/ 5757342 w 9586368"/>
              <a:gd name="connsiteY5379" fmla="*/ 2646366 h 6479439"/>
              <a:gd name="connsiteX5380" fmla="*/ 5753323 w 9586368"/>
              <a:gd name="connsiteY5380" fmla="*/ 2650405 h 6479439"/>
              <a:gd name="connsiteX5381" fmla="*/ 5743412 w 9586368"/>
              <a:gd name="connsiteY5381" fmla="*/ 2650405 h 6479439"/>
              <a:gd name="connsiteX5382" fmla="*/ 5739393 w 9586368"/>
              <a:gd name="connsiteY5382" fmla="*/ 2646366 h 6479439"/>
              <a:gd name="connsiteX5383" fmla="*/ 5739393 w 9586368"/>
              <a:gd name="connsiteY5383" fmla="*/ 2636496 h 6479439"/>
              <a:gd name="connsiteX5384" fmla="*/ 5504099 w 9586368"/>
              <a:gd name="connsiteY5384" fmla="*/ 2632457 h 6479439"/>
              <a:gd name="connsiteX5385" fmla="*/ 5514010 w 9586368"/>
              <a:gd name="connsiteY5385" fmla="*/ 2632457 h 6479439"/>
              <a:gd name="connsiteX5386" fmla="*/ 5518029 w 9586368"/>
              <a:gd name="connsiteY5386" fmla="*/ 2636496 h 6479439"/>
              <a:gd name="connsiteX5387" fmla="*/ 5518029 w 9586368"/>
              <a:gd name="connsiteY5387" fmla="*/ 2646366 h 6479439"/>
              <a:gd name="connsiteX5388" fmla="*/ 5514010 w 9586368"/>
              <a:gd name="connsiteY5388" fmla="*/ 2650405 h 6479439"/>
              <a:gd name="connsiteX5389" fmla="*/ 5504099 w 9586368"/>
              <a:gd name="connsiteY5389" fmla="*/ 2650405 h 6479439"/>
              <a:gd name="connsiteX5390" fmla="*/ 5500080 w 9586368"/>
              <a:gd name="connsiteY5390" fmla="*/ 2646366 h 6479439"/>
              <a:gd name="connsiteX5391" fmla="*/ 5500080 w 9586368"/>
              <a:gd name="connsiteY5391" fmla="*/ 2636496 h 6479439"/>
              <a:gd name="connsiteX5392" fmla="*/ 5264784 w 9586368"/>
              <a:gd name="connsiteY5392" fmla="*/ 2632457 h 6479439"/>
              <a:gd name="connsiteX5393" fmla="*/ 5274694 w 9586368"/>
              <a:gd name="connsiteY5393" fmla="*/ 2632457 h 6479439"/>
              <a:gd name="connsiteX5394" fmla="*/ 5278713 w 9586368"/>
              <a:gd name="connsiteY5394" fmla="*/ 2636496 h 6479439"/>
              <a:gd name="connsiteX5395" fmla="*/ 5278713 w 9586368"/>
              <a:gd name="connsiteY5395" fmla="*/ 2646366 h 6479439"/>
              <a:gd name="connsiteX5396" fmla="*/ 5274694 w 9586368"/>
              <a:gd name="connsiteY5396" fmla="*/ 2650405 h 6479439"/>
              <a:gd name="connsiteX5397" fmla="*/ 5264784 w 9586368"/>
              <a:gd name="connsiteY5397" fmla="*/ 2650405 h 6479439"/>
              <a:gd name="connsiteX5398" fmla="*/ 5260765 w 9586368"/>
              <a:gd name="connsiteY5398" fmla="*/ 2646366 h 6479439"/>
              <a:gd name="connsiteX5399" fmla="*/ 5260765 w 9586368"/>
              <a:gd name="connsiteY5399" fmla="*/ 2636496 h 6479439"/>
              <a:gd name="connsiteX5400" fmla="*/ 5025470 w 9586368"/>
              <a:gd name="connsiteY5400" fmla="*/ 2632457 h 6479439"/>
              <a:gd name="connsiteX5401" fmla="*/ 5035381 w 9586368"/>
              <a:gd name="connsiteY5401" fmla="*/ 2632457 h 6479439"/>
              <a:gd name="connsiteX5402" fmla="*/ 5039400 w 9586368"/>
              <a:gd name="connsiteY5402" fmla="*/ 2636496 h 6479439"/>
              <a:gd name="connsiteX5403" fmla="*/ 5039400 w 9586368"/>
              <a:gd name="connsiteY5403" fmla="*/ 2646366 h 6479439"/>
              <a:gd name="connsiteX5404" fmla="*/ 5035381 w 9586368"/>
              <a:gd name="connsiteY5404" fmla="*/ 2650405 h 6479439"/>
              <a:gd name="connsiteX5405" fmla="*/ 5025470 w 9586368"/>
              <a:gd name="connsiteY5405" fmla="*/ 2650405 h 6479439"/>
              <a:gd name="connsiteX5406" fmla="*/ 5021451 w 9586368"/>
              <a:gd name="connsiteY5406" fmla="*/ 2646366 h 6479439"/>
              <a:gd name="connsiteX5407" fmla="*/ 5021451 w 9586368"/>
              <a:gd name="connsiteY5407" fmla="*/ 2636496 h 6479439"/>
              <a:gd name="connsiteX5408" fmla="*/ 4786241 w 9586368"/>
              <a:gd name="connsiteY5408" fmla="*/ 2632457 h 6479439"/>
              <a:gd name="connsiteX5409" fmla="*/ 4796152 w 9586368"/>
              <a:gd name="connsiteY5409" fmla="*/ 2632457 h 6479439"/>
              <a:gd name="connsiteX5410" fmla="*/ 4800171 w 9586368"/>
              <a:gd name="connsiteY5410" fmla="*/ 2636496 h 6479439"/>
              <a:gd name="connsiteX5411" fmla="*/ 4800171 w 9586368"/>
              <a:gd name="connsiteY5411" fmla="*/ 2646366 h 6479439"/>
              <a:gd name="connsiteX5412" fmla="*/ 4796152 w 9586368"/>
              <a:gd name="connsiteY5412" fmla="*/ 2650405 h 6479439"/>
              <a:gd name="connsiteX5413" fmla="*/ 4786241 w 9586368"/>
              <a:gd name="connsiteY5413" fmla="*/ 2650405 h 6479439"/>
              <a:gd name="connsiteX5414" fmla="*/ 4782224 w 9586368"/>
              <a:gd name="connsiteY5414" fmla="*/ 2646366 h 6479439"/>
              <a:gd name="connsiteX5415" fmla="*/ 4782224 w 9586368"/>
              <a:gd name="connsiteY5415" fmla="*/ 2636496 h 6479439"/>
              <a:gd name="connsiteX5416" fmla="*/ 4546929 w 9586368"/>
              <a:gd name="connsiteY5416" fmla="*/ 2632457 h 6479439"/>
              <a:gd name="connsiteX5417" fmla="*/ 4556840 w 9586368"/>
              <a:gd name="connsiteY5417" fmla="*/ 2632457 h 6479439"/>
              <a:gd name="connsiteX5418" fmla="*/ 4560859 w 9586368"/>
              <a:gd name="connsiteY5418" fmla="*/ 2636496 h 6479439"/>
              <a:gd name="connsiteX5419" fmla="*/ 4560859 w 9586368"/>
              <a:gd name="connsiteY5419" fmla="*/ 2646366 h 6479439"/>
              <a:gd name="connsiteX5420" fmla="*/ 4556840 w 9586368"/>
              <a:gd name="connsiteY5420" fmla="*/ 2650405 h 6479439"/>
              <a:gd name="connsiteX5421" fmla="*/ 4546929 w 9586368"/>
              <a:gd name="connsiteY5421" fmla="*/ 2650405 h 6479439"/>
              <a:gd name="connsiteX5422" fmla="*/ 4542910 w 9586368"/>
              <a:gd name="connsiteY5422" fmla="*/ 2646366 h 6479439"/>
              <a:gd name="connsiteX5423" fmla="*/ 4542910 w 9586368"/>
              <a:gd name="connsiteY5423" fmla="*/ 2636496 h 6479439"/>
              <a:gd name="connsiteX5424" fmla="*/ 4307612 w 9586368"/>
              <a:gd name="connsiteY5424" fmla="*/ 2632457 h 6479439"/>
              <a:gd name="connsiteX5425" fmla="*/ 4317523 w 9586368"/>
              <a:gd name="connsiteY5425" fmla="*/ 2632457 h 6479439"/>
              <a:gd name="connsiteX5426" fmla="*/ 4321543 w 9586368"/>
              <a:gd name="connsiteY5426" fmla="*/ 2636496 h 6479439"/>
              <a:gd name="connsiteX5427" fmla="*/ 4321543 w 9586368"/>
              <a:gd name="connsiteY5427" fmla="*/ 2646366 h 6479439"/>
              <a:gd name="connsiteX5428" fmla="*/ 4317523 w 9586368"/>
              <a:gd name="connsiteY5428" fmla="*/ 2650405 h 6479439"/>
              <a:gd name="connsiteX5429" fmla="*/ 4307612 w 9586368"/>
              <a:gd name="connsiteY5429" fmla="*/ 2650405 h 6479439"/>
              <a:gd name="connsiteX5430" fmla="*/ 4303595 w 9586368"/>
              <a:gd name="connsiteY5430" fmla="*/ 2646366 h 6479439"/>
              <a:gd name="connsiteX5431" fmla="*/ 4303595 w 9586368"/>
              <a:gd name="connsiteY5431" fmla="*/ 2636496 h 6479439"/>
              <a:gd name="connsiteX5432" fmla="*/ 4068297 w 9586368"/>
              <a:gd name="connsiteY5432" fmla="*/ 2632457 h 6479439"/>
              <a:gd name="connsiteX5433" fmla="*/ 4078210 w 9586368"/>
              <a:gd name="connsiteY5433" fmla="*/ 2632457 h 6479439"/>
              <a:gd name="connsiteX5434" fmla="*/ 4082229 w 9586368"/>
              <a:gd name="connsiteY5434" fmla="*/ 2636496 h 6479439"/>
              <a:gd name="connsiteX5435" fmla="*/ 4082229 w 9586368"/>
              <a:gd name="connsiteY5435" fmla="*/ 2646366 h 6479439"/>
              <a:gd name="connsiteX5436" fmla="*/ 4078210 w 9586368"/>
              <a:gd name="connsiteY5436" fmla="*/ 2650405 h 6479439"/>
              <a:gd name="connsiteX5437" fmla="*/ 4068297 w 9586368"/>
              <a:gd name="connsiteY5437" fmla="*/ 2650405 h 6479439"/>
              <a:gd name="connsiteX5438" fmla="*/ 4064278 w 9586368"/>
              <a:gd name="connsiteY5438" fmla="*/ 2646366 h 6479439"/>
              <a:gd name="connsiteX5439" fmla="*/ 4064278 w 9586368"/>
              <a:gd name="connsiteY5439" fmla="*/ 2636496 h 6479439"/>
              <a:gd name="connsiteX5440" fmla="*/ 3828990 w 9586368"/>
              <a:gd name="connsiteY5440" fmla="*/ 2632457 h 6479439"/>
              <a:gd name="connsiteX5441" fmla="*/ 3838899 w 9586368"/>
              <a:gd name="connsiteY5441" fmla="*/ 2632457 h 6479439"/>
              <a:gd name="connsiteX5442" fmla="*/ 3842917 w 9586368"/>
              <a:gd name="connsiteY5442" fmla="*/ 2636496 h 6479439"/>
              <a:gd name="connsiteX5443" fmla="*/ 3842917 w 9586368"/>
              <a:gd name="connsiteY5443" fmla="*/ 2646366 h 6479439"/>
              <a:gd name="connsiteX5444" fmla="*/ 3838899 w 9586368"/>
              <a:gd name="connsiteY5444" fmla="*/ 2650405 h 6479439"/>
              <a:gd name="connsiteX5445" fmla="*/ 3828990 w 9586368"/>
              <a:gd name="connsiteY5445" fmla="*/ 2650405 h 6479439"/>
              <a:gd name="connsiteX5446" fmla="*/ 3824971 w 9586368"/>
              <a:gd name="connsiteY5446" fmla="*/ 2646366 h 6479439"/>
              <a:gd name="connsiteX5447" fmla="*/ 3824971 w 9586368"/>
              <a:gd name="connsiteY5447" fmla="*/ 2636496 h 6479439"/>
              <a:gd name="connsiteX5448" fmla="*/ 3589676 w 9586368"/>
              <a:gd name="connsiteY5448" fmla="*/ 2632457 h 6479439"/>
              <a:gd name="connsiteX5449" fmla="*/ 3599585 w 9586368"/>
              <a:gd name="connsiteY5449" fmla="*/ 2632457 h 6479439"/>
              <a:gd name="connsiteX5450" fmla="*/ 3603604 w 9586368"/>
              <a:gd name="connsiteY5450" fmla="*/ 2636496 h 6479439"/>
              <a:gd name="connsiteX5451" fmla="*/ 3603604 w 9586368"/>
              <a:gd name="connsiteY5451" fmla="*/ 2646366 h 6479439"/>
              <a:gd name="connsiteX5452" fmla="*/ 3599585 w 9586368"/>
              <a:gd name="connsiteY5452" fmla="*/ 2650405 h 6479439"/>
              <a:gd name="connsiteX5453" fmla="*/ 3589676 w 9586368"/>
              <a:gd name="connsiteY5453" fmla="*/ 2650405 h 6479439"/>
              <a:gd name="connsiteX5454" fmla="*/ 3585657 w 9586368"/>
              <a:gd name="connsiteY5454" fmla="*/ 2646366 h 6479439"/>
              <a:gd name="connsiteX5455" fmla="*/ 3585657 w 9586368"/>
              <a:gd name="connsiteY5455" fmla="*/ 2636496 h 6479439"/>
              <a:gd name="connsiteX5456" fmla="*/ 3350359 w 9586368"/>
              <a:gd name="connsiteY5456" fmla="*/ 2632457 h 6479439"/>
              <a:gd name="connsiteX5457" fmla="*/ 3360268 w 9586368"/>
              <a:gd name="connsiteY5457" fmla="*/ 2632457 h 6479439"/>
              <a:gd name="connsiteX5458" fmla="*/ 3364287 w 9586368"/>
              <a:gd name="connsiteY5458" fmla="*/ 2636496 h 6479439"/>
              <a:gd name="connsiteX5459" fmla="*/ 3364287 w 9586368"/>
              <a:gd name="connsiteY5459" fmla="*/ 2646366 h 6479439"/>
              <a:gd name="connsiteX5460" fmla="*/ 3360268 w 9586368"/>
              <a:gd name="connsiteY5460" fmla="*/ 2650405 h 6479439"/>
              <a:gd name="connsiteX5461" fmla="*/ 3350359 w 9586368"/>
              <a:gd name="connsiteY5461" fmla="*/ 2650405 h 6479439"/>
              <a:gd name="connsiteX5462" fmla="*/ 3346340 w 9586368"/>
              <a:gd name="connsiteY5462" fmla="*/ 2646366 h 6479439"/>
              <a:gd name="connsiteX5463" fmla="*/ 3346340 w 9586368"/>
              <a:gd name="connsiteY5463" fmla="*/ 2636496 h 6479439"/>
              <a:gd name="connsiteX5464" fmla="*/ 3111048 w 9586368"/>
              <a:gd name="connsiteY5464" fmla="*/ 2632457 h 6479439"/>
              <a:gd name="connsiteX5465" fmla="*/ 3120959 w 9586368"/>
              <a:gd name="connsiteY5465" fmla="*/ 2632457 h 6479439"/>
              <a:gd name="connsiteX5466" fmla="*/ 3124977 w 9586368"/>
              <a:gd name="connsiteY5466" fmla="*/ 2636496 h 6479439"/>
              <a:gd name="connsiteX5467" fmla="*/ 3124977 w 9586368"/>
              <a:gd name="connsiteY5467" fmla="*/ 2646366 h 6479439"/>
              <a:gd name="connsiteX5468" fmla="*/ 3120959 w 9586368"/>
              <a:gd name="connsiteY5468" fmla="*/ 2650405 h 6479439"/>
              <a:gd name="connsiteX5469" fmla="*/ 3111048 w 9586368"/>
              <a:gd name="connsiteY5469" fmla="*/ 2650405 h 6479439"/>
              <a:gd name="connsiteX5470" fmla="*/ 3107029 w 9586368"/>
              <a:gd name="connsiteY5470" fmla="*/ 2646366 h 6479439"/>
              <a:gd name="connsiteX5471" fmla="*/ 3107029 w 9586368"/>
              <a:gd name="connsiteY5471" fmla="*/ 2636496 h 6479439"/>
              <a:gd name="connsiteX5472" fmla="*/ 2871737 w 9586368"/>
              <a:gd name="connsiteY5472" fmla="*/ 2632457 h 6479439"/>
              <a:gd name="connsiteX5473" fmla="*/ 2881646 w 9586368"/>
              <a:gd name="connsiteY5473" fmla="*/ 2632457 h 6479439"/>
              <a:gd name="connsiteX5474" fmla="*/ 2885666 w 9586368"/>
              <a:gd name="connsiteY5474" fmla="*/ 2636496 h 6479439"/>
              <a:gd name="connsiteX5475" fmla="*/ 2885666 w 9586368"/>
              <a:gd name="connsiteY5475" fmla="*/ 2646366 h 6479439"/>
              <a:gd name="connsiteX5476" fmla="*/ 2881646 w 9586368"/>
              <a:gd name="connsiteY5476" fmla="*/ 2650405 h 6479439"/>
              <a:gd name="connsiteX5477" fmla="*/ 2871737 w 9586368"/>
              <a:gd name="connsiteY5477" fmla="*/ 2650405 h 6479439"/>
              <a:gd name="connsiteX5478" fmla="*/ 2867717 w 9586368"/>
              <a:gd name="connsiteY5478" fmla="*/ 2646366 h 6479439"/>
              <a:gd name="connsiteX5479" fmla="*/ 2867717 w 9586368"/>
              <a:gd name="connsiteY5479" fmla="*/ 2636496 h 6479439"/>
              <a:gd name="connsiteX5480" fmla="*/ 2632423 w 9586368"/>
              <a:gd name="connsiteY5480" fmla="*/ 2632457 h 6479439"/>
              <a:gd name="connsiteX5481" fmla="*/ 2642334 w 9586368"/>
              <a:gd name="connsiteY5481" fmla="*/ 2632457 h 6479439"/>
              <a:gd name="connsiteX5482" fmla="*/ 2646352 w 9586368"/>
              <a:gd name="connsiteY5482" fmla="*/ 2636496 h 6479439"/>
              <a:gd name="connsiteX5483" fmla="*/ 2646352 w 9586368"/>
              <a:gd name="connsiteY5483" fmla="*/ 2646366 h 6479439"/>
              <a:gd name="connsiteX5484" fmla="*/ 2642334 w 9586368"/>
              <a:gd name="connsiteY5484" fmla="*/ 2650405 h 6479439"/>
              <a:gd name="connsiteX5485" fmla="*/ 2632423 w 9586368"/>
              <a:gd name="connsiteY5485" fmla="*/ 2650405 h 6479439"/>
              <a:gd name="connsiteX5486" fmla="*/ 2628404 w 9586368"/>
              <a:gd name="connsiteY5486" fmla="*/ 2646366 h 6479439"/>
              <a:gd name="connsiteX5487" fmla="*/ 2628404 w 9586368"/>
              <a:gd name="connsiteY5487" fmla="*/ 2636496 h 6479439"/>
              <a:gd name="connsiteX5488" fmla="*/ 2393104 w 9586368"/>
              <a:gd name="connsiteY5488" fmla="*/ 2632457 h 6479439"/>
              <a:gd name="connsiteX5489" fmla="*/ 2403015 w 9586368"/>
              <a:gd name="connsiteY5489" fmla="*/ 2632457 h 6479439"/>
              <a:gd name="connsiteX5490" fmla="*/ 2407034 w 9586368"/>
              <a:gd name="connsiteY5490" fmla="*/ 2636496 h 6479439"/>
              <a:gd name="connsiteX5491" fmla="*/ 2407034 w 9586368"/>
              <a:gd name="connsiteY5491" fmla="*/ 2646366 h 6479439"/>
              <a:gd name="connsiteX5492" fmla="*/ 2403015 w 9586368"/>
              <a:gd name="connsiteY5492" fmla="*/ 2650405 h 6479439"/>
              <a:gd name="connsiteX5493" fmla="*/ 2393104 w 9586368"/>
              <a:gd name="connsiteY5493" fmla="*/ 2650405 h 6479439"/>
              <a:gd name="connsiteX5494" fmla="*/ 2389087 w 9586368"/>
              <a:gd name="connsiteY5494" fmla="*/ 2646366 h 6479439"/>
              <a:gd name="connsiteX5495" fmla="*/ 2389087 w 9586368"/>
              <a:gd name="connsiteY5495" fmla="*/ 2636496 h 6479439"/>
              <a:gd name="connsiteX5496" fmla="*/ 2157821 w 9586368"/>
              <a:gd name="connsiteY5496" fmla="*/ 2632457 h 6479439"/>
              <a:gd name="connsiteX5497" fmla="*/ 2167732 w 9586368"/>
              <a:gd name="connsiteY5497" fmla="*/ 2632457 h 6479439"/>
              <a:gd name="connsiteX5498" fmla="*/ 2171750 w 9586368"/>
              <a:gd name="connsiteY5498" fmla="*/ 2636496 h 6479439"/>
              <a:gd name="connsiteX5499" fmla="*/ 2171750 w 9586368"/>
              <a:gd name="connsiteY5499" fmla="*/ 2646366 h 6479439"/>
              <a:gd name="connsiteX5500" fmla="*/ 2167732 w 9586368"/>
              <a:gd name="connsiteY5500" fmla="*/ 2650405 h 6479439"/>
              <a:gd name="connsiteX5501" fmla="*/ 2157821 w 9586368"/>
              <a:gd name="connsiteY5501" fmla="*/ 2650405 h 6479439"/>
              <a:gd name="connsiteX5502" fmla="*/ 2153802 w 9586368"/>
              <a:gd name="connsiteY5502" fmla="*/ 2646366 h 6479439"/>
              <a:gd name="connsiteX5503" fmla="*/ 2153802 w 9586368"/>
              <a:gd name="connsiteY5503" fmla="*/ 2636496 h 6479439"/>
              <a:gd name="connsiteX5504" fmla="*/ 1918513 w 9586368"/>
              <a:gd name="connsiteY5504" fmla="*/ 2632457 h 6479439"/>
              <a:gd name="connsiteX5505" fmla="*/ 1928422 w 9586368"/>
              <a:gd name="connsiteY5505" fmla="*/ 2632457 h 6479439"/>
              <a:gd name="connsiteX5506" fmla="*/ 1932441 w 9586368"/>
              <a:gd name="connsiteY5506" fmla="*/ 2636496 h 6479439"/>
              <a:gd name="connsiteX5507" fmla="*/ 1932441 w 9586368"/>
              <a:gd name="connsiteY5507" fmla="*/ 2646366 h 6479439"/>
              <a:gd name="connsiteX5508" fmla="*/ 1928422 w 9586368"/>
              <a:gd name="connsiteY5508" fmla="*/ 2650405 h 6479439"/>
              <a:gd name="connsiteX5509" fmla="*/ 1918513 w 9586368"/>
              <a:gd name="connsiteY5509" fmla="*/ 2650405 h 6479439"/>
              <a:gd name="connsiteX5510" fmla="*/ 1914494 w 9586368"/>
              <a:gd name="connsiteY5510" fmla="*/ 2646366 h 6479439"/>
              <a:gd name="connsiteX5511" fmla="*/ 1914494 w 9586368"/>
              <a:gd name="connsiteY5511" fmla="*/ 2636496 h 6479439"/>
              <a:gd name="connsiteX5512" fmla="*/ 1679212 w 9586368"/>
              <a:gd name="connsiteY5512" fmla="*/ 2632457 h 6479439"/>
              <a:gd name="connsiteX5513" fmla="*/ 1689122 w 9586368"/>
              <a:gd name="connsiteY5513" fmla="*/ 2632457 h 6479439"/>
              <a:gd name="connsiteX5514" fmla="*/ 1693141 w 9586368"/>
              <a:gd name="connsiteY5514" fmla="*/ 2636496 h 6479439"/>
              <a:gd name="connsiteX5515" fmla="*/ 1693141 w 9586368"/>
              <a:gd name="connsiteY5515" fmla="*/ 2646366 h 6479439"/>
              <a:gd name="connsiteX5516" fmla="*/ 1689122 w 9586368"/>
              <a:gd name="connsiteY5516" fmla="*/ 2650405 h 6479439"/>
              <a:gd name="connsiteX5517" fmla="*/ 1679212 w 9586368"/>
              <a:gd name="connsiteY5517" fmla="*/ 2650405 h 6479439"/>
              <a:gd name="connsiteX5518" fmla="*/ 1675193 w 9586368"/>
              <a:gd name="connsiteY5518" fmla="*/ 2646366 h 6479439"/>
              <a:gd name="connsiteX5519" fmla="*/ 1675193 w 9586368"/>
              <a:gd name="connsiteY5519" fmla="*/ 2636496 h 6479439"/>
              <a:gd name="connsiteX5520" fmla="*/ 1439896 w 9586368"/>
              <a:gd name="connsiteY5520" fmla="*/ 2632457 h 6479439"/>
              <a:gd name="connsiteX5521" fmla="*/ 1449806 w 9586368"/>
              <a:gd name="connsiteY5521" fmla="*/ 2632457 h 6479439"/>
              <a:gd name="connsiteX5522" fmla="*/ 1453824 w 9586368"/>
              <a:gd name="connsiteY5522" fmla="*/ 2636496 h 6479439"/>
              <a:gd name="connsiteX5523" fmla="*/ 1453824 w 9586368"/>
              <a:gd name="connsiteY5523" fmla="*/ 2646366 h 6479439"/>
              <a:gd name="connsiteX5524" fmla="*/ 1449806 w 9586368"/>
              <a:gd name="connsiteY5524" fmla="*/ 2650405 h 6479439"/>
              <a:gd name="connsiteX5525" fmla="*/ 1439896 w 9586368"/>
              <a:gd name="connsiteY5525" fmla="*/ 2650405 h 6479439"/>
              <a:gd name="connsiteX5526" fmla="*/ 1435876 w 9586368"/>
              <a:gd name="connsiteY5526" fmla="*/ 2646366 h 6479439"/>
              <a:gd name="connsiteX5527" fmla="*/ 1435876 w 9586368"/>
              <a:gd name="connsiteY5527" fmla="*/ 2636496 h 6479439"/>
              <a:gd name="connsiteX5528" fmla="*/ 1200580 w 9586368"/>
              <a:gd name="connsiteY5528" fmla="*/ 2632457 h 6479439"/>
              <a:gd name="connsiteX5529" fmla="*/ 1210490 w 9586368"/>
              <a:gd name="connsiteY5529" fmla="*/ 2632457 h 6479439"/>
              <a:gd name="connsiteX5530" fmla="*/ 1214509 w 9586368"/>
              <a:gd name="connsiteY5530" fmla="*/ 2636496 h 6479439"/>
              <a:gd name="connsiteX5531" fmla="*/ 1214509 w 9586368"/>
              <a:gd name="connsiteY5531" fmla="*/ 2646366 h 6479439"/>
              <a:gd name="connsiteX5532" fmla="*/ 1210490 w 9586368"/>
              <a:gd name="connsiteY5532" fmla="*/ 2650405 h 6479439"/>
              <a:gd name="connsiteX5533" fmla="*/ 1200580 w 9586368"/>
              <a:gd name="connsiteY5533" fmla="*/ 2650405 h 6479439"/>
              <a:gd name="connsiteX5534" fmla="*/ 1196561 w 9586368"/>
              <a:gd name="connsiteY5534" fmla="*/ 2646366 h 6479439"/>
              <a:gd name="connsiteX5535" fmla="*/ 1196561 w 9586368"/>
              <a:gd name="connsiteY5535" fmla="*/ 2636496 h 6479439"/>
              <a:gd name="connsiteX5536" fmla="*/ 961267 w 9586368"/>
              <a:gd name="connsiteY5536" fmla="*/ 2632457 h 6479439"/>
              <a:gd name="connsiteX5537" fmla="*/ 971178 w 9586368"/>
              <a:gd name="connsiteY5537" fmla="*/ 2632457 h 6479439"/>
              <a:gd name="connsiteX5538" fmla="*/ 975196 w 9586368"/>
              <a:gd name="connsiteY5538" fmla="*/ 2636496 h 6479439"/>
              <a:gd name="connsiteX5539" fmla="*/ 975196 w 9586368"/>
              <a:gd name="connsiteY5539" fmla="*/ 2646366 h 6479439"/>
              <a:gd name="connsiteX5540" fmla="*/ 971178 w 9586368"/>
              <a:gd name="connsiteY5540" fmla="*/ 2650405 h 6479439"/>
              <a:gd name="connsiteX5541" fmla="*/ 961267 w 9586368"/>
              <a:gd name="connsiteY5541" fmla="*/ 2650405 h 6479439"/>
              <a:gd name="connsiteX5542" fmla="*/ 957249 w 9586368"/>
              <a:gd name="connsiteY5542" fmla="*/ 2646366 h 6479439"/>
              <a:gd name="connsiteX5543" fmla="*/ 957249 w 9586368"/>
              <a:gd name="connsiteY5543" fmla="*/ 2636496 h 6479439"/>
              <a:gd name="connsiteX5544" fmla="*/ 721970 w 9586368"/>
              <a:gd name="connsiteY5544" fmla="*/ 2632457 h 6479439"/>
              <a:gd name="connsiteX5545" fmla="*/ 731879 w 9586368"/>
              <a:gd name="connsiteY5545" fmla="*/ 2632457 h 6479439"/>
              <a:gd name="connsiteX5546" fmla="*/ 735898 w 9586368"/>
              <a:gd name="connsiteY5546" fmla="*/ 2636496 h 6479439"/>
              <a:gd name="connsiteX5547" fmla="*/ 735898 w 9586368"/>
              <a:gd name="connsiteY5547" fmla="*/ 2646366 h 6479439"/>
              <a:gd name="connsiteX5548" fmla="*/ 731879 w 9586368"/>
              <a:gd name="connsiteY5548" fmla="*/ 2650405 h 6479439"/>
              <a:gd name="connsiteX5549" fmla="*/ 721970 w 9586368"/>
              <a:gd name="connsiteY5549" fmla="*/ 2650405 h 6479439"/>
              <a:gd name="connsiteX5550" fmla="*/ 717951 w 9586368"/>
              <a:gd name="connsiteY5550" fmla="*/ 2646366 h 6479439"/>
              <a:gd name="connsiteX5551" fmla="*/ 717951 w 9586368"/>
              <a:gd name="connsiteY5551" fmla="*/ 2636496 h 6479439"/>
              <a:gd name="connsiteX5552" fmla="*/ 482657 w 9586368"/>
              <a:gd name="connsiteY5552" fmla="*/ 2632457 h 6479439"/>
              <a:gd name="connsiteX5553" fmla="*/ 492567 w 9586368"/>
              <a:gd name="connsiteY5553" fmla="*/ 2632457 h 6479439"/>
              <a:gd name="connsiteX5554" fmla="*/ 496586 w 9586368"/>
              <a:gd name="connsiteY5554" fmla="*/ 2636496 h 6479439"/>
              <a:gd name="connsiteX5555" fmla="*/ 496586 w 9586368"/>
              <a:gd name="connsiteY5555" fmla="*/ 2646366 h 6479439"/>
              <a:gd name="connsiteX5556" fmla="*/ 492567 w 9586368"/>
              <a:gd name="connsiteY5556" fmla="*/ 2650405 h 6479439"/>
              <a:gd name="connsiteX5557" fmla="*/ 482657 w 9586368"/>
              <a:gd name="connsiteY5557" fmla="*/ 2650405 h 6479439"/>
              <a:gd name="connsiteX5558" fmla="*/ 478638 w 9586368"/>
              <a:gd name="connsiteY5558" fmla="*/ 2646366 h 6479439"/>
              <a:gd name="connsiteX5559" fmla="*/ 478638 w 9586368"/>
              <a:gd name="connsiteY5559" fmla="*/ 2636496 h 6479439"/>
              <a:gd name="connsiteX5560" fmla="*/ 243344 w 9586368"/>
              <a:gd name="connsiteY5560" fmla="*/ 2632457 h 6479439"/>
              <a:gd name="connsiteX5561" fmla="*/ 253254 w 9586368"/>
              <a:gd name="connsiteY5561" fmla="*/ 2632457 h 6479439"/>
              <a:gd name="connsiteX5562" fmla="*/ 257273 w 9586368"/>
              <a:gd name="connsiteY5562" fmla="*/ 2636496 h 6479439"/>
              <a:gd name="connsiteX5563" fmla="*/ 257273 w 9586368"/>
              <a:gd name="connsiteY5563" fmla="*/ 2646366 h 6479439"/>
              <a:gd name="connsiteX5564" fmla="*/ 253254 w 9586368"/>
              <a:gd name="connsiteY5564" fmla="*/ 2650405 h 6479439"/>
              <a:gd name="connsiteX5565" fmla="*/ 243344 w 9586368"/>
              <a:gd name="connsiteY5565" fmla="*/ 2650405 h 6479439"/>
              <a:gd name="connsiteX5566" fmla="*/ 239325 w 9586368"/>
              <a:gd name="connsiteY5566" fmla="*/ 2646366 h 6479439"/>
              <a:gd name="connsiteX5567" fmla="*/ 239325 w 9586368"/>
              <a:gd name="connsiteY5567" fmla="*/ 2636496 h 6479439"/>
              <a:gd name="connsiteX5568" fmla="*/ 4030 w 9586368"/>
              <a:gd name="connsiteY5568" fmla="*/ 2632457 h 6479439"/>
              <a:gd name="connsiteX5569" fmla="*/ 13941 w 9586368"/>
              <a:gd name="connsiteY5569" fmla="*/ 2632457 h 6479439"/>
              <a:gd name="connsiteX5570" fmla="*/ 17960 w 9586368"/>
              <a:gd name="connsiteY5570" fmla="*/ 2636496 h 6479439"/>
              <a:gd name="connsiteX5571" fmla="*/ 17960 w 9586368"/>
              <a:gd name="connsiteY5571" fmla="*/ 2646366 h 6479439"/>
              <a:gd name="connsiteX5572" fmla="*/ 13941 w 9586368"/>
              <a:gd name="connsiteY5572" fmla="*/ 2650405 h 6479439"/>
              <a:gd name="connsiteX5573" fmla="*/ 4030 w 9586368"/>
              <a:gd name="connsiteY5573" fmla="*/ 2650405 h 6479439"/>
              <a:gd name="connsiteX5574" fmla="*/ 11 w 9586368"/>
              <a:gd name="connsiteY5574" fmla="*/ 2646366 h 6479439"/>
              <a:gd name="connsiteX5575" fmla="*/ 11 w 9586368"/>
              <a:gd name="connsiteY5575" fmla="*/ 2636496 h 6479439"/>
              <a:gd name="connsiteX5576" fmla="*/ 2157821 w 9586368"/>
              <a:gd name="connsiteY5576" fmla="*/ 2393178 h 6479439"/>
              <a:gd name="connsiteX5577" fmla="*/ 2167732 w 9586368"/>
              <a:gd name="connsiteY5577" fmla="*/ 2393178 h 6479439"/>
              <a:gd name="connsiteX5578" fmla="*/ 2171750 w 9586368"/>
              <a:gd name="connsiteY5578" fmla="*/ 2397216 h 6479439"/>
              <a:gd name="connsiteX5579" fmla="*/ 2171750 w 9586368"/>
              <a:gd name="connsiteY5579" fmla="*/ 2407087 h 6479439"/>
              <a:gd name="connsiteX5580" fmla="*/ 2167732 w 9586368"/>
              <a:gd name="connsiteY5580" fmla="*/ 2411126 h 6479439"/>
              <a:gd name="connsiteX5581" fmla="*/ 2157821 w 9586368"/>
              <a:gd name="connsiteY5581" fmla="*/ 2411126 h 6479439"/>
              <a:gd name="connsiteX5582" fmla="*/ 2153802 w 9586368"/>
              <a:gd name="connsiteY5582" fmla="*/ 2407087 h 6479439"/>
              <a:gd name="connsiteX5583" fmla="*/ 2153802 w 9586368"/>
              <a:gd name="connsiteY5583" fmla="*/ 2397216 h 6479439"/>
              <a:gd name="connsiteX5584" fmla="*/ 1918513 w 9586368"/>
              <a:gd name="connsiteY5584" fmla="*/ 2393178 h 6479439"/>
              <a:gd name="connsiteX5585" fmla="*/ 1928422 w 9586368"/>
              <a:gd name="connsiteY5585" fmla="*/ 2393178 h 6479439"/>
              <a:gd name="connsiteX5586" fmla="*/ 1932443 w 9586368"/>
              <a:gd name="connsiteY5586" fmla="*/ 2397216 h 6479439"/>
              <a:gd name="connsiteX5587" fmla="*/ 1932443 w 9586368"/>
              <a:gd name="connsiteY5587" fmla="*/ 2407087 h 6479439"/>
              <a:gd name="connsiteX5588" fmla="*/ 1928422 w 9586368"/>
              <a:gd name="connsiteY5588" fmla="*/ 2411126 h 6479439"/>
              <a:gd name="connsiteX5589" fmla="*/ 1918513 w 9586368"/>
              <a:gd name="connsiteY5589" fmla="*/ 2411126 h 6479439"/>
              <a:gd name="connsiteX5590" fmla="*/ 1914494 w 9586368"/>
              <a:gd name="connsiteY5590" fmla="*/ 2407087 h 6479439"/>
              <a:gd name="connsiteX5591" fmla="*/ 1914494 w 9586368"/>
              <a:gd name="connsiteY5591" fmla="*/ 2397216 h 6479439"/>
              <a:gd name="connsiteX5592" fmla="*/ 1679212 w 9586368"/>
              <a:gd name="connsiteY5592" fmla="*/ 2393178 h 6479439"/>
              <a:gd name="connsiteX5593" fmla="*/ 1689123 w 9586368"/>
              <a:gd name="connsiteY5593" fmla="*/ 2393178 h 6479439"/>
              <a:gd name="connsiteX5594" fmla="*/ 1693142 w 9586368"/>
              <a:gd name="connsiteY5594" fmla="*/ 2397216 h 6479439"/>
              <a:gd name="connsiteX5595" fmla="*/ 1693142 w 9586368"/>
              <a:gd name="connsiteY5595" fmla="*/ 2407087 h 6479439"/>
              <a:gd name="connsiteX5596" fmla="*/ 1689123 w 9586368"/>
              <a:gd name="connsiteY5596" fmla="*/ 2411126 h 6479439"/>
              <a:gd name="connsiteX5597" fmla="*/ 1679212 w 9586368"/>
              <a:gd name="connsiteY5597" fmla="*/ 2411126 h 6479439"/>
              <a:gd name="connsiteX5598" fmla="*/ 1675194 w 9586368"/>
              <a:gd name="connsiteY5598" fmla="*/ 2407087 h 6479439"/>
              <a:gd name="connsiteX5599" fmla="*/ 1675194 w 9586368"/>
              <a:gd name="connsiteY5599" fmla="*/ 2397216 h 6479439"/>
              <a:gd name="connsiteX5600" fmla="*/ 1439896 w 9586368"/>
              <a:gd name="connsiteY5600" fmla="*/ 2393178 h 6479439"/>
              <a:gd name="connsiteX5601" fmla="*/ 1449806 w 9586368"/>
              <a:gd name="connsiteY5601" fmla="*/ 2393178 h 6479439"/>
              <a:gd name="connsiteX5602" fmla="*/ 1453826 w 9586368"/>
              <a:gd name="connsiteY5602" fmla="*/ 2397216 h 6479439"/>
              <a:gd name="connsiteX5603" fmla="*/ 1453826 w 9586368"/>
              <a:gd name="connsiteY5603" fmla="*/ 2407087 h 6479439"/>
              <a:gd name="connsiteX5604" fmla="*/ 1449806 w 9586368"/>
              <a:gd name="connsiteY5604" fmla="*/ 2411126 h 6479439"/>
              <a:gd name="connsiteX5605" fmla="*/ 1439896 w 9586368"/>
              <a:gd name="connsiteY5605" fmla="*/ 2411126 h 6479439"/>
              <a:gd name="connsiteX5606" fmla="*/ 1435878 w 9586368"/>
              <a:gd name="connsiteY5606" fmla="*/ 2407087 h 6479439"/>
              <a:gd name="connsiteX5607" fmla="*/ 1435878 w 9586368"/>
              <a:gd name="connsiteY5607" fmla="*/ 2397216 h 6479439"/>
              <a:gd name="connsiteX5608" fmla="*/ 1200580 w 9586368"/>
              <a:gd name="connsiteY5608" fmla="*/ 2393178 h 6479439"/>
              <a:gd name="connsiteX5609" fmla="*/ 1210491 w 9586368"/>
              <a:gd name="connsiteY5609" fmla="*/ 2393178 h 6479439"/>
              <a:gd name="connsiteX5610" fmla="*/ 1214510 w 9586368"/>
              <a:gd name="connsiteY5610" fmla="*/ 2397216 h 6479439"/>
              <a:gd name="connsiteX5611" fmla="*/ 1214510 w 9586368"/>
              <a:gd name="connsiteY5611" fmla="*/ 2407087 h 6479439"/>
              <a:gd name="connsiteX5612" fmla="*/ 1210491 w 9586368"/>
              <a:gd name="connsiteY5612" fmla="*/ 2411126 h 6479439"/>
              <a:gd name="connsiteX5613" fmla="*/ 1200580 w 9586368"/>
              <a:gd name="connsiteY5613" fmla="*/ 2411126 h 6479439"/>
              <a:gd name="connsiteX5614" fmla="*/ 1196562 w 9586368"/>
              <a:gd name="connsiteY5614" fmla="*/ 2407087 h 6479439"/>
              <a:gd name="connsiteX5615" fmla="*/ 1196562 w 9586368"/>
              <a:gd name="connsiteY5615" fmla="*/ 2397216 h 6479439"/>
              <a:gd name="connsiteX5616" fmla="*/ 961268 w 9586368"/>
              <a:gd name="connsiteY5616" fmla="*/ 2393178 h 6479439"/>
              <a:gd name="connsiteX5617" fmla="*/ 971178 w 9586368"/>
              <a:gd name="connsiteY5617" fmla="*/ 2393178 h 6479439"/>
              <a:gd name="connsiteX5618" fmla="*/ 975196 w 9586368"/>
              <a:gd name="connsiteY5618" fmla="*/ 2397216 h 6479439"/>
              <a:gd name="connsiteX5619" fmla="*/ 975196 w 9586368"/>
              <a:gd name="connsiteY5619" fmla="*/ 2407087 h 6479439"/>
              <a:gd name="connsiteX5620" fmla="*/ 971178 w 9586368"/>
              <a:gd name="connsiteY5620" fmla="*/ 2411126 h 6479439"/>
              <a:gd name="connsiteX5621" fmla="*/ 961268 w 9586368"/>
              <a:gd name="connsiteY5621" fmla="*/ 2411126 h 6479439"/>
              <a:gd name="connsiteX5622" fmla="*/ 957249 w 9586368"/>
              <a:gd name="connsiteY5622" fmla="*/ 2407087 h 6479439"/>
              <a:gd name="connsiteX5623" fmla="*/ 957249 w 9586368"/>
              <a:gd name="connsiteY5623" fmla="*/ 2397216 h 6479439"/>
              <a:gd name="connsiteX5624" fmla="*/ 9572438 w 9586368"/>
              <a:gd name="connsiteY5624" fmla="*/ 2393127 h 6479439"/>
              <a:gd name="connsiteX5625" fmla="*/ 9582349 w 9586368"/>
              <a:gd name="connsiteY5625" fmla="*/ 2393127 h 6479439"/>
              <a:gd name="connsiteX5626" fmla="*/ 9586368 w 9586368"/>
              <a:gd name="connsiteY5626" fmla="*/ 2397165 h 6479439"/>
              <a:gd name="connsiteX5627" fmla="*/ 9586368 w 9586368"/>
              <a:gd name="connsiteY5627" fmla="*/ 2407036 h 6479439"/>
              <a:gd name="connsiteX5628" fmla="*/ 9582349 w 9586368"/>
              <a:gd name="connsiteY5628" fmla="*/ 2411074 h 6479439"/>
              <a:gd name="connsiteX5629" fmla="*/ 9572438 w 9586368"/>
              <a:gd name="connsiteY5629" fmla="*/ 2411074 h 6479439"/>
              <a:gd name="connsiteX5630" fmla="*/ 9568419 w 9586368"/>
              <a:gd name="connsiteY5630" fmla="*/ 2407036 h 6479439"/>
              <a:gd name="connsiteX5631" fmla="*/ 9568419 w 9586368"/>
              <a:gd name="connsiteY5631" fmla="*/ 2397165 h 6479439"/>
              <a:gd name="connsiteX5632" fmla="*/ 9333125 w 9586368"/>
              <a:gd name="connsiteY5632" fmla="*/ 2393127 h 6479439"/>
              <a:gd name="connsiteX5633" fmla="*/ 9343036 w 9586368"/>
              <a:gd name="connsiteY5633" fmla="*/ 2393127 h 6479439"/>
              <a:gd name="connsiteX5634" fmla="*/ 9347055 w 9586368"/>
              <a:gd name="connsiteY5634" fmla="*/ 2397165 h 6479439"/>
              <a:gd name="connsiteX5635" fmla="*/ 9347055 w 9586368"/>
              <a:gd name="connsiteY5635" fmla="*/ 2407036 h 6479439"/>
              <a:gd name="connsiteX5636" fmla="*/ 9343036 w 9586368"/>
              <a:gd name="connsiteY5636" fmla="*/ 2411074 h 6479439"/>
              <a:gd name="connsiteX5637" fmla="*/ 9333125 w 9586368"/>
              <a:gd name="connsiteY5637" fmla="*/ 2411074 h 6479439"/>
              <a:gd name="connsiteX5638" fmla="*/ 9329106 w 9586368"/>
              <a:gd name="connsiteY5638" fmla="*/ 2407036 h 6479439"/>
              <a:gd name="connsiteX5639" fmla="*/ 9329106 w 9586368"/>
              <a:gd name="connsiteY5639" fmla="*/ 2397165 h 6479439"/>
              <a:gd name="connsiteX5640" fmla="*/ 9093811 w 9586368"/>
              <a:gd name="connsiteY5640" fmla="*/ 2393127 h 6479439"/>
              <a:gd name="connsiteX5641" fmla="*/ 9103722 w 9586368"/>
              <a:gd name="connsiteY5641" fmla="*/ 2393127 h 6479439"/>
              <a:gd name="connsiteX5642" fmla="*/ 9107741 w 9586368"/>
              <a:gd name="connsiteY5642" fmla="*/ 2397165 h 6479439"/>
              <a:gd name="connsiteX5643" fmla="*/ 9107741 w 9586368"/>
              <a:gd name="connsiteY5643" fmla="*/ 2407036 h 6479439"/>
              <a:gd name="connsiteX5644" fmla="*/ 9103722 w 9586368"/>
              <a:gd name="connsiteY5644" fmla="*/ 2411074 h 6479439"/>
              <a:gd name="connsiteX5645" fmla="*/ 9093811 w 9586368"/>
              <a:gd name="connsiteY5645" fmla="*/ 2411074 h 6479439"/>
              <a:gd name="connsiteX5646" fmla="*/ 9089792 w 9586368"/>
              <a:gd name="connsiteY5646" fmla="*/ 2407036 h 6479439"/>
              <a:gd name="connsiteX5647" fmla="*/ 9089792 w 9586368"/>
              <a:gd name="connsiteY5647" fmla="*/ 2397165 h 6479439"/>
              <a:gd name="connsiteX5648" fmla="*/ 8854496 w 9586368"/>
              <a:gd name="connsiteY5648" fmla="*/ 2393127 h 6479439"/>
              <a:gd name="connsiteX5649" fmla="*/ 8864407 w 9586368"/>
              <a:gd name="connsiteY5649" fmla="*/ 2393127 h 6479439"/>
              <a:gd name="connsiteX5650" fmla="*/ 8868426 w 9586368"/>
              <a:gd name="connsiteY5650" fmla="*/ 2397165 h 6479439"/>
              <a:gd name="connsiteX5651" fmla="*/ 8868426 w 9586368"/>
              <a:gd name="connsiteY5651" fmla="*/ 2407036 h 6479439"/>
              <a:gd name="connsiteX5652" fmla="*/ 8864407 w 9586368"/>
              <a:gd name="connsiteY5652" fmla="*/ 2411074 h 6479439"/>
              <a:gd name="connsiteX5653" fmla="*/ 8854496 w 9586368"/>
              <a:gd name="connsiteY5653" fmla="*/ 2411074 h 6479439"/>
              <a:gd name="connsiteX5654" fmla="*/ 8850477 w 9586368"/>
              <a:gd name="connsiteY5654" fmla="*/ 2407036 h 6479439"/>
              <a:gd name="connsiteX5655" fmla="*/ 8850477 w 9586368"/>
              <a:gd name="connsiteY5655" fmla="*/ 2397165 h 6479439"/>
              <a:gd name="connsiteX5656" fmla="*/ 8615184 w 9586368"/>
              <a:gd name="connsiteY5656" fmla="*/ 2393127 h 6479439"/>
              <a:gd name="connsiteX5657" fmla="*/ 8625095 w 9586368"/>
              <a:gd name="connsiteY5657" fmla="*/ 2393127 h 6479439"/>
              <a:gd name="connsiteX5658" fmla="*/ 8629114 w 9586368"/>
              <a:gd name="connsiteY5658" fmla="*/ 2397165 h 6479439"/>
              <a:gd name="connsiteX5659" fmla="*/ 8629114 w 9586368"/>
              <a:gd name="connsiteY5659" fmla="*/ 2407036 h 6479439"/>
              <a:gd name="connsiteX5660" fmla="*/ 8625095 w 9586368"/>
              <a:gd name="connsiteY5660" fmla="*/ 2411074 h 6479439"/>
              <a:gd name="connsiteX5661" fmla="*/ 8615184 w 9586368"/>
              <a:gd name="connsiteY5661" fmla="*/ 2411074 h 6479439"/>
              <a:gd name="connsiteX5662" fmla="*/ 8611165 w 9586368"/>
              <a:gd name="connsiteY5662" fmla="*/ 2407036 h 6479439"/>
              <a:gd name="connsiteX5663" fmla="*/ 8611165 w 9586368"/>
              <a:gd name="connsiteY5663" fmla="*/ 2397165 h 6479439"/>
              <a:gd name="connsiteX5664" fmla="*/ 8375869 w 9586368"/>
              <a:gd name="connsiteY5664" fmla="*/ 2393127 h 6479439"/>
              <a:gd name="connsiteX5665" fmla="*/ 8385779 w 9586368"/>
              <a:gd name="connsiteY5665" fmla="*/ 2393127 h 6479439"/>
              <a:gd name="connsiteX5666" fmla="*/ 8389799 w 9586368"/>
              <a:gd name="connsiteY5666" fmla="*/ 2397165 h 6479439"/>
              <a:gd name="connsiteX5667" fmla="*/ 8389799 w 9586368"/>
              <a:gd name="connsiteY5667" fmla="*/ 2407036 h 6479439"/>
              <a:gd name="connsiteX5668" fmla="*/ 8385779 w 9586368"/>
              <a:gd name="connsiteY5668" fmla="*/ 2411074 h 6479439"/>
              <a:gd name="connsiteX5669" fmla="*/ 8375869 w 9586368"/>
              <a:gd name="connsiteY5669" fmla="*/ 2411074 h 6479439"/>
              <a:gd name="connsiteX5670" fmla="*/ 8371850 w 9586368"/>
              <a:gd name="connsiteY5670" fmla="*/ 2407036 h 6479439"/>
              <a:gd name="connsiteX5671" fmla="*/ 8371850 w 9586368"/>
              <a:gd name="connsiteY5671" fmla="*/ 2397165 h 6479439"/>
              <a:gd name="connsiteX5672" fmla="*/ 8136553 w 9586368"/>
              <a:gd name="connsiteY5672" fmla="*/ 2393127 h 6479439"/>
              <a:gd name="connsiteX5673" fmla="*/ 8146464 w 9586368"/>
              <a:gd name="connsiteY5673" fmla="*/ 2393127 h 6479439"/>
              <a:gd name="connsiteX5674" fmla="*/ 8150483 w 9586368"/>
              <a:gd name="connsiteY5674" fmla="*/ 2397165 h 6479439"/>
              <a:gd name="connsiteX5675" fmla="*/ 8150483 w 9586368"/>
              <a:gd name="connsiteY5675" fmla="*/ 2407036 h 6479439"/>
              <a:gd name="connsiteX5676" fmla="*/ 8146464 w 9586368"/>
              <a:gd name="connsiteY5676" fmla="*/ 2411074 h 6479439"/>
              <a:gd name="connsiteX5677" fmla="*/ 8136553 w 9586368"/>
              <a:gd name="connsiteY5677" fmla="*/ 2411074 h 6479439"/>
              <a:gd name="connsiteX5678" fmla="*/ 8132534 w 9586368"/>
              <a:gd name="connsiteY5678" fmla="*/ 2407036 h 6479439"/>
              <a:gd name="connsiteX5679" fmla="*/ 8132534 w 9586368"/>
              <a:gd name="connsiteY5679" fmla="*/ 2397165 h 6479439"/>
              <a:gd name="connsiteX5680" fmla="*/ 7897241 w 9586368"/>
              <a:gd name="connsiteY5680" fmla="*/ 2393127 h 6479439"/>
              <a:gd name="connsiteX5681" fmla="*/ 7907151 w 9586368"/>
              <a:gd name="connsiteY5681" fmla="*/ 2393127 h 6479439"/>
              <a:gd name="connsiteX5682" fmla="*/ 7911170 w 9586368"/>
              <a:gd name="connsiteY5682" fmla="*/ 2397165 h 6479439"/>
              <a:gd name="connsiteX5683" fmla="*/ 7911170 w 9586368"/>
              <a:gd name="connsiteY5683" fmla="*/ 2407036 h 6479439"/>
              <a:gd name="connsiteX5684" fmla="*/ 7907151 w 9586368"/>
              <a:gd name="connsiteY5684" fmla="*/ 2411074 h 6479439"/>
              <a:gd name="connsiteX5685" fmla="*/ 7897241 w 9586368"/>
              <a:gd name="connsiteY5685" fmla="*/ 2411074 h 6479439"/>
              <a:gd name="connsiteX5686" fmla="*/ 7893222 w 9586368"/>
              <a:gd name="connsiteY5686" fmla="*/ 2407036 h 6479439"/>
              <a:gd name="connsiteX5687" fmla="*/ 7893222 w 9586368"/>
              <a:gd name="connsiteY5687" fmla="*/ 2397165 h 6479439"/>
              <a:gd name="connsiteX5688" fmla="*/ 7657926 w 9586368"/>
              <a:gd name="connsiteY5688" fmla="*/ 2393127 h 6479439"/>
              <a:gd name="connsiteX5689" fmla="*/ 7667836 w 9586368"/>
              <a:gd name="connsiteY5689" fmla="*/ 2393127 h 6479439"/>
              <a:gd name="connsiteX5690" fmla="*/ 7671855 w 9586368"/>
              <a:gd name="connsiteY5690" fmla="*/ 2397165 h 6479439"/>
              <a:gd name="connsiteX5691" fmla="*/ 7671855 w 9586368"/>
              <a:gd name="connsiteY5691" fmla="*/ 2407036 h 6479439"/>
              <a:gd name="connsiteX5692" fmla="*/ 7667836 w 9586368"/>
              <a:gd name="connsiteY5692" fmla="*/ 2411074 h 6479439"/>
              <a:gd name="connsiteX5693" fmla="*/ 7657926 w 9586368"/>
              <a:gd name="connsiteY5693" fmla="*/ 2411074 h 6479439"/>
              <a:gd name="connsiteX5694" fmla="*/ 7653906 w 9586368"/>
              <a:gd name="connsiteY5694" fmla="*/ 2407036 h 6479439"/>
              <a:gd name="connsiteX5695" fmla="*/ 7653906 w 9586368"/>
              <a:gd name="connsiteY5695" fmla="*/ 2397165 h 6479439"/>
              <a:gd name="connsiteX5696" fmla="*/ 7418611 w 9586368"/>
              <a:gd name="connsiteY5696" fmla="*/ 2393127 h 6479439"/>
              <a:gd name="connsiteX5697" fmla="*/ 7428521 w 9586368"/>
              <a:gd name="connsiteY5697" fmla="*/ 2393127 h 6479439"/>
              <a:gd name="connsiteX5698" fmla="*/ 7432540 w 9586368"/>
              <a:gd name="connsiteY5698" fmla="*/ 2397165 h 6479439"/>
              <a:gd name="connsiteX5699" fmla="*/ 7432540 w 9586368"/>
              <a:gd name="connsiteY5699" fmla="*/ 2407036 h 6479439"/>
              <a:gd name="connsiteX5700" fmla="*/ 7428521 w 9586368"/>
              <a:gd name="connsiteY5700" fmla="*/ 2411074 h 6479439"/>
              <a:gd name="connsiteX5701" fmla="*/ 7418611 w 9586368"/>
              <a:gd name="connsiteY5701" fmla="*/ 2411074 h 6479439"/>
              <a:gd name="connsiteX5702" fmla="*/ 7414592 w 9586368"/>
              <a:gd name="connsiteY5702" fmla="*/ 2407036 h 6479439"/>
              <a:gd name="connsiteX5703" fmla="*/ 7414592 w 9586368"/>
              <a:gd name="connsiteY5703" fmla="*/ 2397165 h 6479439"/>
              <a:gd name="connsiteX5704" fmla="*/ 7179298 w 9586368"/>
              <a:gd name="connsiteY5704" fmla="*/ 2393127 h 6479439"/>
              <a:gd name="connsiteX5705" fmla="*/ 7189209 w 9586368"/>
              <a:gd name="connsiteY5705" fmla="*/ 2393127 h 6479439"/>
              <a:gd name="connsiteX5706" fmla="*/ 7193228 w 9586368"/>
              <a:gd name="connsiteY5706" fmla="*/ 2397165 h 6479439"/>
              <a:gd name="connsiteX5707" fmla="*/ 7193228 w 9586368"/>
              <a:gd name="connsiteY5707" fmla="*/ 2407036 h 6479439"/>
              <a:gd name="connsiteX5708" fmla="*/ 7189209 w 9586368"/>
              <a:gd name="connsiteY5708" fmla="*/ 2411074 h 6479439"/>
              <a:gd name="connsiteX5709" fmla="*/ 7179298 w 9586368"/>
              <a:gd name="connsiteY5709" fmla="*/ 2411074 h 6479439"/>
              <a:gd name="connsiteX5710" fmla="*/ 7175279 w 9586368"/>
              <a:gd name="connsiteY5710" fmla="*/ 2407036 h 6479439"/>
              <a:gd name="connsiteX5711" fmla="*/ 7175279 w 9586368"/>
              <a:gd name="connsiteY5711" fmla="*/ 2397165 h 6479439"/>
              <a:gd name="connsiteX5712" fmla="*/ 6939983 w 9586368"/>
              <a:gd name="connsiteY5712" fmla="*/ 2393127 h 6479439"/>
              <a:gd name="connsiteX5713" fmla="*/ 6949894 w 9586368"/>
              <a:gd name="connsiteY5713" fmla="*/ 2393127 h 6479439"/>
              <a:gd name="connsiteX5714" fmla="*/ 6953913 w 9586368"/>
              <a:gd name="connsiteY5714" fmla="*/ 2397165 h 6479439"/>
              <a:gd name="connsiteX5715" fmla="*/ 6953913 w 9586368"/>
              <a:gd name="connsiteY5715" fmla="*/ 2407036 h 6479439"/>
              <a:gd name="connsiteX5716" fmla="*/ 6949894 w 9586368"/>
              <a:gd name="connsiteY5716" fmla="*/ 2411074 h 6479439"/>
              <a:gd name="connsiteX5717" fmla="*/ 6939983 w 9586368"/>
              <a:gd name="connsiteY5717" fmla="*/ 2411074 h 6479439"/>
              <a:gd name="connsiteX5718" fmla="*/ 6935964 w 9586368"/>
              <a:gd name="connsiteY5718" fmla="*/ 2407036 h 6479439"/>
              <a:gd name="connsiteX5719" fmla="*/ 6935964 w 9586368"/>
              <a:gd name="connsiteY5719" fmla="*/ 2397165 h 6479439"/>
              <a:gd name="connsiteX5720" fmla="*/ 6700670 w 9586368"/>
              <a:gd name="connsiteY5720" fmla="*/ 2393127 h 6479439"/>
              <a:gd name="connsiteX5721" fmla="*/ 6710581 w 9586368"/>
              <a:gd name="connsiteY5721" fmla="*/ 2393127 h 6479439"/>
              <a:gd name="connsiteX5722" fmla="*/ 6714600 w 9586368"/>
              <a:gd name="connsiteY5722" fmla="*/ 2397165 h 6479439"/>
              <a:gd name="connsiteX5723" fmla="*/ 6714600 w 9586368"/>
              <a:gd name="connsiteY5723" fmla="*/ 2407036 h 6479439"/>
              <a:gd name="connsiteX5724" fmla="*/ 6710581 w 9586368"/>
              <a:gd name="connsiteY5724" fmla="*/ 2411074 h 6479439"/>
              <a:gd name="connsiteX5725" fmla="*/ 6700670 w 9586368"/>
              <a:gd name="connsiteY5725" fmla="*/ 2411074 h 6479439"/>
              <a:gd name="connsiteX5726" fmla="*/ 6696651 w 9586368"/>
              <a:gd name="connsiteY5726" fmla="*/ 2407036 h 6479439"/>
              <a:gd name="connsiteX5727" fmla="*/ 6696651 w 9586368"/>
              <a:gd name="connsiteY5727" fmla="*/ 2397165 h 6479439"/>
              <a:gd name="connsiteX5728" fmla="*/ 6461356 w 9586368"/>
              <a:gd name="connsiteY5728" fmla="*/ 2393127 h 6479439"/>
              <a:gd name="connsiteX5729" fmla="*/ 6471266 w 9586368"/>
              <a:gd name="connsiteY5729" fmla="*/ 2393127 h 6479439"/>
              <a:gd name="connsiteX5730" fmla="*/ 6475285 w 9586368"/>
              <a:gd name="connsiteY5730" fmla="*/ 2397165 h 6479439"/>
              <a:gd name="connsiteX5731" fmla="*/ 6475285 w 9586368"/>
              <a:gd name="connsiteY5731" fmla="*/ 2407036 h 6479439"/>
              <a:gd name="connsiteX5732" fmla="*/ 6471266 w 9586368"/>
              <a:gd name="connsiteY5732" fmla="*/ 2411074 h 6479439"/>
              <a:gd name="connsiteX5733" fmla="*/ 6461356 w 9586368"/>
              <a:gd name="connsiteY5733" fmla="*/ 2411074 h 6479439"/>
              <a:gd name="connsiteX5734" fmla="*/ 6457337 w 9586368"/>
              <a:gd name="connsiteY5734" fmla="*/ 2407036 h 6479439"/>
              <a:gd name="connsiteX5735" fmla="*/ 6457337 w 9586368"/>
              <a:gd name="connsiteY5735" fmla="*/ 2397165 h 6479439"/>
              <a:gd name="connsiteX5736" fmla="*/ 6222042 w 9586368"/>
              <a:gd name="connsiteY5736" fmla="*/ 2393127 h 6479439"/>
              <a:gd name="connsiteX5737" fmla="*/ 6231952 w 9586368"/>
              <a:gd name="connsiteY5737" fmla="*/ 2393127 h 6479439"/>
              <a:gd name="connsiteX5738" fmla="*/ 6235971 w 9586368"/>
              <a:gd name="connsiteY5738" fmla="*/ 2397165 h 6479439"/>
              <a:gd name="connsiteX5739" fmla="*/ 6235971 w 9586368"/>
              <a:gd name="connsiteY5739" fmla="*/ 2407036 h 6479439"/>
              <a:gd name="connsiteX5740" fmla="*/ 6231952 w 9586368"/>
              <a:gd name="connsiteY5740" fmla="*/ 2411074 h 6479439"/>
              <a:gd name="connsiteX5741" fmla="*/ 6222042 w 9586368"/>
              <a:gd name="connsiteY5741" fmla="*/ 2411074 h 6479439"/>
              <a:gd name="connsiteX5742" fmla="*/ 6218023 w 9586368"/>
              <a:gd name="connsiteY5742" fmla="*/ 2407036 h 6479439"/>
              <a:gd name="connsiteX5743" fmla="*/ 6218023 w 9586368"/>
              <a:gd name="connsiteY5743" fmla="*/ 2397165 h 6479439"/>
              <a:gd name="connsiteX5744" fmla="*/ 5982729 w 9586368"/>
              <a:gd name="connsiteY5744" fmla="*/ 2393127 h 6479439"/>
              <a:gd name="connsiteX5745" fmla="*/ 5992639 w 9586368"/>
              <a:gd name="connsiteY5745" fmla="*/ 2393127 h 6479439"/>
              <a:gd name="connsiteX5746" fmla="*/ 5996658 w 9586368"/>
              <a:gd name="connsiteY5746" fmla="*/ 2397165 h 6479439"/>
              <a:gd name="connsiteX5747" fmla="*/ 5996658 w 9586368"/>
              <a:gd name="connsiteY5747" fmla="*/ 2407036 h 6479439"/>
              <a:gd name="connsiteX5748" fmla="*/ 5992639 w 9586368"/>
              <a:gd name="connsiteY5748" fmla="*/ 2411074 h 6479439"/>
              <a:gd name="connsiteX5749" fmla="*/ 5982729 w 9586368"/>
              <a:gd name="connsiteY5749" fmla="*/ 2411074 h 6479439"/>
              <a:gd name="connsiteX5750" fmla="*/ 5978710 w 9586368"/>
              <a:gd name="connsiteY5750" fmla="*/ 2407036 h 6479439"/>
              <a:gd name="connsiteX5751" fmla="*/ 5978710 w 9586368"/>
              <a:gd name="connsiteY5751" fmla="*/ 2397165 h 6479439"/>
              <a:gd name="connsiteX5752" fmla="*/ 5743412 w 9586368"/>
              <a:gd name="connsiteY5752" fmla="*/ 2393127 h 6479439"/>
              <a:gd name="connsiteX5753" fmla="*/ 5753323 w 9586368"/>
              <a:gd name="connsiteY5753" fmla="*/ 2393127 h 6479439"/>
              <a:gd name="connsiteX5754" fmla="*/ 5757342 w 9586368"/>
              <a:gd name="connsiteY5754" fmla="*/ 2397165 h 6479439"/>
              <a:gd name="connsiteX5755" fmla="*/ 5757342 w 9586368"/>
              <a:gd name="connsiteY5755" fmla="*/ 2407036 h 6479439"/>
              <a:gd name="connsiteX5756" fmla="*/ 5753323 w 9586368"/>
              <a:gd name="connsiteY5756" fmla="*/ 2411074 h 6479439"/>
              <a:gd name="connsiteX5757" fmla="*/ 5743412 w 9586368"/>
              <a:gd name="connsiteY5757" fmla="*/ 2411074 h 6479439"/>
              <a:gd name="connsiteX5758" fmla="*/ 5739393 w 9586368"/>
              <a:gd name="connsiteY5758" fmla="*/ 2407036 h 6479439"/>
              <a:gd name="connsiteX5759" fmla="*/ 5739393 w 9586368"/>
              <a:gd name="connsiteY5759" fmla="*/ 2397165 h 6479439"/>
              <a:gd name="connsiteX5760" fmla="*/ 5504099 w 9586368"/>
              <a:gd name="connsiteY5760" fmla="*/ 2393127 h 6479439"/>
              <a:gd name="connsiteX5761" fmla="*/ 5514010 w 9586368"/>
              <a:gd name="connsiteY5761" fmla="*/ 2393127 h 6479439"/>
              <a:gd name="connsiteX5762" fmla="*/ 5518029 w 9586368"/>
              <a:gd name="connsiteY5762" fmla="*/ 2397165 h 6479439"/>
              <a:gd name="connsiteX5763" fmla="*/ 5518029 w 9586368"/>
              <a:gd name="connsiteY5763" fmla="*/ 2407036 h 6479439"/>
              <a:gd name="connsiteX5764" fmla="*/ 5514010 w 9586368"/>
              <a:gd name="connsiteY5764" fmla="*/ 2411074 h 6479439"/>
              <a:gd name="connsiteX5765" fmla="*/ 5504099 w 9586368"/>
              <a:gd name="connsiteY5765" fmla="*/ 2411074 h 6479439"/>
              <a:gd name="connsiteX5766" fmla="*/ 5500080 w 9586368"/>
              <a:gd name="connsiteY5766" fmla="*/ 2407036 h 6479439"/>
              <a:gd name="connsiteX5767" fmla="*/ 5500080 w 9586368"/>
              <a:gd name="connsiteY5767" fmla="*/ 2397165 h 6479439"/>
              <a:gd name="connsiteX5768" fmla="*/ 5264784 w 9586368"/>
              <a:gd name="connsiteY5768" fmla="*/ 2393127 h 6479439"/>
              <a:gd name="connsiteX5769" fmla="*/ 5274694 w 9586368"/>
              <a:gd name="connsiteY5769" fmla="*/ 2393127 h 6479439"/>
              <a:gd name="connsiteX5770" fmla="*/ 5278713 w 9586368"/>
              <a:gd name="connsiteY5770" fmla="*/ 2397165 h 6479439"/>
              <a:gd name="connsiteX5771" fmla="*/ 5278713 w 9586368"/>
              <a:gd name="connsiteY5771" fmla="*/ 2407036 h 6479439"/>
              <a:gd name="connsiteX5772" fmla="*/ 5274694 w 9586368"/>
              <a:gd name="connsiteY5772" fmla="*/ 2411074 h 6479439"/>
              <a:gd name="connsiteX5773" fmla="*/ 5264784 w 9586368"/>
              <a:gd name="connsiteY5773" fmla="*/ 2411074 h 6479439"/>
              <a:gd name="connsiteX5774" fmla="*/ 5260765 w 9586368"/>
              <a:gd name="connsiteY5774" fmla="*/ 2407036 h 6479439"/>
              <a:gd name="connsiteX5775" fmla="*/ 5260765 w 9586368"/>
              <a:gd name="connsiteY5775" fmla="*/ 2397165 h 6479439"/>
              <a:gd name="connsiteX5776" fmla="*/ 5025470 w 9586368"/>
              <a:gd name="connsiteY5776" fmla="*/ 2393127 h 6479439"/>
              <a:gd name="connsiteX5777" fmla="*/ 5035381 w 9586368"/>
              <a:gd name="connsiteY5777" fmla="*/ 2393127 h 6479439"/>
              <a:gd name="connsiteX5778" fmla="*/ 5039400 w 9586368"/>
              <a:gd name="connsiteY5778" fmla="*/ 2397165 h 6479439"/>
              <a:gd name="connsiteX5779" fmla="*/ 5039400 w 9586368"/>
              <a:gd name="connsiteY5779" fmla="*/ 2407036 h 6479439"/>
              <a:gd name="connsiteX5780" fmla="*/ 5035381 w 9586368"/>
              <a:gd name="connsiteY5780" fmla="*/ 2411074 h 6479439"/>
              <a:gd name="connsiteX5781" fmla="*/ 5025470 w 9586368"/>
              <a:gd name="connsiteY5781" fmla="*/ 2411074 h 6479439"/>
              <a:gd name="connsiteX5782" fmla="*/ 5021451 w 9586368"/>
              <a:gd name="connsiteY5782" fmla="*/ 2407036 h 6479439"/>
              <a:gd name="connsiteX5783" fmla="*/ 5021451 w 9586368"/>
              <a:gd name="connsiteY5783" fmla="*/ 2397165 h 6479439"/>
              <a:gd name="connsiteX5784" fmla="*/ 4786241 w 9586368"/>
              <a:gd name="connsiteY5784" fmla="*/ 2393127 h 6479439"/>
              <a:gd name="connsiteX5785" fmla="*/ 4796152 w 9586368"/>
              <a:gd name="connsiteY5785" fmla="*/ 2393127 h 6479439"/>
              <a:gd name="connsiteX5786" fmla="*/ 4800171 w 9586368"/>
              <a:gd name="connsiteY5786" fmla="*/ 2397165 h 6479439"/>
              <a:gd name="connsiteX5787" fmla="*/ 4800171 w 9586368"/>
              <a:gd name="connsiteY5787" fmla="*/ 2407036 h 6479439"/>
              <a:gd name="connsiteX5788" fmla="*/ 4796152 w 9586368"/>
              <a:gd name="connsiteY5788" fmla="*/ 2411074 h 6479439"/>
              <a:gd name="connsiteX5789" fmla="*/ 4786241 w 9586368"/>
              <a:gd name="connsiteY5789" fmla="*/ 2411074 h 6479439"/>
              <a:gd name="connsiteX5790" fmla="*/ 4782224 w 9586368"/>
              <a:gd name="connsiteY5790" fmla="*/ 2407036 h 6479439"/>
              <a:gd name="connsiteX5791" fmla="*/ 4782224 w 9586368"/>
              <a:gd name="connsiteY5791" fmla="*/ 2397165 h 6479439"/>
              <a:gd name="connsiteX5792" fmla="*/ 4546929 w 9586368"/>
              <a:gd name="connsiteY5792" fmla="*/ 2393127 h 6479439"/>
              <a:gd name="connsiteX5793" fmla="*/ 4556840 w 9586368"/>
              <a:gd name="connsiteY5793" fmla="*/ 2393127 h 6479439"/>
              <a:gd name="connsiteX5794" fmla="*/ 4560859 w 9586368"/>
              <a:gd name="connsiteY5794" fmla="*/ 2397165 h 6479439"/>
              <a:gd name="connsiteX5795" fmla="*/ 4560859 w 9586368"/>
              <a:gd name="connsiteY5795" fmla="*/ 2407036 h 6479439"/>
              <a:gd name="connsiteX5796" fmla="*/ 4556840 w 9586368"/>
              <a:gd name="connsiteY5796" fmla="*/ 2411074 h 6479439"/>
              <a:gd name="connsiteX5797" fmla="*/ 4546929 w 9586368"/>
              <a:gd name="connsiteY5797" fmla="*/ 2411074 h 6479439"/>
              <a:gd name="connsiteX5798" fmla="*/ 4542910 w 9586368"/>
              <a:gd name="connsiteY5798" fmla="*/ 2407036 h 6479439"/>
              <a:gd name="connsiteX5799" fmla="*/ 4542910 w 9586368"/>
              <a:gd name="connsiteY5799" fmla="*/ 2397165 h 6479439"/>
              <a:gd name="connsiteX5800" fmla="*/ 4307612 w 9586368"/>
              <a:gd name="connsiteY5800" fmla="*/ 2393127 h 6479439"/>
              <a:gd name="connsiteX5801" fmla="*/ 4317523 w 9586368"/>
              <a:gd name="connsiteY5801" fmla="*/ 2393127 h 6479439"/>
              <a:gd name="connsiteX5802" fmla="*/ 4321543 w 9586368"/>
              <a:gd name="connsiteY5802" fmla="*/ 2397165 h 6479439"/>
              <a:gd name="connsiteX5803" fmla="*/ 4321543 w 9586368"/>
              <a:gd name="connsiteY5803" fmla="*/ 2407036 h 6479439"/>
              <a:gd name="connsiteX5804" fmla="*/ 4317523 w 9586368"/>
              <a:gd name="connsiteY5804" fmla="*/ 2411074 h 6479439"/>
              <a:gd name="connsiteX5805" fmla="*/ 4307612 w 9586368"/>
              <a:gd name="connsiteY5805" fmla="*/ 2411074 h 6479439"/>
              <a:gd name="connsiteX5806" fmla="*/ 4303595 w 9586368"/>
              <a:gd name="connsiteY5806" fmla="*/ 2407036 h 6479439"/>
              <a:gd name="connsiteX5807" fmla="*/ 4303595 w 9586368"/>
              <a:gd name="connsiteY5807" fmla="*/ 2397165 h 6479439"/>
              <a:gd name="connsiteX5808" fmla="*/ 4068297 w 9586368"/>
              <a:gd name="connsiteY5808" fmla="*/ 2393127 h 6479439"/>
              <a:gd name="connsiteX5809" fmla="*/ 4078210 w 9586368"/>
              <a:gd name="connsiteY5809" fmla="*/ 2393127 h 6479439"/>
              <a:gd name="connsiteX5810" fmla="*/ 4082229 w 9586368"/>
              <a:gd name="connsiteY5810" fmla="*/ 2397165 h 6479439"/>
              <a:gd name="connsiteX5811" fmla="*/ 4082229 w 9586368"/>
              <a:gd name="connsiteY5811" fmla="*/ 2407036 h 6479439"/>
              <a:gd name="connsiteX5812" fmla="*/ 4078210 w 9586368"/>
              <a:gd name="connsiteY5812" fmla="*/ 2411074 h 6479439"/>
              <a:gd name="connsiteX5813" fmla="*/ 4068297 w 9586368"/>
              <a:gd name="connsiteY5813" fmla="*/ 2411074 h 6479439"/>
              <a:gd name="connsiteX5814" fmla="*/ 4064278 w 9586368"/>
              <a:gd name="connsiteY5814" fmla="*/ 2407036 h 6479439"/>
              <a:gd name="connsiteX5815" fmla="*/ 4064278 w 9586368"/>
              <a:gd name="connsiteY5815" fmla="*/ 2397165 h 6479439"/>
              <a:gd name="connsiteX5816" fmla="*/ 3828990 w 9586368"/>
              <a:gd name="connsiteY5816" fmla="*/ 2393127 h 6479439"/>
              <a:gd name="connsiteX5817" fmla="*/ 3838899 w 9586368"/>
              <a:gd name="connsiteY5817" fmla="*/ 2393127 h 6479439"/>
              <a:gd name="connsiteX5818" fmla="*/ 3842917 w 9586368"/>
              <a:gd name="connsiteY5818" fmla="*/ 2397165 h 6479439"/>
              <a:gd name="connsiteX5819" fmla="*/ 3842917 w 9586368"/>
              <a:gd name="connsiteY5819" fmla="*/ 2407036 h 6479439"/>
              <a:gd name="connsiteX5820" fmla="*/ 3838899 w 9586368"/>
              <a:gd name="connsiteY5820" fmla="*/ 2411074 h 6479439"/>
              <a:gd name="connsiteX5821" fmla="*/ 3828990 w 9586368"/>
              <a:gd name="connsiteY5821" fmla="*/ 2411074 h 6479439"/>
              <a:gd name="connsiteX5822" fmla="*/ 3824971 w 9586368"/>
              <a:gd name="connsiteY5822" fmla="*/ 2407036 h 6479439"/>
              <a:gd name="connsiteX5823" fmla="*/ 3824971 w 9586368"/>
              <a:gd name="connsiteY5823" fmla="*/ 2397165 h 6479439"/>
              <a:gd name="connsiteX5824" fmla="*/ 3589676 w 9586368"/>
              <a:gd name="connsiteY5824" fmla="*/ 2393127 h 6479439"/>
              <a:gd name="connsiteX5825" fmla="*/ 3599585 w 9586368"/>
              <a:gd name="connsiteY5825" fmla="*/ 2393127 h 6479439"/>
              <a:gd name="connsiteX5826" fmla="*/ 3603604 w 9586368"/>
              <a:gd name="connsiteY5826" fmla="*/ 2397165 h 6479439"/>
              <a:gd name="connsiteX5827" fmla="*/ 3603604 w 9586368"/>
              <a:gd name="connsiteY5827" fmla="*/ 2407036 h 6479439"/>
              <a:gd name="connsiteX5828" fmla="*/ 3599585 w 9586368"/>
              <a:gd name="connsiteY5828" fmla="*/ 2411074 h 6479439"/>
              <a:gd name="connsiteX5829" fmla="*/ 3589676 w 9586368"/>
              <a:gd name="connsiteY5829" fmla="*/ 2411074 h 6479439"/>
              <a:gd name="connsiteX5830" fmla="*/ 3585657 w 9586368"/>
              <a:gd name="connsiteY5830" fmla="*/ 2407036 h 6479439"/>
              <a:gd name="connsiteX5831" fmla="*/ 3585657 w 9586368"/>
              <a:gd name="connsiteY5831" fmla="*/ 2397165 h 6479439"/>
              <a:gd name="connsiteX5832" fmla="*/ 3350359 w 9586368"/>
              <a:gd name="connsiteY5832" fmla="*/ 2393127 h 6479439"/>
              <a:gd name="connsiteX5833" fmla="*/ 3360268 w 9586368"/>
              <a:gd name="connsiteY5833" fmla="*/ 2393127 h 6479439"/>
              <a:gd name="connsiteX5834" fmla="*/ 3364287 w 9586368"/>
              <a:gd name="connsiteY5834" fmla="*/ 2397165 h 6479439"/>
              <a:gd name="connsiteX5835" fmla="*/ 3364287 w 9586368"/>
              <a:gd name="connsiteY5835" fmla="*/ 2407036 h 6479439"/>
              <a:gd name="connsiteX5836" fmla="*/ 3360268 w 9586368"/>
              <a:gd name="connsiteY5836" fmla="*/ 2411074 h 6479439"/>
              <a:gd name="connsiteX5837" fmla="*/ 3350359 w 9586368"/>
              <a:gd name="connsiteY5837" fmla="*/ 2411074 h 6479439"/>
              <a:gd name="connsiteX5838" fmla="*/ 3346340 w 9586368"/>
              <a:gd name="connsiteY5838" fmla="*/ 2407036 h 6479439"/>
              <a:gd name="connsiteX5839" fmla="*/ 3346340 w 9586368"/>
              <a:gd name="connsiteY5839" fmla="*/ 2397165 h 6479439"/>
              <a:gd name="connsiteX5840" fmla="*/ 3111048 w 9586368"/>
              <a:gd name="connsiteY5840" fmla="*/ 2393127 h 6479439"/>
              <a:gd name="connsiteX5841" fmla="*/ 3120959 w 9586368"/>
              <a:gd name="connsiteY5841" fmla="*/ 2393127 h 6479439"/>
              <a:gd name="connsiteX5842" fmla="*/ 3124977 w 9586368"/>
              <a:gd name="connsiteY5842" fmla="*/ 2397165 h 6479439"/>
              <a:gd name="connsiteX5843" fmla="*/ 3124977 w 9586368"/>
              <a:gd name="connsiteY5843" fmla="*/ 2407036 h 6479439"/>
              <a:gd name="connsiteX5844" fmla="*/ 3120959 w 9586368"/>
              <a:gd name="connsiteY5844" fmla="*/ 2411074 h 6479439"/>
              <a:gd name="connsiteX5845" fmla="*/ 3111048 w 9586368"/>
              <a:gd name="connsiteY5845" fmla="*/ 2411074 h 6479439"/>
              <a:gd name="connsiteX5846" fmla="*/ 3107029 w 9586368"/>
              <a:gd name="connsiteY5846" fmla="*/ 2407036 h 6479439"/>
              <a:gd name="connsiteX5847" fmla="*/ 3107029 w 9586368"/>
              <a:gd name="connsiteY5847" fmla="*/ 2397165 h 6479439"/>
              <a:gd name="connsiteX5848" fmla="*/ 2871737 w 9586368"/>
              <a:gd name="connsiteY5848" fmla="*/ 2393127 h 6479439"/>
              <a:gd name="connsiteX5849" fmla="*/ 2881646 w 9586368"/>
              <a:gd name="connsiteY5849" fmla="*/ 2393127 h 6479439"/>
              <a:gd name="connsiteX5850" fmla="*/ 2885666 w 9586368"/>
              <a:gd name="connsiteY5850" fmla="*/ 2397165 h 6479439"/>
              <a:gd name="connsiteX5851" fmla="*/ 2885666 w 9586368"/>
              <a:gd name="connsiteY5851" fmla="*/ 2407036 h 6479439"/>
              <a:gd name="connsiteX5852" fmla="*/ 2881646 w 9586368"/>
              <a:gd name="connsiteY5852" fmla="*/ 2411074 h 6479439"/>
              <a:gd name="connsiteX5853" fmla="*/ 2871737 w 9586368"/>
              <a:gd name="connsiteY5853" fmla="*/ 2411074 h 6479439"/>
              <a:gd name="connsiteX5854" fmla="*/ 2867717 w 9586368"/>
              <a:gd name="connsiteY5854" fmla="*/ 2407036 h 6479439"/>
              <a:gd name="connsiteX5855" fmla="*/ 2867717 w 9586368"/>
              <a:gd name="connsiteY5855" fmla="*/ 2397165 h 6479439"/>
              <a:gd name="connsiteX5856" fmla="*/ 2632423 w 9586368"/>
              <a:gd name="connsiteY5856" fmla="*/ 2393127 h 6479439"/>
              <a:gd name="connsiteX5857" fmla="*/ 2642334 w 9586368"/>
              <a:gd name="connsiteY5857" fmla="*/ 2393127 h 6479439"/>
              <a:gd name="connsiteX5858" fmla="*/ 2646352 w 9586368"/>
              <a:gd name="connsiteY5858" fmla="*/ 2397165 h 6479439"/>
              <a:gd name="connsiteX5859" fmla="*/ 2646352 w 9586368"/>
              <a:gd name="connsiteY5859" fmla="*/ 2407036 h 6479439"/>
              <a:gd name="connsiteX5860" fmla="*/ 2642334 w 9586368"/>
              <a:gd name="connsiteY5860" fmla="*/ 2411074 h 6479439"/>
              <a:gd name="connsiteX5861" fmla="*/ 2632423 w 9586368"/>
              <a:gd name="connsiteY5861" fmla="*/ 2411074 h 6479439"/>
              <a:gd name="connsiteX5862" fmla="*/ 2628404 w 9586368"/>
              <a:gd name="connsiteY5862" fmla="*/ 2407036 h 6479439"/>
              <a:gd name="connsiteX5863" fmla="*/ 2628404 w 9586368"/>
              <a:gd name="connsiteY5863" fmla="*/ 2397165 h 6479439"/>
              <a:gd name="connsiteX5864" fmla="*/ 2393104 w 9586368"/>
              <a:gd name="connsiteY5864" fmla="*/ 2393127 h 6479439"/>
              <a:gd name="connsiteX5865" fmla="*/ 2403015 w 9586368"/>
              <a:gd name="connsiteY5865" fmla="*/ 2393127 h 6479439"/>
              <a:gd name="connsiteX5866" fmla="*/ 2407034 w 9586368"/>
              <a:gd name="connsiteY5866" fmla="*/ 2397165 h 6479439"/>
              <a:gd name="connsiteX5867" fmla="*/ 2407034 w 9586368"/>
              <a:gd name="connsiteY5867" fmla="*/ 2407036 h 6479439"/>
              <a:gd name="connsiteX5868" fmla="*/ 2403015 w 9586368"/>
              <a:gd name="connsiteY5868" fmla="*/ 2411074 h 6479439"/>
              <a:gd name="connsiteX5869" fmla="*/ 2393104 w 9586368"/>
              <a:gd name="connsiteY5869" fmla="*/ 2411074 h 6479439"/>
              <a:gd name="connsiteX5870" fmla="*/ 2389087 w 9586368"/>
              <a:gd name="connsiteY5870" fmla="*/ 2407036 h 6479439"/>
              <a:gd name="connsiteX5871" fmla="*/ 2389087 w 9586368"/>
              <a:gd name="connsiteY5871" fmla="*/ 2397165 h 6479439"/>
              <a:gd name="connsiteX5872" fmla="*/ 721970 w 9586368"/>
              <a:gd name="connsiteY5872" fmla="*/ 2393127 h 6479439"/>
              <a:gd name="connsiteX5873" fmla="*/ 731881 w 9586368"/>
              <a:gd name="connsiteY5873" fmla="*/ 2393127 h 6479439"/>
              <a:gd name="connsiteX5874" fmla="*/ 735899 w 9586368"/>
              <a:gd name="connsiteY5874" fmla="*/ 2397165 h 6479439"/>
              <a:gd name="connsiteX5875" fmla="*/ 735899 w 9586368"/>
              <a:gd name="connsiteY5875" fmla="*/ 2407036 h 6479439"/>
              <a:gd name="connsiteX5876" fmla="*/ 731881 w 9586368"/>
              <a:gd name="connsiteY5876" fmla="*/ 2411074 h 6479439"/>
              <a:gd name="connsiteX5877" fmla="*/ 721970 w 9586368"/>
              <a:gd name="connsiteY5877" fmla="*/ 2411074 h 6479439"/>
              <a:gd name="connsiteX5878" fmla="*/ 717951 w 9586368"/>
              <a:gd name="connsiteY5878" fmla="*/ 2407036 h 6479439"/>
              <a:gd name="connsiteX5879" fmla="*/ 717951 w 9586368"/>
              <a:gd name="connsiteY5879" fmla="*/ 2397165 h 6479439"/>
              <a:gd name="connsiteX5880" fmla="*/ 482658 w 9586368"/>
              <a:gd name="connsiteY5880" fmla="*/ 2393127 h 6479439"/>
              <a:gd name="connsiteX5881" fmla="*/ 492568 w 9586368"/>
              <a:gd name="connsiteY5881" fmla="*/ 2393127 h 6479439"/>
              <a:gd name="connsiteX5882" fmla="*/ 496588 w 9586368"/>
              <a:gd name="connsiteY5882" fmla="*/ 2397165 h 6479439"/>
              <a:gd name="connsiteX5883" fmla="*/ 496588 w 9586368"/>
              <a:gd name="connsiteY5883" fmla="*/ 2407036 h 6479439"/>
              <a:gd name="connsiteX5884" fmla="*/ 492568 w 9586368"/>
              <a:gd name="connsiteY5884" fmla="*/ 2411074 h 6479439"/>
              <a:gd name="connsiteX5885" fmla="*/ 482658 w 9586368"/>
              <a:gd name="connsiteY5885" fmla="*/ 2411074 h 6479439"/>
              <a:gd name="connsiteX5886" fmla="*/ 478639 w 9586368"/>
              <a:gd name="connsiteY5886" fmla="*/ 2407036 h 6479439"/>
              <a:gd name="connsiteX5887" fmla="*/ 478639 w 9586368"/>
              <a:gd name="connsiteY5887" fmla="*/ 2397165 h 6479439"/>
              <a:gd name="connsiteX5888" fmla="*/ 243344 w 9586368"/>
              <a:gd name="connsiteY5888" fmla="*/ 2393127 h 6479439"/>
              <a:gd name="connsiteX5889" fmla="*/ 253255 w 9586368"/>
              <a:gd name="connsiteY5889" fmla="*/ 2393127 h 6479439"/>
              <a:gd name="connsiteX5890" fmla="*/ 257274 w 9586368"/>
              <a:gd name="connsiteY5890" fmla="*/ 2397165 h 6479439"/>
              <a:gd name="connsiteX5891" fmla="*/ 257274 w 9586368"/>
              <a:gd name="connsiteY5891" fmla="*/ 2407036 h 6479439"/>
              <a:gd name="connsiteX5892" fmla="*/ 253255 w 9586368"/>
              <a:gd name="connsiteY5892" fmla="*/ 2411074 h 6479439"/>
              <a:gd name="connsiteX5893" fmla="*/ 243344 w 9586368"/>
              <a:gd name="connsiteY5893" fmla="*/ 2411074 h 6479439"/>
              <a:gd name="connsiteX5894" fmla="*/ 239325 w 9586368"/>
              <a:gd name="connsiteY5894" fmla="*/ 2407036 h 6479439"/>
              <a:gd name="connsiteX5895" fmla="*/ 239325 w 9586368"/>
              <a:gd name="connsiteY5895" fmla="*/ 2397165 h 6479439"/>
              <a:gd name="connsiteX5896" fmla="*/ 4031 w 9586368"/>
              <a:gd name="connsiteY5896" fmla="*/ 2393127 h 6479439"/>
              <a:gd name="connsiteX5897" fmla="*/ 13941 w 9586368"/>
              <a:gd name="connsiteY5897" fmla="*/ 2393127 h 6479439"/>
              <a:gd name="connsiteX5898" fmla="*/ 17961 w 9586368"/>
              <a:gd name="connsiteY5898" fmla="*/ 2397165 h 6479439"/>
              <a:gd name="connsiteX5899" fmla="*/ 17961 w 9586368"/>
              <a:gd name="connsiteY5899" fmla="*/ 2407036 h 6479439"/>
              <a:gd name="connsiteX5900" fmla="*/ 13941 w 9586368"/>
              <a:gd name="connsiteY5900" fmla="*/ 2411074 h 6479439"/>
              <a:gd name="connsiteX5901" fmla="*/ 4031 w 9586368"/>
              <a:gd name="connsiteY5901" fmla="*/ 2411074 h 6479439"/>
              <a:gd name="connsiteX5902" fmla="*/ 12 w 9586368"/>
              <a:gd name="connsiteY5902" fmla="*/ 2407036 h 6479439"/>
              <a:gd name="connsiteX5903" fmla="*/ 12 w 9586368"/>
              <a:gd name="connsiteY5903" fmla="*/ 2397165 h 6479439"/>
              <a:gd name="connsiteX5904" fmla="*/ 3111048 w 9586368"/>
              <a:gd name="connsiteY5904" fmla="*/ 2153996 h 6479439"/>
              <a:gd name="connsiteX5905" fmla="*/ 3120959 w 9586368"/>
              <a:gd name="connsiteY5905" fmla="*/ 2153996 h 6479439"/>
              <a:gd name="connsiteX5906" fmla="*/ 3124977 w 9586368"/>
              <a:gd name="connsiteY5906" fmla="*/ 2158034 h 6479439"/>
              <a:gd name="connsiteX5907" fmla="*/ 3124977 w 9586368"/>
              <a:gd name="connsiteY5907" fmla="*/ 2167907 h 6479439"/>
              <a:gd name="connsiteX5908" fmla="*/ 3120959 w 9586368"/>
              <a:gd name="connsiteY5908" fmla="*/ 2171946 h 6479439"/>
              <a:gd name="connsiteX5909" fmla="*/ 3111048 w 9586368"/>
              <a:gd name="connsiteY5909" fmla="*/ 2171946 h 6479439"/>
              <a:gd name="connsiteX5910" fmla="*/ 3107029 w 9586368"/>
              <a:gd name="connsiteY5910" fmla="*/ 2167907 h 6479439"/>
              <a:gd name="connsiteX5911" fmla="*/ 3107029 w 9586368"/>
              <a:gd name="connsiteY5911" fmla="*/ 2158034 h 6479439"/>
              <a:gd name="connsiteX5912" fmla="*/ 2871737 w 9586368"/>
              <a:gd name="connsiteY5912" fmla="*/ 2153996 h 6479439"/>
              <a:gd name="connsiteX5913" fmla="*/ 2881646 w 9586368"/>
              <a:gd name="connsiteY5913" fmla="*/ 2153996 h 6479439"/>
              <a:gd name="connsiteX5914" fmla="*/ 2885666 w 9586368"/>
              <a:gd name="connsiteY5914" fmla="*/ 2158034 h 6479439"/>
              <a:gd name="connsiteX5915" fmla="*/ 2885666 w 9586368"/>
              <a:gd name="connsiteY5915" fmla="*/ 2167907 h 6479439"/>
              <a:gd name="connsiteX5916" fmla="*/ 2881646 w 9586368"/>
              <a:gd name="connsiteY5916" fmla="*/ 2171946 h 6479439"/>
              <a:gd name="connsiteX5917" fmla="*/ 2871737 w 9586368"/>
              <a:gd name="connsiteY5917" fmla="*/ 2171946 h 6479439"/>
              <a:gd name="connsiteX5918" fmla="*/ 2867717 w 9586368"/>
              <a:gd name="connsiteY5918" fmla="*/ 2167907 h 6479439"/>
              <a:gd name="connsiteX5919" fmla="*/ 2867717 w 9586368"/>
              <a:gd name="connsiteY5919" fmla="*/ 2158034 h 6479439"/>
              <a:gd name="connsiteX5920" fmla="*/ 2632423 w 9586368"/>
              <a:gd name="connsiteY5920" fmla="*/ 2153996 h 6479439"/>
              <a:gd name="connsiteX5921" fmla="*/ 2642334 w 9586368"/>
              <a:gd name="connsiteY5921" fmla="*/ 2153996 h 6479439"/>
              <a:gd name="connsiteX5922" fmla="*/ 2646352 w 9586368"/>
              <a:gd name="connsiteY5922" fmla="*/ 2158034 h 6479439"/>
              <a:gd name="connsiteX5923" fmla="*/ 2646352 w 9586368"/>
              <a:gd name="connsiteY5923" fmla="*/ 2167907 h 6479439"/>
              <a:gd name="connsiteX5924" fmla="*/ 2642334 w 9586368"/>
              <a:gd name="connsiteY5924" fmla="*/ 2171947 h 6479439"/>
              <a:gd name="connsiteX5925" fmla="*/ 2632423 w 9586368"/>
              <a:gd name="connsiteY5925" fmla="*/ 2171947 h 6479439"/>
              <a:gd name="connsiteX5926" fmla="*/ 2628404 w 9586368"/>
              <a:gd name="connsiteY5926" fmla="*/ 2167907 h 6479439"/>
              <a:gd name="connsiteX5927" fmla="*/ 2628404 w 9586368"/>
              <a:gd name="connsiteY5927" fmla="*/ 2158034 h 6479439"/>
              <a:gd name="connsiteX5928" fmla="*/ 2393104 w 9586368"/>
              <a:gd name="connsiteY5928" fmla="*/ 2153996 h 6479439"/>
              <a:gd name="connsiteX5929" fmla="*/ 2403015 w 9586368"/>
              <a:gd name="connsiteY5929" fmla="*/ 2153996 h 6479439"/>
              <a:gd name="connsiteX5930" fmla="*/ 2407034 w 9586368"/>
              <a:gd name="connsiteY5930" fmla="*/ 2158034 h 6479439"/>
              <a:gd name="connsiteX5931" fmla="*/ 2407034 w 9586368"/>
              <a:gd name="connsiteY5931" fmla="*/ 2167907 h 6479439"/>
              <a:gd name="connsiteX5932" fmla="*/ 2403015 w 9586368"/>
              <a:gd name="connsiteY5932" fmla="*/ 2171947 h 6479439"/>
              <a:gd name="connsiteX5933" fmla="*/ 2393104 w 9586368"/>
              <a:gd name="connsiteY5933" fmla="*/ 2171947 h 6479439"/>
              <a:gd name="connsiteX5934" fmla="*/ 2389087 w 9586368"/>
              <a:gd name="connsiteY5934" fmla="*/ 2167907 h 6479439"/>
              <a:gd name="connsiteX5935" fmla="*/ 2389087 w 9586368"/>
              <a:gd name="connsiteY5935" fmla="*/ 2158034 h 6479439"/>
              <a:gd name="connsiteX5936" fmla="*/ 3350359 w 9586368"/>
              <a:gd name="connsiteY5936" fmla="*/ 2153995 h 6479439"/>
              <a:gd name="connsiteX5937" fmla="*/ 3360268 w 9586368"/>
              <a:gd name="connsiteY5937" fmla="*/ 2153995 h 6479439"/>
              <a:gd name="connsiteX5938" fmla="*/ 3364287 w 9586368"/>
              <a:gd name="connsiteY5938" fmla="*/ 2158034 h 6479439"/>
              <a:gd name="connsiteX5939" fmla="*/ 3364287 w 9586368"/>
              <a:gd name="connsiteY5939" fmla="*/ 2167907 h 6479439"/>
              <a:gd name="connsiteX5940" fmla="*/ 3360268 w 9586368"/>
              <a:gd name="connsiteY5940" fmla="*/ 2171946 h 6479439"/>
              <a:gd name="connsiteX5941" fmla="*/ 3350359 w 9586368"/>
              <a:gd name="connsiteY5941" fmla="*/ 2171946 h 6479439"/>
              <a:gd name="connsiteX5942" fmla="*/ 3346340 w 9586368"/>
              <a:gd name="connsiteY5942" fmla="*/ 2167907 h 6479439"/>
              <a:gd name="connsiteX5943" fmla="*/ 3346340 w 9586368"/>
              <a:gd name="connsiteY5943" fmla="*/ 2158034 h 6479439"/>
              <a:gd name="connsiteX5944" fmla="*/ 4546929 w 9586368"/>
              <a:gd name="connsiteY5944" fmla="*/ 2153976 h 6479439"/>
              <a:gd name="connsiteX5945" fmla="*/ 4556840 w 9586368"/>
              <a:gd name="connsiteY5945" fmla="*/ 2153976 h 6479439"/>
              <a:gd name="connsiteX5946" fmla="*/ 4560859 w 9586368"/>
              <a:gd name="connsiteY5946" fmla="*/ 2158014 h 6479439"/>
              <a:gd name="connsiteX5947" fmla="*/ 4560859 w 9586368"/>
              <a:gd name="connsiteY5947" fmla="*/ 2167886 h 6479439"/>
              <a:gd name="connsiteX5948" fmla="*/ 4556840 w 9586368"/>
              <a:gd name="connsiteY5948" fmla="*/ 2171926 h 6479439"/>
              <a:gd name="connsiteX5949" fmla="*/ 4546929 w 9586368"/>
              <a:gd name="connsiteY5949" fmla="*/ 2171926 h 6479439"/>
              <a:gd name="connsiteX5950" fmla="*/ 4542910 w 9586368"/>
              <a:gd name="connsiteY5950" fmla="*/ 2167886 h 6479439"/>
              <a:gd name="connsiteX5951" fmla="*/ 4542910 w 9586368"/>
              <a:gd name="connsiteY5951" fmla="*/ 2158014 h 6479439"/>
              <a:gd name="connsiteX5952" fmla="*/ 4307612 w 9586368"/>
              <a:gd name="connsiteY5952" fmla="*/ 2153976 h 6479439"/>
              <a:gd name="connsiteX5953" fmla="*/ 4317523 w 9586368"/>
              <a:gd name="connsiteY5953" fmla="*/ 2153976 h 6479439"/>
              <a:gd name="connsiteX5954" fmla="*/ 4321543 w 9586368"/>
              <a:gd name="connsiteY5954" fmla="*/ 2158014 h 6479439"/>
              <a:gd name="connsiteX5955" fmla="*/ 4321543 w 9586368"/>
              <a:gd name="connsiteY5955" fmla="*/ 2167887 h 6479439"/>
              <a:gd name="connsiteX5956" fmla="*/ 4317523 w 9586368"/>
              <a:gd name="connsiteY5956" fmla="*/ 2171926 h 6479439"/>
              <a:gd name="connsiteX5957" fmla="*/ 4307612 w 9586368"/>
              <a:gd name="connsiteY5957" fmla="*/ 2171926 h 6479439"/>
              <a:gd name="connsiteX5958" fmla="*/ 4303595 w 9586368"/>
              <a:gd name="connsiteY5958" fmla="*/ 2167887 h 6479439"/>
              <a:gd name="connsiteX5959" fmla="*/ 4303595 w 9586368"/>
              <a:gd name="connsiteY5959" fmla="*/ 2158014 h 6479439"/>
              <a:gd name="connsiteX5960" fmla="*/ 4068297 w 9586368"/>
              <a:gd name="connsiteY5960" fmla="*/ 2153976 h 6479439"/>
              <a:gd name="connsiteX5961" fmla="*/ 4078210 w 9586368"/>
              <a:gd name="connsiteY5961" fmla="*/ 2153976 h 6479439"/>
              <a:gd name="connsiteX5962" fmla="*/ 4082229 w 9586368"/>
              <a:gd name="connsiteY5962" fmla="*/ 2158014 h 6479439"/>
              <a:gd name="connsiteX5963" fmla="*/ 4082229 w 9586368"/>
              <a:gd name="connsiteY5963" fmla="*/ 2167887 h 6479439"/>
              <a:gd name="connsiteX5964" fmla="*/ 4078210 w 9586368"/>
              <a:gd name="connsiteY5964" fmla="*/ 2171926 h 6479439"/>
              <a:gd name="connsiteX5965" fmla="*/ 4068297 w 9586368"/>
              <a:gd name="connsiteY5965" fmla="*/ 2171926 h 6479439"/>
              <a:gd name="connsiteX5966" fmla="*/ 4064278 w 9586368"/>
              <a:gd name="connsiteY5966" fmla="*/ 2167887 h 6479439"/>
              <a:gd name="connsiteX5967" fmla="*/ 4064278 w 9586368"/>
              <a:gd name="connsiteY5967" fmla="*/ 2158014 h 6479439"/>
              <a:gd name="connsiteX5968" fmla="*/ 3828990 w 9586368"/>
              <a:gd name="connsiteY5968" fmla="*/ 2153976 h 6479439"/>
              <a:gd name="connsiteX5969" fmla="*/ 3838899 w 9586368"/>
              <a:gd name="connsiteY5969" fmla="*/ 2153976 h 6479439"/>
              <a:gd name="connsiteX5970" fmla="*/ 3842917 w 9586368"/>
              <a:gd name="connsiteY5970" fmla="*/ 2158014 h 6479439"/>
              <a:gd name="connsiteX5971" fmla="*/ 3842917 w 9586368"/>
              <a:gd name="connsiteY5971" fmla="*/ 2167887 h 6479439"/>
              <a:gd name="connsiteX5972" fmla="*/ 3838899 w 9586368"/>
              <a:gd name="connsiteY5972" fmla="*/ 2171926 h 6479439"/>
              <a:gd name="connsiteX5973" fmla="*/ 3828990 w 9586368"/>
              <a:gd name="connsiteY5973" fmla="*/ 2171926 h 6479439"/>
              <a:gd name="connsiteX5974" fmla="*/ 3824971 w 9586368"/>
              <a:gd name="connsiteY5974" fmla="*/ 2167887 h 6479439"/>
              <a:gd name="connsiteX5975" fmla="*/ 3824971 w 9586368"/>
              <a:gd name="connsiteY5975" fmla="*/ 2158014 h 6479439"/>
              <a:gd name="connsiteX5976" fmla="*/ 3589676 w 9586368"/>
              <a:gd name="connsiteY5976" fmla="*/ 2153976 h 6479439"/>
              <a:gd name="connsiteX5977" fmla="*/ 3599585 w 9586368"/>
              <a:gd name="connsiteY5977" fmla="*/ 2153976 h 6479439"/>
              <a:gd name="connsiteX5978" fmla="*/ 3603604 w 9586368"/>
              <a:gd name="connsiteY5978" fmla="*/ 2158014 h 6479439"/>
              <a:gd name="connsiteX5979" fmla="*/ 3603604 w 9586368"/>
              <a:gd name="connsiteY5979" fmla="*/ 2167887 h 6479439"/>
              <a:gd name="connsiteX5980" fmla="*/ 3599585 w 9586368"/>
              <a:gd name="connsiteY5980" fmla="*/ 2171926 h 6479439"/>
              <a:gd name="connsiteX5981" fmla="*/ 3589676 w 9586368"/>
              <a:gd name="connsiteY5981" fmla="*/ 2171926 h 6479439"/>
              <a:gd name="connsiteX5982" fmla="*/ 3585657 w 9586368"/>
              <a:gd name="connsiteY5982" fmla="*/ 2167887 h 6479439"/>
              <a:gd name="connsiteX5983" fmla="*/ 3585657 w 9586368"/>
              <a:gd name="connsiteY5983" fmla="*/ 2158014 h 6479439"/>
              <a:gd name="connsiteX5984" fmla="*/ 5504099 w 9586368"/>
              <a:gd name="connsiteY5984" fmla="*/ 2153956 h 6479439"/>
              <a:gd name="connsiteX5985" fmla="*/ 5514010 w 9586368"/>
              <a:gd name="connsiteY5985" fmla="*/ 2153956 h 6479439"/>
              <a:gd name="connsiteX5986" fmla="*/ 5518029 w 9586368"/>
              <a:gd name="connsiteY5986" fmla="*/ 2157994 h 6479439"/>
              <a:gd name="connsiteX5987" fmla="*/ 5518029 w 9586368"/>
              <a:gd name="connsiteY5987" fmla="*/ 2167867 h 6479439"/>
              <a:gd name="connsiteX5988" fmla="*/ 5514010 w 9586368"/>
              <a:gd name="connsiteY5988" fmla="*/ 2171905 h 6479439"/>
              <a:gd name="connsiteX5989" fmla="*/ 5504099 w 9586368"/>
              <a:gd name="connsiteY5989" fmla="*/ 2171905 h 6479439"/>
              <a:gd name="connsiteX5990" fmla="*/ 5500080 w 9586368"/>
              <a:gd name="connsiteY5990" fmla="*/ 2167867 h 6479439"/>
              <a:gd name="connsiteX5991" fmla="*/ 5500080 w 9586368"/>
              <a:gd name="connsiteY5991" fmla="*/ 2157994 h 6479439"/>
              <a:gd name="connsiteX5992" fmla="*/ 5264784 w 9586368"/>
              <a:gd name="connsiteY5992" fmla="*/ 2153956 h 6479439"/>
              <a:gd name="connsiteX5993" fmla="*/ 5274694 w 9586368"/>
              <a:gd name="connsiteY5993" fmla="*/ 2153956 h 6479439"/>
              <a:gd name="connsiteX5994" fmla="*/ 5278713 w 9586368"/>
              <a:gd name="connsiteY5994" fmla="*/ 2157994 h 6479439"/>
              <a:gd name="connsiteX5995" fmla="*/ 5278713 w 9586368"/>
              <a:gd name="connsiteY5995" fmla="*/ 2167867 h 6479439"/>
              <a:gd name="connsiteX5996" fmla="*/ 5274694 w 9586368"/>
              <a:gd name="connsiteY5996" fmla="*/ 2171905 h 6479439"/>
              <a:gd name="connsiteX5997" fmla="*/ 5264784 w 9586368"/>
              <a:gd name="connsiteY5997" fmla="*/ 2171905 h 6479439"/>
              <a:gd name="connsiteX5998" fmla="*/ 5260765 w 9586368"/>
              <a:gd name="connsiteY5998" fmla="*/ 2167867 h 6479439"/>
              <a:gd name="connsiteX5999" fmla="*/ 5260765 w 9586368"/>
              <a:gd name="connsiteY5999" fmla="*/ 2157994 h 6479439"/>
              <a:gd name="connsiteX6000" fmla="*/ 5025470 w 9586368"/>
              <a:gd name="connsiteY6000" fmla="*/ 2153956 h 6479439"/>
              <a:gd name="connsiteX6001" fmla="*/ 5035381 w 9586368"/>
              <a:gd name="connsiteY6001" fmla="*/ 2153956 h 6479439"/>
              <a:gd name="connsiteX6002" fmla="*/ 5039400 w 9586368"/>
              <a:gd name="connsiteY6002" fmla="*/ 2157994 h 6479439"/>
              <a:gd name="connsiteX6003" fmla="*/ 5039400 w 9586368"/>
              <a:gd name="connsiteY6003" fmla="*/ 2167867 h 6479439"/>
              <a:gd name="connsiteX6004" fmla="*/ 5035381 w 9586368"/>
              <a:gd name="connsiteY6004" fmla="*/ 2171906 h 6479439"/>
              <a:gd name="connsiteX6005" fmla="*/ 5025470 w 9586368"/>
              <a:gd name="connsiteY6005" fmla="*/ 2171906 h 6479439"/>
              <a:gd name="connsiteX6006" fmla="*/ 5021451 w 9586368"/>
              <a:gd name="connsiteY6006" fmla="*/ 2167867 h 6479439"/>
              <a:gd name="connsiteX6007" fmla="*/ 5021451 w 9586368"/>
              <a:gd name="connsiteY6007" fmla="*/ 2157994 h 6479439"/>
              <a:gd name="connsiteX6008" fmla="*/ 4786241 w 9586368"/>
              <a:gd name="connsiteY6008" fmla="*/ 2153956 h 6479439"/>
              <a:gd name="connsiteX6009" fmla="*/ 4796152 w 9586368"/>
              <a:gd name="connsiteY6009" fmla="*/ 2153956 h 6479439"/>
              <a:gd name="connsiteX6010" fmla="*/ 4800171 w 9586368"/>
              <a:gd name="connsiteY6010" fmla="*/ 2157994 h 6479439"/>
              <a:gd name="connsiteX6011" fmla="*/ 4800171 w 9586368"/>
              <a:gd name="connsiteY6011" fmla="*/ 2167867 h 6479439"/>
              <a:gd name="connsiteX6012" fmla="*/ 4796152 w 9586368"/>
              <a:gd name="connsiteY6012" fmla="*/ 2171906 h 6479439"/>
              <a:gd name="connsiteX6013" fmla="*/ 4786241 w 9586368"/>
              <a:gd name="connsiteY6013" fmla="*/ 2171906 h 6479439"/>
              <a:gd name="connsiteX6014" fmla="*/ 4782224 w 9586368"/>
              <a:gd name="connsiteY6014" fmla="*/ 2167867 h 6479439"/>
              <a:gd name="connsiteX6015" fmla="*/ 4782224 w 9586368"/>
              <a:gd name="connsiteY6015" fmla="*/ 2157994 h 6479439"/>
              <a:gd name="connsiteX6016" fmla="*/ 5743412 w 9586368"/>
              <a:gd name="connsiteY6016" fmla="*/ 2153955 h 6479439"/>
              <a:gd name="connsiteX6017" fmla="*/ 5753323 w 9586368"/>
              <a:gd name="connsiteY6017" fmla="*/ 2153955 h 6479439"/>
              <a:gd name="connsiteX6018" fmla="*/ 5757342 w 9586368"/>
              <a:gd name="connsiteY6018" fmla="*/ 2157994 h 6479439"/>
              <a:gd name="connsiteX6019" fmla="*/ 5757342 w 9586368"/>
              <a:gd name="connsiteY6019" fmla="*/ 2167866 h 6479439"/>
              <a:gd name="connsiteX6020" fmla="*/ 5753323 w 9586368"/>
              <a:gd name="connsiteY6020" fmla="*/ 2171905 h 6479439"/>
              <a:gd name="connsiteX6021" fmla="*/ 5743412 w 9586368"/>
              <a:gd name="connsiteY6021" fmla="*/ 2171905 h 6479439"/>
              <a:gd name="connsiteX6022" fmla="*/ 5739393 w 9586368"/>
              <a:gd name="connsiteY6022" fmla="*/ 2167866 h 6479439"/>
              <a:gd name="connsiteX6023" fmla="*/ 5739393 w 9586368"/>
              <a:gd name="connsiteY6023" fmla="*/ 2157994 h 6479439"/>
              <a:gd name="connsiteX6024" fmla="*/ 6222042 w 9586368"/>
              <a:gd name="connsiteY6024" fmla="*/ 2153936 h 6479439"/>
              <a:gd name="connsiteX6025" fmla="*/ 6231952 w 9586368"/>
              <a:gd name="connsiteY6025" fmla="*/ 2153936 h 6479439"/>
              <a:gd name="connsiteX6026" fmla="*/ 6235971 w 9586368"/>
              <a:gd name="connsiteY6026" fmla="*/ 2157974 h 6479439"/>
              <a:gd name="connsiteX6027" fmla="*/ 6235971 w 9586368"/>
              <a:gd name="connsiteY6027" fmla="*/ 2167846 h 6479439"/>
              <a:gd name="connsiteX6028" fmla="*/ 6231952 w 9586368"/>
              <a:gd name="connsiteY6028" fmla="*/ 2171885 h 6479439"/>
              <a:gd name="connsiteX6029" fmla="*/ 6222042 w 9586368"/>
              <a:gd name="connsiteY6029" fmla="*/ 2171885 h 6479439"/>
              <a:gd name="connsiteX6030" fmla="*/ 6218023 w 9586368"/>
              <a:gd name="connsiteY6030" fmla="*/ 2167846 h 6479439"/>
              <a:gd name="connsiteX6031" fmla="*/ 6218023 w 9586368"/>
              <a:gd name="connsiteY6031" fmla="*/ 2157974 h 6479439"/>
              <a:gd name="connsiteX6032" fmla="*/ 5982729 w 9586368"/>
              <a:gd name="connsiteY6032" fmla="*/ 2153936 h 6479439"/>
              <a:gd name="connsiteX6033" fmla="*/ 5992639 w 9586368"/>
              <a:gd name="connsiteY6033" fmla="*/ 2153936 h 6479439"/>
              <a:gd name="connsiteX6034" fmla="*/ 5996658 w 9586368"/>
              <a:gd name="connsiteY6034" fmla="*/ 2157974 h 6479439"/>
              <a:gd name="connsiteX6035" fmla="*/ 5996658 w 9586368"/>
              <a:gd name="connsiteY6035" fmla="*/ 2167846 h 6479439"/>
              <a:gd name="connsiteX6036" fmla="*/ 5992639 w 9586368"/>
              <a:gd name="connsiteY6036" fmla="*/ 2171885 h 6479439"/>
              <a:gd name="connsiteX6037" fmla="*/ 5982729 w 9586368"/>
              <a:gd name="connsiteY6037" fmla="*/ 2171885 h 6479439"/>
              <a:gd name="connsiteX6038" fmla="*/ 5978710 w 9586368"/>
              <a:gd name="connsiteY6038" fmla="*/ 2167846 h 6479439"/>
              <a:gd name="connsiteX6039" fmla="*/ 5978710 w 9586368"/>
              <a:gd name="connsiteY6039" fmla="*/ 2157974 h 6479439"/>
              <a:gd name="connsiteX6040" fmla="*/ 6939983 w 9586368"/>
              <a:gd name="connsiteY6040" fmla="*/ 2153935 h 6479439"/>
              <a:gd name="connsiteX6041" fmla="*/ 6949894 w 9586368"/>
              <a:gd name="connsiteY6041" fmla="*/ 2153935 h 6479439"/>
              <a:gd name="connsiteX6042" fmla="*/ 6953913 w 9586368"/>
              <a:gd name="connsiteY6042" fmla="*/ 2157974 h 6479439"/>
              <a:gd name="connsiteX6043" fmla="*/ 6953913 w 9586368"/>
              <a:gd name="connsiteY6043" fmla="*/ 2167845 h 6479439"/>
              <a:gd name="connsiteX6044" fmla="*/ 6949894 w 9586368"/>
              <a:gd name="connsiteY6044" fmla="*/ 2171885 h 6479439"/>
              <a:gd name="connsiteX6045" fmla="*/ 6939983 w 9586368"/>
              <a:gd name="connsiteY6045" fmla="*/ 2171885 h 6479439"/>
              <a:gd name="connsiteX6046" fmla="*/ 6935964 w 9586368"/>
              <a:gd name="connsiteY6046" fmla="*/ 2167845 h 6479439"/>
              <a:gd name="connsiteX6047" fmla="*/ 6935964 w 9586368"/>
              <a:gd name="connsiteY6047" fmla="*/ 2157974 h 6479439"/>
              <a:gd name="connsiteX6048" fmla="*/ 6700670 w 9586368"/>
              <a:gd name="connsiteY6048" fmla="*/ 2153935 h 6479439"/>
              <a:gd name="connsiteX6049" fmla="*/ 6710581 w 9586368"/>
              <a:gd name="connsiteY6049" fmla="*/ 2153935 h 6479439"/>
              <a:gd name="connsiteX6050" fmla="*/ 6714600 w 9586368"/>
              <a:gd name="connsiteY6050" fmla="*/ 2157974 h 6479439"/>
              <a:gd name="connsiteX6051" fmla="*/ 6714600 w 9586368"/>
              <a:gd name="connsiteY6051" fmla="*/ 2167846 h 6479439"/>
              <a:gd name="connsiteX6052" fmla="*/ 6710581 w 9586368"/>
              <a:gd name="connsiteY6052" fmla="*/ 2171885 h 6479439"/>
              <a:gd name="connsiteX6053" fmla="*/ 6700670 w 9586368"/>
              <a:gd name="connsiteY6053" fmla="*/ 2171885 h 6479439"/>
              <a:gd name="connsiteX6054" fmla="*/ 6696651 w 9586368"/>
              <a:gd name="connsiteY6054" fmla="*/ 2167846 h 6479439"/>
              <a:gd name="connsiteX6055" fmla="*/ 6696651 w 9586368"/>
              <a:gd name="connsiteY6055" fmla="*/ 2157974 h 6479439"/>
              <a:gd name="connsiteX6056" fmla="*/ 6461356 w 9586368"/>
              <a:gd name="connsiteY6056" fmla="*/ 2153935 h 6479439"/>
              <a:gd name="connsiteX6057" fmla="*/ 6471266 w 9586368"/>
              <a:gd name="connsiteY6057" fmla="*/ 2153935 h 6479439"/>
              <a:gd name="connsiteX6058" fmla="*/ 6475285 w 9586368"/>
              <a:gd name="connsiteY6058" fmla="*/ 2157974 h 6479439"/>
              <a:gd name="connsiteX6059" fmla="*/ 6475285 w 9586368"/>
              <a:gd name="connsiteY6059" fmla="*/ 2167846 h 6479439"/>
              <a:gd name="connsiteX6060" fmla="*/ 6471266 w 9586368"/>
              <a:gd name="connsiteY6060" fmla="*/ 2171885 h 6479439"/>
              <a:gd name="connsiteX6061" fmla="*/ 6461356 w 9586368"/>
              <a:gd name="connsiteY6061" fmla="*/ 2171885 h 6479439"/>
              <a:gd name="connsiteX6062" fmla="*/ 6457337 w 9586368"/>
              <a:gd name="connsiteY6062" fmla="*/ 2167846 h 6479439"/>
              <a:gd name="connsiteX6063" fmla="*/ 6457337 w 9586368"/>
              <a:gd name="connsiteY6063" fmla="*/ 2157974 h 6479439"/>
              <a:gd name="connsiteX6064" fmla="*/ 7418611 w 9586368"/>
              <a:gd name="connsiteY6064" fmla="*/ 2153916 h 6479439"/>
              <a:gd name="connsiteX6065" fmla="*/ 7428521 w 9586368"/>
              <a:gd name="connsiteY6065" fmla="*/ 2153916 h 6479439"/>
              <a:gd name="connsiteX6066" fmla="*/ 7432540 w 9586368"/>
              <a:gd name="connsiteY6066" fmla="*/ 2157955 h 6479439"/>
              <a:gd name="connsiteX6067" fmla="*/ 7432540 w 9586368"/>
              <a:gd name="connsiteY6067" fmla="*/ 2167826 h 6479439"/>
              <a:gd name="connsiteX6068" fmla="*/ 7428521 w 9586368"/>
              <a:gd name="connsiteY6068" fmla="*/ 2171865 h 6479439"/>
              <a:gd name="connsiteX6069" fmla="*/ 7418611 w 9586368"/>
              <a:gd name="connsiteY6069" fmla="*/ 2171865 h 6479439"/>
              <a:gd name="connsiteX6070" fmla="*/ 7414592 w 9586368"/>
              <a:gd name="connsiteY6070" fmla="*/ 2167826 h 6479439"/>
              <a:gd name="connsiteX6071" fmla="*/ 7414592 w 9586368"/>
              <a:gd name="connsiteY6071" fmla="*/ 2157955 h 6479439"/>
              <a:gd name="connsiteX6072" fmla="*/ 7179298 w 9586368"/>
              <a:gd name="connsiteY6072" fmla="*/ 2153916 h 6479439"/>
              <a:gd name="connsiteX6073" fmla="*/ 7189209 w 9586368"/>
              <a:gd name="connsiteY6073" fmla="*/ 2153916 h 6479439"/>
              <a:gd name="connsiteX6074" fmla="*/ 7193228 w 9586368"/>
              <a:gd name="connsiteY6074" fmla="*/ 2157955 h 6479439"/>
              <a:gd name="connsiteX6075" fmla="*/ 7193228 w 9586368"/>
              <a:gd name="connsiteY6075" fmla="*/ 2167826 h 6479439"/>
              <a:gd name="connsiteX6076" fmla="*/ 7189209 w 9586368"/>
              <a:gd name="connsiteY6076" fmla="*/ 2171865 h 6479439"/>
              <a:gd name="connsiteX6077" fmla="*/ 7179298 w 9586368"/>
              <a:gd name="connsiteY6077" fmla="*/ 2171865 h 6479439"/>
              <a:gd name="connsiteX6078" fmla="*/ 7175279 w 9586368"/>
              <a:gd name="connsiteY6078" fmla="*/ 2167826 h 6479439"/>
              <a:gd name="connsiteX6079" fmla="*/ 7175279 w 9586368"/>
              <a:gd name="connsiteY6079" fmla="*/ 2157955 h 6479439"/>
              <a:gd name="connsiteX6080" fmla="*/ 8136553 w 9586368"/>
              <a:gd name="connsiteY6080" fmla="*/ 2153915 h 6479439"/>
              <a:gd name="connsiteX6081" fmla="*/ 8146464 w 9586368"/>
              <a:gd name="connsiteY6081" fmla="*/ 2153915 h 6479439"/>
              <a:gd name="connsiteX6082" fmla="*/ 8150483 w 9586368"/>
              <a:gd name="connsiteY6082" fmla="*/ 2157955 h 6479439"/>
              <a:gd name="connsiteX6083" fmla="*/ 8150483 w 9586368"/>
              <a:gd name="connsiteY6083" fmla="*/ 2167825 h 6479439"/>
              <a:gd name="connsiteX6084" fmla="*/ 8146464 w 9586368"/>
              <a:gd name="connsiteY6084" fmla="*/ 2171864 h 6479439"/>
              <a:gd name="connsiteX6085" fmla="*/ 8136553 w 9586368"/>
              <a:gd name="connsiteY6085" fmla="*/ 2171864 h 6479439"/>
              <a:gd name="connsiteX6086" fmla="*/ 8132534 w 9586368"/>
              <a:gd name="connsiteY6086" fmla="*/ 2167825 h 6479439"/>
              <a:gd name="connsiteX6087" fmla="*/ 8132534 w 9586368"/>
              <a:gd name="connsiteY6087" fmla="*/ 2157955 h 6479439"/>
              <a:gd name="connsiteX6088" fmla="*/ 7897241 w 9586368"/>
              <a:gd name="connsiteY6088" fmla="*/ 2153915 h 6479439"/>
              <a:gd name="connsiteX6089" fmla="*/ 7907151 w 9586368"/>
              <a:gd name="connsiteY6089" fmla="*/ 2153915 h 6479439"/>
              <a:gd name="connsiteX6090" fmla="*/ 7911170 w 9586368"/>
              <a:gd name="connsiteY6090" fmla="*/ 2157955 h 6479439"/>
              <a:gd name="connsiteX6091" fmla="*/ 7911170 w 9586368"/>
              <a:gd name="connsiteY6091" fmla="*/ 2167826 h 6479439"/>
              <a:gd name="connsiteX6092" fmla="*/ 7907151 w 9586368"/>
              <a:gd name="connsiteY6092" fmla="*/ 2171864 h 6479439"/>
              <a:gd name="connsiteX6093" fmla="*/ 7897241 w 9586368"/>
              <a:gd name="connsiteY6093" fmla="*/ 2171864 h 6479439"/>
              <a:gd name="connsiteX6094" fmla="*/ 7893222 w 9586368"/>
              <a:gd name="connsiteY6094" fmla="*/ 2167826 h 6479439"/>
              <a:gd name="connsiteX6095" fmla="*/ 7893222 w 9586368"/>
              <a:gd name="connsiteY6095" fmla="*/ 2157955 h 6479439"/>
              <a:gd name="connsiteX6096" fmla="*/ 7657926 w 9586368"/>
              <a:gd name="connsiteY6096" fmla="*/ 2153915 h 6479439"/>
              <a:gd name="connsiteX6097" fmla="*/ 7667836 w 9586368"/>
              <a:gd name="connsiteY6097" fmla="*/ 2153915 h 6479439"/>
              <a:gd name="connsiteX6098" fmla="*/ 7671855 w 9586368"/>
              <a:gd name="connsiteY6098" fmla="*/ 2157955 h 6479439"/>
              <a:gd name="connsiteX6099" fmla="*/ 7671855 w 9586368"/>
              <a:gd name="connsiteY6099" fmla="*/ 2167826 h 6479439"/>
              <a:gd name="connsiteX6100" fmla="*/ 7667836 w 9586368"/>
              <a:gd name="connsiteY6100" fmla="*/ 2171864 h 6479439"/>
              <a:gd name="connsiteX6101" fmla="*/ 7657926 w 9586368"/>
              <a:gd name="connsiteY6101" fmla="*/ 2171864 h 6479439"/>
              <a:gd name="connsiteX6102" fmla="*/ 7653906 w 9586368"/>
              <a:gd name="connsiteY6102" fmla="*/ 2167826 h 6479439"/>
              <a:gd name="connsiteX6103" fmla="*/ 7653906 w 9586368"/>
              <a:gd name="connsiteY6103" fmla="*/ 2157955 h 6479439"/>
              <a:gd name="connsiteX6104" fmla="*/ 8615184 w 9586368"/>
              <a:gd name="connsiteY6104" fmla="*/ 2153896 h 6479439"/>
              <a:gd name="connsiteX6105" fmla="*/ 8625095 w 9586368"/>
              <a:gd name="connsiteY6105" fmla="*/ 2153896 h 6479439"/>
              <a:gd name="connsiteX6106" fmla="*/ 8629114 w 9586368"/>
              <a:gd name="connsiteY6106" fmla="*/ 2157935 h 6479439"/>
              <a:gd name="connsiteX6107" fmla="*/ 8629114 w 9586368"/>
              <a:gd name="connsiteY6107" fmla="*/ 2167805 h 6479439"/>
              <a:gd name="connsiteX6108" fmla="*/ 8625095 w 9586368"/>
              <a:gd name="connsiteY6108" fmla="*/ 2171844 h 6479439"/>
              <a:gd name="connsiteX6109" fmla="*/ 8615184 w 9586368"/>
              <a:gd name="connsiteY6109" fmla="*/ 2171844 h 6479439"/>
              <a:gd name="connsiteX6110" fmla="*/ 8611165 w 9586368"/>
              <a:gd name="connsiteY6110" fmla="*/ 2167805 h 6479439"/>
              <a:gd name="connsiteX6111" fmla="*/ 8611165 w 9586368"/>
              <a:gd name="connsiteY6111" fmla="*/ 2157935 h 6479439"/>
              <a:gd name="connsiteX6112" fmla="*/ 8375869 w 9586368"/>
              <a:gd name="connsiteY6112" fmla="*/ 2153896 h 6479439"/>
              <a:gd name="connsiteX6113" fmla="*/ 8385779 w 9586368"/>
              <a:gd name="connsiteY6113" fmla="*/ 2153896 h 6479439"/>
              <a:gd name="connsiteX6114" fmla="*/ 8389799 w 9586368"/>
              <a:gd name="connsiteY6114" fmla="*/ 2157935 h 6479439"/>
              <a:gd name="connsiteX6115" fmla="*/ 8389799 w 9586368"/>
              <a:gd name="connsiteY6115" fmla="*/ 2167805 h 6479439"/>
              <a:gd name="connsiteX6116" fmla="*/ 8385779 w 9586368"/>
              <a:gd name="connsiteY6116" fmla="*/ 2171844 h 6479439"/>
              <a:gd name="connsiteX6117" fmla="*/ 8375869 w 9586368"/>
              <a:gd name="connsiteY6117" fmla="*/ 2171844 h 6479439"/>
              <a:gd name="connsiteX6118" fmla="*/ 8371850 w 9586368"/>
              <a:gd name="connsiteY6118" fmla="*/ 2167805 h 6479439"/>
              <a:gd name="connsiteX6119" fmla="*/ 8371850 w 9586368"/>
              <a:gd name="connsiteY6119" fmla="*/ 2157935 h 6479439"/>
              <a:gd name="connsiteX6120" fmla="*/ 9333125 w 9586368"/>
              <a:gd name="connsiteY6120" fmla="*/ 2153895 h 6479439"/>
              <a:gd name="connsiteX6121" fmla="*/ 9343036 w 9586368"/>
              <a:gd name="connsiteY6121" fmla="*/ 2153895 h 6479439"/>
              <a:gd name="connsiteX6122" fmla="*/ 9347055 w 9586368"/>
              <a:gd name="connsiteY6122" fmla="*/ 2157934 h 6479439"/>
              <a:gd name="connsiteX6123" fmla="*/ 9347055 w 9586368"/>
              <a:gd name="connsiteY6123" fmla="*/ 2167805 h 6479439"/>
              <a:gd name="connsiteX6124" fmla="*/ 9343036 w 9586368"/>
              <a:gd name="connsiteY6124" fmla="*/ 2171844 h 6479439"/>
              <a:gd name="connsiteX6125" fmla="*/ 9333125 w 9586368"/>
              <a:gd name="connsiteY6125" fmla="*/ 2171844 h 6479439"/>
              <a:gd name="connsiteX6126" fmla="*/ 9329106 w 9586368"/>
              <a:gd name="connsiteY6126" fmla="*/ 2167805 h 6479439"/>
              <a:gd name="connsiteX6127" fmla="*/ 9329106 w 9586368"/>
              <a:gd name="connsiteY6127" fmla="*/ 2157934 h 6479439"/>
              <a:gd name="connsiteX6128" fmla="*/ 9093811 w 9586368"/>
              <a:gd name="connsiteY6128" fmla="*/ 2153895 h 6479439"/>
              <a:gd name="connsiteX6129" fmla="*/ 9103722 w 9586368"/>
              <a:gd name="connsiteY6129" fmla="*/ 2153895 h 6479439"/>
              <a:gd name="connsiteX6130" fmla="*/ 9107741 w 9586368"/>
              <a:gd name="connsiteY6130" fmla="*/ 2157935 h 6479439"/>
              <a:gd name="connsiteX6131" fmla="*/ 9107741 w 9586368"/>
              <a:gd name="connsiteY6131" fmla="*/ 2167805 h 6479439"/>
              <a:gd name="connsiteX6132" fmla="*/ 9103722 w 9586368"/>
              <a:gd name="connsiteY6132" fmla="*/ 2171844 h 6479439"/>
              <a:gd name="connsiteX6133" fmla="*/ 9093811 w 9586368"/>
              <a:gd name="connsiteY6133" fmla="*/ 2171844 h 6479439"/>
              <a:gd name="connsiteX6134" fmla="*/ 9089792 w 9586368"/>
              <a:gd name="connsiteY6134" fmla="*/ 2167805 h 6479439"/>
              <a:gd name="connsiteX6135" fmla="*/ 9089792 w 9586368"/>
              <a:gd name="connsiteY6135" fmla="*/ 2157935 h 6479439"/>
              <a:gd name="connsiteX6136" fmla="*/ 8854496 w 9586368"/>
              <a:gd name="connsiteY6136" fmla="*/ 2153895 h 6479439"/>
              <a:gd name="connsiteX6137" fmla="*/ 8864407 w 9586368"/>
              <a:gd name="connsiteY6137" fmla="*/ 2153895 h 6479439"/>
              <a:gd name="connsiteX6138" fmla="*/ 8868426 w 9586368"/>
              <a:gd name="connsiteY6138" fmla="*/ 2157935 h 6479439"/>
              <a:gd name="connsiteX6139" fmla="*/ 8868426 w 9586368"/>
              <a:gd name="connsiteY6139" fmla="*/ 2167805 h 6479439"/>
              <a:gd name="connsiteX6140" fmla="*/ 8864407 w 9586368"/>
              <a:gd name="connsiteY6140" fmla="*/ 2171844 h 6479439"/>
              <a:gd name="connsiteX6141" fmla="*/ 8854496 w 9586368"/>
              <a:gd name="connsiteY6141" fmla="*/ 2171844 h 6479439"/>
              <a:gd name="connsiteX6142" fmla="*/ 8850477 w 9586368"/>
              <a:gd name="connsiteY6142" fmla="*/ 2167805 h 6479439"/>
              <a:gd name="connsiteX6143" fmla="*/ 8850477 w 9586368"/>
              <a:gd name="connsiteY6143" fmla="*/ 2157935 h 6479439"/>
              <a:gd name="connsiteX6144" fmla="*/ 9572438 w 9586368"/>
              <a:gd name="connsiteY6144" fmla="*/ 2153876 h 6479439"/>
              <a:gd name="connsiteX6145" fmla="*/ 9582349 w 9586368"/>
              <a:gd name="connsiteY6145" fmla="*/ 2153876 h 6479439"/>
              <a:gd name="connsiteX6146" fmla="*/ 9586368 w 9586368"/>
              <a:gd name="connsiteY6146" fmla="*/ 2157914 h 6479439"/>
              <a:gd name="connsiteX6147" fmla="*/ 9586368 w 9586368"/>
              <a:gd name="connsiteY6147" fmla="*/ 2167786 h 6479439"/>
              <a:gd name="connsiteX6148" fmla="*/ 9582349 w 9586368"/>
              <a:gd name="connsiteY6148" fmla="*/ 2171824 h 6479439"/>
              <a:gd name="connsiteX6149" fmla="*/ 9572438 w 9586368"/>
              <a:gd name="connsiteY6149" fmla="*/ 2171824 h 6479439"/>
              <a:gd name="connsiteX6150" fmla="*/ 9568419 w 9586368"/>
              <a:gd name="connsiteY6150" fmla="*/ 2167786 h 6479439"/>
              <a:gd name="connsiteX6151" fmla="*/ 9568419 w 9586368"/>
              <a:gd name="connsiteY6151" fmla="*/ 2157914 h 6479439"/>
              <a:gd name="connsiteX6152" fmla="*/ 1200582 w 9586368"/>
              <a:gd name="connsiteY6152" fmla="*/ 2153867 h 6479439"/>
              <a:gd name="connsiteX6153" fmla="*/ 1210491 w 9586368"/>
              <a:gd name="connsiteY6153" fmla="*/ 2153867 h 6479439"/>
              <a:gd name="connsiteX6154" fmla="*/ 1214510 w 9586368"/>
              <a:gd name="connsiteY6154" fmla="*/ 2157906 h 6479439"/>
              <a:gd name="connsiteX6155" fmla="*/ 1214510 w 9586368"/>
              <a:gd name="connsiteY6155" fmla="*/ 2167776 h 6479439"/>
              <a:gd name="connsiteX6156" fmla="*/ 1210491 w 9586368"/>
              <a:gd name="connsiteY6156" fmla="*/ 2171815 h 6479439"/>
              <a:gd name="connsiteX6157" fmla="*/ 1200582 w 9586368"/>
              <a:gd name="connsiteY6157" fmla="*/ 2171815 h 6479439"/>
              <a:gd name="connsiteX6158" fmla="*/ 1196562 w 9586368"/>
              <a:gd name="connsiteY6158" fmla="*/ 2167776 h 6479439"/>
              <a:gd name="connsiteX6159" fmla="*/ 1196562 w 9586368"/>
              <a:gd name="connsiteY6159" fmla="*/ 2157906 h 6479439"/>
              <a:gd name="connsiteX6160" fmla="*/ 961268 w 9586368"/>
              <a:gd name="connsiteY6160" fmla="*/ 2153867 h 6479439"/>
              <a:gd name="connsiteX6161" fmla="*/ 971179 w 9586368"/>
              <a:gd name="connsiteY6161" fmla="*/ 2153867 h 6479439"/>
              <a:gd name="connsiteX6162" fmla="*/ 975198 w 9586368"/>
              <a:gd name="connsiteY6162" fmla="*/ 2157906 h 6479439"/>
              <a:gd name="connsiteX6163" fmla="*/ 975198 w 9586368"/>
              <a:gd name="connsiteY6163" fmla="*/ 2167776 h 6479439"/>
              <a:gd name="connsiteX6164" fmla="*/ 971179 w 9586368"/>
              <a:gd name="connsiteY6164" fmla="*/ 2171815 h 6479439"/>
              <a:gd name="connsiteX6165" fmla="*/ 961268 w 9586368"/>
              <a:gd name="connsiteY6165" fmla="*/ 2171815 h 6479439"/>
              <a:gd name="connsiteX6166" fmla="*/ 957250 w 9586368"/>
              <a:gd name="connsiteY6166" fmla="*/ 2167776 h 6479439"/>
              <a:gd name="connsiteX6167" fmla="*/ 957250 w 9586368"/>
              <a:gd name="connsiteY6167" fmla="*/ 2157906 h 6479439"/>
              <a:gd name="connsiteX6168" fmla="*/ 1679214 w 9586368"/>
              <a:gd name="connsiteY6168" fmla="*/ 2153867 h 6479439"/>
              <a:gd name="connsiteX6169" fmla="*/ 1689123 w 9586368"/>
              <a:gd name="connsiteY6169" fmla="*/ 2153867 h 6479439"/>
              <a:gd name="connsiteX6170" fmla="*/ 1693144 w 9586368"/>
              <a:gd name="connsiteY6170" fmla="*/ 2157905 h 6479439"/>
              <a:gd name="connsiteX6171" fmla="*/ 1693144 w 9586368"/>
              <a:gd name="connsiteY6171" fmla="*/ 2167775 h 6479439"/>
              <a:gd name="connsiteX6172" fmla="*/ 1689123 w 9586368"/>
              <a:gd name="connsiteY6172" fmla="*/ 2171814 h 6479439"/>
              <a:gd name="connsiteX6173" fmla="*/ 1679214 w 9586368"/>
              <a:gd name="connsiteY6173" fmla="*/ 2171814 h 6479439"/>
              <a:gd name="connsiteX6174" fmla="*/ 1675195 w 9586368"/>
              <a:gd name="connsiteY6174" fmla="*/ 2167775 h 6479439"/>
              <a:gd name="connsiteX6175" fmla="*/ 1675195 w 9586368"/>
              <a:gd name="connsiteY6175" fmla="*/ 2157905 h 6479439"/>
              <a:gd name="connsiteX6176" fmla="*/ 1439897 w 9586368"/>
              <a:gd name="connsiteY6176" fmla="*/ 2153867 h 6479439"/>
              <a:gd name="connsiteX6177" fmla="*/ 1449807 w 9586368"/>
              <a:gd name="connsiteY6177" fmla="*/ 2153867 h 6479439"/>
              <a:gd name="connsiteX6178" fmla="*/ 1453826 w 9586368"/>
              <a:gd name="connsiteY6178" fmla="*/ 2157905 h 6479439"/>
              <a:gd name="connsiteX6179" fmla="*/ 1453826 w 9586368"/>
              <a:gd name="connsiteY6179" fmla="*/ 2167776 h 6479439"/>
              <a:gd name="connsiteX6180" fmla="*/ 1449807 w 9586368"/>
              <a:gd name="connsiteY6180" fmla="*/ 2171814 h 6479439"/>
              <a:gd name="connsiteX6181" fmla="*/ 1439897 w 9586368"/>
              <a:gd name="connsiteY6181" fmla="*/ 2171814 h 6479439"/>
              <a:gd name="connsiteX6182" fmla="*/ 1435878 w 9586368"/>
              <a:gd name="connsiteY6182" fmla="*/ 2167776 h 6479439"/>
              <a:gd name="connsiteX6183" fmla="*/ 1435878 w 9586368"/>
              <a:gd name="connsiteY6183" fmla="*/ 2157905 h 6479439"/>
              <a:gd name="connsiteX6184" fmla="*/ 1918513 w 9586368"/>
              <a:gd name="connsiteY6184" fmla="*/ 2153855 h 6479439"/>
              <a:gd name="connsiteX6185" fmla="*/ 1928422 w 9586368"/>
              <a:gd name="connsiteY6185" fmla="*/ 2153855 h 6479439"/>
              <a:gd name="connsiteX6186" fmla="*/ 1932443 w 9586368"/>
              <a:gd name="connsiteY6186" fmla="*/ 2157892 h 6479439"/>
              <a:gd name="connsiteX6187" fmla="*/ 1932443 w 9586368"/>
              <a:gd name="connsiteY6187" fmla="*/ 2167763 h 6479439"/>
              <a:gd name="connsiteX6188" fmla="*/ 1928422 w 9586368"/>
              <a:gd name="connsiteY6188" fmla="*/ 2171803 h 6479439"/>
              <a:gd name="connsiteX6189" fmla="*/ 1918513 w 9586368"/>
              <a:gd name="connsiteY6189" fmla="*/ 2171803 h 6479439"/>
              <a:gd name="connsiteX6190" fmla="*/ 1914494 w 9586368"/>
              <a:gd name="connsiteY6190" fmla="*/ 2167763 h 6479439"/>
              <a:gd name="connsiteX6191" fmla="*/ 1914494 w 9586368"/>
              <a:gd name="connsiteY6191" fmla="*/ 2157892 h 6479439"/>
              <a:gd name="connsiteX6192" fmla="*/ 2157821 w 9586368"/>
              <a:gd name="connsiteY6192" fmla="*/ 2153850 h 6479439"/>
              <a:gd name="connsiteX6193" fmla="*/ 2167732 w 9586368"/>
              <a:gd name="connsiteY6193" fmla="*/ 2153850 h 6479439"/>
              <a:gd name="connsiteX6194" fmla="*/ 2171750 w 9586368"/>
              <a:gd name="connsiteY6194" fmla="*/ 2157889 h 6479439"/>
              <a:gd name="connsiteX6195" fmla="*/ 2171750 w 9586368"/>
              <a:gd name="connsiteY6195" fmla="*/ 2167759 h 6479439"/>
              <a:gd name="connsiteX6196" fmla="*/ 2167732 w 9586368"/>
              <a:gd name="connsiteY6196" fmla="*/ 2171798 h 6479439"/>
              <a:gd name="connsiteX6197" fmla="*/ 2157821 w 9586368"/>
              <a:gd name="connsiteY6197" fmla="*/ 2171798 h 6479439"/>
              <a:gd name="connsiteX6198" fmla="*/ 2153803 w 9586368"/>
              <a:gd name="connsiteY6198" fmla="*/ 2167759 h 6479439"/>
              <a:gd name="connsiteX6199" fmla="*/ 2153803 w 9586368"/>
              <a:gd name="connsiteY6199" fmla="*/ 2157889 h 6479439"/>
              <a:gd name="connsiteX6200" fmla="*/ 4032 w 9586368"/>
              <a:gd name="connsiteY6200" fmla="*/ 2153832 h 6479439"/>
              <a:gd name="connsiteX6201" fmla="*/ 13942 w 9586368"/>
              <a:gd name="connsiteY6201" fmla="*/ 2153832 h 6479439"/>
              <a:gd name="connsiteX6202" fmla="*/ 17961 w 9586368"/>
              <a:gd name="connsiteY6202" fmla="*/ 2157870 h 6479439"/>
              <a:gd name="connsiteX6203" fmla="*/ 17961 w 9586368"/>
              <a:gd name="connsiteY6203" fmla="*/ 2167741 h 6479439"/>
              <a:gd name="connsiteX6204" fmla="*/ 13942 w 9586368"/>
              <a:gd name="connsiteY6204" fmla="*/ 2171780 h 6479439"/>
              <a:gd name="connsiteX6205" fmla="*/ 4032 w 9586368"/>
              <a:gd name="connsiteY6205" fmla="*/ 2171780 h 6479439"/>
              <a:gd name="connsiteX6206" fmla="*/ 13 w 9586368"/>
              <a:gd name="connsiteY6206" fmla="*/ 2167741 h 6479439"/>
              <a:gd name="connsiteX6207" fmla="*/ 13 w 9586368"/>
              <a:gd name="connsiteY6207" fmla="*/ 2157870 h 6479439"/>
              <a:gd name="connsiteX6208" fmla="*/ 721971 w 9586368"/>
              <a:gd name="connsiteY6208" fmla="*/ 2153832 h 6479439"/>
              <a:gd name="connsiteX6209" fmla="*/ 731881 w 9586368"/>
              <a:gd name="connsiteY6209" fmla="*/ 2153832 h 6479439"/>
              <a:gd name="connsiteX6210" fmla="*/ 735900 w 9586368"/>
              <a:gd name="connsiteY6210" fmla="*/ 2157870 h 6479439"/>
              <a:gd name="connsiteX6211" fmla="*/ 735900 w 9586368"/>
              <a:gd name="connsiteY6211" fmla="*/ 2167740 h 6479439"/>
              <a:gd name="connsiteX6212" fmla="*/ 731881 w 9586368"/>
              <a:gd name="connsiteY6212" fmla="*/ 2171780 h 6479439"/>
              <a:gd name="connsiteX6213" fmla="*/ 721971 w 9586368"/>
              <a:gd name="connsiteY6213" fmla="*/ 2171780 h 6479439"/>
              <a:gd name="connsiteX6214" fmla="*/ 717952 w 9586368"/>
              <a:gd name="connsiteY6214" fmla="*/ 2167740 h 6479439"/>
              <a:gd name="connsiteX6215" fmla="*/ 717952 w 9586368"/>
              <a:gd name="connsiteY6215" fmla="*/ 2157870 h 6479439"/>
              <a:gd name="connsiteX6216" fmla="*/ 482659 w 9586368"/>
              <a:gd name="connsiteY6216" fmla="*/ 2153832 h 6479439"/>
              <a:gd name="connsiteX6217" fmla="*/ 492569 w 9586368"/>
              <a:gd name="connsiteY6217" fmla="*/ 2153832 h 6479439"/>
              <a:gd name="connsiteX6218" fmla="*/ 496588 w 9586368"/>
              <a:gd name="connsiteY6218" fmla="*/ 2157870 h 6479439"/>
              <a:gd name="connsiteX6219" fmla="*/ 496588 w 9586368"/>
              <a:gd name="connsiteY6219" fmla="*/ 2167741 h 6479439"/>
              <a:gd name="connsiteX6220" fmla="*/ 492569 w 9586368"/>
              <a:gd name="connsiteY6220" fmla="*/ 2171780 h 6479439"/>
              <a:gd name="connsiteX6221" fmla="*/ 482659 w 9586368"/>
              <a:gd name="connsiteY6221" fmla="*/ 2171780 h 6479439"/>
              <a:gd name="connsiteX6222" fmla="*/ 478640 w 9586368"/>
              <a:gd name="connsiteY6222" fmla="*/ 2167741 h 6479439"/>
              <a:gd name="connsiteX6223" fmla="*/ 478640 w 9586368"/>
              <a:gd name="connsiteY6223" fmla="*/ 2157870 h 6479439"/>
              <a:gd name="connsiteX6224" fmla="*/ 243345 w 9586368"/>
              <a:gd name="connsiteY6224" fmla="*/ 2153832 h 6479439"/>
              <a:gd name="connsiteX6225" fmla="*/ 253255 w 9586368"/>
              <a:gd name="connsiteY6225" fmla="*/ 2153832 h 6479439"/>
              <a:gd name="connsiteX6226" fmla="*/ 257274 w 9586368"/>
              <a:gd name="connsiteY6226" fmla="*/ 2157870 h 6479439"/>
              <a:gd name="connsiteX6227" fmla="*/ 257274 w 9586368"/>
              <a:gd name="connsiteY6227" fmla="*/ 2167741 h 6479439"/>
              <a:gd name="connsiteX6228" fmla="*/ 253255 w 9586368"/>
              <a:gd name="connsiteY6228" fmla="*/ 2171780 h 6479439"/>
              <a:gd name="connsiteX6229" fmla="*/ 243345 w 9586368"/>
              <a:gd name="connsiteY6229" fmla="*/ 2171780 h 6479439"/>
              <a:gd name="connsiteX6230" fmla="*/ 239326 w 9586368"/>
              <a:gd name="connsiteY6230" fmla="*/ 2167741 h 6479439"/>
              <a:gd name="connsiteX6231" fmla="*/ 239326 w 9586368"/>
              <a:gd name="connsiteY6231" fmla="*/ 2157870 h 6479439"/>
              <a:gd name="connsiteX6232" fmla="*/ 2393104 w 9586368"/>
              <a:gd name="connsiteY6232" fmla="*/ 1914701 h 6479439"/>
              <a:gd name="connsiteX6233" fmla="*/ 2403015 w 9586368"/>
              <a:gd name="connsiteY6233" fmla="*/ 1914701 h 6479439"/>
              <a:gd name="connsiteX6234" fmla="*/ 2407034 w 9586368"/>
              <a:gd name="connsiteY6234" fmla="*/ 1918739 h 6479439"/>
              <a:gd name="connsiteX6235" fmla="*/ 2407034 w 9586368"/>
              <a:gd name="connsiteY6235" fmla="*/ 1928610 h 6479439"/>
              <a:gd name="connsiteX6236" fmla="*/ 2403015 w 9586368"/>
              <a:gd name="connsiteY6236" fmla="*/ 1932649 h 6479439"/>
              <a:gd name="connsiteX6237" fmla="*/ 2393104 w 9586368"/>
              <a:gd name="connsiteY6237" fmla="*/ 1932649 h 6479439"/>
              <a:gd name="connsiteX6238" fmla="*/ 2389087 w 9586368"/>
              <a:gd name="connsiteY6238" fmla="*/ 1928610 h 6479439"/>
              <a:gd name="connsiteX6239" fmla="*/ 2389087 w 9586368"/>
              <a:gd name="connsiteY6239" fmla="*/ 1918739 h 6479439"/>
              <a:gd name="connsiteX6240" fmla="*/ 3350359 w 9586368"/>
              <a:gd name="connsiteY6240" fmla="*/ 1914699 h 6479439"/>
              <a:gd name="connsiteX6241" fmla="*/ 3360268 w 9586368"/>
              <a:gd name="connsiteY6241" fmla="*/ 1914699 h 6479439"/>
              <a:gd name="connsiteX6242" fmla="*/ 3364287 w 9586368"/>
              <a:gd name="connsiteY6242" fmla="*/ 1918738 h 6479439"/>
              <a:gd name="connsiteX6243" fmla="*/ 3364287 w 9586368"/>
              <a:gd name="connsiteY6243" fmla="*/ 1928610 h 6479439"/>
              <a:gd name="connsiteX6244" fmla="*/ 3360268 w 9586368"/>
              <a:gd name="connsiteY6244" fmla="*/ 1932649 h 6479439"/>
              <a:gd name="connsiteX6245" fmla="*/ 3350359 w 9586368"/>
              <a:gd name="connsiteY6245" fmla="*/ 1932649 h 6479439"/>
              <a:gd name="connsiteX6246" fmla="*/ 3346340 w 9586368"/>
              <a:gd name="connsiteY6246" fmla="*/ 1928610 h 6479439"/>
              <a:gd name="connsiteX6247" fmla="*/ 3346340 w 9586368"/>
              <a:gd name="connsiteY6247" fmla="*/ 1918738 h 6479439"/>
              <a:gd name="connsiteX6248" fmla="*/ 3111048 w 9586368"/>
              <a:gd name="connsiteY6248" fmla="*/ 1914699 h 6479439"/>
              <a:gd name="connsiteX6249" fmla="*/ 3120959 w 9586368"/>
              <a:gd name="connsiteY6249" fmla="*/ 1914699 h 6479439"/>
              <a:gd name="connsiteX6250" fmla="*/ 3124977 w 9586368"/>
              <a:gd name="connsiteY6250" fmla="*/ 1918739 h 6479439"/>
              <a:gd name="connsiteX6251" fmla="*/ 3124977 w 9586368"/>
              <a:gd name="connsiteY6251" fmla="*/ 1928610 h 6479439"/>
              <a:gd name="connsiteX6252" fmla="*/ 3120959 w 9586368"/>
              <a:gd name="connsiteY6252" fmla="*/ 1932649 h 6479439"/>
              <a:gd name="connsiteX6253" fmla="*/ 3111048 w 9586368"/>
              <a:gd name="connsiteY6253" fmla="*/ 1932649 h 6479439"/>
              <a:gd name="connsiteX6254" fmla="*/ 3107029 w 9586368"/>
              <a:gd name="connsiteY6254" fmla="*/ 1928610 h 6479439"/>
              <a:gd name="connsiteX6255" fmla="*/ 3107029 w 9586368"/>
              <a:gd name="connsiteY6255" fmla="*/ 1918739 h 6479439"/>
              <a:gd name="connsiteX6256" fmla="*/ 2871737 w 9586368"/>
              <a:gd name="connsiteY6256" fmla="*/ 1914699 h 6479439"/>
              <a:gd name="connsiteX6257" fmla="*/ 2881646 w 9586368"/>
              <a:gd name="connsiteY6257" fmla="*/ 1914699 h 6479439"/>
              <a:gd name="connsiteX6258" fmla="*/ 2885666 w 9586368"/>
              <a:gd name="connsiteY6258" fmla="*/ 1918739 h 6479439"/>
              <a:gd name="connsiteX6259" fmla="*/ 2885666 w 9586368"/>
              <a:gd name="connsiteY6259" fmla="*/ 1928610 h 6479439"/>
              <a:gd name="connsiteX6260" fmla="*/ 2881646 w 9586368"/>
              <a:gd name="connsiteY6260" fmla="*/ 1932649 h 6479439"/>
              <a:gd name="connsiteX6261" fmla="*/ 2871737 w 9586368"/>
              <a:gd name="connsiteY6261" fmla="*/ 1932649 h 6479439"/>
              <a:gd name="connsiteX6262" fmla="*/ 2867717 w 9586368"/>
              <a:gd name="connsiteY6262" fmla="*/ 1928610 h 6479439"/>
              <a:gd name="connsiteX6263" fmla="*/ 2867717 w 9586368"/>
              <a:gd name="connsiteY6263" fmla="*/ 1918739 h 6479439"/>
              <a:gd name="connsiteX6264" fmla="*/ 2632423 w 9586368"/>
              <a:gd name="connsiteY6264" fmla="*/ 1914699 h 6479439"/>
              <a:gd name="connsiteX6265" fmla="*/ 2642334 w 9586368"/>
              <a:gd name="connsiteY6265" fmla="*/ 1914699 h 6479439"/>
              <a:gd name="connsiteX6266" fmla="*/ 2646352 w 9586368"/>
              <a:gd name="connsiteY6266" fmla="*/ 1918739 h 6479439"/>
              <a:gd name="connsiteX6267" fmla="*/ 2646352 w 9586368"/>
              <a:gd name="connsiteY6267" fmla="*/ 1928610 h 6479439"/>
              <a:gd name="connsiteX6268" fmla="*/ 2642334 w 9586368"/>
              <a:gd name="connsiteY6268" fmla="*/ 1932649 h 6479439"/>
              <a:gd name="connsiteX6269" fmla="*/ 2632423 w 9586368"/>
              <a:gd name="connsiteY6269" fmla="*/ 1932649 h 6479439"/>
              <a:gd name="connsiteX6270" fmla="*/ 2628404 w 9586368"/>
              <a:gd name="connsiteY6270" fmla="*/ 1928610 h 6479439"/>
              <a:gd name="connsiteX6271" fmla="*/ 2628404 w 9586368"/>
              <a:gd name="connsiteY6271" fmla="*/ 1918739 h 6479439"/>
              <a:gd name="connsiteX6272" fmla="*/ 3589676 w 9586368"/>
              <a:gd name="connsiteY6272" fmla="*/ 1914682 h 6479439"/>
              <a:gd name="connsiteX6273" fmla="*/ 3599585 w 9586368"/>
              <a:gd name="connsiteY6273" fmla="*/ 1914682 h 6479439"/>
              <a:gd name="connsiteX6274" fmla="*/ 3603604 w 9586368"/>
              <a:gd name="connsiteY6274" fmla="*/ 1918721 h 6479439"/>
              <a:gd name="connsiteX6275" fmla="*/ 3603604 w 9586368"/>
              <a:gd name="connsiteY6275" fmla="*/ 1928592 h 6479439"/>
              <a:gd name="connsiteX6276" fmla="*/ 3599585 w 9586368"/>
              <a:gd name="connsiteY6276" fmla="*/ 1932631 h 6479439"/>
              <a:gd name="connsiteX6277" fmla="*/ 3589676 w 9586368"/>
              <a:gd name="connsiteY6277" fmla="*/ 1932631 h 6479439"/>
              <a:gd name="connsiteX6278" fmla="*/ 3585657 w 9586368"/>
              <a:gd name="connsiteY6278" fmla="*/ 1928592 h 6479439"/>
              <a:gd name="connsiteX6279" fmla="*/ 3585657 w 9586368"/>
              <a:gd name="connsiteY6279" fmla="*/ 1918721 h 6479439"/>
              <a:gd name="connsiteX6280" fmla="*/ 4546929 w 9586368"/>
              <a:gd name="connsiteY6280" fmla="*/ 1914681 h 6479439"/>
              <a:gd name="connsiteX6281" fmla="*/ 4556840 w 9586368"/>
              <a:gd name="connsiteY6281" fmla="*/ 1914681 h 6479439"/>
              <a:gd name="connsiteX6282" fmla="*/ 4560859 w 9586368"/>
              <a:gd name="connsiteY6282" fmla="*/ 1918719 h 6479439"/>
              <a:gd name="connsiteX6283" fmla="*/ 4560859 w 9586368"/>
              <a:gd name="connsiteY6283" fmla="*/ 1928592 h 6479439"/>
              <a:gd name="connsiteX6284" fmla="*/ 4556840 w 9586368"/>
              <a:gd name="connsiteY6284" fmla="*/ 1932631 h 6479439"/>
              <a:gd name="connsiteX6285" fmla="*/ 4546929 w 9586368"/>
              <a:gd name="connsiteY6285" fmla="*/ 1932631 h 6479439"/>
              <a:gd name="connsiteX6286" fmla="*/ 4542910 w 9586368"/>
              <a:gd name="connsiteY6286" fmla="*/ 1928592 h 6479439"/>
              <a:gd name="connsiteX6287" fmla="*/ 4542910 w 9586368"/>
              <a:gd name="connsiteY6287" fmla="*/ 1918719 h 6479439"/>
              <a:gd name="connsiteX6288" fmla="*/ 4307612 w 9586368"/>
              <a:gd name="connsiteY6288" fmla="*/ 1914681 h 6479439"/>
              <a:gd name="connsiteX6289" fmla="*/ 4317523 w 9586368"/>
              <a:gd name="connsiteY6289" fmla="*/ 1914681 h 6479439"/>
              <a:gd name="connsiteX6290" fmla="*/ 4321543 w 9586368"/>
              <a:gd name="connsiteY6290" fmla="*/ 1918720 h 6479439"/>
              <a:gd name="connsiteX6291" fmla="*/ 4321543 w 9586368"/>
              <a:gd name="connsiteY6291" fmla="*/ 1928592 h 6479439"/>
              <a:gd name="connsiteX6292" fmla="*/ 4317523 w 9586368"/>
              <a:gd name="connsiteY6292" fmla="*/ 1932631 h 6479439"/>
              <a:gd name="connsiteX6293" fmla="*/ 4307612 w 9586368"/>
              <a:gd name="connsiteY6293" fmla="*/ 1932631 h 6479439"/>
              <a:gd name="connsiteX6294" fmla="*/ 4303595 w 9586368"/>
              <a:gd name="connsiteY6294" fmla="*/ 1928592 h 6479439"/>
              <a:gd name="connsiteX6295" fmla="*/ 4303595 w 9586368"/>
              <a:gd name="connsiteY6295" fmla="*/ 1918720 h 6479439"/>
              <a:gd name="connsiteX6296" fmla="*/ 4068297 w 9586368"/>
              <a:gd name="connsiteY6296" fmla="*/ 1914681 h 6479439"/>
              <a:gd name="connsiteX6297" fmla="*/ 4078210 w 9586368"/>
              <a:gd name="connsiteY6297" fmla="*/ 1914681 h 6479439"/>
              <a:gd name="connsiteX6298" fmla="*/ 4082229 w 9586368"/>
              <a:gd name="connsiteY6298" fmla="*/ 1918720 h 6479439"/>
              <a:gd name="connsiteX6299" fmla="*/ 4082229 w 9586368"/>
              <a:gd name="connsiteY6299" fmla="*/ 1928592 h 6479439"/>
              <a:gd name="connsiteX6300" fmla="*/ 4078210 w 9586368"/>
              <a:gd name="connsiteY6300" fmla="*/ 1932631 h 6479439"/>
              <a:gd name="connsiteX6301" fmla="*/ 4068297 w 9586368"/>
              <a:gd name="connsiteY6301" fmla="*/ 1932631 h 6479439"/>
              <a:gd name="connsiteX6302" fmla="*/ 4064278 w 9586368"/>
              <a:gd name="connsiteY6302" fmla="*/ 1928592 h 6479439"/>
              <a:gd name="connsiteX6303" fmla="*/ 4064278 w 9586368"/>
              <a:gd name="connsiteY6303" fmla="*/ 1918720 h 6479439"/>
              <a:gd name="connsiteX6304" fmla="*/ 3828990 w 9586368"/>
              <a:gd name="connsiteY6304" fmla="*/ 1914681 h 6479439"/>
              <a:gd name="connsiteX6305" fmla="*/ 3838899 w 9586368"/>
              <a:gd name="connsiteY6305" fmla="*/ 1914681 h 6479439"/>
              <a:gd name="connsiteX6306" fmla="*/ 3842917 w 9586368"/>
              <a:gd name="connsiteY6306" fmla="*/ 1918720 h 6479439"/>
              <a:gd name="connsiteX6307" fmla="*/ 3842917 w 9586368"/>
              <a:gd name="connsiteY6307" fmla="*/ 1928592 h 6479439"/>
              <a:gd name="connsiteX6308" fmla="*/ 3838899 w 9586368"/>
              <a:gd name="connsiteY6308" fmla="*/ 1932631 h 6479439"/>
              <a:gd name="connsiteX6309" fmla="*/ 3828990 w 9586368"/>
              <a:gd name="connsiteY6309" fmla="*/ 1932631 h 6479439"/>
              <a:gd name="connsiteX6310" fmla="*/ 3824971 w 9586368"/>
              <a:gd name="connsiteY6310" fmla="*/ 1928592 h 6479439"/>
              <a:gd name="connsiteX6311" fmla="*/ 3824971 w 9586368"/>
              <a:gd name="connsiteY6311" fmla="*/ 1918720 h 6479439"/>
              <a:gd name="connsiteX6312" fmla="*/ 4786241 w 9586368"/>
              <a:gd name="connsiteY6312" fmla="*/ 1914664 h 6479439"/>
              <a:gd name="connsiteX6313" fmla="*/ 4796152 w 9586368"/>
              <a:gd name="connsiteY6313" fmla="*/ 1914664 h 6479439"/>
              <a:gd name="connsiteX6314" fmla="*/ 4800171 w 9586368"/>
              <a:gd name="connsiteY6314" fmla="*/ 1918702 h 6479439"/>
              <a:gd name="connsiteX6315" fmla="*/ 4800171 w 9586368"/>
              <a:gd name="connsiteY6315" fmla="*/ 1928573 h 6479439"/>
              <a:gd name="connsiteX6316" fmla="*/ 4796152 w 9586368"/>
              <a:gd name="connsiteY6316" fmla="*/ 1932612 h 6479439"/>
              <a:gd name="connsiteX6317" fmla="*/ 4786241 w 9586368"/>
              <a:gd name="connsiteY6317" fmla="*/ 1932612 h 6479439"/>
              <a:gd name="connsiteX6318" fmla="*/ 4782224 w 9586368"/>
              <a:gd name="connsiteY6318" fmla="*/ 1928573 h 6479439"/>
              <a:gd name="connsiteX6319" fmla="*/ 4782224 w 9586368"/>
              <a:gd name="connsiteY6319" fmla="*/ 1918702 h 6479439"/>
              <a:gd name="connsiteX6320" fmla="*/ 5504099 w 9586368"/>
              <a:gd name="connsiteY6320" fmla="*/ 1914663 h 6479439"/>
              <a:gd name="connsiteX6321" fmla="*/ 5514010 w 9586368"/>
              <a:gd name="connsiteY6321" fmla="*/ 1914663 h 6479439"/>
              <a:gd name="connsiteX6322" fmla="*/ 5518029 w 9586368"/>
              <a:gd name="connsiteY6322" fmla="*/ 1918702 h 6479439"/>
              <a:gd name="connsiteX6323" fmla="*/ 5518029 w 9586368"/>
              <a:gd name="connsiteY6323" fmla="*/ 1928572 h 6479439"/>
              <a:gd name="connsiteX6324" fmla="*/ 5514010 w 9586368"/>
              <a:gd name="connsiteY6324" fmla="*/ 1932612 h 6479439"/>
              <a:gd name="connsiteX6325" fmla="*/ 5504099 w 9586368"/>
              <a:gd name="connsiteY6325" fmla="*/ 1932612 h 6479439"/>
              <a:gd name="connsiteX6326" fmla="*/ 5500080 w 9586368"/>
              <a:gd name="connsiteY6326" fmla="*/ 1928572 h 6479439"/>
              <a:gd name="connsiteX6327" fmla="*/ 5500080 w 9586368"/>
              <a:gd name="connsiteY6327" fmla="*/ 1918702 h 6479439"/>
              <a:gd name="connsiteX6328" fmla="*/ 5264784 w 9586368"/>
              <a:gd name="connsiteY6328" fmla="*/ 1914663 h 6479439"/>
              <a:gd name="connsiteX6329" fmla="*/ 5274694 w 9586368"/>
              <a:gd name="connsiteY6329" fmla="*/ 1914663 h 6479439"/>
              <a:gd name="connsiteX6330" fmla="*/ 5278713 w 9586368"/>
              <a:gd name="connsiteY6330" fmla="*/ 1918702 h 6479439"/>
              <a:gd name="connsiteX6331" fmla="*/ 5278713 w 9586368"/>
              <a:gd name="connsiteY6331" fmla="*/ 1928573 h 6479439"/>
              <a:gd name="connsiteX6332" fmla="*/ 5274694 w 9586368"/>
              <a:gd name="connsiteY6332" fmla="*/ 1932612 h 6479439"/>
              <a:gd name="connsiteX6333" fmla="*/ 5264784 w 9586368"/>
              <a:gd name="connsiteY6333" fmla="*/ 1932612 h 6479439"/>
              <a:gd name="connsiteX6334" fmla="*/ 5260765 w 9586368"/>
              <a:gd name="connsiteY6334" fmla="*/ 1928573 h 6479439"/>
              <a:gd name="connsiteX6335" fmla="*/ 5260765 w 9586368"/>
              <a:gd name="connsiteY6335" fmla="*/ 1918702 h 6479439"/>
              <a:gd name="connsiteX6336" fmla="*/ 5025470 w 9586368"/>
              <a:gd name="connsiteY6336" fmla="*/ 1914663 h 6479439"/>
              <a:gd name="connsiteX6337" fmla="*/ 5035381 w 9586368"/>
              <a:gd name="connsiteY6337" fmla="*/ 1914663 h 6479439"/>
              <a:gd name="connsiteX6338" fmla="*/ 5039400 w 9586368"/>
              <a:gd name="connsiteY6338" fmla="*/ 1918702 h 6479439"/>
              <a:gd name="connsiteX6339" fmla="*/ 5039400 w 9586368"/>
              <a:gd name="connsiteY6339" fmla="*/ 1928573 h 6479439"/>
              <a:gd name="connsiteX6340" fmla="*/ 5035381 w 9586368"/>
              <a:gd name="connsiteY6340" fmla="*/ 1932612 h 6479439"/>
              <a:gd name="connsiteX6341" fmla="*/ 5025470 w 9586368"/>
              <a:gd name="connsiteY6341" fmla="*/ 1932612 h 6479439"/>
              <a:gd name="connsiteX6342" fmla="*/ 5021451 w 9586368"/>
              <a:gd name="connsiteY6342" fmla="*/ 1928573 h 6479439"/>
              <a:gd name="connsiteX6343" fmla="*/ 5021451 w 9586368"/>
              <a:gd name="connsiteY6343" fmla="*/ 1918702 h 6479439"/>
              <a:gd name="connsiteX6344" fmla="*/ 5743412 w 9586368"/>
              <a:gd name="connsiteY6344" fmla="*/ 1914662 h 6479439"/>
              <a:gd name="connsiteX6345" fmla="*/ 5753323 w 9586368"/>
              <a:gd name="connsiteY6345" fmla="*/ 1914662 h 6479439"/>
              <a:gd name="connsiteX6346" fmla="*/ 5757342 w 9586368"/>
              <a:gd name="connsiteY6346" fmla="*/ 1918701 h 6479439"/>
              <a:gd name="connsiteX6347" fmla="*/ 5757342 w 9586368"/>
              <a:gd name="connsiteY6347" fmla="*/ 1928572 h 6479439"/>
              <a:gd name="connsiteX6348" fmla="*/ 5753323 w 9586368"/>
              <a:gd name="connsiteY6348" fmla="*/ 1932612 h 6479439"/>
              <a:gd name="connsiteX6349" fmla="*/ 5743412 w 9586368"/>
              <a:gd name="connsiteY6349" fmla="*/ 1932612 h 6479439"/>
              <a:gd name="connsiteX6350" fmla="*/ 5739393 w 9586368"/>
              <a:gd name="connsiteY6350" fmla="*/ 1928572 h 6479439"/>
              <a:gd name="connsiteX6351" fmla="*/ 5739393 w 9586368"/>
              <a:gd name="connsiteY6351" fmla="*/ 1918701 h 6479439"/>
              <a:gd name="connsiteX6352" fmla="*/ 5982729 w 9586368"/>
              <a:gd name="connsiteY6352" fmla="*/ 1914645 h 6479439"/>
              <a:gd name="connsiteX6353" fmla="*/ 5992639 w 9586368"/>
              <a:gd name="connsiteY6353" fmla="*/ 1914645 h 6479439"/>
              <a:gd name="connsiteX6354" fmla="*/ 5996658 w 9586368"/>
              <a:gd name="connsiteY6354" fmla="*/ 1918684 h 6479439"/>
              <a:gd name="connsiteX6355" fmla="*/ 5996658 w 9586368"/>
              <a:gd name="connsiteY6355" fmla="*/ 1928555 h 6479439"/>
              <a:gd name="connsiteX6356" fmla="*/ 5992639 w 9586368"/>
              <a:gd name="connsiteY6356" fmla="*/ 1932594 h 6479439"/>
              <a:gd name="connsiteX6357" fmla="*/ 5982729 w 9586368"/>
              <a:gd name="connsiteY6357" fmla="*/ 1932594 h 6479439"/>
              <a:gd name="connsiteX6358" fmla="*/ 5978710 w 9586368"/>
              <a:gd name="connsiteY6358" fmla="*/ 1928555 h 6479439"/>
              <a:gd name="connsiteX6359" fmla="*/ 5978710 w 9586368"/>
              <a:gd name="connsiteY6359" fmla="*/ 1918684 h 6479439"/>
              <a:gd name="connsiteX6360" fmla="*/ 6939983 w 9586368"/>
              <a:gd name="connsiteY6360" fmla="*/ 1914645 h 6479439"/>
              <a:gd name="connsiteX6361" fmla="*/ 6949894 w 9586368"/>
              <a:gd name="connsiteY6361" fmla="*/ 1914645 h 6479439"/>
              <a:gd name="connsiteX6362" fmla="*/ 6953913 w 9586368"/>
              <a:gd name="connsiteY6362" fmla="*/ 1918682 h 6479439"/>
              <a:gd name="connsiteX6363" fmla="*/ 6953913 w 9586368"/>
              <a:gd name="connsiteY6363" fmla="*/ 1928554 h 6479439"/>
              <a:gd name="connsiteX6364" fmla="*/ 6949894 w 9586368"/>
              <a:gd name="connsiteY6364" fmla="*/ 1932594 h 6479439"/>
              <a:gd name="connsiteX6365" fmla="*/ 6939983 w 9586368"/>
              <a:gd name="connsiteY6365" fmla="*/ 1932594 h 6479439"/>
              <a:gd name="connsiteX6366" fmla="*/ 6935964 w 9586368"/>
              <a:gd name="connsiteY6366" fmla="*/ 1928554 h 6479439"/>
              <a:gd name="connsiteX6367" fmla="*/ 6935964 w 9586368"/>
              <a:gd name="connsiteY6367" fmla="*/ 1918682 h 6479439"/>
              <a:gd name="connsiteX6368" fmla="*/ 6700670 w 9586368"/>
              <a:gd name="connsiteY6368" fmla="*/ 1914645 h 6479439"/>
              <a:gd name="connsiteX6369" fmla="*/ 6710581 w 9586368"/>
              <a:gd name="connsiteY6369" fmla="*/ 1914645 h 6479439"/>
              <a:gd name="connsiteX6370" fmla="*/ 6714600 w 9586368"/>
              <a:gd name="connsiteY6370" fmla="*/ 1918683 h 6479439"/>
              <a:gd name="connsiteX6371" fmla="*/ 6714600 w 9586368"/>
              <a:gd name="connsiteY6371" fmla="*/ 1928554 h 6479439"/>
              <a:gd name="connsiteX6372" fmla="*/ 6710581 w 9586368"/>
              <a:gd name="connsiteY6372" fmla="*/ 1932594 h 6479439"/>
              <a:gd name="connsiteX6373" fmla="*/ 6700670 w 9586368"/>
              <a:gd name="connsiteY6373" fmla="*/ 1932594 h 6479439"/>
              <a:gd name="connsiteX6374" fmla="*/ 6696651 w 9586368"/>
              <a:gd name="connsiteY6374" fmla="*/ 1928554 h 6479439"/>
              <a:gd name="connsiteX6375" fmla="*/ 6696651 w 9586368"/>
              <a:gd name="connsiteY6375" fmla="*/ 1918683 h 6479439"/>
              <a:gd name="connsiteX6376" fmla="*/ 6461356 w 9586368"/>
              <a:gd name="connsiteY6376" fmla="*/ 1914645 h 6479439"/>
              <a:gd name="connsiteX6377" fmla="*/ 6471266 w 9586368"/>
              <a:gd name="connsiteY6377" fmla="*/ 1914645 h 6479439"/>
              <a:gd name="connsiteX6378" fmla="*/ 6475285 w 9586368"/>
              <a:gd name="connsiteY6378" fmla="*/ 1918683 h 6479439"/>
              <a:gd name="connsiteX6379" fmla="*/ 6475285 w 9586368"/>
              <a:gd name="connsiteY6379" fmla="*/ 1928555 h 6479439"/>
              <a:gd name="connsiteX6380" fmla="*/ 6471266 w 9586368"/>
              <a:gd name="connsiteY6380" fmla="*/ 1932594 h 6479439"/>
              <a:gd name="connsiteX6381" fmla="*/ 6461356 w 9586368"/>
              <a:gd name="connsiteY6381" fmla="*/ 1932594 h 6479439"/>
              <a:gd name="connsiteX6382" fmla="*/ 6457337 w 9586368"/>
              <a:gd name="connsiteY6382" fmla="*/ 1928555 h 6479439"/>
              <a:gd name="connsiteX6383" fmla="*/ 6457337 w 9586368"/>
              <a:gd name="connsiteY6383" fmla="*/ 1918683 h 6479439"/>
              <a:gd name="connsiteX6384" fmla="*/ 6222042 w 9586368"/>
              <a:gd name="connsiteY6384" fmla="*/ 1914645 h 6479439"/>
              <a:gd name="connsiteX6385" fmla="*/ 6231952 w 9586368"/>
              <a:gd name="connsiteY6385" fmla="*/ 1914645 h 6479439"/>
              <a:gd name="connsiteX6386" fmla="*/ 6235971 w 9586368"/>
              <a:gd name="connsiteY6386" fmla="*/ 1918683 h 6479439"/>
              <a:gd name="connsiteX6387" fmla="*/ 6235971 w 9586368"/>
              <a:gd name="connsiteY6387" fmla="*/ 1928555 h 6479439"/>
              <a:gd name="connsiteX6388" fmla="*/ 6231952 w 9586368"/>
              <a:gd name="connsiteY6388" fmla="*/ 1932594 h 6479439"/>
              <a:gd name="connsiteX6389" fmla="*/ 6222042 w 9586368"/>
              <a:gd name="connsiteY6389" fmla="*/ 1932594 h 6479439"/>
              <a:gd name="connsiteX6390" fmla="*/ 6218023 w 9586368"/>
              <a:gd name="connsiteY6390" fmla="*/ 1928555 h 6479439"/>
              <a:gd name="connsiteX6391" fmla="*/ 6218023 w 9586368"/>
              <a:gd name="connsiteY6391" fmla="*/ 1918683 h 6479439"/>
              <a:gd name="connsiteX6392" fmla="*/ 7179298 w 9586368"/>
              <a:gd name="connsiteY6392" fmla="*/ 1914627 h 6479439"/>
              <a:gd name="connsiteX6393" fmla="*/ 7189209 w 9586368"/>
              <a:gd name="connsiteY6393" fmla="*/ 1914627 h 6479439"/>
              <a:gd name="connsiteX6394" fmla="*/ 7193228 w 9586368"/>
              <a:gd name="connsiteY6394" fmla="*/ 1918666 h 6479439"/>
              <a:gd name="connsiteX6395" fmla="*/ 7193228 w 9586368"/>
              <a:gd name="connsiteY6395" fmla="*/ 1928536 h 6479439"/>
              <a:gd name="connsiteX6396" fmla="*/ 7189209 w 9586368"/>
              <a:gd name="connsiteY6396" fmla="*/ 1932575 h 6479439"/>
              <a:gd name="connsiteX6397" fmla="*/ 7179298 w 9586368"/>
              <a:gd name="connsiteY6397" fmla="*/ 1932575 h 6479439"/>
              <a:gd name="connsiteX6398" fmla="*/ 7175279 w 9586368"/>
              <a:gd name="connsiteY6398" fmla="*/ 1928536 h 6479439"/>
              <a:gd name="connsiteX6399" fmla="*/ 7175279 w 9586368"/>
              <a:gd name="connsiteY6399" fmla="*/ 1918666 h 6479439"/>
              <a:gd name="connsiteX6400" fmla="*/ 7897241 w 9586368"/>
              <a:gd name="connsiteY6400" fmla="*/ 1914627 h 6479439"/>
              <a:gd name="connsiteX6401" fmla="*/ 7907151 w 9586368"/>
              <a:gd name="connsiteY6401" fmla="*/ 1914627 h 6479439"/>
              <a:gd name="connsiteX6402" fmla="*/ 7911170 w 9586368"/>
              <a:gd name="connsiteY6402" fmla="*/ 1918664 h 6479439"/>
              <a:gd name="connsiteX6403" fmla="*/ 7911170 w 9586368"/>
              <a:gd name="connsiteY6403" fmla="*/ 1928535 h 6479439"/>
              <a:gd name="connsiteX6404" fmla="*/ 7907151 w 9586368"/>
              <a:gd name="connsiteY6404" fmla="*/ 1932575 h 6479439"/>
              <a:gd name="connsiteX6405" fmla="*/ 7897241 w 9586368"/>
              <a:gd name="connsiteY6405" fmla="*/ 1932575 h 6479439"/>
              <a:gd name="connsiteX6406" fmla="*/ 7893222 w 9586368"/>
              <a:gd name="connsiteY6406" fmla="*/ 1928535 h 6479439"/>
              <a:gd name="connsiteX6407" fmla="*/ 7893222 w 9586368"/>
              <a:gd name="connsiteY6407" fmla="*/ 1918664 h 6479439"/>
              <a:gd name="connsiteX6408" fmla="*/ 7657926 w 9586368"/>
              <a:gd name="connsiteY6408" fmla="*/ 1914627 h 6479439"/>
              <a:gd name="connsiteX6409" fmla="*/ 7667836 w 9586368"/>
              <a:gd name="connsiteY6409" fmla="*/ 1914627 h 6479439"/>
              <a:gd name="connsiteX6410" fmla="*/ 7671855 w 9586368"/>
              <a:gd name="connsiteY6410" fmla="*/ 1918664 h 6479439"/>
              <a:gd name="connsiteX6411" fmla="*/ 7671855 w 9586368"/>
              <a:gd name="connsiteY6411" fmla="*/ 1928536 h 6479439"/>
              <a:gd name="connsiteX6412" fmla="*/ 7667836 w 9586368"/>
              <a:gd name="connsiteY6412" fmla="*/ 1932575 h 6479439"/>
              <a:gd name="connsiteX6413" fmla="*/ 7657926 w 9586368"/>
              <a:gd name="connsiteY6413" fmla="*/ 1932575 h 6479439"/>
              <a:gd name="connsiteX6414" fmla="*/ 7653906 w 9586368"/>
              <a:gd name="connsiteY6414" fmla="*/ 1928536 h 6479439"/>
              <a:gd name="connsiteX6415" fmla="*/ 7653906 w 9586368"/>
              <a:gd name="connsiteY6415" fmla="*/ 1918664 h 6479439"/>
              <a:gd name="connsiteX6416" fmla="*/ 7418611 w 9586368"/>
              <a:gd name="connsiteY6416" fmla="*/ 1914627 h 6479439"/>
              <a:gd name="connsiteX6417" fmla="*/ 7428521 w 9586368"/>
              <a:gd name="connsiteY6417" fmla="*/ 1914627 h 6479439"/>
              <a:gd name="connsiteX6418" fmla="*/ 7432540 w 9586368"/>
              <a:gd name="connsiteY6418" fmla="*/ 1918664 h 6479439"/>
              <a:gd name="connsiteX6419" fmla="*/ 7432540 w 9586368"/>
              <a:gd name="connsiteY6419" fmla="*/ 1928536 h 6479439"/>
              <a:gd name="connsiteX6420" fmla="*/ 7428521 w 9586368"/>
              <a:gd name="connsiteY6420" fmla="*/ 1932575 h 6479439"/>
              <a:gd name="connsiteX6421" fmla="*/ 7418611 w 9586368"/>
              <a:gd name="connsiteY6421" fmla="*/ 1932575 h 6479439"/>
              <a:gd name="connsiteX6422" fmla="*/ 7414592 w 9586368"/>
              <a:gd name="connsiteY6422" fmla="*/ 1928536 h 6479439"/>
              <a:gd name="connsiteX6423" fmla="*/ 7414592 w 9586368"/>
              <a:gd name="connsiteY6423" fmla="*/ 1918664 h 6479439"/>
              <a:gd name="connsiteX6424" fmla="*/ 8136553 w 9586368"/>
              <a:gd name="connsiteY6424" fmla="*/ 1914626 h 6479439"/>
              <a:gd name="connsiteX6425" fmla="*/ 8146464 w 9586368"/>
              <a:gd name="connsiteY6425" fmla="*/ 1914626 h 6479439"/>
              <a:gd name="connsiteX6426" fmla="*/ 8150483 w 9586368"/>
              <a:gd name="connsiteY6426" fmla="*/ 1918664 h 6479439"/>
              <a:gd name="connsiteX6427" fmla="*/ 8150483 w 9586368"/>
              <a:gd name="connsiteY6427" fmla="*/ 1928535 h 6479439"/>
              <a:gd name="connsiteX6428" fmla="*/ 8146464 w 9586368"/>
              <a:gd name="connsiteY6428" fmla="*/ 1932575 h 6479439"/>
              <a:gd name="connsiteX6429" fmla="*/ 8136553 w 9586368"/>
              <a:gd name="connsiteY6429" fmla="*/ 1932575 h 6479439"/>
              <a:gd name="connsiteX6430" fmla="*/ 8132534 w 9586368"/>
              <a:gd name="connsiteY6430" fmla="*/ 1928535 h 6479439"/>
              <a:gd name="connsiteX6431" fmla="*/ 8132534 w 9586368"/>
              <a:gd name="connsiteY6431" fmla="*/ 1918664 h 6479439"/>
              <a:gd name="connsiteX6432" fmla="*/ 8375869 w 9586368"/>
              <a:gd name="connsiteY6432" fmla="*/ 1914608 h 6479439"/>
              <a:gd name="connsiteX6433" fmla="*/ 8385779 w 9586368"/>
              <a:gd name="connsiteY6433" fmla="*/ 1914608 h 6479439"/>
              <a:gd name="connsiteX6434" fmla="*/ 8389799 w 9586368"/>
              <a:gd name="connsiteY6434" fmla="*/ 1918647 h 6479439"/>
              <a:gd name="connsiteX6435" fmla="*/ 8389799 w 9586368"/>
              <a:gd name="connsiteY6435" fmla="*/ 1928518 h 6479439"/>
              <a:gd name="connsiteX6436" fmla="*/ 8385779 w 9586368"/>
              <a:gd name="connsiteY6436" fmla="*/ 1932557 h 6479439"/>
              <a:gd name="connsiteX6437" fmla="*/ 8375869 w 9586368"/>
              <a:gd name="connsiteY6437" fmla="*/ 1932557 h 6479439"/>
              <a:gd name="connsiteX6438" fmla="*/ 8371850 w 9586368"/>
              <a:gd name="connsiteY6438" fmla="*/ 1928518 h 6479439"/>
              <a:gd name="connsiteX6439" fmla="*/ 8371850 w 9586368"/>
              <a:gd name="connsiteY6439" fmla="*/ 1918647 h 6479439"/>
              <a:gd name="connsiteX6440" fmla="*/ 9333125 w 9586368"/>
              <a:gd name="connsiteY6440" fmla="*/ 1914608 h 6479439"/>
              <a:gd name="connsiteX6441" fmla="*/ 9343036 w 9586368"/>
              <a:gd name="connsiteY6441" fmla="*/ 1914608 h 6479439"/>
              <a:gd name="connsiteX6442" fmla="*/ 9347055 w 9586368"/>
              <a:gd name="connsiteY6442" fmla="*/ 1918646 h 6479439"/>
              <a:gd name="connsiteX6443" fmla="*/ 9347055 w 9586368"/>
              <a:gd name="connsiteY6443" fmla="*/ 1928517 h 6479439"/>
              <a:gd name="connsiteX6444" fmla="*/ 9343036 w 9586368"/>
              <a:gd name="connsiteY6444" fmla="*/ 1932557 h 6479439"/>
              <a:gd name="connsiteX6445" fmla="*/ 9333125 w 9586368"/>
              <a:gd name="connsiteY6445" fmla="*/ 1932557 h 6479439"/>
              <a:gd name="connsiteX6446" fmla="*/ 9329106 w 9586368"/>
              <a:gd name="connsiteY6446" fmla="*/ 1928517 h 6479439"/>
              <a:gd name="connsiteX6447" fmla="*/ 9329106 w 9586368"/>
              <a:gd name="connsiteY6447" fmla="*/ 1918646 h 6479439"/>
              <a:gd name="connsiteX6448" fmla="*/ 9093811 w 9586368"/>
              <a:gd name="connsiteY6448" fmla="*/ 1914608 h 6479439"/>
              <a:gd name="connsiteX6449" fmla="*/ 9103722 w 9586368"/>
              <a:gd name="connsiteY6449" fmla="*/ 1914608 h 6479439"/>
              <a:gd name="connsiteX6450" fmla="*/ 9107741 w 9586368"/>
              <a:gd name="connsiteY6450" fmla="*/ 1918646 h 6479439"/>
              <a:gd name="connsiteX6451" fmla="*/ 9107741 w 9586368"/>
              <a:gd name="connsiteY6451" fmla="*/ 1928517 h 6479439"/>
              <a:gd name="connsiteX6452" fmla="*/ 9103722 w 9586368"/>
              <a:gd name="connsiteY6452" fmla="*/ 1932557 h 6479439"/>
              <a:gd name="connsiteX6453" fmla="*/ 9093811 w 9586368"/>
              <a:gd name="connsiteY6453" fmla="*/ 1932557 h 6479439"/>
              <a:gd name="connsiteX6454" fmla="*/ 9089792 w 9586368"/>
              <a:gd name="connsiteY6454" fmla="*/ 1928517 h 6479439"/>
              <a:gd name="connsiteX6455" fmla="*/ 9089792 w 9586368"/>
              <a:gd name="connsiteY6455" fmla="*/ 1918646 h 6479439"/>
              <a:gd name="connsiteX6456" fmla="*/ 8854496 w 9586368"/>
              <a:gd name="connsiteY6456" fmla="*/ 1914608 h 6479439"/>
              <a:gd name="connsiteX6457" fmla="*/ 8864407 w 9586368"/>
              <a:gd name="connsiteY6457" fmla="*/ 1914608 h 6479439"/>
              <a:gd name="connsiteX6458" fmla="*/ 8868426 w 9586368"/>
              <a:gd name="connsiteY6458" fmla="*/ 1918646 h 6479439"/>
              <a:gd name="connsiteX6459" fmla="*/ 8868426 w 9586368"/>
              <a:gd name="connsiteY6459" fmla="*/ 1928518 h 6479439"/>
              <a:gd name="connsiteX6460" fmla="*/ 8864407 w 9586368"/>
              <a:gd name="connsiteY6460" fmla="*/ 1932557 h 6479439"/>
              <a:gd name="connsiteX6461" fmla="*/ 8854496 w 9586368"/>
              <a:gd name="connsiteY6461" fmla="*/ 1932557 h 6479439"/>
              <a:gd name="connsiteX6462" fmla="*/ 8850477 w 9586368"/>
              <a:gd name="connsiteY6462" fmla="*/ 1928518 h 6479439"/>
              <a:gd name="connsiteX6463" fmla="*/ 8850477 w 9586368"/>
              <a:gd name="connsiteY6463" fmla="*/ 1918646 h 6479439"/>
              <a:gd name="connsiteX6464" fmla="*/ 8615184 w 9586368"/>
              <a:gd name="connsiteY6464" fmla="*/ 1914608 h 6479439"/>
              <a:gd name="connsiteX6465" fmla="*/ 8625095 w 9586368"/>
              <a:gd name="connsiteY6465" fmla="*/ 1914608 h 6479439"/>
              <a:gd name="connsiteX6466" fmla="*/ 8629114 w 9586368"/>
              <a:gd name="connsiteY6466" fmla="*/ 1918646 h 6479439"/>
              <a:gd name="connsiteX6467" fmla="*/ 8629114 w 9586368"/>
              <a:gd name="connsiteY6467" fmla="*/ 1928518 h 6479439"/>
              <a:gd name="connsiteX6468" fmla="*/ 8625095 w 9586368"/>
              <a:gd name="connsiteY6468" fmla="*/ 1932557 h 6479439"/>
              <a:gd name="connsiteX6469" fmla="*/ 8615184 w 9586368"/>
              <a:gd name="connsiteY6469" fmla="*/ 1932557 h 6479439"/>
              <a:gd name="connsiteX6470" fmla="*/ 8611165 w 9586368"/>
              <a:gd name="connsiteY6470" fmla="*/ 1928518 h 6479439"/>
              <a:gd name="connsiteX6471" fmla="*/ 8611165 w 9586368"/>
              <a:gd name="connsiteY6471" fmla="*/ 1918646 h 6479439"/>
              <a:gd name="connsiteX6472" fmla="*/ 9572438 w 9586368"/>
              <a:gd name="connsiteY6472" fmla="*/ 1914590 h 6479439"/>
              <a:gd name="connsiteX6473" fmla="*/ 9582349 w 9586368"/>
              <a:gd name="connsiteY6473" fmla="*/ 1914590 h 6479439"/>
              <a:gd name="connsiteX6474" fmla="*/ 9586368 w 9586368"/>
              <a:gd name="connsiteY6474" fmla="*/ 1918629 h 6479439"/>
              <a:gd name="connsiteX6475" fmla="*/ 9586368 w 9586368"/>
              <a:gd name="connsiteY6475" fmla="*/ 1928499 h 6479439"/>
              <a:gd name="connsiteX6476" fmla="*/ 9582349 w 9586368"/>
              <a:gd name="connsiteY6476" fmla="*/ 1932538 h 6479439"/>
              <a:gd name="connsiteX6477" fmla="*/ 9572438 w 9586368"/>
              <a:gd name="connsiteY6477" fmla="*/ 1932538 h 6479439"/>
              <a:gd name="connsiteX6478" fmla="*/ 9568419 w 9586368"/>
              <a:gd name="connsiteY6478" fmla="*/ 1928499 h 6479439"/>
              <a:gd name="connsiteX6479" fmla="*/ 9568419 w 9586368"/>
              <a:gd name="connsiteY6479" fmla="*/ 1918629 h 6479439"/>
              <a:gd name="connsiteX6480" fmla="*/ 243346 w 9586368"/>
              <a:gd name="connsiteY6480" fmla="*/ 1914550 h 6479439"/>
              <a:gd name="connsiteX6481" fmla="*/ 253256 w 9586368"/>
              <a:gd name="connsiteY6481" fmla="*/ 1914550 h 6479439"/>
              <a:gd name="connsiteX6482" fmla="*/ 257275 w 9586368"/>
              <a:gd name="connsiteY6482" fmla="*/ 1918589 h 6479439"/>
              <a:gd name="connsiteX6483" fmla="*/ 257275 w 9586368"/>
              <a:gd name="connsiteY6483" fmla="*/ 1928459 h 6479439"/>
              <a:gd name="connsiteX6484" fmla="*/ 253256 w 9586368"/>
              <a:gd name="connsiteY6484" fmla="*/ 1932498 h 6479439"/>
              <a:gd name="connsiteX6485" fmla="*/ 243346 w 9586368"/>
              <a:gd name="connsiteY6485" fmla="*/ 1932498 h 6479439"/>
              <a:gd name="connsiteX6486" fmla="*/ 239327 w 9586368"/>
              <a:gd name="connsiteY6486" fmla="*/ 1928459 h 6479439"/>
              <a:gd name="connsiteX6487" fmla="*/ 239327 w 9586368"/>
              <a:gd name="connsiteY6487" fmla="*/ 1918589 h 6479439"/>
              <a:gd name="connsiteX6488" fmla="*/ 4032 w 9586368"/>
              <a:gd name="connsiteY6488" fmla="*/ 1914550 h 6479439"/>
              <a:gd name="connsiteX6489" fmla="*/ 13943 w 9586368"/>
              <a:gd name="connsiteY6489" fmla="*/ 1914550 h 6479439"/>
              <a:gd name="connsiteX6490" fmla="*/ 17962 w 9586368"/>
              <a:gd name="connsiteY6490" fmla="*/ 1918589 h 6479439"/>
              <a:gd name="connsiteX6491" fmla="*/ 17962 w 9586368"/>
              <a:gd name="connsiteY6491" fmla="*/ 1928459 h 6479439"/>
              <a:gd name="connsiteX6492" fmla="*/ 13943 w 9586368"/>
              <a:gd name="connsiteY6492" fmla="*/ 1932498 h 6479439"/>
              <a:gd name="connsiteX6493" fmla="*/ 4032 w 9586368"/>
              <a:gd name="connsiteY6493" fmla="*/ 1932498 h 6479439"/>
              <a:gd name="connsiteX6494" fmla="*/ 13 w 9586368"/>
              <a:gd name="connsiteY6494" fmla="*/ 1928459 h 6479439"/>
              <a:gd name="connsiteX6495" fmla="*/ 13 w 9586368"/>
              <a:gd name="connsiteY6495" fmla="*/ 1918589 h 6479439"/>
              <a:gd name="connsiteX6496" fmla="*/ 721971 w 9586368"/>
              <a:gd name="connsiteY6496" fmla="*/ 1914550 h 6479439"/>
              <a:gd name="connsiteX6497" fmla="*/ 731882 w 9586368"/>
              <a:gd name="connsiteY6497" fmla="*/ 1914550 h 6479439"/>
              <a:gd name="connsiteX6498" fmla="*/ 735901 w 9586368"/>
              <a:gd name="connsiteY6498" fmla="*/ 1918588 h 6479439"/>
              <a:gd name="connsiteX6499" fmla="*/ 735901 w 9586368"/>
              <a:gd name="connsiteY6499" fmla="*/ 1928459 h 6479439"/>
              <a:gd name="connsiteX6500" fmla="*/ 731882 w 9586368"/>
              <a:gd name="connsiteY6500" fmla="*/ 1932497 h 6479439"/>
              <a:gd name="connsiteX6501" fmla="*/ 721971 w 9586368"/>
              <a:gd name="connsiteY6501" fmla="*/ 1932497 h 6479439"/>
              <a:gd name="connsiteX6502" fmla="*/ 717953 w 9586368"/>
              <a:gd name="connsiteY6502" fmla="*/ 1928459 h 6479439"/>
              <a:gd name="connsiteX6503" fmla="*/ 717953 w 9586368"/>
              <a:gd name="connsiteY6503" fmla="*/ 1918588 h 6479439"/>
              <a:gd name="connsiteX6504" fmla="*/ 482660 w 9586368"/>
              <a:gd name="connsiteY6504" fmla="*/ 1914550 h 6479439"/>
              <a:gd name="connsiteX6505" fmla="*/ 492570 w 9586368"/>
              <a:gd name="connsiteY6505" fmla="*/ 1914550 h 6479439"/>
              <a:gd name="connsiteX6506" fmla="*/ 496589 w 9586368"/>
              <a:gd name="connsiteY6506" fmla="*/ 1918588 h 6479439"/>
              <a:gd name="connsiteX6507" fmla="*/ 496589 w 9586368"/>
              <a:gd name="connsiteY6507" fmla="*/ 1928459 h 6479439"/>
              <a:gd name="connsiteX6508" fmla="*/ 492570 w 9586368"/>
              <a:gd name="connsiteY6508" fmla="*/ 1932497 h 6479439"/>
              <a:gd name="connsiteX6509" fmla="*/ 482660 w 9586368"/>
              <a:gd name="connsiteY6509" fmla="*/ 1932497 h 6479439"/>
              <a:gd name="connsiteX6510" fmla="*/ 478640 w 9586368"/>
              <a:gd name="connsiteY6510" fmla="*/ 1928459 h 6479439"/>
              <a:gd name="connsiteX6511" fmla="*/ 478640 w 9586368"/>
              <a:gd name="connsiteY6511" fmla="*/ 1918588 h 6479439"/>
              <a:gd name="connsiteX6512" fmla="*/ 1679215 w 9586368"/>
              <a:gd name="connsiteY6512" fmla="*/ 1914535 h 6479439"/>
              <a:gd name="connsiteX6513" fmla="*/ 1689125 w 9586368"/>
              <a:gd name="connsiteY6513" fmla="*/ 1914535 h 6479439"/>
              <a:gd name="connsiteX6514" fmla="*/ 1693144 w 9586368"/>
              <a:gd name="connsiteY6514" fmla="*/ 1918573 h 6479439"/>
              <a:gd name="connsiteX6515" fmla="*/ 1693144 w 9586368"/>
              <a:gd name="connsiteY6515" fmla="*/ 1928444 h 6479439"/>
              <a:gd name="connsiteX6516" fmla="*/ 1689125 w 9586368"/>
              <a:gd name="connsiteY6516" fmla="*/ 1932482 h 6479439"/>
              <a:gd name="connsiteX6517" fmla="*/ 1679215 w 9586368"/>
              <a:gd name="connsiteY6517" fmla="*/ 1932482 h 6479439"/>
              <a:gd name="connsiteX6518" fmla="*/ 1675195 w 9586368"/>
              <a:gd name="connsiteY6518" fmla="*/ 1928444 h 6479439"/>
              <a:gd name="connsiteX6519" fmla="*/ 1675195 w 9586368"/>
              <a:gd name="connsiteY6519" fmla="*/ 1918573 h 6479439"/>
              <a:gd name="connsiteX6520" fmla="*/ 1439897 w 9586368"/>
              <a:gd name="connsiteY6520" fmla="*/ 1914535 h 6479439"/>
              <a:gd name="connsiteX6521" fmla="*/ 1449808 w 9586368"/>
              <a:gd name="connsiteY6521" fmla="*/ 1914535 h 6479439"/>
              <a:gd name="connsiteX6522" fmla="*/ 1453827 w 9586368"/>
              <a:gd name="connsiteY6522" fmla="*/ 1918573 h 6479439"/>
              <a:gd name="connsiteX6523" fmla="*/ 1453827 w 9586368"/>
              <a:gd name="connsiteY6523" fmla="*/ 1928444 h 6479439"/>
              <a:gd name="connsiteX6524" fmla="*/ 1449808 w 9586368"/>
              <a:gd name="connsiteY6524" fmla="*/ 1932483 h 6479439"/>
              <a:gd name="connsiteX6525" fmla="*/ 1439897 w 9586368"/>
              <a:gd name="connsiteY6525" fmla="*/ 1932483 h 6479439"/>
              <a:gd name="connsiteX6526" fmla="*/ 1435879 w 9586368"/>
              <a:gd name="connsiteY6526" fmla="*/ 1928444 h 6479439"/>
              <a:gd name="connsiteX6527" fmla="*/ 1435879 w 9586368"/>
              <a:gd name="connsiteY6527" fmla="*/ 1918573 h 6479439"/>
              <a:gd name="connsiteX6528" fmla="*/ 1200582 w 9586368"/>
              <a:gd name="connsiteY6528" fmla="*/ 1914535 h 6479439"/>
              <a:gd name="connsiteX6529" fmla="*/ 1210492 w 9586368"/>
              <a:gd name="connsiteY6529" fmla="*/ 1914535 h 6479439"/>
              <a:gd name="connsiteX6530" fmla="*/ 1214511 w 9586368"/>
              <a:gd name="connsiteY6530" fmla="*/ 1918573 h 6479439"/>
              <a:gd name="connsiteX6531" fmla="*/ 1214511 w 9586368"/>
              <a:gd name="connsiteY6531" fmla="*/ 1928444 h 6479439"/>
              <a:gd name="connsiteX6532" fmla="*/ 1210492 w 9586368"/>
              <a:gd name="connsiteY6532" fmla="*/ 1932483 h 6479439"/>
              <a:gd name="connsiteX6533" fmla="*/ 1200582 w 9586368"/>
              <a:gd name="connsiteY6533" fmla="*/ 1932483 h 6479439"/>
              <a:gd name="connsiteX6534" fmla="*/ 1196563 w 9586368"/>
              <a:gd name="connsiteY6534" fmla="*/ 1928444 h 6479439"/>
              <a:gd name="connsiteX6535" fmla="*/ 1196563 w 9586368"/>
              <a:gd name="connsiteY6535" fmla="*/ 1918573 h 6479439"/>
              <a:gd name="connsiteX6536" fmla="*/ 961269 w 9586368"/>
              <a:gd name="connsiteY6536" fmla="*/ 1914535 h 6479439"/>
              <a:gd name="connsiteX6537" fmla="*/ 971179 w 9586368"/>
              <a:gd name="connsiteY6537" fmla="*/ 1914535 h 6479439"/>
              <a:gd name="connsiteX6538" fmla="*/ 975198 w 9586368"/>
              <a:gd name="connsiteY6538" fmla="*/ 1918573 h 6479439"/>
              <a:gd name="connsiteX6539" fmla="*/ 975198 w 9586368"/>
              <a:gd name="connsiteY6539" fmla="*/ 1928444 h 6479439"/>
              <a:gd name="connsiteX6540" fmla="*/ 971179 w 9586368"/>
              <a:gd name="connsiteY6540" fmla="*/ 1932483 h 6479439"/>
              <a:gd name="connsiteX6541" fmla="*/ 961269 w 9586368"/>
              <a:gd name="connsiteY6541" fmla="*/ 1932483 h 6479439"/>
              <a:gd name="connsiteX6542" fmla="*/ 957250 w 9586368"/>
              <a:gd name="connsiteY6542" fmla="*/ 1928444 h 6479439"/>
              <a:gd name="connsiteX6543" fmla="*/ 957250 w 9586368"/>
              <a:gd name="connsiteY6543" fmla="*/ 1918573 h 6479439"/>
              <a:gd name="connsiteX6544" fmla="*/ 1918513 w 9586368"/>
              <a:gd name="connsiteY6544" fmla="*/ 1914523 h 6479439"/>
              <a:gd name="connsiteX6545" fmla="*/ 1928424 w 9586368"/>
              <a:gd name="connsiteY6545" fmla="*/ 1914523 h 6479439"/>
              <a:gd name="connsiteX6546" fmla="*/ 1932443 w 9586368"/>
              <a:gd name="connsiteY6546" fmla="*/ 1918562 h 6479439"/>
              <a:gd name="connsiteX6547" fmla="*/ 1932443 w 9586368"/>
              <a:gd name="connsiteY6547" fmla="*/ 1928432 h 6479439"/>
              <a:gd name="connsiteX6548" fmla="*/ 1928424 w 9586368"/>
              <a:gd name="connsiteY6548" fmla="*/ 1932471 h 6479439"/>
              <a:gd name="connsiteX6549" fmla="*/ 1918513 w 9586368"/>
              <a:gd name="connsiteY6549" fmla="*/ 1932471 h 6479439"/>
              <a:gd name="connsiteX6550" fmla="*/ 1914494 w 9586368"/>
              <a:gd name="connsiteY6550" fmla="*/ 1928432 h 6479439"/>
              <a:gd name="connsiteX6551" fmla="*/ 1914494 w 9586368"/>
              <a:gd name="connsiteY6551" fmla="*/ 1918562 h 6479439"/>
              <a:gd name="connsiteX6552" fmla="*/ 2157821 w 9586368"/>
              <a:gd name="connsiteY6552" fmla="*/ 1914520 h 6479439"/>
              <a:gd name="connsiteX6553" fmla="*/ 2167732 w 9586368"/>
              <a:gd name="connsiteY6553" fmla="*/ 1914520 h 6479439"/>
              <a:gd name="connsiteX6554" fmla="*/ 2171751 w 9586368"/>
              <a:gd name="connsiteY6554" fmla="*/ 1918558 h 6479439"/>
              <a:gd name="connsiteX6555" fmla="*/ 2171751 w 9586368"/>
              <a:gd name="connsiteY6555" fmla="*/ 1928428 h 6479439"/>
              <a:gd name="connsiteX6556" fmla="*/ 2167732 w 9586368"/>
              <a:gd name="connsiteY6556" fmla="*/ 1932467 h 6479439"/>
              <a:gd name="connsiteX6557" fmla="*/ 2157821 w 9586368"/>
              <a:gd name="connsiteY6557" fmla="*/ 1932467 h 6479439"/>
              <a:gd name="connsiteX6558" fmla="*/ 2153803 w 9586368"/>
              <a:gd name="connsiteY6558" fmla="*/ 1928428 h 6479439"/>
              <a:gd name="connsiteX6559" fmla="*/ 2153803 w 9586368"/>
              <a:gd name="connsiteY6559" fmla="*/ 1918558 h 6479439"/>
              <a:gd name="connsiteX6560" fmla="*/ 2871737 w 9586368"/>
              <a:gd name="connsiteY6560" fmla="*/ 1675350 h 6479439"/>
              <a:gd name="connsiteX6561" fmla="*/ 2881646 w 9586368"/>
              <a:gd name="connsiteY6561" fmla="*/ 1675350 h 6479439"/>
              <a:gd name="connsiteX6562" fmla="*/ 2885666 w 9586368"/>
              <a:gd name="connsiteY6562" fmla="*/ 1679389 h 6479439"/>
              <a:gd name="connsiteX6563" fmla="*/ 2885666 w 9586368"/>
              <a:gd name="connsiteY6563" fmla="*/ 1689260 h 6479439"/>
              <a:gd name="connsiteX6564" fmla="*/ 2881646 w 9586368"/>
              <a:gd name="connsiteY6564" fmla="*/ 1693299 h 6479439"/>
              <a:gd name="connsiteX6565" fmla="*/ 2871737 w 9586368"/>
              <a:gd name="connsiteY6565" fmla="*/ 1693299 h 6479439"/>
              <a:gd name="connsiteX6566" fmla="*/ 2867717 w 9586368"/>
              <a:gd name="connsiteY6566" fmla="*/ 1689260 h 6479439"/>
              <a:gd name="connsiteX6567" fmla="*/ 2867717 w 9586368"/>
              <a:gd name="connsiteY6567" fmla="*/ 1679389 h 6479439"/>
              <a:gd name="connsiteX6568" fmla="*/ 2632423 w 9586368"/>
              <a:gd name="connsiteY6568" fmla="*/ 1675350 h 6479439"/>
              <a:gd name="connsiteX6569" fmla="*/ 2642334 w 9586368"/>
              <a:gd name="connsiteY6569" fmla="*/ 1675350 h 6479439"/>
              <a:gd name="connsiteX6570" fmla="*/ 2646352 w 9586368"/>
              <a:gd name="connsiteY6570" fmla="*/ 1679389 h 6479439"/>
              <a:gd name="connsiteX6571" fmla="*/ 2646352 w 9586368"/>
              <a:gd name="connsiteY6571" fmla="*/ 1689260 h 6479439"/>
              <a:gd name="connsiteX6572" fmla="*/ 2642334 w 9586368"/>
              <a:gd name="connsiteY6572" fmla="*/ 1693299 h 6479439"/>
              <a:gd name="connsiteX6573" fmla="*/ 2632423 w 9586368"/>
              <a:gd name="connsiteY6573" fmla="*/ 1693299 h 6479439"/>
              <a:gd name="connsiteX6574" fmla="*/ 2628404 w 9586368"/>
              <a:gd name="connsiteY6574" fmla="*/ 1689260 h 6479439"/>
              <a:gd name="connsiteX6575" fmla="*/ 2628404 w 9586368"/>
              <a:gd name="connsiteY6575" fmla="*/ 1679389 h 6479439"/>
              <a:gd name="connsiteX6576" fmla="*/ 2393104 w 9586368"/>
              <a:gd name="connsiteY6576" fmla="*/ 1675350 h 6479439"/>
              <a:gd name="connsiteX6577" fmla="*/ 2403015 w 9586368"/>
              <a:gd name="connsiteY6577" fmla="*/ 1675350 h 6479439"/>
              <a:gd name="connsiteX6578" fmla="*/ 2407034 w 9586368"/>
              <a:gd name="connsiteY6578" fmla="*/ 1679389 h 6479439"/>
              <a:gd name="connsiteX6579" fmla="*/ 2407034 w 9586368"/>
              <a:gd name="connsiteY6579" fmla="*/ 1689260 h 6479439"/>
              <a:gd name="connsiteX6580" fmla="*/ 2403015 w 9586368"/>
              <a:gd name="connsiteY6580" fmla="*/ 1693299 h 6479439"/>
              <a:gd name="connsiteX6581" fmla="*/ 2393104 w 9586368"/>
              <a:gd name="connsiteY6581" fmla="*/ 1693299 h 6479439"/>
              <a:gd name="connsiteX6582" fmla="*/ 2389087 w 9586368"/>
              <a:gd name="connsiteY6582" fmla="*/ 1689260 h 6479439"/>
              <a:gd name="connsiteX6583" fmla="*/ 2389087 w 9586368"/>
              <a:gd name="connsiteY6583" fmla="*/ 1679389 h 6479439"/>
              <a:gd name="connsiteX6584" fmla="*/ 3350359 w 9586368"/>
              <a:gd name="connsiteY6584" fmla="*/ 1675349 h 6479439"/>
              <a:gd name="connsiteX6585" fmla="*/ 3360268 w 9586368"/>
              <a:gd name="connsiteY6585" fmla="*/ 1675349 h 6479439"/>
              <a:gd name="connsiteX6586" fmla="*/ 3364287 w 9586368"/>
              <a:gd name="connsiteY6586" fmla="*/ 1679388 h 6479439"/>
              <a:gd name="connsiteX6587" fmla="*/ 3364287 w 9586368"/>
              <a:gd name="connsiteY6587" fmla="*/ 1689260 h 6479439"/>
              <a:gd name="connsiteX6588" fmla="*/ 3360268 w 9586368"/>
              <a:gd name="connsiteY6588" fmla="*/ 1693298 h 6479439"/>
              <a:gd name="connsiteX6589" fmla="*/ 3350359 w 9586368"/>
              <a:gd name="connsiteY6589" fmla="*/ 1693298 h 6479439"/>
              <a:gd name="connsiteX6590" fmla="*/ 3346340 w 9586368"/>
              <a:gd name="connsiteY6590" fmla="*/ 1689260 h 6479439"/>
              <a:gd name="connsiteX6591" fmla="*/ 3346340 w 9586368"/>
              <a:gd name="connsiteY6591" fmla="*/ 1679388 h 6479439"/>
              <a:gd name="connsiteX6592" fmla="*/ 3111048 w 9586368"/>
              <a:gd name="connsiteY6592" fmla="*/ 1675349 h 6479439"/>
              <a:gd name="connsiteX6593" fmla="*/ 3120959 w 9586368"/>
              <a:gd name="connsiteY6593" fmla="*/ 1675349 h 6479439"/>
              <a:gd name="connsiteX6594" fmla="*/ 3124977 w 9586368"/>
              <a:gd name="connsiteY6594" fmla="*/ 1679388 h 6479439"/>
              <a:gd name="connsiteX6595" fmla="*/ 3124977 w 9586368"/>
              <a:gd name="connsiteY6595" fmla="*/ 1689260 h 6479439"/>
              <a:gd name="connsiteX6596" fmla="*/ 3120959 w 9586368"/>
              <a:gd name="connsiteY6596" fmla="*/ 1693299 h 6479439"/>
              <a:gd name="connsiteX6597" fmla="*/ 3111048 w 9586368"/>
              <a:gd name="connsiteY6597" fmla="*/ 1693299 h 6479439"/>
              <a:gd name="connsiteX6598" fmla="*/ 3107029 w 9586368"/>
              <a:gd name="connsiteY6598" fmla="*/ 1689260 h 6479439"/>
              <a:gd name="connsiteX6599" fmla="*/ 3107029 w 9586368"/>
              <a:gd name="connsiteY6599" fmla="*/ 1679388 h 6479439"/>
              <a:gd name="connsiteX6600" fmla="*/ 4068297 w 9586368"/>
              <a:gd name="connsiteY6600" fmla="*/ 1675334 h 6479439"/>
              <a:gd name="connsiteX6601" fmla="*/ 4078210 w 9586368"/>
              <a:gd name="connsiteY6601" fmla="*/ 1675334 h 6479439"/>
              <a:gd name="connsiteX6602" fmla="*/ 4082229 w 9586368"/>
              <a:gd name="connsiteY6602" fmla="*/ 1679373 h 6479439"/>
              <a:gd name="connsiteX6603" fmla="*/ 4082229 w 9586368"/>
              <a:gd name="connsiteY6603" fmla="*/ 1689243 h 6479439"/>
              <a:gd name="connsiteX6604" fmla="*/ 4078210 w 9586368"/>
              <a:gd name="connsiteY6604" fmla="*/ 1693282 h 6479439"/>
              <a:gd name="connsiteX6605" fmla="*/ 4068297 w 9586368"/>
              <a:gd name="connsiteY6605" fmla="*/ 1693282 h 6479439"/>
              <a:gd name="connsiteX6606" fmla="*/ 4064278 w 9586368"/>
              <a:gd name="connsiteY6606" fmla="*/ 1689243 h 6479439"/>
              <a:gd name="connsiteX6607" fmla="*/ 4064278 w 9586368"/>
              <a:gd name="connsiteY6607" fmla="*/ 1679373 h 6479439"/>
              <a:gd name="connsiteX6608" fmla="*/ 3828990 w 9586368"/>
              <a:gd name="connsiteY6608" fmla="*/ 1675334 h 6479439"/>
              <a:gd name="connsiteX6609" fmla="*/ 3838899 w 9586368"/>
              <a:gd name="connsiteY6609" fmla="*/ 1675334 h 6479439"/>
              <a:gd name="connsiteX6610" fmla="*/ 3842917 w 9586368"/>
              <a:gd name="connsiteY6610" fmla="*/ 1679373 h 6479439"/>
              <a:gd name="connsiteX6611" fmla="*/ 3842917 w 9586368"/>
              <a:gd name="connsiteY6611" fmla="*/ 1689243 h 6479439"/>
              <a:gd name="connsiteX6612" fmla="*/ 3838899 w 9586368"/>
              <a:gd name="connsiteY6612" fmla="*/ 1693282 h 6479439"/>
              <a:gd name="connsiteX6613" fmla="*/ 3828990 w 9586368"/>
              <a:gd name="connsiteY6613" fmla="*/ 1693282 h 6479439"/>
              <a:gd name="connsiteX6614" fmla="*/ 3824971 w 9586368"/>
              <a:gd name="connsiteY6614" fmla="*/ 1689243 h 6479439"/>
              <a:gd name="connsiteX6615" fmla="*/ 3824971 w 9586368"/>
              <a:gd name="connsiteY6615" fmla="*/ 1679373 h 6479439"/>
              <a:gd name="connsiteX6616" fmla="*/ 3589676 w 9586368"/>
              <a:gd name="connsiteY6616" fmla="*/ 1675334 h 6479439"/>
              <a:gd name="connsiteX6617" fmla="*/ 3599585 w 9586368"/>
              <a:gd name="connsiteY6617" fmla="*/ 1675334 h 6479439"/>
              <a:gd name="connsiteX6618" fmla="*/ 3603604 w 9586368"/>
              <a:gd name="connsiteY6618" fmla="*/ 1679373 h 6479439"/>
              <a:gd name="connsiteX6619" fmla="*/ 3603604 w 9586368"/>
              <a:gd name="connsiteY6619" fmla="*/ 1689243 h 6479439"/>
              <a:gd name="connsiteX6620" fmla="*/ 3599585 w 9586368"/>
              <a:gd name="connsiteY6620" fmla="*/ 1693282 h 6479439"/>
              <a:gd name="connsiteX6621" fmla="*/ 3589676 w 9586368"/>
              <a:gd name="connsiteY6621" fmla="*/ 1693282 h 6479439"/>
              <a:gd name="connsiteX6622" fmla="*/ 3585657 w 9586368"/>
              <a:gd name="connsiteY6622" fmla="*/ 1689243 h 6479439"/>
              <a:gd name="connsiteX6623" fmla="*/ 3585657 w 9586368"/>
              <a:gd name="connsiteY6623" fmla="*/ 1679373 h 6479439"/>
              <a:gd name="connsiteX6624" fmla="*/ 4546929 w 9586368"/>
              <a:gd name="connsiteY6624" fmla="*/ 1675333 h 6479439"/>
              <a:gd name="connsiteX6625" fmla="*/ 4556840 w 9586368"/>
              <a:gd name="connsiteY6625" fmla="*/ 1675333 h 6479439"/>
              <a:gd name="connsiteX6626" fmla="*/ 4560859 w 9586368"/>
              <a:gd name="connsiteY6626" fmla="*/ 1679372 h 6479439"/>
              <a:gd name="connsiteX6627" fmla="*/ 4560859 w 9586368"/>
              <a:gd name="connsiteY6627" fmla="*/ 1689243 h 6479439"/>
              <a:gd name="connsiteX6628" fmla="*/ 4556840 w 9586368"/>
              <a:gd name="connsiteY6628" fmla="*/ 1693281 h 6479439"/>
              <a:gd name="connsiteX6629" fmla="*/ 4546929 w 9586368"/>
              <a:gd name="connsiteY6629" fmla="*/ 1693281 h 6479439"/>
              <a:gd name="connsiteX6630" fmla="*/ 4542910 w 9586368"/>
              <a:gd name="connsiteY6630" fmla="*/ 1689243 h 6479439"/>
              <a:gd name="connsiteX6631" fmla="*/ 4542910 w 9586368"/>
              <a:gd name="connsiteY6631" fmla="*/ 1679372 h 6479439"/>
              <a:gd name="connsiteX6632" fmla="*/ 4307612 w 9586368"/>
              <a:gd name="connsiteY6632" fmla="*/ 1675333 h 6479439"/>
              <a:gd name="connsiteX6633" fmla="*/ 4317523 w 9586368"/>
              <a:gd name="connsiteY6633" fmla="*/ 1675333 h 6479439"/>
              <a:gd name="connsiteX6634" fmla="*/ 4321543 w 9586368"/>
              <a:gd name="connsiteY6634" fmla="*/ 1679372 h 6479439"/>
              <a:gd name="connsiteX6635" fmla="*/ 4321543 w 9586368"/>
              <a:gd name="connsiteY6635" fmla="*/ 1689243 h 6479439"/>
              <a:gd name="connsiteX6636" fmla="*/ 4317523 w 9586368"/>
              <a:gd name="connsiteY6636" fmla="*/ 1693282 h 6479439"/>
              <a:gd name="connsiteX6637" fmla="*/ 4307612 w 9586368"/>
              <a:gd name="connsiteY6637" fmla="*/ 1693282 h 6479439"/>
              <a:gd name="connsiteX6638" fmla="*/ 4303595 w 9586368"/>
              <a:gd name="connsiteY6638" fmla="*/ 1689243 h 6479439"/>
              <a:gd name="connsiteX6639" fmla="*/ 4303595 w 9586368"/>
              <a:gd name="connsiteY6639" fmla="*/ 1679372 h 6479439"/>
              <a:gd name="connsiteX6640" fmla="*/ 5264784 w 9586368"/>
              <a:gd name="connsiteY6640" fmla="*/ 1675318 h 6479439"/>
              <a:gd name="connsiteX6641" fmla="*/ 5274694 w 9586368"/>
              <a:gd name="connsiteY6641" fmla="*/ 1675318 h 6479439"/>
              <a:gd name="connsiteX6642" fmla="*/ 5278713 w 9586368"/>
              <a:gd name="connsiteY6642" fmla="*/ 1679357 h 6479439"/>
              <a:gd name="connsiteX6643" fmla="*/ 5278713 w 9586368"/>
              <a:gd name="connsiteY6643" fmla="*/ 1689227 h 6479439"/>
              <a:gd name="connsiteX6644" fmla="*/ 5274694 w 9586368"/>
              <a:gd name="connsiteY6644" fmla="*/ 1693266 h 6479439"/>
              <a:gd name="connsiteX6645" fmla="*/ 5264784 w 9586368"/>
              <a:gd name="connsiteY6645" fmla="*/ 1693266 h 6479439"/>
              <a:gd name="connsiteX6646" fmla="*/ 5260765 w 9586368"/>
              <a:gd name="connsiteY6646" fmla="*/ 1689227 h 6479439"/>
              <a:gd name="connsiteX6647" fmla="*/ 5260765 w 9586368"/>
              <a:gd name="connsiteY6647" fmla="*/ 1679357 h 6479439"/>
              <a:gd name="connsiteX6648" fmla="*/ 5025470 w 9586368"/>
              <a:gd name="connsiteY6648" fmla="*/ 1675318 h 6479439"/>
              <a:gd name="connsiteX6649" fmla="*/ 5035381 w 9586368"/>
              <a:gd name="connsiteY6649" fmla="*/ 1675318 h 6479439"/>
              <a:gd name="connsiteX6650" fmla="*/ 5039400 w 9586368"/>
              <a:gd name="connsiteY6650" fmla="*/ 1679357 h 6479439"/>
              <a:gd name="connsiteX6651" fmla="*/ 5039400 w 9586368"/>
              <a:gd name="connsiteY6651" fmla="*/ 1689227 h 6479439"/>
              <a:gd name="connsiteX6652" fmla="*/ 5035381 w 9586368"/>
              <a:gd name="connsiteY6652" fmla="*/ 1693266 h 6479439"/>
              <a:gd name="connsiteX6653" fmla="*/ 5025470 w 9586368"/>
              <a:gd name="connsiteY6653" fmla="*/ 1693266 h 6479439"/>
              <a:gd name="connsiteX6654" fmla="*/ 5021451 w 9586368"/>
              <a:gd name="connsiteY6654" fmla="*/ 1689227 h 6479439"/>
              <a:gd name="connsiteX6655" fmla="*/ 5021451 w 9586368"/>
              <a:gd name="connsiteY6655" fmla="*/ 1679357 h 6479439"/>
              <a:gd name="connsiteX6656" fmla="*/ 4786241 w 9586368"/>
              <a:gd name="connsiteY6656" fmla="*/ 1675318 h 6479439"/>
              <a:gd name="connsiteX6657" fmla="*/ 4796152 w 9586368"/>
              <a:gd name="connsiteY6657" fmla="*/ 1675318 h 6479439"/>
              <a:gd name="connsiteX6658" fmla="*/ 4800171 w 9586368"/>
              <a:gd name="connsiteY6658" fmla="*/ 1679357 h 6479439"/>
              <a:gd name="connsiteX6659" fmla="*/ 4800171 w 9586368"/>
              <a:gd name="connsiteY6659" fmla="*/ 1689227 h 6479439"/>
              <a:gd name="connsiteX6660" fmla="*/ 4796152 w 9586368"/>
              <a:gd name="connsiteY6660" fmla="*/ 1693266 h 6479439"/>
              <a:gd name="connsiteX6661" fmla="*/ 4786241 w 9586368"/>
              <a:gd name="connsiteY6661" fmla="*/ 1693266 h 6479439"/>
              <a:gd name="connsiteX6662" fmla="*/ 4782224 w 9586368"/>
              <a:gd name="connsiteY6662" fmla="*/ 1689227 h 6479439"/>
              <a:gd name="connsiteX6663" fmla="*/ 4782224 w 9586368"/>
              <a:gd name="connsiteY6663" fmla="*/ 1679357 h 6479439"/>
              <a:gd name="connsiteX6664" fmla="*/ 5743412 w 9586368"/>
              <a:gd name="connsiteY6664" fmla="*/ 1675316 h 6479439"/>
              <a:gd name="connsiteX6665" fmla="*/ 5753323 w 9586368"/>
              <a:gd name="connsiteY6665" fmla="*/ 1675316 h 6479439"/>
              <a:gd name="connsiteX6666" fmla="*/ 5757342 w 9586368"/>
              <a:gd name="connsiteY6666" fmla="*/ 1679356 h 6479439"/>
              <a:gd name="connsiteX6667" fmla="*/ 5757342 w 9586368"/>
              <a:gd name="connsiteY6667" fmla="*/ 1689227 h 6479439"/>
              <a:gd name="connsiteX6668" fmla="*/ 5753323 w 9586368"/>
              <a:gd name="connsiteY6668" fmla="*/ 1693266 h 6479439"/>
              <a:gd name="connsiteX6669" fmla="*/ 5743412 w 9586368"/>
              <a:gd name="connsiteY6669" fmla="*/ 1693266 h 6479439"/>
              <a:gd name="connsiteX6670" fmla="*/ 5739393 w 9586368"/>
              <a:gd name="connsiteY6670" fmla="*/ 1689227 h 6479439"/>
              <a:gd name="connsiteX6671" fmla="*/ 5739393 w 9586368"/>
              <a:gd name="connsiteY6671" fmla="*/ 1679356 h 6479439"/>
              <a:gd name="connsiteX6672" fmla="*/ 5504099 w 9586368"/>
              <a:gd name="connsiteY6672" fmla="*/ 1675316 h 6479439"/>
              <a:gd name="connsiteX6673" fmla="*/ 5514010 w 9586368"/>
              <a:gd name="connsiteY6673" fmla="*/ 1675316 h 6479439"/>
              <a:gd name="connsiteX6674" fmla="*/ 5518029 w 9586368"/>
              <a:gd name="connsiteY6674" fmla="*/ 1679356 h 6479439"/>
              <a:gd name="connsiteX6675" fmla="*/ 5518029 w 9586368"/>
              <a:gd name="connsiteY6675" fmla="*/ 1689227 h 6479439"/>
              <a:gd name="connsiteX6676" fmla="*/ 5514010 w 9586368"/>
              <a:gd name="connsiteY6676" fmla="*/ 1693266 h 6479439"/>
              <a:gd name="connsiteX6677" fmla="*/ 5504099 w 9586368"/>
              <a:gd name="connsiteY6677" fmla="*/ 1693266 h 6479439"/>
              <a:gd name="connsiteX6678" fmla="*/ 5500080 w 9586368"/>
              <a:gd name="connsiteY6678" fmla="*/ 1689227 h 6479439"/>
              <a:gd name="connsiteX6679" fmla="*/ 5500080 w 9586368"/>
              <a:gd name="connsiteY6679" fmla="*/ 1679356 h 6479439"/>
              <a:gd name="connsiteX6680" fmla="*/ 6461356 w 9586368"/>
              <a:gd name="connsiteY6680" fmla="*/ 1675301 h 6479439"/>
              <a:gd name="connsiteX6681" fmla="*/ 6471266 w 9586368"/>
              <a:gd name="connsiteY6681" fmla="*/ 1675301 h 6479439"/>
              <a:gd name="connsiteX6682" fmla="*/ 6475285 w 9586368"/>
              <a:gd name="connsiteY6682" fmla="*/ 1679339 h 6479439"/>
              <a:gd name="connsiteX6683" fmla="*/ 6475285 w 9586368"/>
              <a:gd name="connsiteY6683" fmla="*/ 1689210 h 6479439"/>
              <a:gd name="connsiteX6684" fmla="*/ 6471266 w 9586368"/>
              <a:gd name="connsiteY6684" fmla="*/ 1693249 h 6479439"/>
              <a:gd name="connsiteX6685" fmla="*/ 6461356 w 9586368"/>
              <a:gd name="connsiteY6685" fmla="*/ 1693249 h 6479439"/>
              <a:gd name="connsiteX6686" fmla="*/ 6457337 w 9586368"/>
              <a:gd name="connsiteY6686" fmla="*/ 1689210 h 6479439"/>
              <a:gd name="connsiteX6687" fmla="*/ 6457337 w 9586368"/>
              <a:gd name="connsiteY6687" fmla="*/ 1679339 h 6479439"/>
              <a:gd name="connsiteX6688" fmla="*/ 6222042 w 9586368"/>
              <a:gd name="connsiteY6688" fmla="*/ 1675301 h 6479439"/>
              <a:gd name="connsiteX6689" fmla="*/ 6231952 w 9586368"/>
              <a:gd name="connsiteY6689" fmla="*/ 1675301 h 6479439"/>
              <a:gd name="connsiteX6690" fmla="*/ 6235971 w 9586368"/>
              <a:gd name="connsiteY6690" fmla="*/ 1679339 h 6479439"/>
              <a:gd name="connsiteX6691" fmla="*/ 6235971 w 9586368"/>
              <a:gd name="connsiteY6691" fmla="*/ 1689211 h 6479439"/>
              <a:gd name="connsiteX6692" fmla="*/ 6231952 w 9586368"/>
              <a:gd name="connsiteY6692" fmla="*/ 1693249 h 6479439"/>
              <a:gd name="connsiteX6693" fmla="*/ 6222042 w 9586368"/>
              <a:gd name="connsiteY6693" fmla="*/ 1693249 h 6479439"/>
              <a:gd name="connsiteX6694" fmla="*/ 6218023 w 9586368"/>
              <a:gd name="connsiteY6694" fmla="*/ 1689211 h 6479439"/>
              <a:gd name="connsiteX6695" fmla="*/ 6218023 w 9586368"/>
              <a:gd name="connsiteY6695" fmla="*/ 1679339 h 6479439"/>
              <a:gd name="connsiteX6696" fmla="*/ 5982729 w 9586368"/>
              <a:gd name="connsiteY6696" fmla="*/ 1675301 h 6479439"/>
              <a:gd name="connsiteX6697" fmla="*/ 5992639 w 9586368"/>
              <a:gd name="connsiteY6697" fmla="*/ 1675301 h 6479439"/>
              <a:gd name="connsiteX6698" fmla="*/ 5996658 w 9586368"/>
              <a:gd name="connsiteY6698" fmla="*/ 1679339 h 6479439"/>
              <a:gd name="connsiteX6699" fmla="*/ 5996658 w 9586368"/>
              <a:gd name="connsiteY6699" fmla="*/ 1689211 h 6479439"/>
              <a:gd name="connsiteX6700" fmla="*/ 5992639 w 9586368"/>
              <a:gd name="connsiteY6700" fmla="*/ 1693251 h 6479439"/>
              <a:gd name="connsiteX6701" fmla="*/ 5982729 w 9586368"/>
              <a:gd name="connsiteY6701" fmla="*/ 1693251 h 6479439"/>
              <a:gd name="connsiteX6702" fmla="*/ 5978710 w 9586368"/>
              <a:gd name="connsiteY6702" fmla="*/ 1689211 h 6479439"/>
              <a:gd name="connsiteX6703" fmla="*/ 5978710 w 9586368"/>
              <a:gd name="connsiteY6703" fmla="*/ 1679339 h 6479439"/>
              <a:gd name="connsiteX6704" fmla="*/ 6939983 w 9586368"/>
              <a:gd name="connsiteY6704" fmla="*/ 1675300 h 6479439"/>
              <a:gd name="connsiteX6705" fmla="*/ 6949894 w 9586368"/>
              <a:gd name="connsiteY6705" fmla="*/ 1675300 h 6479439"/>
              <a:gd name="connsiteX6706" fmla="*/ 6953913 w 9586368"/>
              <a:gd name="connsiteY6706" fmla="*/ 1679339 h 6479439"/>
              <a:gd name="connsiteX6707" fmla="*/ 6953913 w 9586368"/>
              <a:gd name="connsiteY6707" fmla="*/ 1689210 h 6479439"/>
              <a:gd name="connsiteX6708" fmla="*/ 6949894 w 9586368"/>
              <a:gd name="connsiteY6708" fmla="*/ 1693249 h 6479439"/>
              <a:gd name="connsiteX6709" fmla="*/ 6939983 w 9586368"/>
              <a:gd name="connsiteY6709" fmla="*/ 1693249 h 6479439"/>
              <a:gd name="connsiteX6710" fmla="*/ 6935964 w 9586368"/>
              <a:gd name="connsiteY6710" fmla="*/ 1689210 h 6479439"/>
              <a:gd name="connsiteX6711" fmla="*/ 6935964 w 9586368"/>
              <a:gd name="connsiteY6711" fmla="*/ 1679339 h 6479439"/>
              <a:gd name="connsiteX6712" fmla="*/ 6700670 w 9586368"/>
              <a:gd name="connsiteY6712" fmla="*/ 1675300 h 6479439"/>
              <a:gd name="connsiteX6713" fmla="*/ 6710581 w 9586368"/>
              <a:gd name="connsiteY6713" fmla="*/ 1675300 h 6479439"/>
              <a:gd name="connsiteX6714" fmla="*/ 6714600 w 9586368"/>
              <a:gd name="connsiteY6714" fmla="*/ 1679339 h 6479439"/>
              <a:gd name="connsiteX6715" fmla="*/ 6714600 w 9586368"/>
              <a:gd name="connsiteY6715" fmla="*/ 1689210 h 6479439"/>
              <a:gd name="connsiteX6716" fmla="*/ 6710581 w 9586368"/>
              <a:gd name="connsiteY6716" fmla="*/ 1693249 h 6479439"/>
              <a:gd name="connsiteX6717" fmla="*/ 6700670 w 9586368"/>
              <a:gd name="connsiteY6717" fmla="*/ 1693249 h 6479439"/>
              <a:gd name="connsiteX6718" fmla="*/ 6696651 w 9586368"/>
              <a:gd name="connsiteY6718" fmla="*/ 1689210 h 6479439"/>
              <a:gd name="connsiteX6719" fmla="*/ 6696651 w 9586368"/>
              <a:gd name="connsiteY6719" fmla="*/ 1679339 h 6479439"/>
              <a:gd name="connsiteX6720" fmla="*/ 8136553 w 9586368"/>
              <a:gd name="connsiteY6720" fmla="*/ 1675285 h 6479439"/>
              <a:gd name="connsiteX6721" fmla="*/ 8146464 w 9586368"/>
              <a:gd name="connsiteY6721" fmla="*/ 1675285 h 6479439"/>
              <a:gd name="connsiteX6722" fmla="*/ 8150483 w 9586368"/>
              <a:gd name="connsiteY6722" fmla="*/ 1679323 h 6479439"/>
              <a:gd name="connsiteX6723" fmla="*/ 8150483 w 9586368"/>
              <a:gd name="connsiteY6723" fmla="*/ 1689193 h 6479439"/>
              <a:gd name="connsiteX6724" fmla="*/ 8146464 w 9586368"/>
              <a:gd name="connsiteY6724" fmla="*/ 1693232 h 6479439"/>
              <a:gd name="connsiteX6725" fmla="*/ 8136553 w 9586368"/>
              <a:gd name="connsiteY6725" fmla="*/ 1693232 h 6479439"/>
              <a:gd name="connsiteX6726" fmla="*/ 8132534 w 9586368"/>
              <a:gd name="connsiteY6726" fmla="*/ 1689193 h 6479439"/>
              <a:gd name="connsiteX6727" fmla="*/ 8132534 w 9586368"/>
              <a:gd name="connsiteY6727" fmla="*/ 1679323 h 6479439"/>
              <a:gd name="connsiteX6728" fmla="*/ 7897241 w 9586368"/>
              <a:gd name="connsiteY6728" fmla="*/ 1675285 h 6479439"/>
              <a:gd name="connsiteX6729" fmla="*/ 7907151 w 9586368"/>
              <a:gd name="connsiteY6729" fmla="*/ 1675285 h 6479439"/>
              <a:gd name="connsiteX6730" fmla="*/ 7911170 w 9586368"/>
              <a:gd name="connsiteY6730" fmla="*/ 1679323 h 6479439"/>
              <a:gd name="connsiteX6731" fmla="*/ 7911170 w 9586368"/>
              <a:gd name="connsiteY6731" fmla="*/ 1689193 h 6479439"/>
              <a:gd name="connsiteX6732" fmla="*/ 7907151 w 9586368"/>
              <a:gd name="connsiteY6732" fmla="*/ 1693232 h 6479439"/>
              <a:gd name="connsiteX6733" fmla="*/ 7897241 w 9586368"/>
              <a:gd name="connsiteY6733" fmla="*/ 1693232 h 6479439"/>
              <a:gd name="connsiteX6734" fmla="*/ 7893222 w 9586368"/>
              <a:gd name="connsiteY6734" fmla="*/ 1689193 h 6479439"/>
              <a:gd name="connsiteX6735" fmla="*/ 7893222 w 9586368"/>
              <a:gd name="connsiteY6735" fmla="*/ 1679323 h 6479439"/>
              <a:gd name="connsiteX6736" fmla="*/ 7657926 w 9586368"/>
              <a:gd name="connsiteY6736" fmla="*/ 1675285 h 6479439"/>
              <a:gd name="connsiteX6737" fmla="*/ 7667836 w 9586368"/>
              <a:gd name="connsiteY6737" fmla="*/ 1675285 h 6479439"/>
              <a:gd name="connsiteX6738" fmla="*/ 7671855 w 9586368"/>
              <a:gd name="connsiteY6738" fmla="*/ 1679323 h 6479439"/>
              <a:gd name="connsiteX6739" fmla="*/ 7671855 w 9586368"/>
              <a:gd name="connsiteY6739" fmla="*/ 1689193 h 6479439"/>
              <a:gd name="connsiteX6740" fmla="*/ 7667836 w 9586368"/>
              <a:gd name="connsiteY6740" fmla="*/ 1693232 h 6479439"/>
              <a:gd name="connsiteX6741" fmla="*/ 7657926 w 9586368"/>
              <a:gd name="connsiteY6741" fmla="*/ 1693232 h 6479439"/>
              <a:gd name="connsiteX6742" fmla="*/ 7653906 w 9586368"/>
              <a:gd name="connsiteY6742" fmla="*/ 1689193 h 6479439"/>
              <a:gd name="connsiteX6743" fmla="*/ 7653906 w 9586368"/>
              <a:gd name="connsiteY6743" fmla="*/ 1679323 h 6479439"/>
              <a:gd name="connsiteX6744" fmla="*/ 7418611 w 9586368"/>
              <a:gd name="connsiteY6744" fmla="*/ 1675285 h 6479439"/>
              <a:gd name="connsiteX6745" fmla="*/ 7428521 w 9586368"/>
              <a:gd name="connsiteY6745" fmla="*/ 1675285 h 6479439"/>
              <a:gd name="connsiteX6746" fmla="*/ 7432540 w 9586368"/>
              <a:gd name="connsiteY6746" fmla="*/ 1679323 h 6479439"/>
              <a:gd name="connsiteX6747" fmla="*/ 7432540 w 9586368"/>
              <a:gd name="connsiteY6747" fmla="*/ 1689195 h 6479439"/>
              <a:gd name="connsiteX6748" fmla="*/ 7428521 w 9586368"/>
              <a:gd name="connsiteY6748" fmla="*/ 1693232 h 6479439"/>
              <a:gd name="connsiteX6749" fmla="*/ 7418611 w 9586368"/>
              <a:gd name="connsiteY6749" fmla="*/ 1693232 h 6479439"/>
              <a:gd name="connsiteX6750" fmla="*/ 7414592 w 9586368"/>
              <a:gd name="connsiteY6750" fmla="*/ 1689195 h 6479439"/>
              <a:gd name="connsiteX6751" fmla="*/ 7414592 w 9586368"/>
              <a:gd name="connsiteY6751" fmla="*/ 1679323 h 6479439"/>
              <a:gd name="connsiteX6752" fmla="*/ 7179298 w 9586368"/>
              <a:gd name="connsiteY6752" fmla="*/ 1675285 h 6479439"/>
              <a:gd name="connsiteX6753" fmla="*/ 7189209 w 9586368"/>
              <a:gd name="connsiteY6753" fmla="*/ 1675285 h 6479439"/>
              <a:gd name="connsiteX6754" fmla="*/ 7193228 w 9586368"/>
              <a:gd name="connsiteY6754" fmla="*/ 1679323 h 6479439"/>
              <a:gd name="connsiteX6755" fmla="*/ 7193228 w 9586368"/>
              <a:gd name="connsiteY6755" fmla="*/ 1689195 h 6479439"/>
              <a:gd name="connsiteX6756" fmla="*/ 7189209 w 9586368"/>
              <a:gd name="connsiteY6756" fmla="*/ 1693234 h 6479439"/>
              <a:gd name="connsiteX6757" fmla="*/ 7179298 w 9586368"/>
              <a:gd name="connsiteY6757" fmla="*/ 1693234 h 6479439"/>
              <a:gd name="connsiteX6758" fmla="*/ 7175279 w 9586368"/>
              <a:gd name="connsiteY6758" fmla="*/ 1689195 h 6479439"/>
              <a:gd name="connsiteX6759" fmla="*/ 7175279 w 9586368"/>
              <a:gd name="connsiteY6759" fmla="*/ 1679323 h 6479439"/>
              <a:gd name="connsiteX6760" fmla="*/ 9333125 w 9586368"/>
              <a:gd name="connsiteY6760" fmla="*/ 1675268 h 6479439"/>
              <a:gd name="connsiteX6761" fmla="*/ 9343036 w 9586368"/>
              <a:gd name="connsiteY6761" fmla="*/ 1675268 h 6479439"/>
              <a:gd name="connsiteX6762" fmla="*/ 9347055 w 9586368"/>
              <a:gd name="connsiteY6762" fmla="*/ 1679306 h 6479439"/>
              <a:gd name="connsiteX6763" fmla="*/ 9347055 w 9586368"/>
              <a:gd name="connsiteY6763" fmla="*/ 1689177 h 6479439"/>
              <a:gd name="connsiteX6764" fmla="*/ 9343036 w 9586368"/>
              <a:gd name="connsiteY6764" fmla="*/ 1693216 h 6479439"/>
              <a:gd name="connsiteX6765" fmla="*/ 9333125 w 9586368"/>
              <a:gd name="connsiteY6765" fmla="*/ 1693216 h 6479439"/>
              <a:gd name="connsiteX6766" fmla="*/ 9329106 w 9586368"/>
              <a:gd name="connsiteY6766" fmla="*/ 1689177 h 6479439"/>
              <a:gd name="connsiteX6767" fmla="*/ 9329106 w 9586368"/>
              <a:gd name="connsiteY6767" fmla="*/ 1679306 h 6479439"/>
              <a:gd name="connsiteX6768" fmla="*/ 9093811 w 9586368"/>
              <a:gd name="connsiteY6768" fmla="*/ 1675268 h 6479439"/>
              <a:gd name="connsiteX6769" fmla="*/ 9103722 w 9586368"/>
              <a:gd name="connsiteY6769" fmla="*/ 1675268 h 6479439"/>
              <a:gd name="connsiteX6770" fmla="*/ 9107741 w 9586368"/>
              <a:gd name="connsiteY6770" fmla="*/ 1679306 h 6479439"/>
              <a:gd name="connsiteX6771" fmla="*/ 9107741 w 9586368"/>
              <a:gd name="connsiteY6771" fmla="*/ 1689177 h 6479439"/>
              <a:gd name="connsiteX6772" fmla="*/ 9103722 w 9586368"/>
              <a:gd name="connsiteY6772" fmla="*/ 1693217 h 6479439"/>
              <a:gd name="connsiteX6773" fmla="*/ 9093811 w 9586368"/>
              <a:gd name="connsiteY6773" fmla="*/ 1693217 h 6479439"/>
              <a:gd name="connsiteX6774" fmla="*/ 9089792 w 9586368"/>
              <a:gd name="connsiteY6774" fmla="*/ 1689177 h 6479439"/>
              <a:gd name="connsiteX6775" fmla="*/ 9089792 w 9586368"/>
              <a:gd name="connsiteY6775" fmla="*/ 1679306 h 6479439"/>
              <a:gd name="connsiteX6776" fmla="*/ 8854496 w 9586368"/>
              <a:gd name="connsiteY6776" fmla="*/ 1675268 h 6479439"/>
              <a:gd name="connsiteX6777" fmla="*/ 8864407 w 9586368"/>
              <a:gd name="connsiteY6777" fmla="*/ 1675268 h 6479439"/>
              <a:gd name="connsiteX6778" fmla="*/ 8868426 w 9586368"/>
              <a:gd name="connsiteY6778" fmla="*/ 1679307 h 6479439"/>
              <a:gd name="connsiteX6779" fmla="*/ 8868426 w 9586368"/>
              <a:gd name="connsiteY6779" fmla="*/ 1689177 h 6479439"/>
              <a:gd name="connsiteX6780" fmla="*/ 8864407 w 9586368"/>
              <a:gd name="connsiteY6780" fmla="*/ 1693217 h 6479439"/>
              <a:gd name="connsiteX6781" fmla="*/ 8854496 w 9586368"/>
              <a:gd name="connsiteY6781" fmla="*/ 1693217 h 6479439"/>
              <a:gd name="connsiteX6782" fmla="*/ 8850477 w 9586368"/>
              <a:gd name="connsiteY6782" fmla="*/ 1689177 h 6479439"/>
              <a:gd name="connsiteX6783" fmla="*/ 8850477 w 9586368"/>
              <a:gd name="connsiteY6783" fmla="*/ 1679307 h 6479439"/>
              <a:gd name="connsiteX6784" fmla="*/ 8615184 w 9586368"/>
              <a:gd name="connsiteY6784" fmla="*/ 1675268 h 6479439"/>
              <a:gd name="connsiteX6785" fmla="*/ 8625095 w 9586368"/>
              <a:gd name="connsiteY6785" fmla="*/ 1675268 h 6479439"/>
              <a:gd name="connsiteX6786" fmla="*/ 8629114 w 9586368"/>
              <a:gd name="connsiteY6786" fmla="*/ 1679307 h 6479439"/>
              <a:gd name="connsiteX6787" fmla="*/ 8629114 w 9586368"/>
              <a:gd name="connsiteY6787" fmla="*/ 1689178 h 6479439"/>
              <a:gd name="connsiteX6788" fmla="*/ 8625095 w 9586368"/>
              <a:gd name="connsiteY6788" fmla="*/ 1693217 h 6479439"/>
              <a:gd name="connsiteX6789" fmla="*/ 8615184 w 9586368"/>
              <a:gd name="connsiteY6789" fmla="*/ 1693217 h 6479439"/>
              <a:gd name="connsiteX6790" fmla="*/ 8611165 w 9586368"/>
              <a:gd name="connsiteY6790" fmla="*/ 1689178 h 6479439"/>
              <a:gd name="connsiteX6791" fmla="*/ 8611165 w 9586368"/>
              <a:gd name="connsiteY6791" fmla="*/ 1679307 h 6479439"/>
              <a:gd name="connsiteX6792" fmla="*/ 8375869 w 9586368"/>
              <a:gd name="connsiteY6792" fmla="*/ 1675268 h 6479439"/>
              <a:gd name="connsiteX6793" fmla="*/ 8385779 w 9586368"/>
              <a:gd name="connsiteY6793" fmla="*/ 1675268 h 6479439"/>
              <a:gd name="connsiteX6794" fmla="*/ 8389799 w 9586368"/>
              <a:gd name="connsiteY6794" fmla="*/ 1679307 h 6479439"/>
              <a:gd name="connsiteX6795" fmla="*/ 8389799 w 9586368"/>
              <a:gd name="connsiteY6795" fmla="*/ 1689178 h 6479439"/>
              <a:gd name="connsiteX6796" fmla="*/ 8385779 w 9586368"/>
              <a:gd name="connsiteY6796" fmla="*/ 1693217 h 6479439"/>
              <a:gd name="connsiteX6797" fmla="*/ 8375869 w 9586368"/>
              <a:gd name="connsiteY6797" fmla="*/ 1693217 h 6479439"/>
              <a:gd name="connsiteX6798" fmla="*/ 8371850 w 9586368"/>
              <a:gd name="connsiteY6798" fmla="*/ 1689178 h 6479439"/>
              <a:gd name="connsiteX6799" fmla="*/ 8371850 w 9586368"/>
              <a:gd name="connsiteY6799" fmla="*/ 1679307 h 6479439"/>
              <a:gd name="connsiteX6800" fmla="*/ 961270 w 9586368"/>
              <a:gd name="connsiteY6800" fmla="*/ 1675255 h 6479439"/>
              <a:gd name="connsiteX6801" fmla="*/ 971180 w 9586368"/>
              <a:gd name="connsiteY6801" fmla="*/ 1675255 h 6479439"/>
              <a:gd name="connsiteX6802" fmla="*/ 975199 w 9586368"/>
              <a:gd name="connsiteY6802" fmla="*/ 1679292 h 6479439"/>
              <a:gd name="connsiteX6803" fmla="*/ 975199 w 9586368"/>
              <a:gd name="connsiteY6803" fmla="*/ 1689163 h 6479439"/>
              <a:gd name="connsiteX6804" fmla="*/ 971180 w 9586368"/>
              <a:gd name="connsiteY6804" fmla="*/ 1693202 h 6479439"/>
              <a:gd name="connsiteX6805" fmla="*/ 961270 w 9586368"/>
              <a:gd name="connsiteY6805" fmla="*/ 1693202 h 6479439"/>
              <a:gd name="connsiteX6806" fmla="*/ 957251 w 9586368"/>
              <a:gd name="connsiteY6806" fmla="*/ 1689163 h 6479439"/>
              <a:gd name="connsiteX6807" fmla="*/ 957251 w 9586368"/>
              <a:gd name="connsiteY6807" fmla="*/ 1679292 h 6479439"/>
              <a:gd name="connsiteX6808" fmla="*/ 1679215 w 9586368"/>
              <a:gd name="connsiteY6808" fmla="*/ 1675254 h 6479439"/>
              <a:gd name="connsiteX6809" fmla="*/ 1689126 w 9586368"/>
              <a:gd name="connsiteY6809" fmla="*/ 1675254 h 6479439"/>
              <a:gd name="connsiteX6810" fmla="*/ 1693145 w 9586368"/>
              <a:gd name="connsiteY6810" fmla="*/ 1679292 h 6479439"/>
              <a:gd name="connsiteX6811" fmla="*/ 1693145 w 9586368"/>
              <a:gd name="connsiteY6811" fmla="*/ 1689163 h 6479439"/>
              <a:gd name="connsiteX6812" fmla="*/ 1689126 w 9586368"/>
              <a:gd name="connsiteY6812" fmla="*/ 1693202 h 6479439"/>
              <a:gd name="connsiteX6813" fmla="*/ 1679215 w 9586368"/>
              <a:gd name="connsiteY6813" fmla="*/ 1693202 h 6479439"/>
              <a:gd name="connsiteX6814" fmla="*/ 1675196 w 9586368"/>
              <a:gd name="connsiteY6814" fmla="*/ 1689163 h 6479439"/>
              <a:gd name="connsiteX6815" fmla="*/ 1675196 w 9586368"/>
              <a:gd name="connsiteY6815" fmla="*/ 1679292 h 6479439"/>
              <a:gd name="connsiteX6816" fmla="*/ 1439898 w 9586368"/>
              <a:gd name="connsiteY6816" fmla="*/ 1675254 h 6479439"/>
              <a:gd name="connsiteX6817" fmla="*/ 1449808 w 9586368"/>
              <a:gd name="connsiteY6817" fmla="*/ 1675254 h 6479439"/>
              <a:gd name="connsiteX6818" fmla="*/ 1453828 w 9586368"/>
              <a:gd name="connsiteY6818" fmla="*/ 1679292 h 6479439"/>
              <a:gd name="connsiteX6819" fmla="*/ 1453828 w 9586368"/>
              <a:gd name="connsiteY6819" fmla="*/ 1689163 h 6479439"/>
              <a:gd name="connsiteX6820" fmla="*/ 1449808 w 9586368"/>
              <a:gd name="connsiteY6820" fmla="*/ 1693202 h 6479439"/>
              <a:gd name="connsiteX6821" fmla="*/ 1439898 w 9586368"/>
              <a:gd name="connsiteY6821" fmla="*/ 1693202 h 6479439"/>
              <a:gd name="connsiteX6822" fmla="*/ 1435880 w 9586368"/>
              <a:gd name="connsiteY6822" fmla="*/ 1689163 h 6479439"/>
              <a:gd name="connsiteX6823" fmla="*/ 1435880 w 9586368"/>
              <a:gd name="connsiteY6823" fmla="*/ 1679292 h 6479439"/>
              <a:gd name="connsiteX6824" fmla="*/ 1200583 w 9586368"/>
              <a:gd name="connsiteY6824" fmla="*/ 1675254 h 6479439"/>
              <a:gd name="connsiteX6825" fmla="*/ 1210493 w 9586368"/>
              <a:gd name="connsiteY6825" fmla="*/ 1675254 h 6479439"/>
              <a:gd name="connsiteX6826" fmla="*/ 1214511 w 9586368"/>
              <a:gd name="connsiteY6826" fmla="*/ 1679292 h 6479439"/>
              <a:gd name="connsiteX6827" fmla="*/ 1214511 w 9586368"/>
              <a:gd name="connsiteY6827" fmla="*/ 1689163 h 6479439"/>
              <a:gd name="connsiteX6828" fmla="*/ 1210493 w 9586368"/>
              <a:gd name="connsiteY6828" fmla="*/ 1693202 h 6479439"/>
              <a:gd name="connsiteX6829" fmla="*/ 1200583 w 9586368"/>
              <a:gd name="connsiteY6829" fmla="*/ 1693202 h 6479439"/>
              <a:gd name="connsiteX6830" fmla="*/ 1196564 w 9586368"/>
              <a:gd name="connsiteY6830" fmla="*/ 1689163 h 6479439"/>
              <a:gd name="connsiteX6831" fmla="*/ 1196564 w 9586368"/>
              <a:gd name="connsiteY6831" fmla="*/ 1679292 h 6479439"/>
              <a:gd name="connsiteX6832" fmla="*/ 9572438 w 9586368"/>
              <a:gd name="connsiteY6832" fmla="*/ 1675251 h 6479439"/>
              <a:gd name="connsiteX6833" fmla="*/ 9582349 w 9586368"/>
              <a:gd name="connsiteY6833" fmla="*/ 1675251 h 6479439"/>
              <a:gd name="connsiteX6834" fmla="*/ 9586368 w 9586368"/>
              <a:gd name="connsiteY6834" fmla="*/ 1679290 h 6479439"/>
              <a:gd name="connsiteX6835" fmla="*/ 9586368 w 9586368"/>
              <a:gd name="connsiteY6835" fmla="*/ 1689161 h 6479439"/>
              <a:gd name="connsiteX6836" fmla="*/ 9582349 w 9586368"/>
              <a:gd name="connsiteY6836" fmla="*/ 1693201 h 6479439"/>
              <a:gd name="connsiteX6837" fmla="*/ 9572438 w 9586368"/>
              <a:gd name="connsiteY6837" fmla="*/ 1693201 h 6479439"/>
              <a:gd name="connsiteX6838" fmla="*/ 9568419 w 9586368"/>
              <a:gd name="connsiteY6838" fmla="*/ 1689161 h 6479439"/>
              <a:gd name="connsiteX6839" fmla="*/ 9568419 w 9586368"/>
              <a:gd name="connsiteY6839" fmla="*/ 1679290 h 6479439"/>
              <a:gd name="connsiteX6840" fmla="*/ 1918514 w 9586368"/>
              <a:gd name="connsiteY6840" fmla="*/ 1675243 h 6479439"/>
              <a:gd name="connsiteX6841" fmla="*/ 1928424 w 9586368"/>
              <a:gd name="connsiteY6841" fmla="*/ 1675243 h 6479439"/>
              <a:gd name="connsiteX6842" fmla="*/ 1932443 w 9586368"/>
              <a:gd name="connsiteY6842" fmla="*/ 1679282 h 6479439"/>
              <a:gd name="connsiteX6843" fmla="*/ 1932443 w 9586368"/>
              <a:gd name="connsiteY6843" fmla="*/ 1689153 h 6479439"/>
              <a:gd name="connsiteX6844" fmla="*/ 1928424 w 9586368"/>
              <a:gd name="connsiteY6844" fmla="*/ 1693191 h 6479439"/>
              <a:gd name="connsiteX6845" fmla="*/ 1918514 w 9586368"/>
              <a:gd name="connsiteY6845" fmla="*/ 1693191 h 6479439"/>
              <a:gd name="connsiteX6846" fmla="*/ 1914494 w 9586368"/>
              <a:gd name="connsiteY6846" fmla="*/ 1689153 h 6479439"/>
              <a:gd name="connsiteX6847" fmla="*/ 1914494 w 9586368"/>
              <a:gd name="connsiteY6847" fmla="*/ 1679282 h 6479439"/>
              <a:gd name="connsiteX6848" fmla="*/ 2157821 w 9586368"/>
              <a:gd name="connsiteY6848" fmla="*/ 1675240 h 6479439"/>
              <a:gd name="connsiteX6849" fmla="*/ 2167732 w 9586368"/>
              <a:gd name="connsiteY6849" fmla="*/ 1675240 h 6479439"/>
              <a:gd name="connsiteX6850" fmla="*/ 2171751 w 9586368"/>
              <a:gd name="connsiteY6850" fmla="*/ 1679279 h 6479439"/>
              <a:gd name="connsiteX6851" fmla="*/ 2171751 w 9586368"/>
              <a:gd name="connsiteY6851" fmla="*/ 1689149 h 6479439"/>
              <a:gd name="connsiteX6852" fmla="*/ 2167732 w 9586368"/>
              <a:gd name="connsiteY6852" fmla="*/ 1693188 h 6479439"/>
              <a:gd name="connsiteX6853" fmla="*/ 2157821 w 9586368"/>
              <a:gd name="connsiteY6853" fmla="*/ 1693188 h 6479439"/>
              <a:gd name="connsiteX6854" fmla="*/ 2153803 w 9586368"/>
              <a:gd name="connsiteY6854" fmla="*/ 1689149 h 6479439"/>
              <a:gd name="connsiteX6855" fmla="*/ 2153803 w 9586368"/>
              <a:gd name="connsiteY6855" fmla="*/ 1679279 h 6479439"/>
              <a:gd name="connsiteX6856" fmla="*/ 243346 w 9586368"/>
              <a:gd name="connsiteY6856" fmla="*/ 1675216 h 6479439"/>
              <a:gd name="connsiteX6857" fmla="*/ 253257 w 9586368"/>
              <a:gd name="connsiteY6857" fmla="*/ 1675216 h 6479439"/>
              <a:gd name="connsiteX6858" fmla="*/ 257276 w 9586368"/>
              <a:gd name="connsiteY6858" fmla="*/ 1679254 h 6479439"/>
              <a:gd name="connsiteX6859" fmla="*/ 257276 w 9586368"/>
              <a:gd name="connsiteY6859" fmla="*/ 1689125 h 6479439"/>
              <a:gd name="connsiteX6860" fmla="*/ 253257 w 9586368"/>
              <a:gd name="connsiteY6860" fmla="*/ 1693164 h 6479439"/>
              <a:gd name="connsiteX6861" fmla="*/ 243346 w 9586368"/>
              <a:gd name="connsiteY6861" fmla="*/ 1693164 h 6479439"/>
              <a:gd name="connsiteX6862" fmla="*/ 239327 w 9586368"/>
              <a:gd name="connsiteY6862" fmla="*/ 1689125 h 6479439"/>
              <a:gd name="connsiteX6863" fmla="*/ 239327 w 9586368"/>
              <a:gd name="connsiteY6863" fmla="*/ 1679254 h 6479439"/>
              <a:gd name="connsiteX6864" fmla="*/ 4034 w 9586368"/>
              <a:gd name="connsiteY6864" fmla="*/ 1675216 h 6479439"/>
              <a:gd name="connsiteX6865" fmla="*/ 13943 w 9586368"/>
              <a:gd name="connsiteY6865" fmla="*/ 1675216 h 6479439"/>
              <a:gd name="connsiteX6866" fmla="*/ 17962 w 9586368"/>
              <a:gd name="connsiteY6866" fmla="*/ 1679254 h 6479439"/>
              <a:gd name="connsiteX6867" fmla="*/ 17962 w 9586368"/>
              <a:gd name="connsiteY6867" fmla="*/ 1689125 h 6479439"/>
              <a:gd name="connsiteX6868" fmla="*/ 13943 w 9586368"/>
              <a:gd name="connsiteY6868" fmla="*/ 1693164 h 6479439"/>
              <a:gd name="connsiteX6869" fmla="*/ 4034 w 9586368"/>
              <a:gd name="connsiteY6869" fmla="*/ 1693164 h 6479439"/>
              <a:gd name="connsiteX6870" fmla="*/ 14 w 9586368"/>
              <a:gd name="connsiteY6870" fmla="*/ 1689125 h 6479439"/>
              <a:gd name="connsiteX6871" fmla="*/ 14 w 9586368"/>
              <a:gd name="connsiteY6871" fmla="*/ 1679254 h 6479439"/>
              <a:gd name="connsiteX6872" fmla="*/ 721972 w 9586368"/>
              <a:gd name="connsiteY6872" fmla="*/ 1675216 h 6479439"/>
              <a:gd name="connsiteX6873" fmla="*/ 731882 w 9586368"/>
              <a:gd name="connsiteY6873" fmla="*/ 1675216 h 6479439"/>
              <a:gd name="connsiteX6874" fmla="*/ 735902 w 9586368"/>
              <a:gd name="connsiteY6874" fmla="*/ 1679254 h 6479439"/>
              <a:gd name="connsiteX6875" fmla="*/ 735902 w 9586368"/>
              <a:gd name="connsiteY6875" fmla="*/ 1689125 h 6479439"/>
              <a:gd name="connsiteX6876" fmla="*/ 731882 w 9586368"/>
              <a:gd name="connsiteY6876" fmla="*/ 1693164 h 6479439"/>
              <a:gd name="connsiteX6877" fmla="*/ 721972 w 9586368"/>
              <a:gd name="connsiteY6877" fmla="*/ 1693164 h 6479439"/>
              <a:gd name="connsiteX6878" fmla="*/ 717954 w 9586368"/>
              <a:gd name="connsiteY6878" fmla="*/ 1689125 h 6479439"/>
              <a:gd name="connsiteX6879" fmla="*/ 717954 w 9586368"/>
              <a:gd name="connsiteY6879" fmla="*/ 1679254 h 6479439"/>
              <a:gd name="connsiteX6880" fmla="*/ 482660 w 9586368"/>
              <a:gd name="connsiteY6880" fmla="*/ 1675216 h 6479439"/>
              <a:gd name="connsiteX6881" fmla="*/ 492571 w 9586368"/>
              <a:gd name="connsiteY6881" fmla="*/ 1675216 h 6479439"/>
              <a:gd name="connsiteX6882" fmla="*/ 496589 w 9586368"/>
              <a:gd name="connsiteY6882" fmla="*/ 1679254 h 6479439"/>
              <a:gd name="connsiteX6883" fmla="*/ 496589 w 9586368"/>
              <a:gd name="connsiteY6883" fmla="*/ 1689125 h 6479439"/>
              <a:gd name="connsiteX6884" fmla="*/ 492571 w 9586368"/>
              <a:gd name="connsiteY6884" fmla="*/ 1693164 h 6479439"/>
              <a:gd name="connsiteX6885" fmla="*/ 482660 w 9586368"/>
              <a:gd name="connsiteY6885" fmla="*/ 1693164 h 6479439"/>
              <a:gd name="connsiteX6886" fmla="*/ 478641 w 9586368"/>
              <a:gd name="connsiteY6886" fmla="*/ 1689125 h 6479439"/>
              <a:gd name="connsiteX6887" fmla="*/ 478641 w 9586368"/>
              <a:gd name="connsiteY6887" fmla="*/ 1679254 h 6479439"/>
              <a:gd name="connsiteX6888" fmla="*/ 2393104 w 9586368"/>
              <a:gd name="connsiteY6888" fmla="*/ 1436001 h 6479439"/>
              <a:gd name="connsiteX6889" fmla="*/ 2403015 w 9586368"/>
              <a:gd name="connsiteY6889" fmla="*/ 1436001 h 6479439"/>
              <a:gd name="connsiteX6890" fmla="*/ 2407034 w 9586368"/>
              <a:gd name="connsiteY6890" fmla="*/ 1440038 h 6479439"/>
              <a:gd name="connsiteX6891" fmla="*/ 2407034 w 9586368"/>
              <a:gd name="connsiteY6891" fmla="*/ 1449910 h 6479439"/>
              <a:gd name="connsiteX6892" fmla="*/ 2403015 w 9586368"/>
              <a:gd name="connsiteY6892" fmla="*/ 1453949 h 6479439"/>
              <a:gd name="connsiteX6893" fmla="*/ 2393104 w 9586368"/>
              <a:gd name="connsiteY6893" fmla="*/ 1453949 h 6479439"/>
              <a:gd name="connsiteX6894" fmla="*/ 2389087 w 9586368"/>
              <a:gd name="connsiteY6894" fmla="*/ 1449910 h 6479439"/>
              <a:gd name="connsiteX6895" fmla="*/ 2389087 w 9586368"/>
              <a:gd name="connsiteY6895" fmla="*/ 1440038 h 6479439"/>
              <a:gd name="connsiteX6896" fmla="*/ 3350359 w 9586368"/>
              <a:gd name="connsiteY6896" fmla="*/ 1436000 h 6479439"/>
              <a:gd name="connsiteX6897" fmla="*/ 3360268 w 9586368"/>
              <a:gd name="connsiteY6897" fmla="*/ 1436000 h 6479439"/>
              <a:gd name="connsiteX6898" fmla="*/ 3364287 w 9586368"/>
              <a:gd name="connsiteY6898" fmla="*/ 1440038 h 6479439"/>
              <a:gd name="connsiteX6899" fmla="*/ 3364287 w 9586368"/>
              <a:gd name="connsiteY6899" fmla="*/ 1449909 h 6479439"/>
              <a:gd name="connsiteX6900" fmla="*/ 3360268 w 9586368"/>
              <a:gd name="connsiteY6900" fmla="*/ 1453949 h 6479439"/>
              <a:gd name="connsiteX6901" fmla="*/ 3350359 w 9586368"/>
              <a:gd name="connsiteY6901" fmla="*/ 1453949 h 6479439"/>
              <a:gd name="connsiteX6902" fmla="*/ 3346340 w 9586368"/>
              <a:gd name="connsiteY6902" fmla="*/ 1449909 h 6479439"/>
              <a:gd name="connsiteX6903" fmla="*/ 3346340 w 9586368"/>
              <a:gd name="connsiteY6903" fmla="*/ 1440038 h 6479439"/>
              <a:gd name="connsiteX6904" fmla="*/ 3111048 w 9586368"/>
              <a:gd name="connsiteY6904" fmla="*/ 1436000 h 6479439"/>
              <a:gd name="connsiteX6905" fmla="*/ 3120959 w 9586368"/>
              <a:gd name="connsiteY6905" fmla="*/ 1436000 h 6479439"/>
              <a:gd name="connsiteX6906" fmla="*/ 3124977 w 9586368"/>
              <a:gd name="connsiteY6906" fmla="*/ 1440038 h 6479439"/>
              <a:gd name="connsiteX6907" fmla="*/ 3124977 w 9586368"/>
              <a:gd name="connsiteY6907" fmla="*/ 1449910 h 6479439"/>
              <a:gd name="connsiteX6908" fmla="*/ 3120959 w 9586368"/>
              <a:gd name="connsiteY6908" fmla="*/ 1453949 h 6479439"/>
              <a:gd name="connsiteX6909" fmla="*/ 3111048 w 9586368"/>
              <a:gd name="connsiteY6909" fmla="*/ 1453949 h 6479439"/>
              <a:gd name="connsiteX6910" fmla="*/ 3107029 w 9586368"/>
              <a:gd name="connsiteY6910" fmla="*/ 1449910 h 6479439"/>
              <a:gd name="connsiteX6911" fmla="*/ 3107029 w 9586368"/>
              <a:gd name="connsiteY6911" fmla="*/ 1440038 h 6479439"/>
              <a:gd name="connsiteX6912" fmla="*/ 2871737 w 9586368"/>
              <a:gd name="connsiteY6912" fmla="*/ 1436000 h 6479439"/>
              <a:gd name="connsiteX6913" fmla="*/ 2881646 w 9586368"/>
              <a:gd name="connsiteY6913" fmla="*/ 1436000 h 6479439"/>
              <a:gd name="connsiteX6914" fmla="*/ 2885666 w 9586368"/>
              <a:gd name="connsiteY6914" fmla="*/ 1440038 h 6479439"/>
              <a:gd name="connsiteX6915" fmla="*/ 2885666 w 9586368"/>
              <a:gd name="connsiteY6915" fmla="*/ 1449910 h 6479439"/>
              <a:gd name="connsiteX6916" fmla="*/ 2881646 w 9586368"/>
              <a:gd name="connsiteY6916" fmla="*/ 1453949 h 6479439"/>
              <a:gd name="connsiteX6917" fmla="*/ 2871737 w 9586368"/>
              <a:gd name="connsiteY6917" fmla="*/ 1453949 h 6479439"/>
              <a:gd name="connsiteX6918" fmla="*/ 2867717 w 9586368"/>
              <a:gd name="connsiteY6918" fmla="*/ 1449910 h 6479439"/>
              <a:gd name="connsiteX6919" fmla="*/ 2867717 w 9586368"/>
              <a:gd name="connsiteY6919" fmla="*/ 1440038 h 6479439"/>
              <a:gd name="connsiteX6920" fmla="*/ 2632423 w 9586368"/>
              <a:gd name="connsiteY6920" fmla="*/ 1436000 h 6479439"/>
              <a:gd name="connsiteX6921" fmla="*/ 2642334 w 9586368"/>
              <a:gd name="connsiteY6921" fmla="*/ 1436000 h 6479439"/>
              <a:gd name="connsiteX6922" fmla="*/ 2646352 w 9586368"/>
              <a:gd name="connsiteY6922" fmla="*/ 1440038 h 6479439"/>
              <a:gd name="connsiteX6923" fmla="*/ 2646352 w 9586368"/>
              <a:gd name="connsiteY6923" fmla="*/ 1449910 h 6479439"/>
              <a:gd name="connsiteX6924" fmla="*/ 2642334 w 9586368"/>
              <a:gd name="connsiteY6924" fmla="*/ 1453949 h 6479439"/>
              <a:gd name="connsiteX6925" fmla="*/ 2632423 w 9586368"/>
              <a:gd name="connsiteY6925" fmla="*/ 1453949 h 6479439"/>
              <a:gd name="connsiteX6926" fmla="*/ 2628404 w 9586368"/>
              <a:gd name="connsiteY6926" fmla="*/ 1449910 h 6479439"/>
              <a:gd name="connsiteX6927" fmla="*/ 2628404 w 9586368"/>
              <a:gd name="connsiteY6927" fmla="*/ 1440038 h 6479439"/>
              <a:gd name="connsiteX6928" fmla="*/ 3589676 w 9586368"/>
              <a:gd name="connsiteY6928" fmla="*/ 1435986 h 6479439"/>
              <a:gd name="connsiteX6929" fmla="*/ 3599585 w 9586368"/>
              <a:gd name="connsiteY6929" fmla="*/ 1435986 h 6479439"/>
              <a:gd name="connsiteX6930" fmla="*/ 3603604 w 9586368"/>
              <a:gd name="connsiteY6930" fmla="*/ 1440024 h 6479439"/>
              <a:gd name="connsiteX6931" fmla="*/ 3603604 w 9586368"/>
              <a:gd name="connsiteY6931" fmla="*/ 1449895 h 6479439"/>
              <a:gd name="connsiteX6932" fmla="*/ 3599585 w 9586368"/>
              <a:gd name="connsiteY6932" fmla="*/ 1453934 h 6479439"/>
              <a:gd name="connsiteX6933" fmla="*/ 3589676 w 9586368"/>
              <a:gd name="connsiteY6933" fmla="*/ 1453934 h 6479439"/>
              <a:gd name="connsiteX6934" fmla="*/ 3585657 w 9586368"/>
              <a:gd name="connsiteY6934" fmla="*/ 1449895 h 6479439"/>
              <a:gd name="connsiteX6935" fmla="*/ 3585657 w 9586368"/>
              <a:gd name="connsiteY6935" fmla="*/ 1440024 h 6479439"/>
              <a:gd name="connsiteX6936" fmla="*/ 4546929 w 9586368"/>
              <a:gd name="connsiteY6936" fmla="*/ 1435986 h 6479439"/>
              <a:gd name="connsiteX6937" fmla="*/ 4556840 w 9586368"/>
              <a:gd name="connsiteY6937" fmla="*/ 1435986 h 6479439"/>
              <a:gd name="connsiteX6938" fmla="*/ 4560859 w 9586368"/>
              <a:gd name="connsiteY6938" fmla="*/ 1440024 h 6479439"/>
              <a:gd name="connsiteX6939" fmla="*/ 4560859 w 9586368"/>
              <a:gd name="connsiteY6939" fmla="*/ 1449895 h 6479439"/>
              <a:gd name="connsiteX6940" fmla="*/ 4556840 w 9586368"/>
              <a:gd name="connsiteY6940" fmla="*/ 1453934 h 6479439"/>
              <a:gd name="connsiteX6941" fmla="*/ 4546929 w 9586368"/>
              <a:gd name="connsiteY6941" fmla="*/ 1453934 h 6479439"/>
              <a:gd name="connsiteX6942" fmla="*/ 4542910 w 9586368"/>
              <a:gd name="connsiteY6942" fmla="*/ 1449895 h 6479439"/>
              <a:gd name="connsiteX6943" fmla="*/ 4542910 w 9586368"/>
              <a:gd name="connsiteY6943" fmla="*/ 1440024 h 6479439"/>
              <a:gd name="connsiteX6944" fmla="*/ 4307612 w 9586368"/>
              <a:gd name="connsiteY6944" fmla="*/ 1435986 h 6479439"/>
              <a:gd name="connsiteX6945" fmla="*/ 4317523 w 9586368"/>
              <a:gd name="connsiteY6945" fmla="*/ 1435986 h 6479439"/>
              <a:gd name="connsiteX6946" fmla="*/ 4321543 w 9586368"/>
              <a:gd name="connsiteY6946" fmla="*/ 1440024 h 6479439"/>
              <a:gd name="connsiteX6947" fmla="*/ 4321543 w 9586368"/>
              <a:gd name="connsiteY6947" fmla="*/ 1449895 h 6479439"/>
              <a:gd name="connsiteX6948" fmla="*/ 4317523 w 9586368"/>
              <a:gd name="connsiteY6948" fmla="*/ 1453934 h 6479439"/>
              <a:gd name="connsiteX6949" fmla="*/ 4307612 w 9586368"/>
              <a:gd name="connsiteY6949" fmla="*/ 1453934 h 6479439"/>
              <a:gd name="connsiteX6950" fmla="*/ 4303595 w 9586368"/>
              <a:gd name="connsiteY6950" fmla="*/ 1449895 h 6479439"/>
              <a:gd name="connsiteX6951" fmla="*/ 4303595 w 9586368"/>
              <a:gd name="connsiteY6951" fmla="*/ 1440024 h 6479439"/>
              <a:gd name="connsiteX6952" fmla="*/ 4068297 w 9586368"/>
              <a:gd name="connsiteY6952" fmla="*/ 1435986 h 6479439"/>
              <a:gd name="connsiteX6953" fmla="*/ 4078210 w 9586368"/>
              <a:gd name="connsiteY6953" fmla="*/ 1435986 h 6479439"/>
              <a:gd name="connsiteX6954" fmla="*/ 4082229 w 9586368"/>
              <a:gd name="connsiteY6954" fmla="*/ 1440024 h 6479439"/>
              <a:gd name="connsiteX6955" fmla="*/ 4082229 w 9586368"/>
              <a:gd name="connsiteY6955" fmla="*/ 1449895 h 6479439"/>
              <a:gd name="connsiteX6956" fmla="*/ 4078210 w 9586368"/>
              <a:gd name="connsiteY6956" fmla="*/ 1453934 h 6479439"/>
              <a:gd name="connsiteX6957" fmla="*/ 4068297 w 9586368"/>
              <a:gd name="connsiteY6957" fmla="*/ 1453934 h 6479439"/>
              <a:gd name="connsiteX6958" fmla="*/ 4064278 w 9586368"/>
              <a:gd name="connsiteY6958" fmla="*/ 1449895 h 6479439"/>
              <a:gd name="connsiteX6959" fmla="*/ 4064278 w 9586368"/>
              <a:gd name="connsiteY6959" fmla="*/ 1440024 h 6479439"/>
              <a:gd name="connsiteX6960" fmla="*/ 3828990 w 9586368"/>
              <a:gd name="connsiteY6960" fmla="*/ 1435986 h 6479439"/>
              <a:gd name="connsiteX6961" fmla="*/ 3838899 w 9586368"/>
              <a:gd name="connsiteY6961" fmla="*/ 1435986 h 6479439"/>
              <a:gd name="connsiteX6962" fmla="*/ 3842917 w 9586368"/>
              <a:gd name="connsiteY6962" fmla="*/ 1440024 h 6479439"/>
              <a:gd name="connsiteX6963" fmla="*/ 3842917 w 9586368"/>
              <a:gd name="connsiteY6963" fmla="*/ 1449895 h 6479439"/>
              <a:gd name="connsiteX6964" fmla="*/ 3838899 w 9586368"/>
              <a:gd name="connsiteY6964" fmla="*/ 1453934 h 6479439"/>
              <a:gd name="connsiteX6965" fmla="*/ 3828990 w 9586368"/>
              <a:gd name="connsiteY6965" fmla="*/ 1453934 h 6479439"/>
              <a:gd name="connsiteX6966" fmla="*/ 3824971 w 9586368"/>
              <a:gd name="connsiteY6966" fmla="*/ 1449895 h 6479439"/>
              <a:gd name="connsiteX6967" fmla="*/ 3824971 w 9586368"/>
              <a:gd name="connsiteY6967" fmla="*/ 1440024 h 6479439"/>
              <a:gd name="connsiteX6968" fmla="*/ 4786241 w 9586368"/>
              <a:gd name="connsiteY6968" fmla="*/ 1435972 h 6479439"/>
              <a:gd name="connsiteX6969" fmla="*/ 4796152 w 9586368"/>
              <a:gd name="connsiteY6969" fmla="*/ 1435972 h 6479439"/>
              <a:gd name="connsiteX6970" fmla="*/ 4800171 w 9586368"/>
              <a:gd name="connsiteY6970" fmla="*/ 1440010 h 6479439"/>
              <a:gd name="connsiteX6971" fmla="*/ 4800171 w 9586368"/>
              <a:gd name="connsiteY6971" fmla="*/ 1449881 h 6479439"/>
              <a:gd name="connsiteX6972" fmla="*/ 4796152 w 9586368"/>
              <a:gd name="connsiteY6972" fmla="*/ 1453920 h 6479439"/>
              <a:gd name="connsiteX6973" fmla="*/ 4786241 w 9586368"/>
              <a:gd name="connsiteY6973" fmla="*/ 1453920 h 6479439"/>
              <a:gd name="connsiteX6974" fmla="*/ 4782224 w 9586368"/>
              <a:gd name="connsiteY6974" fmla="*/ 1449881 h 6479439"/>
              <a:gd name="connsiteX6975" fmla="*/ 4782224 w 9586368"/>
              <a:gd name="connsiteY6975" fmla="*/ 1440010 h 6479439"/>
              <a:gd name="connsiteX6976" fmla="*/ 5743412 w 9586368"/>
              <a:gd name="connsiteY6976" fmla="*/ 1435971 h 6479439"/>
              <a:gd name="connsiteX6977" fmla="*/ 5753323 w 9586368"/>
              <a:gd name="connsiteY6977" fmla="*/ 1435971 h 6479439"/>
              <a:gd name="connsiteX6978" fmla="*/ 5757342 w 9586368"/>
              <a:gd name="connsiteY6978" fmla="*/ 1440010 h 6479439"/>
              <a:gd name="connsiteX6979" fmla="*/ 5757342 w 9586368"/>
              <a:gd name="connsiteY6979" fmla="*/ 1449880 h 6479439"/>
              <a:gd name="connsiteX6980" fmla="*/ 5753323 w 9586368"/>
              <a:gd name="connsiteY6980" fmla="*/ 1453919 h 6479439"/>
              <a:gd name="connsiteX6981" fmla="*/ 5743412 w 9586368"/>
              <a:gd name="connsiteY6981" fmla="*/ 1453919 h 6479439"/>
              <a:gd name="connsiteX6982" fmla="*/ 5739393 w 9586368"/>
              <a:gd name="connsiteY6982" fmla="*/ 1449880 h 6479439"/>
              <a:gd name="connsiteX6983" fmla="*/ 5739393 w 9586368"/>
              <a:gd name="connsiteY6983" fmla="*/ 1440010 h 6479439"/>
              <a:gd name="connsiteX6984" fmla="*/ 5504099 w 9586368"/>
              <a:gd name="connsiteY6984" fmla="*/ 1435971 h 6479439"/>
              <a:gd name="connsiteX6985" fmla="*/ 5514010 w 9586368"/>
              <a:gd name="connsiteY6985" fmla="*/ 1435971 h 6479439"/>
              <a:gd name="connsiteX6986" fmla="*/ 5518029 w 9586368"/>
              <a:gd name="connsiteY6986" fmla="*/ 1440010 h 6479439"/>
              <a:gd name="connsiteX6987" fmla="*/ 5518029 w 9586368"/>
              <a:gd name="connsiteY6987" fmla="*/ 1449881 h 6479439"/>
              <a:gd name="connsiteX6988" fmla="*/ 5514010 w 9586368"/>
              <a:gd name="connsiteY6988" fmla="*/ 1453919 h 6479439"/>
              <a:gd name="connsiteX6989" fmla="*/ 5504099 w 9586368"/>
              <a:gd name="connsiteY6989" fmla="*/ 1453919 h 6479439"/>
              <a:gd name="connsiteX6990" fmla="*/ 5500080 w 9586368"/>
              <a:gd name="connsiteY6990" fmla="*/ 1449881 h 6479439"/>
              <a:gd name="connsiteX6991" fmla="*/ 5500080 w 9586368"/>
              <a:gd name="connsiteY6991" fmla="*/ 1440010 h 6479439"/>
              <a:gd name="connsiteX6992" fmla="*/ 5264784 w 9586368"/>
              <a:gd name="connsiteY6992" fmla="*/ 1435971 h 6479439"/>
              <a:gd name="connsiteX6993" fmla="*/ 5274694 w 9586368"/>
              <a:gd name="connsiteY6993" fmla="*/ 1435971 h 6479439"/>
              <a:gd name="connsiteX6994" fmla="*/ 5278713 w 9586368"/>
              <a:gd name="connsiteY6994" fmla="*/ 1440010 h 6479439"/>
              <a:gd name="connsiteX6995" fmla="*/ 5278713 w 9586368"/>
              <a:gd name="connsiteY6995" fmla="*/ 1449881 h 6479439"/>
              <a:gd name="connsiteX6996" fmla="*/ 5274694 w 9586368"/>
              <a:gd name="connsiteY6996" fmla="*/ 1453920 h 6479439"/>
              <a:gd name="connsiteX6997" fmla="*/ 5264784 w 9586368"/>
              <a:gd name="connsiteY6997" fmla="*/ 1453920 h 6479439"/>
              <a:gd name="connsiteX6998" fmla="*/ 5260765 w 9586368"/>
              <a:gd name="connsiteY6998" fmla="*/ 1449881 h 6479439"/>
              <a:gd name="connsiteX6999" fmla="*/ 5260765 w 9586368"/>
              <a:gd name="connsiteY6999" fmla="*/ 1440010 h 6479439"/>
              <a:gd name="connsiteX7000" fmla="*/ 5025470 w 9586368"/>
              <a:gd name="connsiteY7000" fmla="*/ 1435971 h 6479439"/>
              <a:gd name="connsiteX7001" fmla="*/ 5035381 w 9586368"/>
              <a:gd name="connsiteY7001" fmla="*/ 1435971 h 6479439"/>
              <a:gd name="connsiteX7002" fmla="*/ 5039400 w 9586368"/>
              <a:gd name="connsiteY7002" fmla="*/ 1440010 h 6479439"/>
              <a:gd name="connsiteX7003" fmla="*/ 5039400 w 9586368"/>
              <a:gd name="connsiteY7003" fmla="*/ 1449881 h 6479439"/>
              <a:gd name="connsiteX7004" fmla="*/ 5035381 w 9586368"/>
              <a:gd name="connsiteY7004" fmla="*/ 1453920 h 6479439"/>
              <a:gd name="connsiteX7005" fmla="*/ 5025470 w 9586368"/>
              <a:gd name="connsiteY7005" fmla="*/ 1453920 h 6479439"/>
              <a:gd name="connsiteX7006" fmla="*/ 5021451 w 9586368"/>
              <a:gd name="connsiteY7006" fmla="*/ 1449881 h 6479439"/>
              <a:gd name="connsiteX7007" fmla="*/ 5021451 w 9586368"/>
              <a:gd name="connsiteY7007" fmla="*/ 1440010 h 6479439"/>
              <a:gd name="connsiteX7008" fmla="*/ 5982729 w 9586368"/>
              <a:gd name="connsiteY7008" fmla="*/ 1435958 h 6479439"/>
              <a:gd name="connsiteX7009" fmla="*/ 5992639 w 9586368"/>
              <a:gd name="connsiteY7009" fmla="*/ 1435958 h 6479439"/>
              <a:gd name="connsiteX7010" fmla="*/ 5996658 w 9586368"/>
              <a:gd name="connsiteY7010" fmla="*/ 1439995 h 6479439"/>
              <a:gd name="connsiteX7011" fmla="*/ 5996658 w 9586368"/>
              <a:gd name="connsiteY7011" fmla="*/ 1449866 h 6479439"/>
              <a:gd name="connsiteX7012" fmla="*/ 5992639 w 9586368"/>
              <a:gd name="connsiteY7012" fmla="*/ 1453905 h 6479439"/>
              <a:gd name="connsiteX7013" fmla="*/ 5982729 w 9586368"/>
              <a:gd name="connsiteY7013" fmla="*/ 1453905 h 6479439"/>
              <a:gd name="connsiteX7014" fmla="*/ 5978710 w 9586368"/>
              <a:gd name="connsiteY7014" fmla="*/ 1449866 h 6479439"/>
              <a:gd name="connsiteX7015" fmla="*/ 5978710 w 9586368"/>
              <a:gd name="connsiteY7015" fmla="*/ 1439995 h 6479439"/>
              <a:gd name="connsiteX7016" fmla="*/ 6939983 w 9586368"/>
              <a:gd name="connsiteY7016" fmla="*/ 1435956 h 6479439"/>
              <a:gd name="connsiteX7017" fmla="*/ 6949894 w 9586368"/>
              <a:gd name="connsiteY7017" fmla="*/ 1435956 h 6479439"/>
              <a:gd name="connsiteX7018" fmla="*/ 6953913 w 9586368"/>
              <a:gd name="connsiteY7018" fmla="*/ 1439995 h 6479439"/>
              <a:gd name="connsiteX7019" fmla="*/ 6953913 w 9586368"/>
              <a:gd name="connsiteY7019" fmla="*/ 1449865 h 6479439"/>
              <a:gd name="connsiteX7020" fmla="*/ 6949894 w 9586368"/>
              <a:gd name="connsiteY7020" fmla="*/ 1453905 h 6479439"/>
              <a:gd name="connsiteX7021" fmla="*/ 6939983 w 9586368"/>
              <a:gd name="connsiteY7021" fmla="*/ 1453905 h 6479439"/>
              <a:gd name="connsiteX7022" fmla="*/ 6935964 w 9586368"/>
              <a:gd name="connsiteY7022" fmla="*/ 1449865 h 6479439"/>
              <a:gd name="connsiteX7023" fmla="*/ 6935964 w 9586368"/>
              <a:gd name="connsiteY7023" fmla="*/ 1439995 h 6479439"/>
              <a:gd name="connsiteX7024" fmla="*/ 6700670 w 9586368"/>
              <a:gd name="connsiteY7024" fmla="*/ 1435956 h 6479439"/>
              <a:gd name="connsiteX7025" fmla="*/ 6710581 w 9586368"/>
              <a:gd name="connsiteY7025" fmla="*/ 1435956 h 6479439"/>
              <a:gd name="connsiteX7026" fmla="*/ 6714600 w 9586368"/>
              <a:gd name="connsiteY7026" fmla="*/ 1439995 h 6479439"/>
              <a:gd name="connsiteX7027" fmla="*/ 6714600 w 9586368"/>
              <a:gd name="connsiteY7027" fmla="*/ 1449866 h 6479439"/>
              <a:gd name="connsiteX7028" fmla="*/ 6710581 w 9586368"/>
              <a:gd name="connsiteY7028" fmla="*/ 1453905 h 6479439"/>
              <a:gd name="connsiteX7029" fmla="*/ 6700670 w 9586368"/>
              <a:gd name="connsiteY7029" fmla="*/ 1453905 h 6479439"/>
              <a:gd name="connsiteX7030" fmla="*/ 6696651 w 9586368"/>
              <a:gd name="connsiteY7030" fmla="*/ 1449866 h 6479439"/>
              <a:gd name="connsiteX7031" fmla="*/ 6696651 w 9586368"/>
              <a:gd name="connsiteY7031" fmla="*/ 1439995 h 6479439"/>
              <a:gd name="connsiteX7032" fmla="*/ 6461356 w 9586368"/>
              <a:gd name="connsiteY7032" fmla="*/ 1435956 h 6479439"/>
              <a:gd name="connsiteX7033" fmla="*/ 6471266 w 9586368"/>
              <a:gd name="connsiteY7033" fmla="*/ 1435956 h 6479439"/>
              <a:gd name="connsiteX7034" fmla="*/ 6475285 w 9586368"/>
              <a:gd name="connsiteY7034" fmla="*/ 1439995 h 6479439"/>
              <a:gd name="connsiteX7035" fmla="*/ 6475285 w 9586368"/>
              <a:gd name="connsiteY7035" fmla="*/ 1449866 h 6479439"/>
              <a:gd name="connsiteX7036" fmla="*/ 6471266 w 9586368"/>
              <a:gd name="connsiteY7036" fmla="*/ 1453905 h 6479439"/>
              <a:gd name="connsiteX7037" fmla="*/ 6461356 w 9586368"/>
              <a:gd name="connsiteY7037" fmla="*/ 1453905 h 6479439"/>
              <a:gd name="connsiteX7038" fmla="*/ 6457337 w 9586368"/>
              <a:gd name="connsiteY7038" fmla="*/ 1449866 h 6479439"/>
              <a:gd name="connsiteX7039" fmla="*/ 6457337 w 9586368"/>
              <a:gd name="connsiteY7039" fmla="*/ 1439995 h 6479439"/>
              <a:gd name="connsiteX7040" fmla="*/ 6222042 w 9586368"/>
              <a:gd name="connsiteY7040" fmla="*/ 1435956 h 6479439"/>
              <a:gd name="connsiteX7041" fmla="*/ 6231952 w 9586368"/>
              <a:gd name="connsiteY7041" fmla="*/ 1435956 h 6479439"/>
              <a:gd name="connsiteX7042" fmla="*/ 6235971 w 9586368"/>
              <a:gd name="connsiteY7042" fmla="*/ 1439995 h 6479439"/>
              <a:gd name="connsiteX7043" fmla="*/ 6235971 w 9586368"/>
              <a:gd name="connsiteY7043" fmla="*/ 1449866 h 6479439"/>
              <a:gd name="connsiteX7044" fmla="*/ 6231952 w 9586368"/>
              <a:gd name="connsiteY7044" fmla="*/ 1453905 h 6479439"/>
              <a:gd name="connsiteX7045" fmla="*/ 6222042 w 9586368"/>
              <a:gd name="connsiteY7045" fmla="*/ 1453905 h 6479439"/>
              <a:gd name="connsiteX7046" fmla="*/ 6218023 w 9586368"/>
              <a:gd name="connsiteY7046" fmla="*/ 1449866 h 6479439"/>
              <a:gd name="connsiteX7047" fmla="*/ 6218023 w 9586368"/>
              <a:gd name="connsiteY7047" fmla="*/ 1439995 h 6479439"/>
              <a:gd name="connsiteX7048" fmla="*/ 7179298 w 9586368"/>
              <a:gd name="connsiteY7048" fmla="*/ 1435943 h 6479439"/>
              <a:gd name="connsiteX7049" fmla="*/ 7189209 w 9586368"/>
              <a:gd name="connsiteY7049" fmla="*/ 1435943 h 6479439"/>
              <a:gd name="connsiteX7050" fmla="*/ 7193228 w 9586368"/>
              <a:gd name="connsiteY7050" fmla="*/ 1439981 h 6479439"/>
              <a:gd name="connsiteX7051" fmla="*/ 7193228 w 9586368"/>
              <a:gd name="connsiteY7051" fmla="*/ 1449852 h 6479439"/>
              <a:gd name="connsiteX7052" fmla="*/ 7189209 w 9586368"/>
              <a:gd name="connsiteY7052" fmla="*/ 1453891 h 6479439"/>
              <a:gd name="connsiteX7053" fmla="*/ 7179298 w 9586368"/>
              <a:gd name="connsiteY7053" fmla="*/ 1453891 h 6479439"/>
              <a:gd name="connsiteX7054" fmla="*/ 7175279 w 9586368"/>
              <a:gd name="connsiteY7054" fmla="*/ 1449852 h 6479439"/>
              <a:gd name="connsiteX7055" fmla="*/ 7175279 w 9586368"/>
              <a:gd name="connsiteY7055" fmla="*/ 1439981 h 6479439"/>
              <a:gd name="connsiteX7056" fmla="*/ 8136553 w 9586368"/>
              <a:gd name="connsiteY7056" fmla="*/ 1435943 h 6479439"/>
              <a:gd name="connsiteX7057" fmla="*/ 8146464 w 9586368"/>
              <a:gd name="connsiteY7057" fmla="*/ 1435943 h 6479439"/>
              <a:gd name="connsiteX7058" fmla="*/ 8150483 w 9586368"/>
              <a:gd name="connsiteY7058" fmla="*/ 1439980 h 6479439"/>
              <a:gd name="connsiteX7059" fmla="*/ 8150483 w 9586368"/>
              <a:gd name="connsiteY7059" fmla="*/ 1449851 h 6479439"/>
              <a:gd name="connsiteX7060" fmla="*/ 8146464 w 9586368"/>
              <a:gd name="connsiteY7060" fmla="*/ 1453890 h 6479439"/>
              <a:gd name="connsiteX7061" fmla="*/ 8136553 w 9586368"/>
              <a:gd name="connsiteY7061" fmla="*/ 1453890 h 6479439"/>
              <a:gd name="connsiteX7062" fmla="*/ 8132534 w 9586368"/>
              <a:gd name="connsiteY7062" fmla="*/ 1449851 h 6479439"/>
              <a:gd name="connsiteX7063" fmla="*/ 8132534 w 9586368"/>
              <a:gd name="connsiteY7063" fmla="*/ 1439980 h 6479439"/>
              <a:gd name="connsiteX7064" fmla="*/ 7897241 w 9586368"/>
              <a:gd name="connsiteY7064" fmla="*/ 1435943 h 6479439"/>
              <a:gd name="connsiteX7065" fmla="*/ 7907151 w 9586368"/>
              <a:gd name="connsiteY7065" fmla="*/ 1435943 h 6479439"/>
              <a:gd name="connsiteX7066" fmla="*/ 7911170 w 9586368"/>
              <a:gd name="connsiteY7066" fmla="*/ 1439980 h 6479439"/>
              <a:gd name="connsiteX7067" fmla="*/ 7911170 w 9586368"/>
              <a:gd name="connsiteY7067" fmla="*/ 1449852 h 6479439"/>
              <a:gd name="connsiteX7068" fmla="*/ 7907151 w 9586368"/>
              <a:gd name="connsiteY7068" fmla="*/ 1453890 h 6479439"/>
              <a:gd name="connsiteX7069" fmla="*/ 7897241 w 9586368"/>
              <a:gd name="connsiteY7069" fmla="*/ 1453890 h 6479439"/>
              <a:gd name="connsiteX7070" fmla="*/ 7893222 w 9586368"/>
              <a:gd name="connsiteY7070" fmla="*/ 1449852 h 6479439"/>
              <a:gd name="connsiteX7071" fmla="*/ 7893222 w 9586368"/>
              <a:gd name="connsiteY7071" fmla="*/ 1439980 h 6479439"/>
              <a:gd name="connsiteX7072" fmla="*/ 7657926 w 9586368"/>
              <a:gd name="connsiteY7072" fmla="*/ 1435943 h 6479439"/>
              <a:gd name="connsiteX7073" fmla="*/ 7667836 w 9586368"/>
              <a:gd name="connsiteY7073" fmla="*/ 1435943 h 6479439"/>
              <a:gd name="connsiteX7074" fmla="*/ 7671855 w 9586368"/>
              <a:gd name="connsiteY7074" fmla="*/ 1439980 h 6479439"/>
              <a:gd name="connsiteX7075" fmla="*/ 7671855 w 9586368"/>
              <a:gd name="connsiteY7075" fmla="*/ 1449852 h 6479439"/>
              <a:gd name="connsiteX7076" fmla="*/ 7667836 w 9586368"/>
              <a:gd name="connsiteY7076" fmla="*/ 1453891 h 6479439"/>
              <a:gd name="connsiteX7077" fmla="*/ 7657926 w 9586368"/>
              <a:gd name="connsiteY7077" fmla="*/ 1453891 h 6479439"/>
              <a:gd name="connsiteX7078" fmla="*/ 7653906 w 9586368"/>
              <a:gd name="connsiteY7078" fmla="*/ 1449852 h 6479439"/>
              <a:gd name="connsiteX7079" fmla="*/ 7653906 w 9586368"/>
              <a:gd name="connsiteY7079" fmla="*/ 1439980 h 6479439"/>
              <a:gd name="connsiteX7080" fmla="*/ 7418611 w 9586368"/>
              <a:gd name="connsiteY7080" fmla="*/ 1435943 h 6479439"/>
              <a:gd name="connsiteX7081" fmla="*/ 7428521 w 9586368"/>
              <a:gd name="connsiteY7081" fmla="*/ 1435943 h 6479439"/>
              <a:gd name="connsiteX7082" fmla="*/ 7432540 w 9586368"/>
              <a:gd name="connsiteY7082" fmla="*/ 1439980 h 6479439"/>
              <a:gd name="connsiteX7083" fmla="*/ 7432540 w 9586368"/>
              <a:gd name="connsiteY7083" fmla="*/ 1449852 h 6479439"/>
              <a:gd name="connsiteX7084" fmla="*/ 7428521 w 9586368"/>
              <a:gd name="connsiteY7084" fmla="*/ 1453891 h 6479439"/>
              <a:gd name="connsiteX7085" fmla="*/ 7418611 w 9586368"/>
              <a:gd name="connsiteY7085" fmla="*/ 1453891 h 6479439"/>
              <a:gd name="connsiteX7086" fmla="*/ 7414592 w 9586368"/>
              <a:gd name="connsiteY7086" fmla="*/ 1449852 h 6479439"/>
              <a:gd name="connsiteX7087" fmla="*/ 7414592 w 9586368"/>
              <a:gd name="connsiteY7087" fmla="*/ 1439980 h 6479439"/>
              <a:gd name="connsiteX7088" fmla="*/ 8375869 w 9586368"/>
              <a:gd name="connsiteY7088" fmla="*/ 1435928 h 6479439"/>
              <a:gd name="connsiteX7089" fmla="*/ 8385779 w 9586368"/>
              <a:gd name="connsiteY7089" fmla="*/ 1435928 h 6479439"/>
              <a:gd name="connsiteX7090" fmla="*/ 8389799 w 9586368"/>
              <a:gd name="connsiteY7090" fmla="*/ 1439967 h 6479439"/>
              <a:gd name="connsiteX7091" fmla="*/ 8389799 w 9586368"/>
              <a:gd name="connsiteY7091" fmla="*/ 1449837 h 6479439"/>
              <a:gd name="connsiteX7092" fmla="*/ 8385779 w 9586368"/>
              <a:gd name="connsiteY7092" fmla="*/ 1453877 h 6479439"/>
              <a:gd name="connsiteX7093" fmla="*/ 8375869 w 9586368"/>
              <a:gd name="connsiteY7093" fmla="*/ 1453877 h 6479439"/>
              <a:gd name="connsiteX7094" fmla="*/ 8371850 w 9586368"/>
              <a:gd name="connsiteY7094" fmla="*/ 1449837 h 6479439"/>
              <a:gd name="connsiteX7095" fmla="*/ 8371850 w 9586368"/>
              <a:gd name="connsiteY7095" fmla="*/ 1439967 h 6479439"/>
              <a:gd name="connsiteX7096" fmla="*/ 9333125 w 9586368"/>
              <a:gd name="connsiteY7096" fmla="*/ 1435928 h 6479439"/>
              <a:gd name="connsiteX7097" fmla="*/ 9343036 w 9586368"/>
              <a:gd name="connsiteY7097" fmla="*/ 1435928 h 6479439"/>
              <a:gd name="connsiteX7098" fmla="*/ 9347055 w 9586368"/>
              <a:gd name="connsiteY7098" fmla="*/ 1439967 h 6479439"/>
              <a:gd name="connsiteX7099" fmla="*/ 9347055 w 9586368"/>
              <a:gd name="connsiteY7099" fmla="*/ 1449836 h 6479439"/>
              <a:gd name="connsiteX7100" fmla="*/ 9343036 w 9586368"/>
              <a:gd name="connsiteY7100" fmla="*/ 1453876 h 6479439"/>
              <a:gd name="connsiteX7101" fmla="*/ 9333125 w 9586368"/>
              <a:gd name="connsiteY7101" fmla="*/ 1453876 h 6479439"/>
              <a:gd name="connsiteX7102" fmla="*/ 9329106 w 9586368"/>
              <a:gd name="connsiteY7102" fmla="*/ 1449836 h 6479439"/>
              <a:gd name="connsiteX7103" fmla="*/ 9329106 w 9586368"/>
              <a:gd name="connsiteY7103" fmla="*/ 1439967 h 6479439"/>
              <a:gd name="connsiteX7104" fmla="*/ 9093811 w 9586368"/>
              <a:gd name="connsiteY7104" fmla="*/ 1435928 h 6479439"/>
              <a:gd name="connsiteX7105" fmla="*/ 9103722 w 9586368"/>
              <a:gd name="connsiteY7105" fmla="*/ 1435928 h 6479439"/>
              <a:gd name="connsiteX7106" fmla="*/ 9107741 w 9586368"/>
              <a:gd name="connsiteY7106" fmla="*/ 1439967 h 6479439"/>
              <a:gd name="connsiteX7107" fmla="*/ 9107741 w 9586368"/>
              <a:gd name="connsiteY7107" fmla="*/ 1449837 h 6479439"/>
              <a:gd name="connsiteX7108" fmla="*/ 9103722 w 9586368"/>
              <a:gd name="connsiteY7108" fmla="*/ 1453876 h 6479439"/>
              <a:gd name="connsiteX7109" fmla="*/ 9093811 w 9586368"/>
              <a:gd name="connsiteY7109" fmla="*/ 1453876 h 6479439"/>
              <a:gd name="connsiteX7110" fmla="*/ 9089792 w 9586368"/>
              <a:gd name="connsiteY7110" fmla="*/ 1449837 h 6479439"/>
              <a:gd name="connsiteX7111" fmla="*/ 9089792 w 9586368"/>
              <a:gd name="connsiteY7111" fmla="*/ 1439967 h 6479439"/>
              <a:gd name="connsiteX7112" fmla="*/ 8854496 w 9586368"/>
              <a:gd name="connsiteY7112" fmla="*/ 1435928 h 6479439"/>
              <a:gd name="connsiteX7113" fmla="*/ 8864407 w 9586368"/>
              <a:gd name="connsiteY7113" fmla="*/ 1435928 h 6479439"/>
              <a:gd name="connsiteX7114" fmla="*/ 8868426 w 9586368"/>
              <a:gd name="connsiteY7114" fmla="*/ 1439967 h 6479439"/>
              <a:gd name="connsiteX7115" fmla="*/ 8868426 w 9586368"/>
              <a:gd name="connsiteY7115" fmla="*/ 1449837 h 6479439"/>
              <a:gd name="connsiteX7116" fmla="*/ 8864407 w 9586368"/>
              <a:gd name="connsiteY7116" fmla="*/ 1453877 h 6479439"/>
              <a:gd name="connsiteX7117" fmla="*/ 8854496 w 9586368"/>
              <a:gd name="connsiteY7117" fmla="*/ 1453877 h 6479439"/>
              <a:gd name="connsiteX7118" fmla="*/ 8850477 w 9586368"/>
              <a:gd name="connsiteY7118" fmla="*/ 1449837 h 6479439"/>
              <a:gd name="connsiteX7119" fmla="*/ 8850477 w 9586368"/>
              <a:gd name="connsiteY7119" fmla="*/ 1439967 h 6479439"/>
              <a:gd name="connsiteX7120" fmla="*/ 8615184 w 9586368"/>
              <a:gd name="connsiteY7120" fmla="*/ 1435928 h 6479439"/>
              <a:gd name="connsiteX7121" fmla="*/ 8625095 w 9586368"/>
              <a:gd name="connsiteY7121" fmla="*/ 1435928 h 6479439"/>
              <a:gd name="connsiteX7122" fmla="*/ 8629114 w 9586368"/>
              <a:gd name="connsiteY7122" fmla="*/ 1439967 h 6479439"/>
              <a:gd name="connsiteX7123" fmla="*/ 8629114 w 9586368"/>
              <a:gd name="connsiteY7123" fmla="*/ 1449837 h 6479439"/>
              <a:gd name="connsiteX7124" fmla="*/ 8625095 w 9586368"/>
              <a:gd name="connsiteY7124" fmla="*/ 1453877 h 6479439"/>
              <a:gd name="connsiteX7125" fmla="*/ 8615184 w 9586368"/>
              <a:gd name="connsiteY7125" fmla="*/ 1453877 h 6479439"/>
              <a:gd name="connsiteX7126" fmla="*/ 8611165 w 9586368"/>
              <a:gd name="connsiteY7126" fmla="*/ 1449837 h 6479439"/>
              <a:gd name="connsiteX7127" fmla="*/ 8611165 w 9586368"/>
              <a:gd name="connsiteY7127" fmla="*/ 1439967 h 6479439"/>
              <a:gd name="connsiteX7128" fmla="*/ 1679216 w 9586368"/>
              <a:gd name="connsiteY7128" fmla="*/ 1435922 h 6479439"/>
              <a:gd name="connsiteX7129" fmla="*/ 1689126 w 9586368"/>
              <a:gd name="connsiteY7129" fmla="*/ 1435922 h 6479439"/>
              <a:gd name="connsiteX7130" fmla="*/ 1693146 w 9586368"/>
              <a:gd name="connsiteY7130" fmla="*/ 1439960 h 6479439"/>
              <a:gd name="connsiteX7131" fmla="*/ 1693146 w 9586368"/>
              <a:gd name="connsiteY7131" fmla="*/ 1449831 h 6479439"/>
              <a:gd name="connsiteX7132" fmla="*/ 1689126 w 9586368"/>
              <a:gd name="connsiteY7132" fmla="*/ 1453870 h 6479439"/>
              <a:gd name="connsiteX7133" fmla="*/ 1679216 w 9586368"/>
              <a:gd name="connsiteY7133" fmla="*/ 1453870 h 6479439"/>
              <a:gd name="connsiteX7134" fmla="*/ 1675198 w 9586368"/>
              <a:gd name="connsiteY7134" fmla="*/ 1449831 h 6479439"/>
              <a:gd name="connsiteX7135" fmla="*/ 1675198 w 9586368"/>
              <a:gd name="connsiteY7135" fmla="*/ 1439960 h 6479439"/>
              <a:gd name="connsiteX7136" fmla="*/ 1439900 w 9586368"/>
              <a:gd name="connsiteY7136" fmla="*/ 1435922 h 6479439"/>
              <a:gd name="connsiteX7137" fmla="*/ 1449810 w 9586368"/>
              <a:gd name="connsiteY7137" fmla="*/ 1435922 h 6479439"/>
              <a:gd name="connsiteX7138" fmla="*/ 1453828 w 9586368"/>
              <a:gd name="connsiteY7138" fmla="*/ 1439960 h 6479439"/>
              <a:gd name="connsiteX7139" fmla="*/ 1453828 w 9586368"/>
              <a:gd name="connsiteY7139" fmla="*/ 1449831 h 6479439"/>
              <a:gd name="connsiteX7140" fmla="*/ 1449810 w 9586368"/>
              <a:gd name="connsiteY7140" fmla="*/ 1453870 h 6479439"/>
              <a:gd name="connsiteX7141" fmla="*/ 1439900 w 9586368"/>
              <a:gd name="connsiteY7141" fmla="*/ 1453870 h 6479439"/>
              <a:gd name="connsiteX7142" fmla="*/ 1435880 w 9586368"/>
              <a:gd name="connsiteY7142" fmla="*/ 1449831 h 6479439"/>
              <a:gd name="connsiteX7143" fmla="*/ 1435880 w 9586368"/>
              <a:gd name="connsiteY7143" fmla="*/ 1439960 h 6479439"/>
              <a:gd name="connsiteX7144" fmla="*/ 1200583 w 9586368"/>
              <a:gd name="connsiteY7144" fmla="*/ 1435922 h 6479439"/>
              <a:gd name="connsiteX7145" fmla="*/ 1210493 w 9586368"/>
              <a:gd name="connsiteY7145" fmla="*/ 1435922 h 6479439"/>
              <a:gd name="connsiteX7146" fmla="*/ 1214512 w 9586368"/>
              <a:gd name="connsiteY7146" fmla="*/ 1439960 h 6479439"/>
              <a:gd name="connsiteX7147" fmla="*/ 1214512 w 9586368"/>
              <a:gd name="connsiteY7147" fmla="*/ 1449831 h 6479439"/>
              <a:gd name="connsiteX7148" fmla="*/ 1210493 w 9586368"/>
              <a:gd name="connsiteY7148" fmla="*/ 1453870 h 6479439"/>
              <a:gd name="connsiteX7149" fmla="*/ 1200583 w 9586368"/>
              <a:gd name="connsiteY7149" fmla="*/ 1453870 h 6479439"/>
              <a:gd name="connsiteX7150" fmla="*/ 1196564 w 9586368"/>
              <a:gd name="connsiteY7150" fmla="*/ 1449831 h 6479439"/>
              <a:gd name="connsiteX7151" fmla="*/ 1196564 w 9586368"/>
              <a:gd name="connsiteY7151" fmla="*/ 1439960 h 6479439"/>
              <a:gd name="connsiteX7152" fmla="*/ 961270 w 9586368"/>
              <a:gd name="connsiteY7152" fmla="*/ 1435922 h 6479439"/>
              <a:gd name="connsiteX7153" fmla="*/ 971181 w 9586368"/>
              <a:gd name="connsiteY7153" fmla="*/ 1435922 h 6479439"/>
              <a:gd name="connsiteX7154" fmla="*/ 975200 w 9586368"/>
              <a:gd name="connsiteY7154" fmla="*/ 1439960 h 6479439"/>
              <a:gd name="connsiteX7155" fmla="*/ 975200 w 9586368"/>
              <a:gd name="connsiteY7155" fmla="*/ 1449831 h 6479439"/>
              <a:gd name="connsiteX7156" fmla="*/ 971181 w 9586368"/>
              <a:gd name="connsiteY7156" fmla="*/ 1453870 h 6479439"/>
              <a:gd name="connsiteX7157" fmla="*/ 961270 w 9586368"/>
              <a:gd name="connsiteY7157" fmla="*/ 1453870 h 6479439"/>
              <a:gd name="connsiteX7158" fmla="*/ 957252 w 9586368"/>
              <a:gd name="connsiteY7158" fmla="*/ 1449831 h 6479439"/>
              <a:gd name="connsiteX7159" fmla="*/ 957252 w 9586368"/>
              <a:gd name="connsiteY7159" fmla="*/ 1439960 h 6479439"/>
              <a:gd name="connsiteX7160" fmla="*/ 9572438 w 9586368"/>
              <a:gd name="connsiteY7160" fmla="*/ 1435914 h 6479439"/>
              <a:gd name="connsiteX7161" fmla="*/ 9582349 w 9586368"/>
              <a:gd name="connsiteY7161" fmla="*/ 1435914 h 6479439"/>
              <a:gd name="connsiteX7162" fmla="*/ 9586368 w 9586368"/>
              <a:gd name="connsiteY7162" fmla="*/ 1439952 h 6479439"/>
              <a:gd name="connsiteX7163" fmla="*/ 9586368 w 9586368"/>
              <a:gd name="connsiteY7163" fmla="*/ 1449823 h 6479439"/>
              <a:gd name="connsiteX7164" fmla="*/ 9582349 w 9586368"/>
              <a:gd name="connsiteY7164" fmla="*/ 1453862 h 6479439"/>
              <a:gd name="connsiteX7165" fmla="*/ 9572438 w 9586368"/>
              <a:gd name="connsiteY7165" fmla="*/ 1453862 h 6479439"/>
              <a:gd name="connsiteX7166" fmla="*/ 9568419 w 9586368"/>
              <a:gd name="connsiteY7166" fmla="*/ 1449823 h 6479439"/>
              <a:gd name="connsiteX7167" fmla="*/ 9568419 w 9586368"/>
              <a:gd name="connsiteY7167" fmla="*/ 1439952 h 6479439"/>
              <a:gd name="connsiteX7168" fmla="*/ 1918514 w 9586368"/>
              <a:gd name="connsiteY7168" fmla="*/ 1435912 h 6479439"/>
              <a:gd name="connsiteX7169" fmla="*/ 1928424 w 9586368"/>
              <a:gd name="connsiteY7169" fmla="*/ 1435912 h 6479439"/>
              <a:gd name="connsiteX7170" fmla="*/ 1932443 w 9586368"/>
              <a:gd name="connsiteY7170" fmla="*/ 1439950 h 6479439"/>
              <a:gd name="connsiteX7171" fmla="*/ 1932443 w 9586368"/>
              <a:gd name="connsiteY7171" fmla="*/ 1449821 h 6479439"/>
              <a:gd name="connsiteX7172" fmla="*/ 1928424 w 9586368"/>
              <a:gd name="connsiteY7172" fmla="*/ 1453860 h 6479439"/>
              <a:gd name="connsiteX7173" fmla="*/ 1918514 w 9586368"/>
              <a:gd name="connsiteY7173" fmla="*/ 1453860 h 6479439"/>
              <a:gd name="connsiteX7174" fmla="*/ 1914494 w 9586368"/>
              <a:gd name="connsiteY7174" fmla="*/ 1449821 h 6479439"/>
              <a:gd name="connsiteX7175" fmla="*/ 1914494 w 9586368"/>
              <a:gd name="connsiteY7175" fmla="*/ 1439950 h 6479439"/>
              <a:gd name="connsiteX7176" fmla="*/ 2157823 w 9586368"/>
              <a:gd name="connsiteY7176" fmla="*/ 1435909 h 6479439"/>
              <a:gd name="connsiteX7177" fmla="*/ 2167733 w 9586368"/>
              <a:gd name="connsiteY7177" fmla="*/ 1435909 h 6479439"/>
              <a:gd name="connsiteX7178" fmla="*/ 2171751 w 9586368"/>
              <a:gd name="connsiteY7178" fmla="*/ 1439947 h 6479439"/>
              <a:gd name="connsiteX7179" fmla="*/ 2171751 w 9586368"/>
              <a:gd name="connsiteY7179" fmla="*/ 1449818 h 6479439"/>
              <a:gd name="connsiteX7180" fmla="*/ 2167733 w 9586368"/>
              <a:gd name="connsiteY7180" fmla="*/ 1453857 h 6479439"/>
              <a:gd name="connsiteX7181" fmla="*/ 2157823 w 9586368"/>
              <a:gd name="connsiteY7181" fmla="*/ 1453857 h 6479439"/>
              <a:gd name="connsiteX7182" fmla="*/ 2153803 w 9586368"/>
              <a:gd name="connsiteY7182" fmla="*/ 1449818 h 6479439"/>
              <a:gd name="connsiteX7183" fmla="*/ 2153803 w 9586368"/>
              <a:gd name="connsiteY7183" fmla="*/ 1439947 h 6479439"/>
              <a:gd name="connsiteX7184" fmla="*/ 243347 w 9586368"/>
              <a:gd name="connsiteY7184" fmla="*/ 1435883 h 6479439"/>
              <a:gd name="connsiteX7185" fmla="*/ 253257 w 9586368"/>
              <a:gd name="connsiteY7185" fmla="*/ 1435883 h 6479439"/>
              <a:gd name="connsiteX7186" fmla="*/ 257276 w 9586368"/>
              <a:gd name="connsiteY7186" fmla="*/ 1439920 h 6479439"/>
              <a:gd name="connsiteX7187" fmla="*/ 257276 w 9586368"/>
              <a:gd name="connsiteY7187" fmla="*/ 1449791 h 6479439"/>
              <a:gd name="connsiteX7188" fmla="*/ 253257 w 9586368"/>
              <a:gd name="connsiteY7188" fmla="*/ 1453830 h 6479439"/>
              <a:gd name="connsiteX7189" fmla="*/ 243347 w 9586368"/>
              <a:gd name="connsiteY7189" fmla="*/ 1453830 h 6479439"/>
              <a:gd name="connsiteX7190" fmla="*/ 239328 w 9586368"/>
              <a:gd name="connsiteY7190" fmla="*/ 1449791 h 6479439"/>
              <a:gd name="connsiteX7191" fmla="*/ 239328 w 9586368"/>
              <a:gd name="connsiteY7191" fmla="*/ 1439920 h 6479439"/>
              <a:gd name="connsiteX7192" fmla="*/ 4034 w 9586368"/>
              <a:gd name="connsiteY7192" fmla="*/ 1435883 h 6479439"/>
              <a:gd name="connsiteX7193" fmla="*/ 13944 w 9586368"/>
              <a:gd name="connsiteY7193" fmla="*/ 1435883 h 6479439"/>
              <a:gd name="connsiteX7194" fmla="*/ 17964 w 9586368"/>
              <a:gd name="connsiteY7194" fmla="*/ 1439920 h 6479439"/>
              <a:gd name="connsiteX7195" fmla="*/ 17964 w 9586368"/>
              <a:gd name="connsiteY7195" fmla="*/ 1449791 h 6479439"/>
              <a:gd name="connsiteX7196" fmla="*/ 13944 w 9586368"/>
              <a:gd name="connsiteY7196" fmla="*/ 1453830 h 6479439"/>
              <a:gd name="connsiteX7197" fmla="*/ 4034 w 9586368"/>
              <a:gd name="connsiteY7197" fmla="*/ 1453830 h 6479439"/>
              <a:gd name="connsiteX7198" fmla="*/ 15 w 9586368"/>
              <a:gd name="connsiteY7198" fmla="*/ 1449791 h 6479439"/>
              <a:gd name="connsiteX7199" fmla="*/ 15 w 9586368"/>
              <a:gd name="connsiteY7199" fmla="*/ 1439920 h 6479439"/>
              <a:gd name="connsiteX7200" fmla="*/ 721973 w 9586368"/>
              <a:gd name="connsiteY7200" fmla="*/ 1435882 h 6479439"/>
              <a:gd name="connsiteX7201" fmla="*/ 731883 w 9586368"/>
              <a:gd name="connsiteY7201" fmla="*/ 1435882 h 6479439"/>
              <a:gd name="connsiteX7202" fmla="*/ 735902 w 9586368"/>
              <a:gd name="connsiteY7202" fmla="*/ 1439920 h 6479439"/>
              <a:gd name="connsiteX7203" fmla="*/ 735902 w 9586368"/>
              <a:gd name="connsiteY7203" fmla="*/ 1449791 h 6479439"/>
              <a:gd name="connsiteX7204" fmla="*/ 731883 w 9586368"/>
              <a:gd name="connsiteY7204" fmla="*/ 1453830 h 6479439"/>
              <a:gd name="connsiteX7205" fmla="*/ 721973 w 9586368"/>
              <a:gd name="connsiteY7205" fmla="*/ 1453830 h 6479439"/>
              <a:gd name="connsiteX7206" fmla="*/ 717954 w 9586368"/>
              <a:gd name="connsiteY7206" fmla="*/ 1449791 h 6479439"/>
              <a:gd name="connsiteX7207" fmla="*/ 717954 w 9586368"/>
              <a:gd name="connsiteY7207" fmla="*/ 1439920 h 6479439"/>
              <a:gd name="connsiteX7208" fmla="*/ 482661 w 9586368"/>
              <a:gd name="connsiteY7208" fmla="*/ 1435882 h 6479439"/>
              <a:gd name="connsiteX7209" fmla="*/ 492571 w 9586368"/>
              <a:gd name="connsiteY7209" fmla="*/ 1435882 h 6479439"/>
              <a:gd name="connsiteX7210" fmla="*/ 496590 w 9586368"/>
              <a:gd name="connsiteY7210" fmla="*/ 1439920 h 6479439"/>
              <a:gd name="connsiteX7211" fmla="*/ 496590 w 9586368"/>
              <a:gd name="connsiteY7211" fmla="*/ 1449791 h 6479439"/>
              <a:gd name="connsiteX7212" fmla="*/ 492571 w 9586368"/>
              <a:gd name="connsiteY7212" fmla="*/ 1453830 h 6479439"/>
              <a:gd name="connsiteX7213" fmla="*/ 482661 w 9586368"/>
              <a:gd name="connsiteY7213" fmla="*/ 1453830 h 6479439"/>
              <a:gd name="connsiteX7214" fmla="*/ 478642 w 9586368"/>
              <a:gd name="connsiteY7214" fmla="*/ 1449791 h 6479439"/>
              <a:gd name="connsiteX7215" fmla="*/ 478642 w 9586368"/>
              <a:gd name="connsiteY7215" fmla="*/ 1439920 h 6479439"/>
              <a:gd name="connsiteX7216" fmla="*/ 3350359 w 9586368"/>
              <a:gd name="connsiteY7216" fmla="*/ 1196701 h 6479439"/>
              <a:gd name="connsiteX7217" fmla="*/ 3360268 w 9586368"/>
              <a:gd name="connsiteY7217" fmla="*/ 1196701 h 6479439"/>
              <a:gd name="connsiteX7218" fmla="*/ 3364287 w 9586368"/>
              <a:gd name="connsiteY7218" fmla="*/ 1200738 h 6479439"/>
              <a:gd name="connsiteX7219" fmla="*/ 3364287 w 9586368"/>
              <a:gd name="connsiteY7219" fmla="*/ 1210610 h 6479439"/>
              <a:gd name="connsiteX7220" fmla="*/ 3360268 w 9586368"/>
              <a:gd name="connsiteY7220" fmla="*/ 1214650 h 6479439"/>
              <a:gd name="connsiteX7221" fmla="*/ 3350359 w 9586368"/>
              <a:gd name="connsiteY7221" fmla="*/ 1214650 h 6479439"/>
              <a:gd name="connsiteX7222" fmla="*/ 3346340 w 9586368"/>
              <a:gd name="connsiteY7222" fmla="*/ 1210610 h 6479439"/>
              <a:gd name="connsiteX7223" fmla="*/ 3346340 w 9586368"/>
              <a:gd name="connsiteY7223" fmla="*/ 1200738 h 6479439"/>
              <a:gd name="connsiteX7224" fmla="*/ 3111048 w 9586368"/>
              <a:gd name="connsiteY7224" fmla="*/ 1196701 h 6479439"/>
              <a:gd name="connsiteX7225" fmla="*/ 3120959 w 9586368"/>
              <a:gd name="connsiteY7225" fmla="*/ 1196701 h 6479439"/>
              <a:gd name="connsiteX7226" fmla="*/ 3124977 w 9586368"/>
              <a:gd name="connsiteY7226" fmla="*/ 1200738 h 6479439"/>
              <a:gd name="connsiteX7227" fmla="*/ 3124977 w 9586368"/>
              <a:gd name="connsiteY7227" fmla="*/ 1210610 h 6479439"/>
              <a:gd name="connsiteX7228" fmla="*/ 3120959 w 9586368"/>
              <a:gd name="connsiteY7228" fmla="*/ 1214650 h 6479439"/>
              <a:gd name="connsiteX7229" fmla="*/ 3111048 w 9586368"/>
              <a:gd name="connsiteY7229" fmla="*/ 1214650 h 6479439"/>
              <a:gd name="connsiteX7230" fmla="*/ 3107029 w 9586368"/>
              <a:gd name="connsiteY7230" fmla="*/ 1210610 h 6479439"/>
              <a:gd name="connsiteX7231" fmla="*/ 3107029 w 9586368"/>
              <a:gd name="connsiteY7231" fmla="*/ 1200738 h 6479439"/>
              <a:gd name="connsiteX7232" fmla="*/ 2871737 w 9586368"/>
              <a:gd name="connsiteY7232" fmla="*/ 1196701 h 6479439"/>
              <a:gd name="connsiteX7233" fmla="*/ 2881646 w 9586368"/>
              <a:gd name="connsiteY7233" fmla="*/ 1196701 h 6479439"/>
              <a:gd name="connsiteX7234" fmla="*/ 2885666 w 9586368"/>
              <a:gd name="connsiteY7234" fmla="*/ 1200738 h 6479439"/>
              <a:gd name="connsiteX7235" fmla="*/ 2885666 w 9586368"/>
              <a:gd name="connsiteY7235" fmla="*/ 1210610 h 6479439"/>
              <a:gd name="connsiteX7236" fmla="*/ 2881646 w 9586368"/>
              <a:gd name="connsiteY7236" fmla="*/ 1214650 h 6479439"/>
              <a:gd name="connsiteX7237" fmla="*/ 2871737 w 9586368"/>
              <a:gd name="connsiteY7237" fmla="*/ 1214650 h 6479439"/>
              <a:gd name="connsiteX7238" fmla="*/ 2867717 w 9586368"/>
              <a:gd name="connsiteY7238" fmla="*/ 1210610 h 6479439"/>
              <a:gd name="connsiteX7239" fmla="*/ 2867717 w 9586368"/>
              <a:gd name="connsiteY7239" fmla="*/ 1200738 h 6479439"/>
              <a:gd name="connsiteX7240" fmla="*/ 2632423 w 9586368"/>
              <a:gd name="connsiteY7240" fmla="*/ 1196701 h 6479439"/>
              <a:gd name="connsiteX7241" fmla="*/ 2642334 w 9586368"/>
              <a:gd name="connsiteY7241" fmla="*/ 1196701 h 6479439"/>
              <a:gd name="connsiteX7242" fmla="*/ 2646352 w 9586368"/>
              <a:gd name="connsiteY7242" fmla="*/ 1200740 h 6479439"/>
              <a:gd name="connsiteX7243" fmla="*/ 2646352 w 9586368"/>
              <a:gd name="connsiteY7243" fmla="*/ 1210610 h 6479439"/>
              <a:gd name="connsiteX7244" fmla="*/ 2642334 w 9586368"/>
              <a:gd name="connsiteY7244" fmla="*/ 1214650 h 6479439"/>
              <a:gd name="connsiteX7245" fmla="*/ 2632423 w 9586368"/>
              <a:gd name="connsiteY7245" fmla="*/ 1214650 h 6479439"/>
              <a:gd name="connsiteX7246" fmla="*/ 2628404 w 9586368"/>
              <a:gd name="connsiteY7246" fmla="*/ 1210610 h 6479439"/>
              <a:gd name="connsiteX7247" fmla="*/ 2628404 w 9586368"/>
              <a:gd name="connsiteY7247" fmla="*/ 1200740 h 6479439"/>
              <a:gd name="connsiteX7248" fmla="*/ 2393104 w 9586368"/>
              <a:gd name="connsiteY7248" fmla="*/ 1196701 h 6479439"/>
              <a:gd name="connsiteX7249" fmla="*/ 2403015 w 9586368"/>
              <a:gd name="connsiteY7249" fmla="*/ 1196701 h 6479439"/>
              <a:gd name="connsiteX7250" fmla="*/ 2407034 w 9586368"/>
              <a:gd name="connsiteY7250" fmla="*/ 1200740 h 6479439"/>
              <a:gd name="connsiteX7251" fmla="*/ 2407034 w 9586368"/>
              <a:gd name="connsiteY7251" fmla="*/ 1210610 h 6479439"/>
              <a:gd name="connsiteX7252" fmla="*/ 2403015 w 9586368"/>
              <a:gd name="connsiteY7252" fmla="*/ 1214650 h 6479439"/>
              <a:gd name="connsiteX7253" fmla="*/ 2393104 w 9586368"/>
              <a:gd name="connsiteY7253" fmla="*/ 1214650 h 6479439"/>
              <a:gd name="connsiteX7254" fmla="*/ 2389087 w 9586368"/>
              <a:gd name="connsiteY7254" fmla="*/ 1210610 h 6479439"/>
              <a:gd name="connsiteX7255" fmla="*/ 2389087 w 9586368"/>
              <a:gd name="connsiteY7255" fmla="*/ 1200740 h 6479439"/>
              <a:gd name="connsiteX7256" fmla="*/ 4546929 w 9586368"/>
              <a:gd name="connsiteY7256" fmla="*/ 1196689 h 6479439"/>
              <a:gd name="connsiteX7257" fmla="*/ 4556840 w 9586368"/>
              <a:gd name="connsiteY7257" fmla="*/ 1196689 h 6479439"/>
              <a:gd name="connsiteX7258" fmla="*/ 4560859 w 9586368"/>
              <a:gd name="connsiteY7258" fmla="*/ 1200726 h 6479439"/>
              <a:gd name="connsiteX7259" fmla="*/ 4560859 w 9586368"/>
              <a:gd name="connsiteY7259" fmla="*/ 1210598 h 6479439"/>
              <a:gd name="connsiteX7260" fmla="*/ 4556840 w 9586368"/>
              <a:gd name="connsiteY7260" fmla="*/ 1214637 h 6479439"/>
              <a:gd name="connsiteX7261" fmla="*/ 4546929 w 9586368"/>
              <a:gd name="connsiteY7261" fmla="*/ 1214637 h 6479439"/>
              <a:gd name="connsiteX7262" fmla="*/ 4542910 w 9586368"/>
              <a:gd name="connsiteY7262" fmla="*/ 1210598 h 6479439"/>
              <a:gd name="connsiteX7263" fmla="*/ 4542910 w 9586368"/>
              <a:gd name="connsiteY7263" fmla="*/ 1200726 h 6479439"/>
              <a:gd name="connsiteX7264" fmla="*/ 4307612 w 9586368"/>
              <a:gd name="connsiteY7264" fmla="*/ 1196689 h 6479439"/>
              <a:gd name="connsiteX7265" fmla="*/ 4317523 w 9586368"/>
              <a:gd name="connsiteY7265" fmla="*/ 1196689 h 6479439"/>
              <a:gd name="connsiteX7266" fmla="*/ 4321543 w 9586368"/>
              <a:gd name="connsiteY7266" fmla="*/ 1200726 h 6479439"/>
              <a:gd name="connsiteX7267" fmla="*/ 4321543 w 9586368"/>
              <a:gd name="connsiteY7267" fmla="*/ 1210598 h 6479439"/>
              <a:gd name="connsiteX7268" fmla="*/ 4317523 w 9586368"/>
              <a:gd name="connsiteY7268" fmla="*/ 1214637 h 6479439"/>
              <a:gd name="connsiteX7269" fmla="*/ 4307612 w 9586368"/>
              <a:gd name="connsiteY7269" fmla="*/ 1214637 h 6479439"/>
              <a:gd name="connsiteX7270" fmla="*/ 4303595 w 9586368"/>
              <a:gd name="connsiteY7270" fmla="*/ 1210598 h 6479439"/>
              <a:gd name="connsiteX7271" fmla="*/ 4303595 w 9586368"/>
              <a:gd name="connsiteY7271" fmla="*/ 1200726 h 6479439"/>
              <a:gd name="connsiteX7272" fmla="*/ 4068297 w 9586368"/>
              <a:gd name="connsiteY7272" fmla="*/ 1196689 h 6479439"/>
              <a:gd name="connsiteX7273" fmla="*/ 4078210 w 9586368"/>
              <a:gd name="connsiteY7273" fmla="*/ 1196689 h 6479439"/>
              <a:gd name="connsiteX7274" fmla="*/ 4082229 w 9586368"/>
              <a:gd name="connsiteY7274" fmla="*/ 1200726 h 6479439"/>
              <a:gd name="connsiteX7275" fmla="*/ 4082229 w 9586368"/>
              <a:gd name="connsiteY7275" fmla="*/ 1210598 h 6479439"/>
              <a:gd name="connsiteX7276" fmla="*/ 4078210 w 9586368"/>
              <a:gd name="connsiteY7276" fmla="*/ 1214637 h 6479439"/>
              <a:gd name="connsiteX7277" fmla="*/ 4068297 w 9586368"/>
              <a:gd name="connsiteY7277" fmla="*/ 1214637 h 6479439"/>
              <a:gd name="connsiteX7278" fmla="*/ 4064278 w 9586368"/>
              <a:gd name="connsiteY7278" fmla="*/ 1210598 h 6479439"/>
              <a:gd name="connsiteX7279" fmla="*/ 4064278 w 9586368"/>
              <a:gd name="connsiteY7279" fmla="*/ 1200726 h 6479439"/>
              <a:gd name="connsiteX7280" fmla="*/ 3828990 w 9586368"/>
              <a:gd name="connsiteY7280" fmla="*/ 1196689 h 6479439"/>
              <a:gd name="connsiteX7281" fmla="*/ 3838899 w 9586368"/>
              <a:gd name="connsiteY7281" fmla="*/ 1196689 h 6479439"/>
              <a:gd name="connsiteX7282" fmla="*/ 3842917 w 9586368"/>
              <a:gd name="connsiteY7282" fmla="*/ 1200728 h 6479439"/>
              <a:gd name="connsiteX7283" fmla="*/ 3842917 w 9586368"/>
              <a:gd name="connsiteY7283" fmla="*/ 1210598 h 6479439"/>
              <a:gd name="connsiteX7284" fmla="*/ 3838899 w 9586368"/>
              <a:gd name="connsiteY7284" fmla="*/ 1214637 h 6479439"/>
              <a:gd name="connsiteX7285" fmla="*/ 3828990 w 9586368"/>
              <a:gd name="connsiteY7285" fmla="*/ 1214637 h 6479439"/>
              <a:gd name="connsiteX7286" fmla="*/ 3824971 w 9586368"/>
              <a:gd name="connsiteY7286" fmla="*/ 1210598 h 6479439"/>
              <a:gd name="connsiteX7287" fmla="*/ 3824971 w 9586368"/>
              <a:gd name="connsiteY7287" fmla="*/ 1200728 h 6479439"/>
              <a:gd name="connsiteX7288" fmla="*/ 3589676 w 9586368"/>
              <a:gd name="connsiteY7288" fmla="*/ 1196689 h 6479439"/>
              <a:gd name="connsiteX7289" fmla="*/ 3599585 w 9586368"/>
              <a:gd name="connsiteY7289" fmla="*/ 1196689 h 6479439"/>
              <a:gd name="connsiteX7290" fmla="*/ 3603604 w 9586368"/>
              <a:gd name="connsiteY7290" fmla="*/ 1200728 h 6479439"/>
              <a:gd name="connsiteX7291" fmla="*/ 3603604 w 9586368"/>
              <a:gd name="connsiteY7291" fmla="*/ 1210598 h 6479439"/>
              <a:gd name="connsiteX7292" fmla="*/ 3599585 w 9586368"/>
              <a:gd name="connsiteY7292" fmla="*/ 1214637 h 6479439"/>
              <a:gd name="connsiteX7293" fmla="*/ 3589676 w 9586368"/>
              <a:gd name="connsiteY7293" fmla="*/ 1214637 h 6479439"/>
              <a:gd name="connsiteX7294" fmla="*/ 3585657 w 9586368"/>
              <a:gd name="connsiteY7294" fmla="*/ 1210598 h 6479439"/>
              <a:gd name="connsiteX7295" fmla="*/ 3585657 w 9586368"/>
              <a:gd name="connsiteY7295" fmla="*/ 1200728 h 6479439"/>
              <a:gd name="connsiteX7296" fmla="*/ 5743412 w 9586368"/>
              <a:gd name="connsiteY7296" fmla="*/ 1196676 h 6479439"/>
              <a:gd name="connsiteX7297" fmla="*/ 5753323 w 9586368"/>
              <a:gd name="connsiteY7297" fmla="*/ 1196676 h 6479439"/>
              <a:gd name="connsiteX7298" fmla="*/ 5757342 w 9586368"/>
              <a:gd name="connsiteY7298" fmla="*/ 1200714 h 6479439"/>
              <a:gd name="connsiteX7299" fmla="*/ 5757342 w 9586368"/>
              <a:gd name="connsiteY7299" fmla="*/ 1210586 h 6479439"/>
              <a:gd name="connsiteX7300" fmla="*/ 5753323 w 9586368"/>
              <a:gd name="connsiteY7300" fmla="*/ 1214625 h 6479439"/>
              <a:gd name="connsiteX7301" fmla="*/ 5743412 w 9586368"/>
              <a:gd name="connsiteY7301" fmla="*/ 1214625 h 6479439"/>
              <a:gd name="connsiteX7302" fmla="*/ 5739393 w 9586368"/>
              <a:gd name="connsiteY7302" fmla="*/ 1210586 h 6479439"/>
              <a:gd name="connsiteX7303" fmla="*/ 5739393 w 9586368"/>
              <a:gd name="connsiteY7303" fmla="*/ 1200714 h 6479439"/>
              <a:gd name="connsiteX7304" fmla="*/ 5504099 w 9586368"/>
              <a:gd name="connsiteY7304" fmla="*/ 1196676 h 6479439"/>
              <a:gd name="connsiteX7305" fmla="*/ 5514010 w 9586368"/>
              <a:gd name="connsiteY7305" fmla="*/ 1196676 h 6479439"/>
              <a:gd name="connsiteX7306" fmla="*/ 5518029 w 9586368"/>
              <a:gd name="connsiteY7306" fmla="*/ 1200714 h 6479439"/>
              <a:gd name="connsiteX7307" fmla="*/ 5518029 w 9586368"/>
              <a:gd name="connsiteY7307" fmla="*/ 1210586 h 6479439"/>
              <a:gd name="connsiteX7308" fmla="*/ 5514010 w 9586368"/>
              <a:gd name="connsiteY7308" fmla="*/ 1214625 h 6479439"/>
              <a:gd name="connsiteX7309" fmla="*/ 5504099 w 9586368"/>
              <a:gd name="connsiteY7309" fmla="*/ 1214625 h 6479439"/>
              <a:gd name="connsiteX7310" fmla="*/ 5500080 w 9586368"/>
              <a:gd name="connsiteY7310" fmla="*/ 1210586 h 6479439"/>
              <a:gd name="connsiteX7311" fmla="*/ 5500080 w 9586368"/>
              <a:gd name="connsiteY7311" fmla="*/ 1200714 h 6479439"/>
              <a:gd name="connsiteX7312" fmla="*/ 5264784 w 9586368"/>
              <a:gd name="connsiteY7312" fmla="*/ 1196676 h 6479439"/>
              <a:gd name="connsiteX7313" fmla="*/ 5274694 w 9586368"/>
              <a:gd name="connsiteY7313" fmla="*/ 1196676 h 6479439"/>
              <a:gd name="connsiteX7314" fmla="*/ 5278713 w 9586368"/>
              <a:gd name="connsiteY7314" fmla="*/ 1200714 h 6479439"/>
              <a:gd name="connsiteX7315" fmla="*/ 5278713 w 9586368"/>
              <a:gd name="connsiteY7315" fmla="*/ 1210586 h 6479439"/>
              <a:gd name="connsiteX7316" fmla="*/ 5274694 w 9586368"/>
              <a:gd name="connsiteY7316" fmla="*/ 1214625 h 6479439"/>
              <a:gd name="connsiteX7317" fmla="*/ 5264784 w 9586368"/>
              <a:gd name="connsiteY7317" fmla="*/ 1214625 h 6479439"/>
              <a:gd name="connsiteX7318" fmla="*/ 5260765 w 9586368"/>
              <a:gd name="connsiteY7318" fmla="*/ 1210586 h 6479439"/>
              <a:gd name="connsiteX7319" fmla="*/ 5260765 w 9586368"/>
              <a:gd name="connsiteY7319" fmla="*/ 1200714 h 6479439"/>
              <a:gd name="connsiteX7320" fmla="*/ 5025470 w 9586368"/>
              <a:gd name="connsiteY7320" fmla="*/ 1196676 h 6479439"/>
              <a:gd name="connsiteX7321" fmla="*/ 5035381 w 9586368"/>
              <a:gd name="connsiteY7321" fmla="*/ 1196676 h 6479439"/>
              <a:gd name="connsiteX7322" fmla="*/ 5039400 w 9586368"/>
              <a:gd name="connsiteY7322" fmla="*/ 1200715 h 6479439"/>
              <a:gd name="connsiteX7323" fmla="*/ 5039400 w 9586368"/>
              <a:gd name="connsiteY7323" fmla="*/ 1210586 h 6479439"/>
              <a:gd name="connsiteX7324" fmla="*/ 5035381 w 9586368"/>
              <a:gd name="connsiteY7324" fmla="*/ 1214625 h 6479439"/>
              <a:gd name="connsiteX7325" fmla="*/ 5025470 w 9586368"/>
              <a:gd name="connsiteY7325" fmla="*/ 1214625 h 6479439"/>
              <a:gd name="connsiteX7326" fmla="*/ 5021451 w 9586368"/>
              <a:gd name="connsiteY7326" fmla="*/ 1210586 h 6479439"/>
              <a:gd name="connsiteX7327" fmla="*/ 5021451 w 9586368"/>
              <a:gd name="connsiteY7327" fmla="*/ 1200715 h 6479439"/>
              <a:gd name="connsiteX7328" fmla="*/ 4786241 w 9586368"/>
              <a:gd name="connsiteY7328" fmla="*/ 1196676 h 6479439"/>
              <a:gd name="connsiteX7329" fmla="*/ 4796152 w 9586368"/>
              <a:gd name="connsiteY7329" fmla="*/ 1196676 h 6479439"/>
              <a:gd name="connsiteX7330" fmla="*/ 4800171 w 9586368"/>
              <a:gd name="connsiteY7330" fmla="*/ 1200715 h 6479439"/>
              <a:gd name="connsiteX7331" fmla="*/ 4800171 w 9586368"/>
              <a:gd name="connsiteY7331" fmla="*/ 1210586 h 6479439"/>
              <a:gd name="connsiteX7332" fmla="*/ 4796152 w 9586368"/>
              <a:gd name="connsiteY7332" fmla="*/ 1214625 h 6479439"/>
              <a:gd name="connsiteX7333" fmla="*/ 4786241 w 9586368"/>
              <a:gd name="connsiteY7333" fmla="*/ 1214625 h 6479439"/>
              <a:gd name="connsiteX7334" fmla="*/ 4782224 w 9586368"/>
              <a:gd name="connsiteY7334" fmla="*/ 1210586 h 6479439"/>
              <a:gd name="connsiteX7335" fmla="*/ 4782224 w 9586368"/>
              <a:gd name="connsiteY7335" fmla="*/ 1200715 h 6479439"/>
              <a:gd name="connsiteX7336" fmla="*/ 6222042 w 9586368"/>
              <a:gd name="connsiteY7336" fmla="*/ 1196664 h 6479439"/>
              <a:gd name="connsiteX7337" fmla="*/ 6231952 w 9586368"/>
              <a:gd name="connsiteY7337" fmla="*/ 1196664 h 6479439"/>
              <a:gd name="connsiteX7338" fmla="*/ 6235971 w 9586368"/>
              <a:gd name="connsiteY7338" fmla="*/ 1200703 h 6479439"/>
              <a:gd name="connsiteX7339" fmla="*/ 6235971 w 9586368"/>
              <a:gd name="connsiteY7339" fmla="*/ 1210573 h 6479439"/>
              <a:gd name="connsiteX7340" fmla="*/ 6231952 w 9586368"/>
              <a:gd name="connsiteY7340" fmla="*/ 1214612 h 6479439"/>
              <a:gd name="connsiteX7341" fmla="*/ 6222042 w 9586368"/>
              <a:gd name="connsiteY7341" fmla="*/ 1214612 h 6479439"/>
              <a:gd name="connsiteX7342" fmla="*/ 6218023 w 9586368"/>
              <a:gd name="connsiteY7342" fmla="*/ 1210573 h 6479439"/>
              <a:gd name="connsiteX7343" fmla="*/ 6218023 w 9586368"/>
              <a:gd name="connsiteY7343" fmla="*/ 1200703 h 6479439"/>
              <a:gd name="connsiteX7344" fmla="*/ 5982729 w 9586368"/>
              <a:gd name="connsiteY7344" fmla="*/ 1196664 h 6479439"/>
              <a:gd name="connsiteX7345" fmla="*/ 5992639 w 9586368"/>
              <a:gd name="connsiteY7345" fmla="*/ 1196664 h 6479439"/>
              <a:gd name="connsiteX7346" fmla="*/ 5996658 w 9586368"/>
              <a:gd name="connsiteY7346" fmla="*/ 1200703 h 6479439"/>
              <a:gd name="connsiteX7347" fmla="*/ 5996658 w 9586368"/>
              <a:gd name="connsiteY7347" fmla="*/ 1210573 h 6479439"/>
              <a:gd name="connsiteX7348" fmla="*/ 5992639 w 9586368"/>
              <a:gd name="connsiteY7348" fmla="*/ 1214612 h 6479439"/>
              <a:gd name="connsiteX7349" fmla="*/ 5982729 w 9586368"/>
              <a:gd name="connsiteY7349" fmla="*/ 1214612 h 6479439"/>
              <a:gd name="connsiteX7350" fmla="*/ 5978710 w 9586368"/>
              <a:gd name="connsiteY7350" fmla="*/ 1210573 h 6479439"/>
              <a:gd name="connsiteX7351" fmla="*/ 5978710 w 9586368"/>
              <a:gd name="connsiteY7351" fmla="*/ 1200703 h 6479439"/>
              <a:gd name="connsiteX7352" fmla="*/ 6939983 w 9586368"/>
              <a:gd name="connsiteY7352" fmla="*/ 1196664 h 6479439"/>
              <a:gd name="connsiteX7353" fmla="*/ 6949894 w 9586368"/>
              <a:gd name="connsiteY7353" fmla="*/ 1196664 h 6479439"/>
              <a:gd name="connsiteX7354" fmla="*/ 6953913 w 9586368"/>
              <a:gd name="connsiteY7354" fmla="*/ 1200702 h 6479439"/>
              <a:gd name="connsiteX7355" fmla="*/ 6953913 w 9586368"/>
              <a:gd name="connsiteY7355" fmla="*/ 1210573 h 6479439"/>
              <a:gd name="connsiteX7356" fmla="*/ 6949894 w 9586368"/>
              <a:gd name="connsiteY7356" fmla="*/ 1214612 h 6479439"/>
              <a:gd name="connsiteX7357" fmla="*/ 6939983 w 9586368"/>
              <a:gd name="connsiteY7357" fmla="*/ 1214612 h 6479439"/>
              <a:gd name="connsiteX7358" fmla="*/ 6935964 w 9586368"/>
              <a:gd name="connsiteY7358" fmla="*/ 1210573 h 6479439"/>
              <a:gd name="connsiteX7359" fmla="*/ 6935964 w 9586368"/>
              <a:gd name="connsiteY7359" fmla="*/ 1200702 h 6479439"/>
              <a:gd name="connsiteX7360" fmla="*/ 6700670 w 9586368"/>
              <a:gd name="connsiteY7360" fmla="*/ 1196664 h 6479439"/>
              <a:gd name="connsiteX7361" fmla="*/ 6710581 w 9586368"/>
              <a:gd name="connsiteY7361" fmla="*/ 1196664 h 6479439"/>
              <a:gd name="connsiteX7362" fmla="*/ 6714600 w 9586368"/>
              <a:gd name="connsiteY7362" fmla="*/ 1200702 h 6479439"/>
              <a:gd name="connsiteX7363" fmla="*/ 6714600 w 9586368"/>
              <a:gd name="connsiteY7363" fmla="*/ 1210573 h 6479439"/>
              <a:gd name="connsiteX7364" fmla="*/ 6710581 w 9586368"/>
              <a:gd name="connsiteY7364" fmla="*/ 1214612 h 6479439"/>
              <a:gd name="connsiteX7365" fmla="*/ 6700670 w 9586368"/>
              <a:gd name="connsiteY7365" fmla="*/ 1214612 h 6479439"/>
              <a:gd name="connsiteX7366" fmla="*/ 6696651 w 9586368"/>
              <a:gd name="connsiteY7366" fmla="*/ 1210573 h 6479439"/>
              <a:gd name="connsiteX7367" fmla="*/ 6696651 w 9586368"/>
              <a:gd name="connsiteY7367" fmla="*/ 1200702 h 6479439"/>
              <a:gd name="connsiteX7368" fmla="*/ 6461356 w 9586368"/>
              <a:gd name="connsiteY7368" fmla="*/ 1196664 h 6479439"/>
              <a:gd name="connsiteX7369" fmla="*/ 6471266 w 9586368"/>
              <a:gd name="connsiteY7369" fmla="*/ 1196664 h 6479439"/>
              <a:gd name="connsiteX7370" fmla="*/ 6475285 w 9586368"/>
              <a:gd name="connsiteY7370" fmla="*/ 1200702 h 6479439"/>
              <a:gd name="connsiteX7371" fmla="*/ 6475285 w 9586368"/>
              <a:gd name="connsiteY7371" fmla="*/ 1210573 h 6479439"/>
              <a:gd name="connsiteX7372" fmla="*/ 6471266 w 9586368"/>
              <a:gd name="connsiteY7372" fmla="*/ 1214612 h 6479439"/>
              <a:gd name="connsiteX7373" fmla="*/ 6461356 w 9586368"/>
              <a:gd name="connsiteY7373" fmla="*/ 1214612 h 6479439"/>
              <a:gd name="connsiteX7374" fmla="*/ 6457337 w 9586368"/>
              <a:gd name="connsiteY7374" fmla="*/ 1210573 h 6479439"/>
              <a:gd name="connsiteX7375" fmla="*/ 6457337 w 9586368"/>
              <a:gd name="connsiteY7375" fmla="*/ 1200702 h 6479439"/>
              <a:gd name="connsiteX7376" fmla="*/ 7418611 w 9586368"/>
              <a:gd name="connsiteY7376" fmla="*/ 1196652 h 6479439"/>
              <a:gd name="connsiteX7377" fmla="*/ 7428521 w 9586368"/>
              <a:gd name="connsiteY7377" fmla="*/ 1196652 h 6479439"/>
              <a:gd name="connsiteX7378" fmla="*/ 7432540 w 9586368"/>
              <a:gd name="connsiteY7378" fmla="*/ 1200690 h 6479439"/>
              <a:gd name="connsiteX7379" fmla="*/ 7432540 w 9586368"/>
              <a:gd name="connsiteY7379" fmla="*/ 1210561 h 6479439"/>
              <a:gd name="connsiteX7380" fmla="*/ 7428521 w 9586368"/>
              <a:gd name="connsiteY7380" fmla="*/ 1214600 h 6479439"/>
              <a:gd name="connsiteX7381" fmla="*/ 7418611 w 9586368"/>
              <a:gd name="connsiteY7381" fmla="*/ 1214600 h 6479439"/>
              <a:gd name="connsiteX7382" fmla="*/ 7414592 w 9586368"/>
              <a:gd name="connsiteY7382" fmla="*/ 1210561 h 6479439"/>
              <a:gd name="connsiteX7383" fmla="*/ 7414592 w 9586368"/>
              <a:gd name="connsiteY7383" fmla="*/ 1200690 h 6479439"/>
              <a:gd name="connsiteX7384" fmla="*/ 7179298 w 9586368"/>
              <a:gd name="connsiteY7384" fmla="*/ 1196652 h 6479439"/>
              <a:gd name="connsiteX7385" fmla="*/ 7189209 w 9586368"/>
              <a:gd name="connsiteY7385" fmla="*/ 1196652 h 6479439"/>
              <a:gd name="connsiteX7386" fmla="*/ 7193228 w 9586368"/>
              <a:gd name="connsiteY7386" fmla="*/ 1200690 h 6479439"/>
              <a:gd name="connsiteX7387" fmla="*/ 7193228 w 9586368"/>
              <a:gd name="connsiteY7387" fmla="*/ 1210561 h 6479439"/>
              <a:gd name="connsiteX7388" fmla="*/ 7189209 w 9586368"/>
              <a:gd name="connsiteY7388" fmla="*/ 1214600 h 6479439"/>
              <a:gd name="connsiteX7389" fmla="*/ 7179298 w 9586368"/>
              <a:gd name="connsiteY7389" fmla="*/ 1214600 h 6479439"/>
              <a:gd name="connsiteX7390" fmla="*/ 7175279 w 9586368"/>
              <a:gd name="connsiteY7390" fmla="*/ 1210561 h 6479439"/>
              <a:gd name="connsiteX7391" fmla="*/ 7175279 w 9586368"/>
              <a:gd name="connsiteY7391" fmla="*/ 1200690 h 6479439"/>
              <a:gd name="connsiteX7392" fmla="*/ 8136553 w 9586368"/>
              <a:gd name="connsiteY7392" fmla="*/ 1196651 h 6479439"/>
              <a:gd name="connsiteX7393" fmla="*/ 8146464 w 9586368"/>
              <a:gd name="connsiteY7393" fmla="*/ 1196651 h 6479439"/>
              <a:gd name="connsiteX7394" fmla="*/ 8150483 w 9586368"/>
              <a:gd name="connsiteY7394" fmla="*/ 1200689 h 6479439"/>
              <a:gd name="connsiteX7395" fmla="*/ 8150483 w 9586368"/>
              <a:gd name="connsiteY7395" fmla="*/ 1210561 h 6479439"/>
              <a:gd name="connsiteX7396" fmla="*/ 8146464 w 9586368"/>
              <a:gd name="connsiteY7396" fmla="*/ 1214600 h 6479439"/>
              <a:gd name="connsiteX7397" fmla="*/ 8136553 w 9586368"/>
              <a:gd name="connsiteY7397" fmla="*/ 1214600 h 6479439"/>
              <a:gd name="connsiteX7398" fmla="*/ 8132534 w 9586368"/>
              <a:gd name="connsiteY7398" fmla="*/ 1210561 h 6479439"/>
              <a:gd name="connsiteX7399" fmla="*/ 8132534 w 9586368"/>
              <a:gd name="connsiteY7399" fmla="*/ 1200689 h 6479439"/>
              <a:gd name="connsiteX7400" fmla="*/ 7897241 w 9586368"/>
              <a:gd name="connsiteY7400" fmla="*/ 1196651 h 6479439"/>
              <a:gd name="connsiteX7401" fmla="*/ 7907151 w 9586368"/>
              <a:gd name="connsiteY7401" fmla="*/ 1196651 h 6479439"/>
              <a:gd name="connsiteX7402" fmla="*/ 7911170 w 9586368"/>
              <a:gd name="connsiteY7402" fmla="*/ 1200689 h 6479439"/>
              <a:gd name="connsiteX7403" fmla="*/ 7911170 w 9586368"/>
              <a:gd name="connsiteY7403" fmla="*/ 1210561 h 6479439"/>
              <a:gd name="connsiteX7404" fmla="*/ 7907151 w 9586368"/>
              <a:gd name="connsiteY7404" fmla="*/ 1214600 h 6479439"/>
              <a:gd name="connsiteX7405" fmla="*/ 7897241 w 9586368"/>
              <a:gd name="connsiteY7405" fmla="*/ 1214600 h 6479439"/>
              <a:gd name="connsiteX7406" fmla="*/ 7893222 w 9586368"/>
              <a:gd name="connsiteY7406" fmla="*/ 1210561 h 6479439"/>
              <a:gd name="connsiteX7407" fmla="*/ 7893222 w 9586368"/>
              <a:gd name="connsiteY7407" fmla="*/ 1200689 h 6479439"/>
              <a:gd name="connsiteX7408" fmla="*/ 7657926 w 9586368"/>
              <a:gd name="connsiteY7408" fmla="*/ 1196651 h 6479439"/>
              <a:gd name="connsiteX7409" fmla="*/ 7667836 w 9586368"/>
              <a:gd name="connsiteY7409" fmla="*/ 1196651 h 6479439"/>
              <a:gd name="connsiteX7410" fmla="*/ 7671855 w 9586368"/>
              <a:gd name="connsiteY7410" fmla="*/ 1200689 h 6479439"/>
              <a:gd name="connsiteX7411" fmla="*/ 7671855 w 9586368"/>
              <a:gd name="connsiteY7411" fmla="*/ 1210561 h 6479439"/>
              <a:gd name="connsiteX7412" fmla="*/ 7667836 w 9586368"/>
              <a:gd name="connsiteY7412" fmla="*/ 1214600 h 6479439"/>
              <a:gd name="connsiteX7413" fmla="*/ 7657926 w 9586368"/>
              <a:gd name="connsiteY7413" fmla="*/ 1214600 h 6479439"/>
              <a:gd name="connsiteX7414" fmla="*/ 7653906 w 9586368"/>
              <a:gd name="connsiteY7414" fmla="*/ 1210561 h 6479439"/>
              <a:gd name="connsiteX7415" fmla="*/ 7653906 w 9586368"/>
              <a:gd name="connsiteY7415" fmla="*/ 1200689 h 6479439"/>
              <a:gd name="connsiteX7416" fmla="*/ 8615184 w 9586368"/>
              <a:gd name="connsiteY7416" fmla="*/ 1196639 h 6479439"/>
              <a:gd name="connsiteX7417" fmla="*/ 8625095 w 9586368"/>
              <a:gd name="connsiteY7417" fmla="*/ 1196639 h 6479439"/>
              <a:gd name="connsiteX7418" fmla="*/ 8629114 w 9586368"/>
              <a:gd name="connsiteY7418" fmla="*/ 1200678 h 6479439"/>
              <a:gd name="connsiteX7419" fmla="*/ 8629114 w 9586368"/>
              <a:gd name="connsiteY7419" fmla="*/ 1210548 h 6479439"/>
              <a:gd name="connsiteX7420" fmla="*/ 8625095 w 9586368"/>
              <a:gd name="connsiteY7420" fmla="*/ 1214587 h 6479439"/>
              <a:gd name="connsiteX7421" fmla="*/ 8615184 w 9586368"/>
              <a:gd name="connsiteY7421" fmla="*/ 1214587 h 6479439"/>
              <a:gd name="connsiteX7422" fmla="*/ 8611165 w 9586368"/>
              <a:gd name="connsiteY7422" fmla="*/ 1210548 h 6479439"/>
              <a:gd name="connsiteX7423" fmla="*/ 8611165 w 9586368"/>
              <a:gd name="connsiteY7423" fmla="*/ 1200678 h 6479439"/>
              <a:gd name="connsiteX7424" fmla="*/ 8375869 w 9586368"/>
              <a:gd name="connsiteY7424" fmla="*/ 1196639 h 6479439"/>
              <a:gd name="connsiteX7425" fmla="*/ 8385779 w 9586368"/>
              <a:gd name="connsiteY7425" fmla="*/ 1196639 h 6479439"/>
              <a:gd name="connsiteX7426" fmla="*/ 8389799 w 9586368"/>
              <a:gd name="connsiteY7426" fmla="*/ 1200678 h 6479439"/>
              <a:gd name="connsiteX7427" fmla="*/ 8389799 w 9586368"/>
              <a:gd name="connsiteY7427" fmla="*/ 1210549 h 6479439"/>
              <a:gd name="connsiteX7428" fmla="*/ 8385779 w 9586368"/>
              <a:gd name="connsiteY7428" fmla="*/ 1214587 h 6479439"/>
              <a:gd name="connsiteX7429" fmla="*/ 8375869 w 9586368"/>
              <a:gd name="connsiteY7429" fmla="*/ 1214587 h 6479439"/>
              <a:gd name="connsiteX7430" fmla="*/ 8371850 w 9586368"/>
              <a:gd name="connsiteY7430" fmla="*/ 1210549 h 6479439"/>
              <a:gd name="connsiteX7431" fmla="*/ 8371850 w 9586368"/>
              <a:gd name="connsiteY7431" fmla="*/ 1200678 h 6479439"/>
              <a:gd name="connsiteX7432" fmla="*/ 9333125 w 9586368"/>
              <a:gd name="connsiteY7432" fmla="*/ 1196639 h 6479439"/>
              <a:gd name="connsiteX7433" fmla="*/ 9343036 w 9586368"/>
              <a:gd name="connsiteY7433" fmla="*/ 1196639 h 6479439"/>
              <a:gd name="connsiteX7434" fmla="*/ 9347055 w 9586368"/>
              <a:gd name="connsiteY7434" fmla="*/ 1200677 h 6479439"/>
              <a:gd name="connsiteX7435" fmla="*/ 9347055 w 9586368"/>
              <a:gd name="connsiteY7435" fmla="*/ 1210548 h 6479439"/>
              <a:gd name="connsiteX7436" fmla="*/ 9343036 w 9586368"/>
              <a:gd name="connsiteY7436" fmla="*/ 1214587 h 6479439"/>
              <a:gd name="connsiteX7437" fmla="*/ 9333125 w 9586368"/>
              <a:gd name="connsiteY7437" fmla="*/ 1214587 h 6479439"/>
              <a:gd name="connsiteX7438" fmla="*/ 9329106 w 9586368"/>
              <a:gd name="connsiteY7438" fmla="*/ 1210548 h 6479439"/>
              <a:gd name="connsiteX7439" fmla="*/ 9329106 w 9586368"/>
              <a:gd name="connsiteY7439" fmla="*/ 1200677 h 6479439"/>
              <a:gd name="connsiteX7440" fmla="*/ 9093811 w 9586368"/>
              <a:gd name="connsiteY7440" fmla="*/ 1196639 h 6479439"/>
              <a:gd name="connsiteX7441" fmla="*/ 9103722 w 9586368"/>
              <a:gd name="connsiteY7441" fmla="*/ 1196639 h 6479439"/>
              <a:gd name="connsiteX7442" fmla="*/ 9107741 w 9586368"/>
              <a:gd name="connsiteY7442" fmla="*/ 1200677 h 6479439"/>
              <a:gd name="connsiteX7443" fmla="*/ 9107741 w 9586368"/>
              <a:gd name="connsiteY7443" fmla="*/ 1210548 h 6479439"/>
              <a:gd name="connsiteX7444" fmla="*/ 9103722 w 9586368"/>
              <a:gd name="connsiteY7444" fmla="*/ 1214587 h 6479439"/>
              <a:gd name="connsiteX7445" fmla="*/ 9093811 w 9586368"/>
              <a:gd name="connsiteY7445" fmla="*/ 1214587 h 6479439"/>
              <a:gd name="connsiteX7446" fmla="*/ 9089792 w 9586368"/>
              <a:gd name="connsiteY7446" fmla="*/ 1210548 h 6479439"/>
              <a:gd name="connsiteX7447" fmla="*/ 9089792 w 9586368"/>
              <a:gd name="connsiteY7447" fmla="*/ 1200677 h 6479439"/>
              <a:gd name="connsiteX7448" fmla="*/ 8854496 w 9586368"/>
              <a:gd name="connsiteY7448" fmla="*/ 1196639 h 6479439"/>
              <a:gd name="connsiteX7449" fmla="*/ 8864407 w 9586368"/>
              <a:gd name="connsiteY7449" fmla="*/ 1196639 h 6479439"/>
              <a:gd name="connsiteX7450" fmla="*/ 8868426 w 9586368"/>
              <a:gd name="connsiteY7450" fmla="*/ 1200677 h 6479439"/>
              <a:gd name="connsiteX7451" fmla="*/ 8868426 w 9586368"/>
              <a:gd name="connsiteY7451" fmla="*/ 1210548 h 6479439"/>
              <a:gd name="connsiteX7452" fmla="*/ 8864407 w 9586368"/>
              <a:gd name="connsiteY7452" fmla="*/ 1214587 h 6479439"/>
              <a:gd name="connsiteX7453" fmla="*/ 8854496 w 9586368"/>
              <a:gd name="connsiteY7453" fmla="*/ 1214587 h 6479439"/>
              <a:gd name="connsiteX7454" fmla="*/ 8850477 w 9586368"/>
              <a:gd name="connsiteY7454" fmla="*/ 1210548 h 6479439"/>
              <a:gd name="connsiteX7455" fmla="*/ 8850477 w 9586368"/>
              <a:gd name="connsiteY7455" fmla="*/ 1200677 h 6479439"/>
              <a:gd name="connsiteX7456" fmla="*/ 9572438 w 9586368"/>
              <a:gd name="connsiteY7456" fmla="*/ 1196627 h 6479439"/>
              <a:gd name="connsiteX7457" fmla="*/ 9582349 w 9586368"/>
              <a:gd name="connsiteY7457" fmla="*/ 1196627 h 6479439"/>
              <a:gd name="connsiteX7458" fmla="*/ 9586368 w 9586368"/>
              <a:gd name="connsiteY7458" fmla="*/ 1200665 h 6479439"/>
              <a:gd name="connsiteX7459" fmla="*/ 9586368 w 9586368"/>
              <a:gd name="connsiteY7459" fmla="*/ 1210536 h 6479439"/>
              <a:gd name="connsiteX7460" fmla="*/ 9582349 w 9586368"/>
              <a:gd name="connsiteY7460" fmla="*/ 1214575 h 6479439"/>
              <a:gd name="connsiteX7461" fmla="*/ 9572438 w 9586368"/>
              <a:gd name="connsiteY7461" fmla="*/ 1214575 h 6479439"/>
              <a:gd name="connsiteX7462" fmla="*/ 9568419 w 9586368"/>
              <a:gd name="connsiteY7462" fmla="*/ 1210536 h 6479439"/>
              <a:gd name="connsiteX7463" fmla="*/ 9568419 w 9586368"/>
              <a:gd name="connsiteY7463" fmla="*/ 1200665 h 6479439"/>
              <a:gd name="connsiteX7464" fmla="*/ 4035 w 9586368"/>
              <a:gd name="connsiteY7464" fmla="*/ 1196600 h 6479439"/>
              <a:gd name="connsiteX7465" fmla="*/ 13945 w 9586368"/>
              <a:gd name="connsiteY7465" fmla="*/ 1196600 h 6479439"/>
              <a:gd name="connsiteX7466" fmla="*/ 17964 w 9586368"/>
              <a:gd name="connsiteY7466" fmla="*/ 1200638 h 6479439"/>
              <a:gd name="connsiteX7467" fmla="*/ 17964 w 9586368"/>
              <a:gd name="connsiteY7467" fmla="*/ 1210509 h 6479439"/>
              <a:gd name="connsiteX7468" fmla="*/ 13945 w 9586368"/>
              <a:gd name="connsiteY7468" fmla="*/ 1214548 h 6479439"/>
              <a:gd name="connsiteX7469" fmla="*/ 4035 w 9586368"/>
              <a:gd name="connsiteY7469" fmla="*/ 1214548 h 6479439"/>
              <a:gd name="connsiteX7470" fmla="*/ 16 w 9586368"/>
              <a:gd name="connsiteY7470" fmla="*/ 1210509 h 6479439"/>
              <a:gd name="connsiteX7471" fmla="*/ 16 w 9586368"/>
              <a:gd name="connsiteY7471" fmla="*/ 1200638 h 6479439"/>
              <a:gd name="connsiteX7472" fmla="*/ 721974 w 9586368"/>
              <a:gd name="connsiteY7472" fmla="*/ 1196599 h 6479439"/>
              <a:gd name="connsiteX7473" fmla="*/ 731884 w 9586368"/>
              <a:gd name="connsiteY7473" fmla="*/ 1196599 h 6479439"/>
              <a:gd name="connsiteX7474" fmla="*/ 735903 w 9586368"/>
              <a:gd name="connsiteY7474" fmla="*/ 1200638 h 6479439"/>
              <a:gd name="connsiteX7475" fmla="*/ 735903 w 9586368"/>
              <a:gd name="connsiteY7475" fmla="*/ 1210509 h 6479439"/>
              <a:gd name="connsiteX7476" fmla="*/ 731884 w 9586368"/>
              <a:gd name="connsiteY7476" fmla="*/ 1214547 h 6479439"/>
              <a:gd name="connsiteX7477" fmla="*/ 721974 w 9586368"/>
              <a:gd name="connsiteY7477" fmla="*/ 1214547 h 6479439"/>
              <a:gd name="connsiteX7478" fmla="*/ 717955 w 9586368"/>
              <a:gd name="connsiteY7478" fmla="*/ 1210509 h 6479439"/>
              <a:gd name="connsiteX7479" fmla="*/ 717955 w 9586368"/>
              <a:gd name="connsiteY7479" fmla="*/ 1200638 h 6479439"/>
              <a:gd name="connsiteX7480" fmla="*/ 482661 w 9586368"/>
              <a:gd name="connsiteY7480" fmla="*/ 1196599 h 6479439"/>
              <a:gd name="connsiteX7481" fmla="*/ 492572 w 9586368"/>
              <a:gd name="connsiteY7481" fmla="*/ 1196599 h 6479439"/>
              <a:gd name="connsiteX7482" fmla="*/ 496591 w 9586368"/>
              <a:gd name="connsiteY7482" fmla="*/ 1200638 h 6479439"/>
              <a:gd name="connsiteX7483" fmla="*/ 496591 w 9586368"/>
              <a:gd name="connsiteY7483" fmla="*/ 1210509 h 6479439"/>
              <a:gd name="connsiteX7484" fmla="*/ 492572 w 9586368"/>
              <a:gd name="connsiteY7484" fmla="*/ 1214548 h 6479439"/>
              <a:gd name="connsiteX7485" fmla="*/ 482661 w 9586368"/>
              <a:gd name="connsiteY7485" fmla="*/ 1214548 h 6479439"/>
              <a:gd name="connsiteX7486" fmla="*/ 478642 w 9586368"/>
              <a:gd name="connsiteY7486" fmla="*/ 1210509 h 6479439"/>
              <a:gd name="connsiteX7487" fmla="*/ 478642 w 9586368"/>
              <a:gd name="connsiteY7487" fmla="*/ 1200638 h 6479439"/>
              <a:gd name="connsiteX7488" fmla="*/ 243348 w 9586368"/>
              <a:gd name="connsiteY7488" fmla="*/ 1196599 h 6479439"/>
              <a:gd name="connsiteX7489" fmla="*/ 253258 w 9586368"/>
              <a:gd name="connsiteY7489" fmla="*/ 1196599 h 6479439"/>
              <a:gd name="connsiteX7490" fmla="*/ 257278 w 9586368"/>
              <a:gd name="connsiteY7490" fmla="*/ 1200638 h 6479439"/>
              <a:gd name="connsiteX7491" fmla="*/ 257278 w 9586368"/>
              <a:gd name="connsiteY7491" fmla="*/ 1210509 h 6479439"/>
              <a:gd name="connsiteX7492" fmla="*/ 253258 w 9586368"/>
              <a:gd name="connsiteY7492" fmla="*/ 1214548 h 6479439"/>
              <a:gd name="connsiteX7493" fmla="*/ 243348 w 9586368"/>
              <a:gd name="connsiteY7493" fmla="*/ 1214548 h 6479439"/>
              <a:gd name="connsiteX7494" fmla="*/ 239329 w 9586368"/>
              <a:gd name="connsiteY7494" fmla="*/ 1210509 h 6479439"/>
              <a:gd name="connsiteX7495" fmla="*/ 239329 w 9586368"/>
              <a:gd name="connsiteY7495" fmla="*/ 1200638 h 6479439"/>
              <a:gd name="connsiteX7496" fmla="*/ 1439900 w 9586368"/>
              <a:gd name="connsiteY7496" fmla="*/ 1196589 h 6479439"/>
              <a:gd name="connsiteX7497" fmla="*/ 1449810 w 9586368"/>
              <a:gd name="connsiteY7497" fmla="*/ 1196589 h 6479439"/>
              <a:gd name="connsiteX7498" fmla="*/ 1453829 w 9586368"/>
              <a:gd name="connsiteY7498" fmla="*/ 1200628 h 6479439"/>
              <a:gd name="connsiteX7499" fmla="*/ 1453829 w 9586368"/>
              <a:gd name="connsiteY7499" fmla="*/ 1210498 h 6479439"/>
              <a:gd name="connsiteX7500" fmla="*/ 1449810 w 9586368"/>
              <a:gd name="connsiteY7500" fmla="*/ 1214537 h 6479439"/>
              <a:gd name="connsiteX7501" fmla="*/ 1439900 w 9586368"/>
              <a:gd name="connsiteY7501" fmla="*/ 1214537 h 6479439"/>
              <a:gd name="connsiteX7502" fmla="*/ 1435881 w 9586368"/>
              <a:gd name="connsiteY7502" fmla="*/ 1210498 h 6479439"/>
              <a:gd name="connsiteX7503" fmla="*/ 1435881 w 9586368"/>
              <a:gd name="connsiteY7503" fmla="*/ 1200628 h 6479439"/>
              <a:gd name="connsiteX7504" fmla="*/ 1200584 w 9586368"/>
              <a:gd name="connsiteY7504" fmla="*/ 1196589 h 6479439"/>
              <a:gd name="connsiteX7505" fmla="*/ 1210494 w 9586368"/>
              <a:gd name="connsiteY7505" fmla="*/ 1196589 h 6479439"/>
              <a:gd name="connsiteX7506" fmla="*/ 1214512 w 9586368"/>
              <a:gd name="connsiteY7506" fmla="*/ 1200628 h 6479439"/>
              <a:gd name="connsiteX7507" fmla="*/ 1214512 w 9586368"/>
              <a:gd name="connsiteY7507" fmla="*/ 1210498 h 6479439"/>
              <a:gd name="connsiteX7508" fmla="*/ 1210494 w 9586368"/>
              <a:gd name="connsiteY7508" fmla="*/ 1214537 h 6479439"/>
              <a:gd name="connsiteX7509" fmla="*/ 1200584 w 9586368"/>
              <a:gd name="connsiteY7509" fmla="*/ 1214537 h 6479439"/>
              <a:gd name="connsiteX7510" fmla="*/ 1196565 w 9586368"/>
              <a:gd name="connsiteY7510" fmla="*/ 1210498 h 6479439"/>
              <a:gd name="connsiteX7511" fmla="*/ 1196565 w 9586368"/>
              <a:gd name="connsiteY7511" fmla="*/ 1200628 h 6479439"/>
              <a:gd name="connsiteX7512" fmla="*/ 961271 w 9586368"/>
              <a:gd name="connsiteY7512" fmla="*/ 1196589 h 6479439"/>
              <a:gd name="connsiteX7513" fmla="*/ 971181 w 9586368"/>
              <a:gd name="connsiteY7513" fmla="*/ 1196589 h 6479439"/>
              <a:gd name="connsiteX7514" fmla="*/ 975200 w 9586368"/>
              <a:gd name="connsiteY7514" fmla="*/ 1200628 h 6479439"/>
              <a:gd name="connsiteX7515" fmla="*/ 975200 w 9586368"/>
              <a:gd name="connsiteY7515" fmla="*/ 1210499 h 6479439"/>
              <a:gd name="connsiteX7516" fmla="*/ 971181 w 9586368"/>
              <a:gd name="connsiteY7516" fmla="*/ 1214537 h 6479439"/>
              <a:gd name="connsiteX7517" fmla="*/ 961271 w 9586368"/>
              <a:gd name="connsiteY7517" fmla="*/ 1214537 h 6479439"/>
              <a:gd name="connsiteX7518" fmla="*/ 957253 w 9586368"/>
              <a:gd name="connsiteY7518" fmla="*/ 1210499 h 6479439"/>
              <a:gd name="connsiteX7519" fmla="*/ 957253 w 9586368"/>
              <a:gd name="connsiteY7519" fmla="*/ 1200628 h 6479439"/>
              <a:gd name="connsiteX7520" fmla="*/ 1679217 w 9586368"/>
              <a:gd name="connsiteY7520" fmla="*/ 1196589 h 6479439"/>
              <a:gd name="connsiteX7521" fmla="*/ 1689127 w 9586368"/>
              <a:gd name="connsiteY7521" fmla="*/ 1196589 h 6479439"/>
              <a:gd name="connsiteX7522" fmla="*/ 1693146 w 9586368"/>
              <a:gd name="connsiteY7522" fmla="*/ 1200627 h 6479439"/>
              <a:gd name="connsiteX7523" fmla="*/ 1693146 w 9586368"/>
              <a:gd name="connsiteY7523" fmla="*/ 1210498 h 6479439"/>
              <a:gd name="connsiteX7524" fmla="*/ 1689127 w 9586368"/>
              <a:gd name="connsiteY7524" fmla="*/ 1214537 h 6479439"/>
              <a:gd name="connsiteX7525" fmla="*/ 1679217 w 9586368"/>
              <a:gd name="connsiteY7525" fmla="*/ 1214537 h 6479439"/>
              <a:gd name="connsiteX7526" fmla="*/ 1675198 w 9586368"/>
              <a:gd name="connsiteY7526" fmla="*/ 1210498 h 6479439"/>
              <a:gd name="connsiteX7527" fmla="*/ 1675198 w 9586368"/>
              <a:gd name="connsiteY7527" fmla="*/ 1200627 h 6479439"/>
              <a:gd name="connsiteX7528" fmla="*/ 1918514 w 9586368"/>
              <a:gd name="connsiteY7528" fmla="*/ 1196581 h 6479439"/>
              <a:gd name="connsiteX7529" fmla="*/ 1928424 w 9586368"/>
              <a:gd name="connsiteY7529" fmla="*/ 1196581 h 6479439"/>
              <a:gd name="connsiteX7530" fmla="*/ 1932443 w 9586368"/>
              <a:gd name="connsiteY7530" fmla="*/ 1200619 h 6479439"/>
              <a:gd name="connsiteX7531" fmla="*/ 1932443 w 9586368"/>
              <a:gd name="connsiteY7531" fmla="*/ 1210489 h 6479439"/>
              <a:gd name="connsiteX7532" fmla="*/ 1928424 w 9586368"/>
              <a:gd name="connsiteY7532" fmla="*/ 1214528 h 6479439"/>
              <a:gd name="connsiteX7533" fmla="*/ 1918514 w 9586368"/>
              <a:gd name="connsiteY7533" fmla="*/ 1214528 h 6479439"/>
              <a:gd name="connsiteX7534" fmla="*/ 1914495 w 9586368"/>
              <a:gd name="connsiteY7534" fmla="*/ 1210489 h 6479439"/>
              <a:gd name="connsiteX7535" fmla="*/ 1914495 w 9586368"/>
              <a:gd name="connsiteY7535" fmla="*/ 1200619 h 6479439"/>
              <a:gd name="connsiteX7536" fmla="*/ 2157823 w 9586368"/>
              <a:gd name="connsiteY7536" fmla="*/ 1196578 h 6479439"/>
              <a:gd name="connsiteX7537" fmla="*/ 2167733 w 9586368"/>
              <a:gd name="connsiteY7537" fmla="*/ 1196578 h 6479439"/>
              <a:gd name="connsiteX7538" fmla="*/ 2171751 w 9586368"/>
              <a:gd name="connsiteY7538" fmla="*/ 1200617 h 6479439"/>
              <a:gd name="connsiteX7539" fmla="*/ 2171751 w 9586368"/>
              <a:gd name="connsiteY7539" fmla="*/ 1210488 h 6479439"/>
              <a:gd name="connsiteX7540" fmla="*/ 2167733 w 9586368"/>
              <a:gd name="connsiteY7540" fmla="*/ 1214526 h 6479439"/>
              <a:gd name="connsiteX7541" fmla="*/ 2157823 w 9586368"/>
              <a:gd name="connsiteY7541" fmla="*/ 1214526 h 6479439"/>
              <a:gd name="connsiteX7542" fmla="*/ 2153803 w 9586368"/>
              <a:gd name="connsiteY7542" fmla="*/ 1210488 h 6479439"/>
              <a:gd name="connsiteX7543" fmla="*/ 2153803 w 9586368"/>
              <a:gd name="connsiteY7543" fmla="*/ 1200617 h 6479439"/>
              <a:gd name="connsiteX7544" fmla="*/ 3350359 w 9586368"/>
              <a:gd name="connsiteY7544" fmla="*/ 957358 h 6479439"/>
              <a:gd name="connsiteX7545" fmla="*/ 3360268 w 9586368"/>
              <a:gd name="connsiteY7545" fmla="*/ 957358 h 6479439"/>
              <a:gd name="connsiteX7546" fmla="*/ 3364287 w 9586368"/>
              <a:gd name="connsiteY7546" fmla="*/ 961396 h 6479439"/>
              <a:gd name="connsiteX7547" fmla="*/ 3364287 w 9586368"/>
              <a:gd name="connsiteY7547" fmla="*/ 971266 h 6479439"/>
              <a:gd name="connsiteX7548" fmla="*/ 3360268 w 9586368"/>
              <a:gd name="connsiteY7548" fmla="*/ 975304 h 6479439"/>
              <a:gd name="connsiteX7549" fmla="*/ 3350359 w 9586368"/>
              <a:gd name="connsiteY7549" fmla="*/ 975304 h 6479439"/>
              <a:gd name="connsiteX7550" fmla="*/ 3346340 w 9586368"/>
              <a:gd name="connsiteY7550" fmla="*/ 971266 h 6479439"/>
              <a:gd name="connsiteX7551" fmla="*/ 3346340 w 9586368"/>
              <a:gd name="connsiteY7551" fmla="*/ 961396 h 6479439"/>
              <a:gd name="connsiteX7552" fmla="*/ 3111048 w 9586368"/>
              <a:gd name="connsiteY7552" fmla="*/ 957358 h 6479439"/>
              <a:gd name="connsiteX7553" fmla="*/ 3120959 w 9586368"/>
              <a:gd name="connsiteY7553" fmla="*/ 957358 h 6479439"/>
              <a:gd name="connsiteX7554" fmla="*/ 3124977 w 9586368"/>
              <a:gd name="connsiteY7554" fmla="*/ 961396 h 6479439"/>
              <a:gd name="connsiteX7555" fmla="*/ 3124977 w 9586368"/>
              <a:gd name="connsiteY7555" fmla="*/ 971266 h 6479439"/>
              <a:gd name="connsiteX7556" fmla="*/ 3120959 w 9586368"/>
              <a:gd name="connsiteY7556" fmla="*/ 975304 h 6479439"/>
              <a:gd name="connsiteX7557" fmla="*/ 3111048 w 9586368"/>
              <a:gd name="connsiteY7557" fmla="*/ 975304 h 6479439"/>
              <a:gd name="connsiteX7558" fmla="*/ 3107029 w 9586368"/>
              <a:gd name="connsiteY7558" fmla="*/ 971266 h 6479439"/>
              <a:gd name="connsiteX7559" fmla="*/ 3107029 w 9586368"/>
              <a:gd name="connsiteY7559" fmla="*/ 961396 h 6479439"/>
              <a:gd name="connsiteX7560" fmla="*/ 2871737 w 9586368"/>
              <a:gd name="connsiteY7560" fmla="*/ 957358 h 6479439"/>
              <a:gd name="connsiteX7561" fmla="*/ 2881646 w 9586368"/>
              <a:gd name="connsiteY7561" fmla="*/ 957358 h 6479439"/>
              <a:gd name="connsiteX7562" fmla="*/ 2885666 w 9586368"/>
              <a:gd name="connsiteY7562" fmla="*/ 961396 h 6479439"/>
              <a:gd name="connsiteX7563" fmla="*/ 2885666 w 9586368"/>
              <a:gd name="connsiteY7563" fmla="*/ 971266 h 6479439"/>
              <a:gd name="connsiteX7564" fmla="*/ 2881646 w 9586368"/>
              <a:gd name="connsiteY7564" fmla="*/ 975304 h 6479439"/>
              <a:gd name="connsiteX7565" fmla="*/ 2871737 w 9586368"/>
              <a:gd name="connsiteY7565" fmla="*/ 975304 h 6479439"/>
              <a:gd name="connsiteX7566" fmla="*/ 2867717 w 9586368"/>
              <a:gd name="connsiteY7566" fmla="*/ 971266 h 6479439"/>
              <a:gd name="connsiteX7567" fmla="*/ 2867717 w 9586368"/>
              <a:gd name="connsiteY7567" fmla="*/ 961396 h 6479439"/>
              <a:gd name="connsiteX7568" fmla="*/ 2632423 w 9586368"/>
              <a:gd name="connsiteY7568" fmla="*/ 957358 h 6479439"/>
              <a:gd name="connsiteX7569" fmla="*/ 2642334 w 9586368"/>
              <a:gd name="connsiteY7569" fmla="*/ 957358 h 6479439"/>
              <a:gd name="connsiteX7570" fmla="*/ 2646352 w 9586368"/>
              <a:gd name="connsiteY7570" fmla="*/ 961396 h 6479439"/>
              <a:gd name="connsiteX7571" fmla="*/ 2646352 w 9586368"/>
              <a:gd name="connsiteY7571" fmla="*/ 971266 h 6479439"/>
              <a:gd name="connsiteX7572" fmla="*/ 2642334 w 9586368"/>
              <a:gd name="connsiteY7572" fmla="*/ 975305 h 6479439"/>
              <a:gd name="connsiteX7573" fmla="*/ 2632423 w 9586368"/>
              <a:gd name="connsiteY7573" fmla="*/ 975305 h 6479439"/>
              <a:gd name="connsiteX7574" fmla="*/ 2628404 w 9586368"/>
              <a:gd name="connsiteY7574" fmla="*/ 971266 h 6479439"/>
              <a:gd name="connsiteX7575" fmla="*/ 2628404 w 9586368"/>
              <a:gd name="connsiteY7575" fmla="*/ 961396 h 6479439"/>
              <a:gd name="connsiteX7576" fmla="*/ 2393104 w 9586368"/>
              <a:gd name="connsiteY7576" fmla="*/ 957358 h 6479439"/>
              <a:gd name="connsiteX7577" fmla="*/ 2403015 w 9586368"/>
              <a:gd name="connsiteY7577" fmla="*/ 957358 h 6479439"/>
              <a:gd name="connsiteX7578" fmla="*/ 2407034 w 9586368"/>
              <a:gd name="connsiteY7578" fmla="*/ 961396 h 6479439"/>
              <a:gd name="connsiteX7579" fmla="*/ 2407034 w 9586368"/>
              <a:gd name="connsiteY7579" fmla="*/ 971266 h 6479439"/>
              <a:gd name="connsiteX7580" fmla="*/ 2403015 w 9586368"/>
              <a:gd name="connsiteY7580" fmla="*/ 975305 h 6479439"/>
              <a:gd name="connsiteX7581" fmla="*/ 2393104 w 9586368"/>
              <a:gd name="connsiteY7581" fmla="*/ 975305 h 6479439"/>
              <a:gd name="connsiteX7582" fmla="*/ 2389087 w 9586368"/>
              <a:gd name="connsiteY7582" fmla="*/ 971266 h 6479439"/>
              <a:gd name="connsiteX7583" fmla="*/ 2389087 w 9586368"/>
              <a:gd name="connsiteY7583" fmla="*/ 961396 h 6479439"/>
              <a:gd name="connsiteX7584" fmla="*/ 4546929 w 9586368"/>
              <a:gd name="connsiteY7584" fmla="*/ 957347 h 6479439"/>
              <a:gd name="connsiteX7585" fmla="*/ 4556840 w 9586368"/>
              <a:gd name="connsiteY7585" fmla="*/ 957347 h 6479439"/>
              <a:gd name="connsiteX7586" fmla="*/ 4560859 w 9586368"/>
              <a:gd name="connsiteY7586" fmla="*/ 961385 h 6479439"/>
              <a:gd name="connsiteX7587" fmla="*/ 4560859 w 9586368"/>
              <a:gd name="connsiteY7587" fmla="*/ 971255 h 6479439"/>
              <a:gd name="connsiteX7588" fmla="*/ 4556840 w 9586368"/>
              <a:gd name="connsiteY7588" fmla="*/ 975293 h 6479439"/>
              <a:gd name="connsiteX7589" fmla="*/ 4546929 w 9586368"/>
              <a:gd name="connsiteY7589" fmla="*/ 975293 h 6479439"/>
              <a:gd name="connsiteX7590" fmla="*/ 4542910 w 9586368"/>
              <a:gd name="connsiteY7590" fmla="*/ 971255 h 6479439"/>
              <a:gd name="connsiteX7591" fmla="*/ 4542910 w 9586368"/>
              <a:gd name="connsiteY7591" fmla="*/ 961385 h 6479439"/>
              <a:gd name="connsiteX7592" fmla="*/ 4307612 w 9586368"/>
              <a:gd name="connsiteY7592" fmla="*/ 957347 h 6479439"/>
              <a:gd name="connsiteX7593" fmla="*/ 4317523 w 9586368"/>
              <a:gd name="connsiteY7593" fmla="*/ 957347 h 6479439"/>
              <a:gd name="connsiteX7594" fmla="*/ 4321543 w 9586368"/>
              <a:gd name="connsiteY7594" fmla="*/ 961385 h 6479439"/>
              <a:gd name="connsiteX7595" fmla="*/ 4321543 w 9586368"/>
              <a:gd name="connsiteY7595" fmla="*/ 971255 h 6479439"/>
              <a:gd name="connsiteX7596" fmla="*/ 4317523 w 9586368"/>
              <a:gd name="connsiteY7596" fmla="*/ 975293 h 6479439"/>
              <a:gd name="connsiteX7597" fmla="*/ 4307612 w 9586368"/>
              <a:gd name="connsiteY7597" fmla="*/ 975293 h 6479439"/>
              <a:gd name="connsiteX7598" fmla="*/ 4303595 w 9586368"/>
              <a:gd name="connsiteY7598" fmla="*/ 971255 h 6479439"/>
              <a:gd name="connsiteX7599" fmla="*/ 4303595 w 9586368"/>
              <a:gd name="connsiteY7599" fmla="*/ 961385 h 6479439"/>
              <a:gd name="connsiteX7600" fmla="*/ 4068297 w 9586368"/>
              <a:gd name="connsiteY7600" fmla="*/ 957347 h 6479439"/>
              <a:gd name="connsiteX7601" fmla="*/ 4078210 w 9586368"/>
              <a:gd name="connsiteY7601" fmla="*/ 957347 h 6479439"/>
              <a:gd name="connsiteX7602" fmla="*/ 4082229 w 9586368"/>
              <a:gd name="connsiteY7602" fmla="*/ 961385 h 6479439"/>
              <a:gd name="connsiteX7603" fmla="*/ 4082229 w 9586368"/>
              <a:gd name="connsiteY7603" fmla="*/ 971255 h 6479439"/>
              <a:gd name="connsiteX7604" fmla="*/ 4078210 w 9586368"/>
              <a:gd name="connsiteY7604" fmla="*/ 975293 h 6479439"/>
              <a:gd name="connsiteX7605" fmla="*/ 4068297 w 9586368"/>
              <a:gd name="connsiteY7605" fmla="*/ 975293 h 6479439"/>
              <a:gd name="connsiteX7606" fmla="*/ 4064278 w 9586368"/>
              <a:gd name="connsiteY7606" fmla="*/ 971255 h 6479439"/>
              <a:gd name="connsiteX7607" fmla="*/ 4064278 w 9586368"/>
              <a:gd name="connsiteY7607" fmla="*/ 961385 h 6479439"/>
              <a:gd name="connsiteX7608" fmla="*/ 3828990 w 9586368"/>
              <a:gd name="connsiteY7608" fmla="*/ 957347 h 6479439"/>
              <a:gd name="connsiteX7609" fmla="*/ 3838899 w 9586368"/>
              <a:gd name="connsiteY7609" fmla="*/ 957347 h 6479439"/>
              <a:gd name="connsiteX7610" fmla="*/ 3842917 w 9586368"/>
              <a:gd name="connsiteY7610" fmla="*/ 961385 h 6479439"/>
              <a:gd name="connsiteX7611" fmla="*/ 3842917 w 9586368"/>
              <a:gd name="connsiteY7611" fmla="*/ 971255 h 6479439"/>
              <a:gd name="connsiteX7612" fmla="*/ 3838899 w 9586368"/>
              <a:gd name="connsiteY7612" fmla="*/ 975293 h 6479439"/>
              <a:gd name="connsiteX7613" fmla="*/ 3828990 w 9586368"/>
              <a:gd name="connsiteY7613" fmla="*/ 975293 h 6479439"/>
              <a:gd name="connsiteX7614" fmla="*/ 3824971 w 9586368"/>
              <a:gd name="connsiteY7614" fmla="*/ 971255 h 6479439"/>
              <a:gd name="connsiteX7615" fmla="*/ 3824971 w 9586368"/>
              <a:gd name="connsiteY7615" fmla="*/ 961385 h 6479439"/>
              <a:gd name="connsiteX7616" fmla="*/ 3589676 w 9586368"/>
              <a:gd name="connsiteY7616" fmla="*/ 957347 h 6479439"/>
              <a:gd name="connsiteX7617" fmla="*/ 3599585 w 9586368"/>
              <a:gd name="connsiteY7617" fmla="*/ 957347 h 6479439"/>
              <a:gd name="connsiteX7618" fmla="*/ 3603604 w 9586368"/>
              <a:gd name="connsiteY7618" fmla="*/ 961385 h 6479439"/>
              <a:gd name="connsiteX7619" fmla="*/ 3603604 w 9586368"/>
              <a:gd name="connsiteY7619" fmla="*/ 971255 h 6479439"/>
              <a:gd name="connsiteX7620" fmla="*/ 3599585 w 9586368"/>
              <a:gd name="connsiteY7620" fmla="*/ 975293 h 6479439"/>
              <a:gd name="connsiteX7621" fmla="*/ 3589676 w 9586368"/>
              <a:gd name="connsiteY7621" fmla="*/ 975293 h 6479439"/>
              <a:gd name="connsiteX7622" fmla="*/ 3585657 w 9586368"/>
              <a:gd name="connsiteY7622" fmla="*/ 971255 h 6479439"/>
              <a:gd name="connsiteX7623" fmla="*/ 3585657 w 9586368"/>
              <a:gd name="connsiteY7623" fmla="*/ 961385 h 6479439"/>
              <a:gd name="connsiteX7624" fmla="*/ 5743412 w 9586368"/>
              <a:gd name="connsiteY7624" fmla="*/ 957335 h 6479439"/>
              <a:gd name="connsiteX7625" fmla="*/ 5753323 w 9586368"/>
              <a:gd name="connsiteY7625" fmla="*/ 957335 h 6479439"/>
              <a:gd name="connsiteX7626" fmla="*/ 5757342 w 9586368"/>
              <a:gd name="connsiteY7626" fmla="*/ 961373 h 6479439"/>
              <a:gd name="connsiteX7627" fmla="*/ 5757342 w 9586368"/>
              <a:gd name="connsiteY7627" fmla="*/ 971244 h 6479439"/>
              <a:gd name="connsiteX7628" fmla="*/ 5753323 w 9586368"/>
              <a:gd name="connsiteY7628" fmla="*/ 975282 h 6479439"/>
              <a:gd name="connsiteX7629" fmla="*/ 5743412 w 9586368"/>
              <a:gd name="connsiteY7629" fmla="*/ 975282 h 6479439"/>
              <a:gd name="connsiteX7630" fmla="*/ 5739393 w 9586368"/>
              <a:gd name="connsiteY7630" fmla="*/ 971244 h 6479439"/>
              <a:gd name="connsiteX7631" fmla="*/ 5739393 w 9586368"/>
              <a:gd name="connsiteY7631" fmla="*/ 961373 h 6479439"/>
              <a:gd name="connsiteX7632" fmla="*/ 5504099 w 9586368"/>
              <a:gd name="connsiteY7632" fmla="*/ 957335 h 6479439"/>
              <a:gd name="connsiteX7633" fmla="*/ 5514010 w 9586368"/>
              <a:gd name="connsiteY7633" fmla="*/ 957335 h 6479439"/>
              <a:gd name="connsiteX7634" fmla="*/ 5518029 w 9586368"/>
              <a:gd name="connsiteY7634" fmla="*/ 961373 h 6479439"/>
              <a:gd name="connsiteX7635" fmla="*/ 5518029 w 9586368"/>
              <a:gd name="connsiteY7635" fmla="*/ 971244 h 6479439"/>
              <a:gd name="connsiteX7636" fmla="*/ 5514010 w 9586368"/>
              <a:gd name="connsiteY7636" fmla="*/ 975282 h 6479439"/>
              <a:gd name="connsiteX7637" fmla="*/ 5504099 w 9586368"/>
              <a:gd name="connsiteY7637" fmla="*/ 975282 h 6479439"/>
              <a:gd name="connsiteX7638" fmla="*/ 5500080 w 9586368"/>
              <a:gd name="connsiteY7638" fmla="*/ 971244 h 6479439"/>
              <a:gd name="connsiteX7639" fmla="*/ 5500080 w 9586368"/>
              <a:gd name="connsiteY7639" fmla="*/ 961373 h 6479439"/>
              <a:gd name="connsiteX7640" fmla="*/ 5264784 w 9586368"/>
              <a:gd name="connsiteY7640" fmla="*/ 957335 h 6479439"/>
              <a:gd name="connsiteX7641" fmla="*/ 5274694 w 9586368"/>
              <a:gd name="connsiteY7641" fmla="*/ 957335 h 6479439"/>
              <a:gd name="connsiteX7642" fmla="*/ 5278713 w 9586368"/>
              <a:gd name="connsiteY7642" fmla="*/ 961373 h 6479439"/>
              <a:gd name="connsiteX7643" fmla="*/ 5278713 w 9586368"/>
              <a:gd name="connsiteY7643" fmla="*/ 971244 h 6479439"/>
              <a:gd name="connsiteX7644" fmla="*/ 5274694 w 9586368"/>
              <a:gd name="connsiteY7644" fmla="*/ 975282 h 6479439"/>
              <a:gd name="connsiteX7645" fmla="*/ 5264784 w 9586368"/>
              <a:gd name="connsiteY7645" fmla="*/ 975282 h 6479439"/>
              <a:gd name="connsiteX7646" fmla="*/ 5260765 w 9586368"/>
              <a:gd name="connsiteY7646" fmla="*/ 971244 h 6479439"/>
              <a:gd name="connsiteX7647" fmla="*/ 5260765 w 9586368"/>
              <a:gd name="connsiteY7647" fmla="*/ 961373 h 6479439"/>
              <a:gd name="connsiteX7648" fmla="*/ 5025470 w 9586368"/>
              <a:gd name="connsiteY7648" fmla="*/ 957335 h 6479439"/>
              <a:gd name="connsiteX7649" fmla="*/ 5035381 w 9586368"/>
              <a:gd name="connsiteY7649" fmla="*/ 957335 h 6479439"/>
              <a:gd name="connsiteX7650" fmla="*/ 5039400 w 9586368"/>
              <a:gd name="connsiteY7650" fmla="*/ 961373 h 6479439"/>
              <a:gd name="connsiteX7651" fmla="*/ 5039400 w 9586368"/>
              <a:gd name="connsiteY7651" fmla="*/ 971244 h 6479439"/>
              <a:gd name="connsiteX7652" fmla="*/ 5035381 w 9586368"/>
              <a:gd name="connsiteY7652" fmla="*/ 975283 h 6479439"/>
              <a:gd name="connsiteX7653" fmla="*/ 5025470 w 9586368"/>
              <a:gd name="connsiteY7653" fmla="*/ 975283 h 6479439"/>
              <a:gd name="connsiteX7654" fmla="*/ 5021451 w 9586368"/>
              <a:gd name="connsiteY7654" fmla="*/ 971244 h 6479439"/>
              <a:gd name="connsiteX7655" fmla="*/ 5021451 w 9586368"/>
              <a:gd name="connsiteY7655" fmla="*/ 961373 h 6479439"/>
              <a:gd name="connsiteX7656" fmla="*/ 4786241 w 9586368"/>
              <a:gd name="connsiteY7656" fmla="*/ 957335 h 6479439"/>
              <a:gd name="connsiteX7657" fmla="*/ 4796152 w 9586368"/>
              <a:gd name="connsiteY7657" fmla="*/ 957335 h 6479439"/>
              <a:gd name="connsiteX7658" fmla="*/ 4800171 w 9586368"/>
              <a:gd name="connsiteY7658" fmla="*/ 961374 h 6479439"/>
              <a:gd name="connsiteX7659" fmla="*/ 4800171 w 9586368"/>
              <a:gd name="connsiteY7659" fmla="*/ 971244 h 6479439"/>
              <a:gd name="connsiteX7660" fmla="*/ 4796152 w 9586368"/>
              <a:gd name="connsiteY7660" fmla="*/ 975283 h 6479439"/>
              <a:gd name="connsiteX7661" fmla="*/ 4786241 w 9586368"/>
              <a:gd name="connsiteY7661" fmla="*/ 975283 h 6479439"/>
              <a:gd name="connsiteX7662" fmla="*/ 4782224 w 9586368"/>
              <a:gd name="connsiteY7662" fmla="*/ 971244 h 6479439"/>
              <a:gd name="connsiteX7663" fmla="*/ 4782224 w 9586368"/>
              <a:gd name="connsiteY7663" fmla="*/ 961374 h 6479439"/>
              <a:gd name="connsiteX7664" fmla="*/ 6939983 w 9586368"/>
              <a:gd name="connsiteY7664" fmla="*/ 957324 h 6479439"/>
              <a:gd name="connsiteX7665" fmla="*/ 6949894 w 9586368"/>
              <a:gd name="connsiteY7665" fmla="*/ 957324 h 6479439"/>
              <a:gd name="connsiteX7666" fmla="*/ 6953913 w 9586368"/>
              <a:gd name="connsiteY7666" fmla="*/ 961363 h 6479439"/>
              <a:gd name="connsiteX7667" fmla="*/ 6953913 w 9586368"/>
              <a:gd name="connsiteY7667" fmla="*/ 971232 h 6479439"/>
              <a:gd name="connsiteX7668" fmla="*/ 6949894 w 9586368"/>
              <a:gd name="connsiteY7668" fmla="*/ 975271 h 6479439"/>
              <a:gd name="connsiteX7669" fmla="*/ 6939983 w 9586368"/>
              <a:gd name="connsiteY7669" fmla="*/ 975271 h 6479439"/>
              <a:gd name="connsiteX7670" fmla="*/ 6935964 w 9586368"/>
              <a:gd name="connsiteY7670" fmla="*/ 971232 h 6479439"/>
              <a:gd name="connsiteX7671" fmla="*/ 6935964 w 9586368"/>
              <a:gd name="connsiteY7671" fmla="*/ 961363 h 6479439"/>
              <a:gd name="connsiteX7672" fmla="*/ 6700670 w 9586368"/>
              <a:gd name="connsiteY7672" fmla="*/ 957324 h 6479439"/>
              <a:gd name="connsiteX7673" fmla="*/ 6710581 w 9586368"/>
              <a:gd name="connsiteY7673" fmla="*/ 957324 h 6479439"/>
              <a:gd name="connsiteX7674" fmla="*/ 6714600 w 9586368"/>
              <a:gd name="connsiteY7674" fmla="*/ 961363 h 6479439"/>
              <a:gd name="connsiteX7675" fmla="*/ 6714600 w 9586368"/>
              <a:gd name="connsiteY7675" fmla="*/ 971232 h 6479439"/>
              <a:gd name="connsiteX7676" fmla="*/ 6710581 w 9586368"/>
              <a:gd name="connsiteY7676" fmla="*/ 975271 h 6479439"/>
              <a:gd name="connsiteX7677" fmla="*/ 6700670 w 9586368"/>
              <a:gd name="connsiteY7677" fmla="*/ 975271 h 6479439"/>
              <a:gd name="connsiteX7678" fmla="*/ 6696651 w 9586368"/>
              <a:gd name="connsiteY7678" fmla="*/ 971232 h 6479439"/>
              <a:gd name="connsiteX7679" fmla="*/ 6696651 w 9586368"/>
              <a:gd name="connsiteY7679" fmla="*/ 961363 h 6479439"/>
              <a:gd name="connsiteX7680" fmla="*/ 6461356 w 9586368"/>
              <a:gd name="connsiteY7680" fmla="*/ 957324 h 6479439"/>
              <a:gd name="connsiteX7681" fmla="*/ 6471266 w 9586368"/>
              <a:gd name="connsiteY7681" fmla="*/ 957324 h 6479439"/>
              <a:gd name="connsiteX7682" fmla="*/ 6475285 w 9586368"/>
              <a:gd name="connsiteY7682" fmla="*/ 961363 h 6479439"/>
              <a:gd name="connsiteX7683" fmla="*/ 6475285 w 9586368"/>
              <a:gd name="connsiteY7683" fmla="*/ 971232 h 6479439"/>
              <a:gd name="connsiteX7684" fmla="*/ 6471266 w 9586368"/>
              <a:gd name="connsiteY7684" fmla="*/ 975271 h 6479439"/>
              <a:gd name="connsiteX7685" fmla="*/ 6461356 w 9586368"/>
              <a:gd name="connsiteY7685" fmla="*/ 975271 h 6479439"/>
              <a:gd name="connsiteX7686" fmla="*/ 6457337 w 9586368"/>
              <a:gd name="connsiteY7686" fmla="*/ 971232 h 6479439"/>
              <a:gd name="connsiteX7687" fmla="*/ 6457337 w 9586368"/>
              <a:gd name="connsiteY7687" fmla="*/ 961363 h 6479439"/>
              <a:gd name="connsiteX7688" fmla="*/ 6222042 w 9586368"/>
              <a:gd name="connsiteY7688" fmla="*/ 957324 h 6479439"/>
              <a:gd name="connsiteX7689" fmla="*/ 6231952 w 9586368"/>
              <a:gd name="connsiteY7689" fmla="*/ 957324 h 6479439"/>
              <a:gd name="connsiteX7690" fmla="*/ 6235971 w 9586368"/>
              <a:gd name="connsiteY7690" fmla="*/ 961363 h 6479439"/>
              <a:gd name="connsiteX7691" fmla="*/ 6235971 w 9586368"/>
              <a:gd name="connsiteY7691" fmla="*/ 971232 h 6479439"/>
              <a:gd name="connsiteX7692" fmla="*/ 6231952 w 9586368"/>
              <a:gd name="connsiteY7692" fmla="*/ 975271 h 6479439"/>
              <a:gd name="connsiteX7693" fmla="*/ 6222042 w 9586368"/>
              <a:gd name="connsiteY7693" fmla="*/ 975271 h 6479439"/>
              <a:gd name="connsiteX7694" fmla="*/ 6218023 w 9586368"/>
              <a:gd name="connsiteY7694" fmla="*/ 971232 h 6479439"/>
              <a:gd name="connsiteX7695" fmla="*/ 6218023 w 9586368"/>
              <a:gd name="connsiteY7695" fmla="*/ 961363 h 6479439"/>
              <a:gd name="connsiteX7696" fmla="*/ 5982729 w 9586368"/>
              <a:gd name="connsiteY7696" fmla="*/ 957324 h 6479439"/>
              <a:gd name="connsiteX7697" fmla="*/ 5992639 w 9586368"/>
              <a:gd name="connsiteY7697" fmla="*/ 957324 h 6479439"/>
              <a:gd name="connsiteX7698" fmla="*/ 5996658 w 9586368"/>
              <a:gd name="connsiteY7698" fmla="*/ 961363 h 6479439"/>
              <a:gd name="connsiteX7699" fmla="*/ 5996658 w 9586368"/>
              <a:gd name="connsiteY7699" fmla="*/ 971232 h 6479439"/>
              <a:gd name="connsiteX7700" fmla="*/ 5992639 w 9586368"/>
              <a:gd name="connsiteY7700" fmla="*/ 975271 h 6479439"/>
              <a:gd name="connsiteX7701" fmla="*/ 5982729 w 9586368"/>
              <a:gd name="connsiteY7701" fmla="*/ 975271 h 6479439"/>
              <a:gd name="connsiteX7702" fmla="*/ 5978710 w 9586368"/>
              <a:gd name="connsiteY7702" fmla="*/ 971232 h 6479439"/>
              <a:gd name="connsiteX7703" fmla="*/ 5978710 w 9586368"/>
              <a:gd name="connsiteY7703" fmla="*/ 961363 h 6479439"/>
              <a:gd name="connsiteX7704" fmla="*/ 8136553 w 9586368"/>
              <a:gd name="connsiteY7704" fmla="*/ 957313 h 6479439"/>
              <a:gd name="connsiteX7705" fmla="*/ 8146464 w 9586368"/>
              <a:gd name="connsiteY7705" fmla="*/ 957313 h 6479439"/>
              <a:gd name="connsiteX7706" fmla="*/ 8150483 w 9586368"/>
              <a:gd name="connsiteY7706" fmla="*/ 961351 h 6479439"/>
              <a:gd name="connsiteX7707" fmla="*/ 8150483 w 9586368"/>
              <a:gd name="connsiteY7707" fmla="*/ 971222 h 6479439"/>
              <a:gd name="connsiteX7708" fmla="*/ 8146464 w 9586368"/>
              <a:gd name="connsiteY7708" fmla="*/ 975260 h 6479439"/>
              <a:gd name="connsiteX7709" fmla="*/ 8136553 w 9586368"/>
              <a:gd name="connsiteY7709" fmla="*/ 975260 h 6479439"/>
              <a:gd name="connsiteX7710" fmla="*/ 8132534 w 9586368"/>
              <a:gd name="connsiteY7710" fmla="*/ 971222 h 6479439"/>
              <a:gd name="connsiteX7711" fmla="*/ 8132534 w 9586368"/>
              <a:gd name="connsiteY7711" fmla="*/ 961351 h 6479439"/>
              <a:gd name="connsiteX7712" fmla="*/ 7897241 w 9586368"/>
              <a:gd name="connsiteY7712" fmla="*/ 957313 h 6479439"/>
              <a:gd name="connsiteX7713" fmla="*/ 7907151 w 9586368"/>
              <a:gd name="connsiteY7713" fmla="*/ 957313 h 6479439"/>
              <a:gd name="connsiteX7714" fmla="*/ 7911170 w 9586368"/>
              <a:gd name="connsiteY7714" fmla="*/ 961351 h 6479439"/>
              <a:gd name="connsiteX7715" fmla="*/ 7911170 w 9586368"/>
              <a:gd name="connsiteY7715" fmla="*/ 971222 h 6479439"/>
              <a:gd name="connsiteX7716" fmla="*/ 7907151 w 9586368"/>
              <a:gd name="connsiteY7716" fmla="*/ 975260 h 6479439"/>
              <a:gd name="connsiteX7717" fmla="*/ 7897241 w 9586368"/>
              <a:gd name="connsiteY7717" fmla="*/ 975260 h 6479439"/>
              <a:gd name="connsiteX7718" fmla="*/ 7893222 w 9586368"/>
              <a:gd name="connsiteY7718" fmla="*/ 971222 h 6479439"/>
              <a:gd name="connsiteX7719" fmla="*/ 7893222 w 9586368"/>
              <a:gd name="connsiteY7719" fmla="*/ 961351 h 6479439"/>
              <a:gd name="connsiteX7720" fmla="*/ 7657926 w 9586368"/>
              <a:gd name="connsiteY7720" fmla="*/ 957313 h 6479439"/>
              <a:gd name="connsiteX7721" fmla="*/ 7667836 w 9586368"/>
              <a:gd name="connsiteY7721" fmla="*/ 957313 h 6479439"/>
              <a:gd name="connsiteX7722" fmla="*/ 7671855 w 9586368"/>
              <a:gd name="connsiteY7722" fmla="*/ 961351 h 6479439"/>
              <a:gd name="connsiteX7723" fmla="*/ 7671855 w 9586368"/>
              <a:gd name="connsiteY7723" fmla="*/ 971222 h 6479439"/>
              <a:gd name="connsiteX7724" fmla="*/ 7667836 w 9586368"/>
              <a:gd name="connsiteY7724" fmla="*/ 975260 h 6479439"/>
              <a:gd name="connsiteX7725" fmla="*/ 7657926 w 9586368"/>
              <a:gd name="connsiteY7725" fmla="*/ 975260 h 6479439"/>
              <a:gd name="connsiteX7726" fmla="*/ 7653906 w 9586368"/>
              <a:gd name="connsiteY7726" fmla="*/ 971222 h 6479439"/>
              <a:gd name="connsiteX7727" fmla="*/ 7653906 w 9586368"/>
              <a:gd name="connsiteY7727" fmla="*/ 961351 h 6479439"/>
              <a:gd name="connsiteX7728" fmla="*/ 7418611 w 9586368"/>
              <a:gd name="connsiteY7728" fmla="*/ 957313 h 6479439"/>
              <a:gd name="connsiteX7729" fmla="*/ 7428521 w 9586368"/>
              <a:gd name="connsiteY7729" fmla="*/ 957313 h 6479439"/>
              <a:gd name="connsiteX7730" fmla="*/ 7432540 w 9586368"/>
              <a:gd name="connsiteY7730" fmla="*/ 961351 h 6479439"/>
              <a:gd name="connsiteX7731" fmla="*/ 7432540 w 9586368"/>
              <a:gd name="connsiteY7731" fmla="*/ 971222 h 6479439"/>
              <a:gd name="connsiteX7732" fmla="*/ 7428521 w 9586368"/>
              <a:gd name="connsiteY7732" fmla="*/ 975260 h 6479439"/>
              <a:gd name="connsiteX7733" fmla="*/ 7418611 w 9586368"/>
              <a:gd name="connsiteY7733" fmla="*/ 975260 h 6479439"/>
              <a:gd name="connsiteX7734" fmla="*/ 7414592 w 9586368"/>
              <a:gd name="connsiteY7734" fmla="*/ 971222 h 6479439"/>
              <a:gd name="connsiteX7735" fmla="*/ 7414592 w 9586368"/>
              <a:gd name="connsiteY7735" fmla="*/ 961351 h 6479439"/>
              <a:gd name="connsiteX7736" fmla="*/ 7179298 w 9586368"/>
              <a:gd name="connsiteY7736" fmla="*/ 957313 h 6479439"/>
              <a:gd name="connsiteX7737" fmla="*/ 7189209 w 9586368"/>
              <a:gd name="connsiteY7737" fmla="*/ 957313 h 6479439"/>
              <a:gd name="connsiteX7738" fmla="*/ 7193228 w 9586368"/>
              <a:gd name="connsiteY7738" fmla="*/ 961351 h 6479439"/>
              <a:gd name="connsiteX7739" fmla="*/ 7193228 w 9586368"/>
              <a:gd name="connsiteY7739" fmla="*/ 971222 h 6479439"/>
              <a:gd name="connsiteX7740" fmla="*/ 7189209 w 9586368"/>
              <a:gd name="connsiteY7740" fmla="*/ 975260 h 6479439"/>
              <a:gd name="connsiteX7741" fmla="*/ 7179298 w 9586368"/>
              <a:gd name="connsiteY7741" fmla="*/ 975260 h 6479439"/>
              <a:gd name="connsiteX7742" fmla="*/ 7175279 w 9586368"/>
              <a:gd name="connsiteY7742" fmla="*/ 971222 h 6479439"/>
              <a:gd name="connsiteX7743" fmla="*/ 7175279 w 9586368"/>
              <a:gd name="connsiteY7743" fmla="*/ 961351 h 6479439"/>
              <a:gd name="connsiteX7744" fmla="*/ 1679217 w 9586368"/>
              <a:gd name="connsiteY7744" fmla="*/ 957309 h 6479439"/>
              <a:gd name="connsiteX7745" fmla="*/ 1689128 w 9586368"/>
              <a:gd name="connsiteY7745" fmla="*/ 957309 h 6479439"/>
              <a:gd name="connsiteX7746" fmla="*/ 1693147 w 9586368"/>
              <a:gd name="connsiteY7746" fmla="*/ 961347 h 6479439"/>
              <a:gd name="connsiteX7747" fmla="*/ 1693147 w 9586368"/>
              <a:gd name="connsiteY7747" fmla="*/ 971217 h 6479439"/>
              <a:gd name="connsiteX7748" fmla="*/ 1689128 w 9586368"/>
              <a:gd name="connsiteY7748" fmla="*/ 975256 h 6479439"/>
              <a:gd name="connsiteX7749" fmla="*/ 1679217 w 9586368"/>
              <a:gd name="connsiteY7749" fmla="*/ 975256 h 6479439"/>
              <a:gd name="connsiteX7750" fmla="*/ 1675199 w 9586368"/>
              <a:gd name="connsiteY7750" fmla="*/ 971217 h 6479439"/>
              <a:gd name="connsiteX7751" fmla="*/ 1675199 w 9586368"/>
              <a:gd name="connsiteY7751" fmla="*/ 961347 h 6479439"/>
              <a:gd name="connsiteX7752" fmla="*/ 1439901 w 9586368"/>
              <a:gd name="connsiteY7752" fmla="*/ 957309 h 6479439"/>
              <a:gd name="connsiteX7753" fmla="*/ 1449811 w 9586368"/>
              <a:gd name="connsiteY7753" fmla="*/ 957309 h 6479439"/>
              <a:gd name="connsiteX7754" fmla="*/ 1453829 w 9586368"/>
              <a:gd name="connsiteY7754" fmla="*/ 961347 h 6479439"/>
              <a:gd name="connsiteX7755" fmla="*/ 1453829 w 9586368"/>
              <a:gd name="connsiteY7755" fmla="*/ 971217 h 6479439"/>
              <a:gd name="connsiteX7756" fmla="*/ 1449811 w 9586368"/>
              <a:gd name="connsiteY7756" fmla="*/ 975256 h 6479439"/>
              <a:gd name="connsiteX7757" fmla="*/ 1439901 w 9586368"/>
              <a:gd name="connsiteY7757" fmla="*/ 975256 h 6479439"/>
              <a:gd name="connsiteX7758" fmla="*/ 1435881 w 9586368"/>
              <a:gd name="connsiteY7758" fmla="*/ 971217 h 6479439"/>
              <a:gd name="connsiteX7759" fmla="*/ 1435881 w 9586368"/>
              <a:gd name="connsiteY7759" fmla="*/ 961347 h 6479439"/>
              <a:gd name="connsiteX7760" fmla="*/ 1200584 w 9586368"/>
              <a:gd name="connsiteY7760" fmla="*/ 957309 h 6479439"/>
              <a:gd name="connsiteX7761" fmla="*/ 1210495 w 9586368"/>
              <a:gd name="connsiteY7761" fmla="*/ 957309 h 6479439"/>
              <a:gd name="connsiteX7762" fmla="*/ 1214513 w 9586368"/>
              <a:gd name="connsiteY7762" fmla="*/ 961347 h 6479439"/>
              <a:gd name="connsiteX7763" fmla="*/ 1214513 w 9586368"/>
              <a:gd name="connsiteY7763" fmla="*/ 971217 h 6479439"/>
              <a:gd name="connsiteX7764" fmla="*/ 1210495 w 9586368"/>
              <a:gd name="connsiteY7764" fmla="*/ 975256 h 6479439"/>
              <a:gd name="connsiteX7765" fmla="*/ 1200584 w 9586368"/>
              <a:gd name="connsiteY7765" fmla="*/ 975256 h 6479439"/>
              <a:gd name="connsiteX7766" fmla="*/ 1196566 w 9586368"/>
              <a:gd name="connsiteY7766" fmla="*/ 971217 h 6479439"/>
              <a:gd name="connsiteX7767" fmla="*/ 1196566 w 9586368"/>
              <a:gd name="connsiteY7767" fmla="*/ 961347 h 6479439"/>
              <a:gd name="connsiteX7768" fmla="*/ 961271 w 9586368"/>
              <a:gd name="connsiteY7768" fmla="*/ 957309 h 6479439"/>
              <a:gd name="connsiteX7769" fmla="*/ 971182 w 9586368"/>
              <a:gd name="connsiteY7769" fmla="*/ 957309 h 6479439"/>
              <a:gd name="connsiteX7770" fmla="*/ 975201 w 9586368"/>
              <a:gd name="connsiteY7770" fmla="*/ 961347 h 6479439"/>
              <a:gd name="connsiteX7771" fmla="*/ 975201 w 9586368"/>
              <a:gd name="connsiteY7771" fmla="*/ 971218 h 6479439"/>
              <a:gd name="connsiteX7772" fmla="*/ 971182 w 9586368"/>
              <a:gd name="connsiteY7772" fmla="*/ 975256 h 6479439"/>
              <a:gd name="connsiteX7773" fmla="*/ 961271 w 9586368"/>
              <a:gd name="connsiteY7773" fmla="*/ 975256 h 6479439"/>
              <a:gd name="connsiteX7774" fmla="*/ 957253 w 9586368"/>
              <a:gd name="connsiteY7774" fmla="*/ 971218 h 6479439"/>
              <a:gd name="connsiteX7775" fmla="*/ 957253 w 9586368"/>
              <a:gd name="connsiteY7775" fmla="*/ 961347 h 6479439"/>
              <a:gd name="connsiteX7776" fmla="*/ 9333125 w 9586368"/>
              <a:gd name="connsiteY7776" fmla="*/ 957302 h 6479439"/>
              <a:gd name="connsiteX7777" fmla="*/ 9343036 w 9586368"/>
              <a:gd name="connsiteY7777" fmla="*/ 957302 h 6479439"/>
              <a:gd name="connsiteX7778" fmla="*/ 9347055 w 9586368"/>
              <a:gd name="connsiteY7778" fmla="*/ 961340 h 6479439"/>
              <a:gd name="connsiteX7779" fmla="*/ 9347055 w 9586368"/>
              <a:gd name="connsiteY7779" fmla="*/ 971210 h 6479439"/>
              <a:gd name="connsiteX7780" fmla="*/ 9343036 w 9586368"/>
              <a:gd name="connsiteY7780" fmla="*/ 975249 h 6479439"/>
              <a:gd name="connsiteX7781" fmla="*/ 9333125 w 9586368"/>
              <a:gd name="connsiteY7781" fmla="*/ 975249 h 6479439"/>
              <a:gd name="connsiteX7782" fmla="*/ 9329106 w 9586368"/>
              <a:gd name="connsiteY7782" fmla="*/ 971210 h 6479439"/>
              <a:gd name="connsiteX7783" fmla="*/ 9329106 w 9586368"/>
              <a:gd name="connsiteY7783" fmla="*/ 961340 h 6479439"/>
              <a:gd name="connsiteX7784" fmla="*/ 9093811 w 9586368"/>
              <a:gd name="connsiteY7784" fmla="*/ 957302 h 6479439"/>
              <a:gd name="connsiteX7785" fmla="*/ 9103722 w 9586368"/>
              <a:gd name="connsiteY7785" fmla="*/ 957302 h 6479439"/>
              <a:gd name="connsiteX7786" fmla="*/ 9107741 w 9586368"/>
              <a:gd name="connsiteY7786" fmla="*/ 961340 h 6479439"/>
              <a:gd name="connsiteX7787" fmla="*/ 9107741 w 9586368"/>
              <a:gd name="connsiteY7787" fmla="*/ 971210 h 6479439"/>
              <a:gd name="connsiteX7788" fmla="*/ 9103722 w 9586368"/>
              <a:gd name="connsiteY7788" fmla="*/ 975249 h 6479439"/>
              <a:gd name="connsiteX7789" fmla="*/ 9093811 w 9586368"/>
              <a:gd name="connsiteY7789" fmla="*/ 975249 h 6479439"/>
              <a:gd name="connsiteX7790" fmla="*/ 9089792 w 9586368"/>
              <a:gd name="connsiteY7790" fmla="*/ 971210 h 6479439"/>
              <a:gd name="connsiteX7791" fmla="*/ 9089792 w 9586368"/>
              <a:gd name="connsiteY7791" fmla="*/ 961340 h 6479439"/>
              <a:gd name="connsiteX7792" fmla="*/ 8854496 w 9586368"/>
              <a:gd name="connsiteY7792" fmla="*/ 957302 h 6479439"/>
              <a:gd name="connsiteX7793" fmla="*/ 8864407 w 9586368"/>
              <a:gd name="connsiteY7793" fmla="*/ 957302 h 6479439"/>
              <a:gd name="connsiteX7794" fmla="*/ 8868426 w 9586368"/>
              <a:gd name="connsiteY7794" fmla="*/ 961340 h 6479439"/>
              <a:gd name="connsiteX7795" fmla="*/ 8868426 w 9586368"/>
              <a:gd name="connsiteY7795" fmla="*/ 971210 h 6479439"/>
              <a:gd name="connsiteX7796" fmla="*/ 8864407 w 9586368"/>
              <a:gd name="connsiteY7796" fmla="*/ 975249 h 6479439"/>
              <a:gd name="connsiteX7797" fmla="*/ 8854496 w 9586368"/>
              <a:gd name="connsiteY7797" fmla="*/ 975249 h 6479439"/>
              <a:gd name="connsiteX7798" fmla="*/ 8850477 w 9586368"/>
              <a:gd name="connsiteY7798" fmla="*/ 971210 h 6479439"/>
              <a:gd name="connsiteX7799" fmla="*/ 8850477 w 9586368"/>
              <a:gd name="connsiteY7799" fmla="*/ 961340 h 6479439"/>
              <a:gd name="connsiteX7800" fmla="*/ 8615184 w 9586368"/>
              <a:gd name="connsiteY7800" fmla="*/ 957302 h 6479439"/>
              <a:gd name="connsiteX7801" fmla="*/ 8625095 w 9586368"/>
              <a:gd name="connsiteY7801" fmla="*/ 957302 h 6479439"/>
              <a:gd name="connsiteX7802" fmla="*/ 8629114 w 9586368"/>
              <a:gd name="connsiteY7802" fmla="*/ 961340 h 6479439"/>
              <a:gd name="connsiteX7803" fmla="*/ 8629114 w 9586368"/>
              <a:gd name="connsiteY7803" fmla="*/ 971210 h 6479439"/>
              <a:gd name="connsiteX7804" fmla="*/ 8625095 w 9586368"/>
              <a:gd name="connsiteY7804" fmla="*/ 975249 h 6479439"/>
              <a:gd name="connsiteX7805" fmla="*/ 8615184 w 9586368"/>
              <a:gd name="connsiteY7805" fmla="*/ 975249 h 6479439"/>
              <a:gd name="connsiteX7806" fmla="*/ 8611165 w 9586368"/>
              <a:gd name="connsiteY7806" fmla="*/ 971210 h 6479439"/>
              <a:gd name="connsiteX7807" fmla="*/ 8611165 w 9586368"/>
              <a:gd name="connsiteY7807" fmla="*/ 961340 h 6479439"/>
              <a:gd name="connsiteX7808" fmla="*/ 8375869 w 9586368"/>
              <a:gd name="connsiteY7808" fmla="*/ 957302 h 6479439"/>
              <a:gd name="connsiteX7809" fmla="*/ 8385779 w 9586368"/>
              <a:gd name="connsiteY7809" fmla="*/ 957302 h 6479439"/>
              <a:gd name="connsiteX7810" fmla="*/ 8389799 w 9586368"/>
              <a:gd name="connsiteY7810" fmla="*/ 961340 h 6479439"/>
              <a:gd name="connsiteX7811" fmla="*/ 8389799 w 9586368"/>
              <a:gd name="connsiteY7811" fmla="*/ 971210 h 6479439"/>
              <a:gd name="connsiteX7812" fmla="*/ 8385779 w 9586368"/>
              <a:gd name="connsiteY7812" fmla="*/ 975249 h 6479439"/>
              <a:gd name="connsiteX7813" fmla="*/ 8375869 w 9586368"/>
              <a:gd name="connsiteY7813" fmla="*/ 975249 h 6479439"/>
              <a:gd name="connsiteX7814" fmla="*/ 8371850 w 9586368"/>
              <a:gd name="connsiteY7814" fmla="*/ 971210 h 6479439"/>
              <a:gd name="connsiteX7815" fmla="*/ 8371850 w 9586368"/>
              <a:gd name="connsiteY7815" fmla="*/ 961340 h 6479439"/>
              <a:gd name="connsiteX7816" fmla="*/ 1918514 w 9586368"/>
              <a:gd name="connsiteY7816" fmla="*/ 957301 h 6479439"/>
              <a:gd name="connsiteX7817" fmla="*/ 1928424 w 9586368"/>
              <a:gd name="connsiteY7817" fmla="*/ 957301 h 6479439"/>
              <a:gd name="connsiteX7818" fmla="*/ 1932444 w 9586368"/>
              <a:gd name="connsiteY7818" fmla="*/ 961339 h 6479439"/>
              <a:gd name="connsiteX7819" fmla="*/ 1932444 w 9586368"/>
              <a:gd name="connsiteY7819" fmla="*/ 971210 h 6479439"/>
              <a:gd name="connsiteX7820" fmla="*/ 1928424 w 9586368"/>
              <a:gd name="connsiteY7820" fmla="*/ 975249 h 6479439"/>
              <a:gd name="connsiteX7821" fmla="*/ 1918514 w 9586368"/>
              <a:gd name="connsiteY7821" fmla="*/ 975249 h 6479439"/>
              <a:gd name="connsiteX7822" fmla="*/ 1914495 w 9586368"/>
              <a:gd name="connsiteY7822" fmla="*/ 971210 h 6479439"/>
              <a:gd name="connsiteX7823" fmla="*/ 1914495 w 9586368"/>
              <a:gd name="connsiteY7823" fmla="*/ 961339 h 6479439"/>
              <a:gd name="connsiteX7824" fmla="*/ 2157823 w 9586368"/>
              <a:gd name="connsiteY7824" fmla="*/ 957299 h 6479439"/>
              <a:gd name="connsiteX7825" fmla="*/ 2167733 w 9586368"/>
              <a:gd name="connsiteY7825" fmla="*/ 957299 h 6479439"/>
              <a:gd name="connsiteX7826" fmla="*/ 2171751 w 9586368"/>
              <a:gd name="connsiteY7826" fmla="*/ 961337 h 6479439"/>
              <a:gd name="connsiteX7827" fmla="*/ 2171751 w 9586368"/>
              <a:gd name="connsiteY7827" fmla="*/ 971207 h 6479439"/>
              <a:gd name="connsiteX7828" fmla="*/ 2167733 w 9586368"/>
              <a:gd name="connsiteY7828" fmla="*/ 975246 h 6479439"/>
              <a:gd name="connsiteX7829" fmla="*/ 2157823 w 9586368"/>
              <a:gd name="connsiteY7829" fmla="*/ 975246 h 6479439"/>
              <a:gd name="connsiteX7830" fmla="*/ 2153804 w 9586368"/>
              <a:gd name="connsiteY7830" fmla="*/ 971207 h 6479439"/>
              <a:gd name="connsiteX7831" fmla="*/ 2153804 w 9586368"/>
              <a:gd name="connsiteY7831" fmla="*/ 961337 h 6479439"/>
              <a:gd name="connsiteX7832" fmla="*/ 9572438 w 9586368"/>
              <a:gd name="connsiteY7832" fmla="*/ 957291 h 6479439"/>
              <a:gd name="connsiteX7833" fmla="*/ 9582349 w 9586368"/>
              <a:gd name="connsiteY7833" fmla="*/ 957291 h 6479439"/>
              <a:gd name="connsiteX7834" fmla="*/ 9586368 w 9586368"/>
              <a:gd name="connsiteY7834" fmla="*/ 961329 h 6479439"/>
              <a:gd name="connsiteX7835" fmla="*/ 9586368 w 9586368"/>
              <a:gd name="connsiteY7835" fmla="*/ 971199 h 6479439"/>
              <a:gd name="connsiteX7836" fmla="*/ 9582349 w 9586368"/>
              <a:gd name="connsiteY7836" fmla="*/ 975238 h 6479439"/>
              <a:gd name="connsiteX7837" fmla="*/ 9572438 w 9586368"/>
              <a:gd name="connsiteY7837" fmla="*/ 975238 h 6479439"/>
              <a:gd name="connsiteX7838" fmla="*/ 9568419 w 9586368"/>
              <a:gd name="connsiteY7838" fmla="*/ 971199 h 6479439"/>
              <a:gd name="connsiteX7839" fmla="*/ 9568419 w 9586368"/>
              <a:gd name="connsiteY7839" fmla="*/ 961329 h 6479439"/>
              <a:gd name="connsiteX7840" fmla="*/ 721974 w 9586368"/>
              <a:gd name="connsiteY7840" fmla="*/ 957266 h 6479439"/>
              <a:gd name="connsiteX7841" fmla="*/ 731884 w 9586368"/>
              <a:gd name="connsiteY7841" fmla="*/ 957266 h 6479439"/>
              <a:gd name="connsiteX7842" fmla="*/ 735903 w 9586368"/>
              <a:gd name="connsiteY7842" fmla="*/ 961305 h 6479439"/>
              <a:gd name="connsiteX7843" fmla="*/ 735903 w 9586368"/>
              <a:gd name="connsiteY7843" fmla="*/ 971175 h 6479439"/>
              <a:gd name="connsiteX7844" fmla="*/ 731884 w 9586368"/>
              <a:gd name="connsiteY7844" fmla="*/ 975214 h 6479439"/>
              <a:gd name="connsiteX7845" fmla="*/ 721974 w 9586368"/>
              <a:gd name="connsiteY7845" fmla="*/ 975214 h 6479439"/>
              <a:gd name="connsiteX7846" fmla="*/ 717956 w 9586368"/>
              <a:gd name="connsiteY7846" fmla="*/ 971175 h 6479439"/>
              <a:gd name="connsiteX7847" fmla="*/ 717956 w 9586368"/>
              <a:gd name="connsiteY7847" fmla="*/ 961305 h 6479439"/>
              <a:gd name="connsiteX7848" fmla="*/ 482662 w 9586368"/>
              <a:gd name="connsiteY7848" fmla="*/ 957266 h 6479439"/>
              <a:gd name="connsiteX7849" fmla="*/ 492572 w 9586368"/>
              <a:gd name="connsiteY7849" fmla="*/ 957266 h 6479439"/>
              <a:gd name="connsiteX7850" fmla="*/ 496591 w 9586368"/>
              <a:gd name="connsiteY7850" fmla="*/ 961305 h 6479439"/>
              <a:gd name="connsiteX7851" fmla="*/ 496591 w 9586368"/>
              <a:gd name="connsiteY7851" fmla="*/ 971175 h 6479439"/>
              <a:gd name="connsiteX7852" fmla="*/ 492572 w 9586368"/>
              <a:gd name="connsiteY7852" fmla="*/ 975214 h 6479439"/>
              <a:gd name="connsiteX7853" fmla="*/ 482662 w 9586368"/>
              <a:gd name="connsiteY7853" fmla="*/ 975214 h 6479439"/>
              <a:gd name="connsiteX7854" fmla="*/ 478643 w 9586368"/>
              <a:gd name="connsiteY7854" fmla="*/ 971175 h 6479439"/>
              <a:gd name="connsiteX7855" fmla="*/ 478643 w 9586368"/>
              <a:gd name="connsiteY7855" fmla="*/ 961305 h 6479439"/>
              <a:gd name="connsiteX7856" fmla="*/ 243349 w 9586368"/>
              <a:gd name="connsiteY7856" fmla="*/ 957266 h 6479439"/>
              <a:gd name="connsiteX7857" fmla="*/ 253259 w 9586368"/>
              <a:gd name="connsiteY7857" fmla="*/ 957266 h 6479439"/>
              <a:gd name="connsiteX7858" fmla="*/ 257278 w 9586368"/>
              <a:gd name="connsiteY7858" fmla="*/ 961305 h 6479439"/>
              <a:gd name="connsiteX7859" fmla="*/ 257278 w 9586368"/>
              <a:gd name="connsiteY7859" fmla="*/ 971175 h 6479439"/>
              <a:gd name="connsiteX7860" fmla="*/ 253259 w 9586368"/>
              <a:gd name="connsiteY7860" fmla="*/ 975214 h 6479439"/>
              <a:gd name="connsiteX7861" fmla="*/ 243349 w 9586368"/>
              <a:gd name="connsiteY7861" fmla="*/ 975214 h 6479439"/>
              <a:gd name="connsiteX7862" fmla="*/ 239330 w 9586368"/>
              <a:gd name="connsiteY7862" fmla="*/ 971175 h 6479439"/>
              <a:gd name="connsiteX7863" fmla="*/ 239330 w 9586368"/>
              <a:gd name="connsiteY7863" fmla="*/ 961305 h 6479439"/>
              <a:gd name="connsiteX7864" fmla="*/ 4036 w 9586368"/>
              <a:gd name="connsiteY7864" fmla="*/ 957266 h 6479439"/>
              <a:gd name="connsiteX7865" fmla="*/ 13946 w 9586368"/>
              <a:gd name="connsiteY7865" fmla="*/ 957266 h 6479439"/>
              <a:gd name="connsiteX7866" fmla="*/ 17965 w 9586368"/>
              <a:gd name="connsiteY7866" fmla="*/ 961305 h 6479439"/>
              <a:gd name="connsiteX7867" fmla="*/ 17965 w 9586368"/>
              <a:gd name="connsiteY7867" fmla="*/ 971176 h 6479439"/>
              <a:gd name="connsiteX7868" fmla="*/ 13946 w 9586368"/>
              <a:gd name="connsiteY7868" fmla="*/ 975214 h 6479439"/>
              <a:gd name="connsiteX7869" fmla="*/ 4036 w 9586368"/>
              <a:gd name="connsiteY7869" fmla="*/ 975214 h 6479439"/>
              <a:gd name="connsiteX7870" fmla="*/ 16 w 9586368"/>
              <a:gd name="connsiteY7870" fmla="*/ 971176 h 6479439"/>
              <a:gd name="connsiteX7871" fmla="*/ 16 w 9586368"/>
              <a:gd name="connsiteY7871" fmla="*/ 961305 h 6479439"/>
              <a:gd name="connsiteX7872" fmla="*/ 3350359 w 9586368"/>
              <a:gd name="connsiteY7872" fmla="*/ 718040 h 6479439"/>
              <a:gd name="connsiteX7873" fmla="*/ 3360268 w 9586368"/>
              <a:gd name="connsiteY7873" fmla="*/ 718040 h 6479439"/>
              <a:gd name="connsiteX7874" fmla="*/ 3364287 w 9586368"/>
              <a:gd name="connsiteY7874" fmla="*/ 722078 h 6479439"/>
              <a:gd name="connsiteX7875" fmla="*/ 3364287 w 9586368"/>
              <a:gd name="connsiteY7875" fmla="*/ 731948 h 6479439"/>
              <a:gd name="connsiteX7876" fmla="*/ 3360268 w 9586368"/>
              <a:gd name="connsiteY7876" fmla="*/ 735987 h 6479439"/>
              <a:gd name="connsiteX7877" fmla="*/ 3350359 w 9586368"/>
              <a:gd name="connsiteY7877" fmla="*/ 735987 h 6479439"/>
              <a:gd name="connsiteX7878" fmla="*/ 3346340 w 9586368"/>
              <a:gd name="connsiteY7878" fmla="*/ 731948 h 6479439"/>
              <a:gd name="connsiteX7879" fmla="*/ 3346340 w 9586368"/>
              <a:gd name="connsiteY7879" fmla="*/ 722078 h 6479439"/>
              <a:gd name="connsiteX7880" fmla="*/ 3111048 w 9586368"/>
              <a:gd name="connsiteY7880" fmla="*/ 718040 h 6479439"/>
              <a:gd name="connsiteX7881" fmla="*/ 3120959 w 9586368"/>
              <a:gd name="connsiteY7881" fmla="*/ 718040 h 6479439"/>
              <a:gd name="connsiteX7882" fmla="*/ 3124977 w 9586368"/>
              <a:gd name="connsiteY7882" fmla="*/ 722078 h 6479439"/>
              <a:gd name="connsiteX7883" fmla="*/ 3124977 w 9586368"/>
              <a:gd name="connsiteY7883" fmla="*/ 731949 h 6479439"/>
              <a:gd name="connsiteX7884" fmla="*/ 3120959 w 9586368"/>
              <a:gd name="connsiteY7884" fmla="*/ 735987 h 6479439"/>
              <a:gd name="connsiteX7885" fmla="*/ 3111048 w 9586368"/>
              <a:gd name="connsiteY7885" fmla="*/ 735987 h 6479439"/>
              <a:gd name="connsiteX7886" fmla="*/ 3107029 w 9586368"/>
              <a:gd name="connsiteY7886" fmla="*/ 731949 h 6479439"/>
              <a:gd name="connsiteX7887" fmla="*/ 3107029 w 9586368"/>
              <a:gd name="connsiteY7887" fmla="*/ 722078 h 6479439"/>
              <a:gd name="connsiteX7888" fmla="*/ 2871737 w 9586368"/>
              <a:gd name="connsiteY7888" fmla="*/ 718040 h 6479439"/>
              <a:gd name="connsiteX7889" fmla="*/ 2881646 w 9586368"/>
              <a:gd name="connsiteY7889" fmla="*/ 718040 h 6479439"/>
              <a:gd name="connsiteX7890" fmla="*/ 2885666 w 9586368"/>
              <a:gd name="connsiteY7890" fmla="*/ 722078 h 6479439"/>
              <a:gd name="connsiteX7891" fmla="*/ 2885666 w 9586368"/>
              <a:gd name="connsiteY7891" fmla="*/ 731949 h 6479439"/>
              <a:gd name="connsiteX7892" fmla="*/ 2881646 w 9586368"/>
              <a:gd name="connsiteY7892" fmla="*/ 735987 h 6479439"/>
              <a:gd name="connsiteX7893" fmla="*/ 2871737 w 9586368"/>
              <a:gd name="connsiteY7893" fmla="*/ 735987 h 6479439"/>
              <a:gd name="connsiteX7894" fmla="*/ 2867717 w 9586368"/>
              <a:gd name="connsiteY7894" fmla="*/ 731949 h 6479439"/>
              <a:gd name="connsiteX7895" fmla="*/ 2867717 w 9586368"/>
              <a:gd name="connsiteY7895" fmla="*/ 722078 h 6479439"/>
              <a:gd name="connsiteX7896" fmla="*/ 2632423 w 9586368"/>
              <a:gd name="connsiteY7896" fmla="*/ 718040 h 6479439"/>
              <a:gd name="connsiteX7897" fmla="*/ 2642334 w 9586368"/>
              <a:gd name="connsiteY7897" fmla="*/ 718040 h 6479439"/>
              <a:gd name="connsiteX7898" fmla="*/ 2646352 w 9586368"/>
              <a:gd name="connsiteY7898" fmla="*/ 722078 h 6479439"/>
              <a:gd name="connsiteX7899" fmla="*/ 2646352 w 9586368"/>
              <a:gd name="connsiteY7899" fmla="*/ 731949 h 6479439"/>
              <a:gd name="connsiteX7900" fmla="*/ 2642334 w 9586368"/>
              <a:gd name="connsiteY7900" fmla="*/ 735988 h 6479439"/>
              <a:gd name="connsiteX7901" fmla="*/ 2632423 w 9586368"/>
              <a:gd name="connsiteY7901" fmla="*/ 735988 h 6479439"/>
              <a:gd name="connsiteX7902" fmla="*/ 2628404 w 9586368"/>
              <a:gd name="connsiteY7902" fmla="*/ 731949 h 6479439"/>
              <a:gd name="connsiteX7903" fmla="*/ 2628404 w 9586368"/>
              <a:gd name="connsiteY7903" fmla="*/ 722078 h 6479439"/>
              <a:gd name="connsiteX7904" fmla="*/ 2393104 w 9586368"/>
              <a:gd name="connsiteY7904" fmla="*/ 718040 h 6479439"/>
              <a:gd name="connsiteX7905" fmla="*/ 2403015 w 9586368"/>
              <a:gd name="connsiteY7905" fmla="*/ 718040 h 6479439"/>
              <a:gd name="connsiteX7906" fmla="*/ 2407034 w 9586368"/>
              <a:gd name="connsiteY7906" fmla="*/ 722078 h 6479439"/>
              <a:gd name="connsiteX7907" fmla="*/ 2407034 w 9586368"/>
              <a:gd name="connsiteY7907" fmla="*/ 731949 h 6479439"/>
              <a:gd name="connsiteX7908" fmla="*/ 2403015 w 9586368"/>
              <a:gd name="connsiteY7908" fmla="*/ 735988 h 6479439"/>
              <a:gd name="connsiteX7909" fmla="*/ 2393104 w 9586368"/>
              <a:gd name="connsiteY7909" fmla="*/ 735988 h 6479439"/>
              <a:gd name="connsiteX7910" fmla="*/ 2389087 w 9586368"/>
              <a:gd name="connsiteY7910" fmla="*/ 731949 h 6479439"/>
              <a:gd name="connsiteX7911" fmla="*/ 2389087 w 9586368"/>
              <a:gd name="connsiteY7911" fmla="*/ 722078 h 6479439"/>
              <a:gd name="connsiteX7912" fmla="*/ 4546929 w 9586368"/>
              <a:gd name="connsiteY7912" fmla="*/ 718028 h 6479439"/>
              <a:gd name="connsiteX7913" fmla="*/ 4556840 w 9586368"/>
              <a:gd name="connsiteY7913" fmla="*/ 718028 h 6479439"/>
              <a:gd name="connsiteX7914" fmla="*/ 4560859 w 9586368"/>
              <a:gd name="connsiteY7914" fmla="*/ 722066 h 6479439"/>
              <a:gd name="connsiteX7915" fmla="*/ 4560859 w 9586368"/>
              <a:gd name="connsiteY7915" fmla="*/ 731935 h 6479439"/>
              <a:gd name="connsiteX7916" fmla="*/ 4556840 w 9586368"/>
              <a:gd name="connsiteY7916" fmla="*/ 735975 h 6479439"/>
              <a:gd name="connsiteX7917" fmla="*/ 4546929 w 9586368"/>
              <a:gd name="connsiteY7917" fmla="*/ 735975 h 6479439"/>
              <a:gd name="connsiteX7918" fmla="*/ 4542910 w 9586368"/>
              <a:gd name="connsiteY7918" fmla="*/ 731935 h 6479439"/>
              <a:gd name="connsiteX7919" fmla="*/ 4542910 w 9586368"/>
              <a:gd name="connsiteY7919" fmla="*/ 722066 h 6479439"/>
              <a:gd name="connsiteX7920" fmla="*/ 4307612 w 9586368"/>
              <a:gd name="connsiteY7920" fmla="*/ 718028 h 6479439"/>
              <a:gd name="connsiteX7921" fmla="*/ 4317523 w 9586368"/>
              <a:gd name="connsiteY7921" fmla="*/ 718028 h 6479439"/>
              <a:gd name="connsiteX7922" fmla="*/ 4321543 w 9586368"/>
              <a:gd name="connsiteY7922" fmla="*/ 722066 h 6479439"/>
              <a:gd name="connsiteX7923" fmla="*/ 4321543 w 9586368"/>
              <a:gd name="connsiteY7923" fmla="*/ 731936 h 6479439"/>
              <a:gd name="connsiteX7924" fmla="*/ 4317523 w 9586368"/>
              <a:gd name="connsiteY7924" fmla="*/ 735975 h 6479439"/>
              <a:gd name="connsiteX7925" fmla="*/ 4307612 w 9586368"/>
              <a:gd name="connsiteY7925" fmla="*/ 735975 h 6479439"/>
              <a:gd name="connsiteX7926" fmla="*/ 4303595 w 9586368"/>
              <a:gd name="connsiteY7926" fmla="*/ 731936 h 6479439"/>
              <a:gd name="connsiteX7927" fmla="*/ 4303595 w 9586368"/>
              <a:gd name="connsiteY7927" fmla="*/ 722066 h 6479439"/>
              <a:gd name="connsiteX7928" fmla="*/ 4068297 w 9586368"/>
              <a:gd name="connsiteY7928" fmla="*/ 718028 h 6479439"/>
              <a:gd name="connsiteX7929" fmla="*/ 4078210 w 9586368"/>
              <a:gd name="connsiteY7929" fmla="*/ 718028 h 6479439"/>
              <a:gd name="connsiteX7930" fmla="*/ 4082229 w 9586368"/>
              <a:gd name="connsiteY7930" fmla="*/ 722066 h 6479439"/>
              <a:gd name="connsiteX7931" fmla="*/ 4082229 w 9586368"/>
              <a:gd name="connsiteY7931" fmla="*/ 731936 h 6479439"/>
              <a:gd name="connsiteX7932" fmla="*/ 4078210 w 9586368"/>
              <a:gd name="connsiteY7932" fmla="*/ 735975 h 6479439"/>
              <a:gd name="connsiteX7933" fmla="*/ 4068297 w 9586368"/>
              <a:gd name="connsiteY7933" fmla="*/ 735975 h 6479439"/>
              <a:gd name="connsiteX7934" fmla="*/ 4064278 w 9586368"/>
              <a:gd name="connsiteY7934" fmla="*/ 731936 h 6479439"/>
              <a:gd name="connsiteX7935" fmla="*/ 4064278 w 9586368"/>
              <a:gd name="connsiteY7935" fmla="*/ 722066 h 6479439"/>
              <a:gd name="connsiteX7936" fmla="*/ 3828990 w 9586368"/>
              <a:gd name="connsiteY7936" fmla="*/ 718028 h 6479439"/>
              <a:gd name="connsiteX7937" fmla="*/ 3838899 w 9586368"/>
              <a:gd name="connsiteY7937" fmla="*/ 718028 h 6479439"/>
              <a:gd name="connsiteX7938" fmla="*/ 3842917 w 9586368"/>
              <a:gd name="connsiteY7938" fmla="*/ 722066 h 6479439"/>
              <a:gd name="connsiteX7939" fmla="*/ 3842917 w 9586368"/>
              <a:gd name="connsiteY7939" fmla="*/ 731936 h 6479439"/>
              <a:gd name="connsiteX7940" fmla="*/ 3838899 w 9586368"/>
              <a:gd name="connsiteY7940" fmla="*/ 735975 h 6479439"/>
              <a:gd name="connsiteX7941" fmla="*/ 3828990 w 9586368"/>
              <a:gd name="connsiteY7941" fmla="*/ 735975 h 6479439"/>
              <a:gd name="connsiteX7942" fmla="*/ 3824971 w 9586368"/>
              <a:gd name="connsiteY7942" fmla="*/ 731936 h 6479439"/>
              <a:gd name="connsiteX7943" fmla="*/ 3824971 w 9586368"/>
              <a:gd name="connsiteY7943" fmla="*/ 722066 h 6479439"/>
              <a:gd name="connsiteX7944" fmla="*/ 3589676 w 9586368"/>
              <a:gd name="connsiteY7944" fmla="*/ 718028 h 6479439"/>
              <a:gd name="connsiteX7945" fmla="*/ 3599585 w 9586368"/>
              <a:gd name="connsiteY7945" fmla="*/ 718028 h 6479439"/>
              <a:gd name="connsiteX7946" fmla="*/ 3603604 w 9586368"/>
              <a:gd name="connsiteY7946" fmla="*/ 722066 h 6479439"/>
              <a:gd name="connsiteX7947" fmla="*/ 3603604 w 9586368"/>
              <a:gd name="connsiteY7947" fmla="*/ 731936 h 6479439"/>
              <a:gd name="connsiteX7948" fmla="*/ 3599585 w 9586368"/>
              <a:gd name="connsiteY7948" fmla="*/ 735975 h 6479439"/>
              <a:gd name="connsiteX7949" fmla="*/ 3589676 w 9586368"/>
              <a:gd name="connsiteY7949" fmla="*/ 735975 h 6479439"/>
              <a:gd name="connsiteX7950" fmla="*/ 3585657 w 9586368"/>
              <a:gd name="connsiteY7950" fmla="*/ 731936 h 6479439"/>
              <a:gd name="connsiteX7951" fmla="*/ 3585657 w 9586368"/>
              <a:gd name="connsiteY7951" fmla="*/ 722066 h 6479439"/>
              <a:gd name="connsiteX7952" fmla="*/ 5743412 w 9586368"/>
              <a:gd name="connsiteY7952" fmla="*/ 718015 h 6479439"/>
              <a:gd name="connsiteX7953" fmla="*/ 5753323 w 9586368"/>
              <a:gd name="connsiteY7953" fmla="*/ 718015 h 6479439"/>
              <a:gd name="connsiteX7954" fmla="*/ 5757342 w 9586368"/>
              <a:gd name="connsiteY7954" fmla="*/ 722053 h 6479439"/>
              <a:gd name="connsiteX7955" fmla="*/ 5757342 w 9586368"/>
              <a:gd name="connsiteY7955" fmla="*/ 731924 h 6479439"/>
              <a:gd name="connsiteX7956" fmla="*/ 5753323 w 9586368"/>
              <a:gd name="connsiteY7956" fmla="*/ 735963 h 6479439"/>
              <a:gd name="connsiteX7957" fmla="*/ 5743412 w 9586368"/>
              <a:gd name="connsiteY7957" fmla="*/ 735963 h 6479439"/>
              <a:gd name="connsiteX7958" fmla="*/ 5739393 w 9586368"/>
              <a:gd name="connsiteY7958" fmla="*/ 731924 h 6479439"/>
              <a:gd name="connsiteX7959" fmla="*/ 5739393 w 9586368"/>
              <a:gd name="connsiteY7959" fmla="*/ 722053 h 6479439"/>
              <a:gd name="connsiteX7960" fmla="*/ 5504099 w 9586368"/>
              <a:gd name="connsiteY7960" fmla="*/ 718015 h 6479439"/>
              <a:gd name="connsiteX7961" fmla="*/ 5514010 w 9586368"/>
              <a:gd name="connsiteY7961" fmla="*/ 718015 h 6479439"/>
              <a:gd name="connsiteX7962" fmla="*/ 5518029 w 9586368"/>
              <a:gd name="connsiteY7962" fmla="*/ 722053 h 6479439"/>
              <a:gd name="connsiteX7963" fmla="*/ 5518029 w 9586368"/>
              <a:gd name="connsiteY7963" fmla="*/ 731924 h 6479439"/>
              <a:gd name="connsiteX7964" fmla="*/ 5514010 w 9586368"/>
              <a:gd name="connsiteY7964" fmla="*/ 735963 h 6479439"/>
              <a:gd name="connsiteX7965" fmla="*/ 5504099 w 9586368"/>
              <a:gd name="connsiteY7965" fmla="*/ 735963 h 6479439"/>
              <a:gd name="connsiteX7966" fmla="*/ 5500080 w 9586368"/>
              <a:gd name="connsiteY7966" fmla="*/ 731924 h 6479439"/>
              <a:gd name="connsiteX7967" fmla="*/ 5500080 w 9586368"/>
              <a:gd name="connsiteY7967" fmla="*/ 722053 h 6479439"/>
              <a:gd name="connsiteX7968" fmla="*/ 5264784 w 9586368"/>
              <a:gd name="connsiteY7968" fmla="*/ 718015 h 6479439"/>
              <a:gd name="connsiteX7969" fmla="*/ 5274694 w 9586368"/>
              <a:gd name="connsiteY7969" fmla="*/ 718015 h 6479439"/>
              <a:gd name="connsiteX7970" fmla="*/ 5278713 w 9586368"/>
              <a:gd name="connsiteY7970" fmla="*/ 722053 h 6479439"/>
              <a:gd name="connsiteX7971" fmla="*/ 5278713 w 9586368"/>
              <a:gd name="connsiteY7971" fmla="*/ 731924 h 6479439"/>
              <a:gd name="connsiteX7972" fmla="*/ 5274694 w 9586368"/>
              <a:gd name="connsiteY7972" fmla="*/ 735963 h 6479439"/>
              <a:gd name="connsiteX7973" fmla="*/ 5264784 w 9586368"/>
              <a:gd name="connsiteY7973" fmla="*/ 735963 h 6479439"/>
              <a:gd name="connsiteX7974" fmla="*/ 5260765 w 9586368"/>
              <a:gd name="connsiteY7974" fmla="*/ 731924 h 6479439"/>
              <a:gd name="connsiteX7975" fmla="*/ 5260765 w 9586368"/>
              <a:gd name="connsiteY7975" fmla="*/ 722053 h 6479439"/>
              <a:gd name="connsiteX7976" fmla="*/ 5025470 w 9586368"/>
              <a:gd name="connsiteY7976" fmla="*/ 718015 h 6479439"/>
              <a:gd name="connsiteX7977" fmla="*/ 5035381 w 9586368"/>
              <a:gd name="connsiteY7977" fmla="*/ 718015 h 6479439"/>
              <a:gd name="connsiteX7978" fmla="*/ 5039400 w 9586368"/>
              <a:gd name="connsiteY7978" fmla="*/ 722053 h 6479439"/>
              <a:gd name="connsiteX7979" fmla="*/ 5039400 w 9586368"/>
              <a:gd name="connsiteY7979" fmla="*/ 731924 h 6479439"/>
              <a:gd name="connsiteX7980" fmla="*/ 5035381 w 9586368"/>
              <a:gd name="connsiteY7980" fmla="*/ 735963 h 6479439"/>
              <a:gd name="connsiteX7981" fmla="*/ 5025470 w 9586368"/>
              <a:gd name="connsiteY7981" fmla="*/ 735963 h 6479439"/>
              <a:gd name="connsiteX7982" fmla="*/ 5021451 w 9586368"/>
              <a:gd name="connsiteY7982" fmla="*/ 731924 h 6479439"/>
              <a:gd name="connsiteX7983" fmla="*/ 5021451 w 9586368"/>
              <a:gd name="connsiteY7983" fmla="*/ 722053 h 6479439"/>
              <a:gd name="connsiteX7984" fmla="*/ 4786241 w 9586368"/>
              <a:gd name="connsiteY7984" fmla="*/ 718015 h 6479439"/>
              <a:gd name="connsiteX7985" fmla="*/ 4796152 w 9586368"/>
              <a:gd name="connsiteY7985" fmla="*/ 718015 h 6479439"/>
              <a:gd name="connsiteX7986" fmla="*/ 4800171 w 9586368"/>
              <a:gd name="connsiteY7986" fmla="*/ 722053 h 6479439"/>
              <a:gd name="connsiteX7987" fmla="*/ 4800171 w 9586368"/>
              <a:gd name="connsiteY7987" fmla="*/ 731924 h 6479439"/>
              <a:gd name="connsiteX7988" fmla="*/ 4796152 w 9586368"/>
              <a:gd name="connsiteY7988" fmla="*/ 735963 h 6479439"/>
              <a:gd name="connsiteX7989" fmla="*/ 4786241 w 9586368"/>
              <a:gd name="connsiteY7989" fmla="*/ 735963 h 6479439"/>
              <a:gd name="connsiteX7990" fmla="*/ 4782224 w 9586368"/>
              <a:gd name="connsiteY7990" fmla="*/ 731924 h 6479439"/>
              <a:gd name="connsiteX7991" fmla="*/ 4782224 w 9586368"/>
              <a:gd name="connsiteY7991" fmla="*/ 722053 h 6479439"/>
              <a:gd name="connsiteX7992" fmla="*/ 6939983 w 9586368"/>
              <a:gd name="connsiteY7992" fmla="*/ 718003 h 6479439"/>
              <a:gd name="connsiteX7993" fmla="*/ 6949894 w 9586368"/>
              <a:gd name="connsiteY7993" fmla="*/ 718003 h 6479439"/>
              <a:gd name="connsiteX7994" fmla="*/ 6953913 w 9586368"/>
              <a:gd name="connsiteY7994" fmla="*/ 722041 h 6479439"/>
              <a:gd name="connsiteX7995" fmla="*/ 6953913 w 9586368"/>
              <a:gd name="connsiteY7995" fmla="*/ 731911 h 6479439"/>
              <a:gd name="connsiteX7996" fmla="*/ 6949894 w 9586368"/>
              <a:gd name="connsiteY7996" fmla="*/ 735950 h 6479439"/>
              <a:gd name="connsiteX7997" fmla="*/ 6939983 w 9586368"/>
              <a:gd name="connsiteY7997" fmla="*/ 735950 h 6479439"/>
              <a:gd name="connsiteX7998" fmla="*/ 6935964 w 9586368"/>
              <a:gd name="connsiteY7998" fmla="*/ 731911 h 6479439"/>
              <a:gd name="connsiteX7999" fmla="*/ 6935964 w 9586368"/>
              <a:gd name="connsiteY7999" fmla="*/ 722041 h 6479439"/>
              <a:gd name="connsiteX8000" fmla="*/ 6700670 w 9586368"/>
              <a:gd name="connsiteY8000" fmla="*/ 718003 h 6479439"/>
              <a:gd name="connsiteX8001" fmla="*/ 6710581 w 9586368"/>
              <a:gd name="connsiteY8001" fmla="*/ 718003 h 6479439"/>
              <a:gd name="connsiteX8002" fmla="*/ 6714600 w 9586368"/>
              <a:gd name="connsiteY8002" fmla="*/ 722041 h 6479439"/>
              <a:gd name="connsiteX8003" fmla="*/ 6714600 w 9586368"/>
              <a:gd name="connsiteY8003" fmla="*/ 731912 h 6479439"/>
              <a:gd name="connsiteX8004" fmla="*/ 6710581 w 9586368"/>
              <a:gd name="connsiteY8004" fmla="*/ 735950 h 6479439"/>
              <a:gd name="connsiteX8005" fmla="*/ 6700670 w 9586368"/>
              <a:gd name="connsiteY8005" fmla="*/ 735950 h 6479439"/>
              <a:gd name="connsiteX8006" fmla="*/ 6696651 w 9586368"/>
              <a:gd name="connsiteY8006" fmla="*/ 731912 h 6479439"/>
              <a:gd name="connsiteX8007" fmla="*/ 6696651 w 9586368"/>
              <a:gd name="connsiteY8007" fmla="*/ 722041 h 6479439"/>
              <a:gd name="connsiteX8008" fmla="*/ 6461356 w 9586368"/>
              <a:gd name="connsiteY8008" fmla="*/ 718003 h 6479439"/>
              <a:gd name="connsiteX8009" fmla="*/ 6471266 w 9586368"/>
              <a:gd name="connsiteY8009" fmla="*/ 718003 h 6479439"/>
              <a:gd name="connsiteX8010" fmla="*/ 6475285 w 9586368"/>
              <a:gd name="connsiteY8010" fmla="*/ 722041 h 6479439"/>
              <a:gd name="connsiteX8011" fmla="*/ 6475285 w 9586368"/>
              <a:gd name="connsiteY8011" fmla="*/ 731912 h 6479439"/>
              <a:gd name="connsiteX8012" fmla="*/ 6471266 w 9586368"/>
              <a:gd name="connsiteY8012" fmla="*/ 735950 h 6479439"/>
              <a:gd name="connsiteX8013" fmla="*/ 6461356 w 9586368"/>
              <a:gd name="connsiteY8013" fmla="*/ 735950 h 6479439"/>
              <a:gd name="connsiteX8014" fmla="*/ 6457337 w 9586368"/>
              <a:gd name="connsiteY8014" fmla="*/ 731912 h 6479439"/>
              <a:gd name="connsiteX8015" fmla="*/ 6457337 w 9586368"/>
              <a:gd name="connsiteY8015" fmla="*/ 722041 h 6479439"/>
              <a:gd name="connsiteX8016" fmla="*/ 6222042 w 9586368"/>
              <a:gd name="connsiteY8016" fmla="*/ 718003 h 6479439"/>
              <a:gd name="connsiteX8017" fmla="*/ 6231952 w 9586368"/>
              <a:gd name="connsiteY8017" fmla="*/ 718003 h 6479439"/>
              <a:gd name="connsiteX8018" fmla="*/ 6235971 w 9586368"/>
              <a:gd name="connsiteY8018" fmla="*/ 722041 h 6479439"/>
              <a:gd name="connsiteX8019" fmla="*/ 6235971 w 9586368"/>
              <a:gd name="connsiteY8019" fmla="*/ 731912 h 6479439"/>
              <a:gd name="connsiteX8020" fmla="*/ 6231952 w 9586368"/>
              <a:gd name="connsiteY8020" fmla="*/ 735951 h 6479439"/>
              <a:gd name="connsiteX8021" fmla="*/ 6222042 w 9586368"/>
              <a:gd name="connsiteY8021" fmla="*/ 735951 h 6479439"/>
              <a:gd name="connsiteX8022" fmla="*/ 6218023 w 9586368"/>
              <a:gd name="connsiteY8022" fmla="*/ 731912 h 6479439"/>
              <a:gd name="connsiteX8023" fmla="*/ 6218023 w 9586368"/>
              <a:gd name="connsiteY8023" fmla="*/ 722041 h 6479439"/>
              <a:gd name="connsiteX8024" fmla="*/ 5982729 w 9586368"/>
              <a:gd name="connsiteY8024" fmla="*/ 718003 h 6479439"/>
              <a:gd name="connsiteX8025" fmla="*/ 5992639 w 9586368"/>
              <a:gd name="connsiteY8025" fmla="*/ 718003 h 6479439"/>
              <a:gd name="connsiteX8026" fmla="*/ 5996658 w 9586368"/>
              <a:gd name="connsiteY8026" fmla="*/ 722041 h 6479439"/>
              <a:gd name="connsiteX8027" fmla="*/ 5996658 w 9586368"/>
              <a:gd name="connsiteY8027" fmla="*/ 731912 h 6479439"/>
              <a:gd name="connsiteX8028" fmla="*/ 5992639 w 9586368"/>
              <a:gd name="connsiteY8028" fmla="*/ 735951 h 6479439"/>
              <a:gd name="connsiteX8029" fmla="*/ 5982729 w 9586368"/>
              <a:gd name="connsiteY8029" fmla="*/ 735951 h 6479439"/>
              <a:gd name="connsiteX8030" fmla="*/ 5978710 w 9586368"/>
              <a:gd name="connsiteY8030" fmla="*/ 731912 h 6479439"/>
              <a:gd name="connsiteX8031" fmla="*/ 5978710 w 9586368"/>
              <a:gd name="connsiteY8031" fmla="*/ 722041 h 6479439"/>
              <a:gd name="connsiteX8032" fmla="*/ 8136553 w 9586368"/>
              <a:gd name="connsiteY8032" fmla="*/ 717990 h 6479439"/>
              <a:gd name="connsiteX8033" fmla="*/ 8146464 w 9586368"/>
              <a:gd name="connsiteY8033" fmla="*/ 717990 h 6479439"/>
              <a:gd name="connsiteX8034" fmla="*/ 8150483 w 9586368"/>
              <a:gd name="connsiteY8034" fmla="*/ 722028 h 6479439"/>
              <a:gd name="connsiteX8035" fmla="*/ 8150483 w 9586368"/>
              <a:gd name="connsiteY8035" fmla="*/ 731899 h 6479439"/>
              <a:gd name="connsiteX8036" fmla="*/ 8146464 w 9586368"/>
              <a:gd name="connsiteY8036" fmla="*/ 735938 h 6479439"/>
              <a:gd name="connsiteX8037" fmla="*/ 8136553 w 9586368"/>
              <a:gd name="connsiteY8037" fmla="*/ 735938 h 6479439"/>
              <a:gd name="connsiteX8038" fmla="*/ 8132534 w 9586368"/>
              <a:gd name="connsiteY8038" fmla="*/ 731899 h 6479439"/>
              <a:gd name="connsiteX8039" fmla="*/ 8132534 w 9586368"/>
              <a:gd name="connsiteY8039" fmla="*/ 722028 h 6479439"/>
              <a:gd name="connsiteX8040" fmla="*/ 7897241 w 9586368"/>
              <a:gd name="connsiteY8040" fmla="*/ 717990 h 6479439"/>
              <a:gd name="connsiteX8041" fmla="*/ 7907151 w 9586368"/>
              <a:gd name="connsiteY8041" fmla="*/ 717990 h 6479439"/>
              <a:gd name="connsiteX8042" fmla="*/ 7911170 w 9586368"/>
              <a:gd name="connsiteY8042" fmla="*/ 722029 h 6479439"/>
              <a:gd name="connsiteX8043" fmla="*/ 7911170 w 9586368"/>
              <a:gd name="connsiteY8043" fmla="*/ 731899 h 6479439"/>
              <a:gd name="connsiteX8044" fmla="*/ 7907151 w 9586368"/>
              <a:gd name="connsiteY8044" fmla="*/ 735938 h 6479439"/>
              <a:gd name="connsiteX8045" fmla="*/ 7897241 w 9586368"/>
              <a:gd name="connsiteY8045" fmla="*/ 735938 h 6479439"/>
              <a:gd name="connsiteX8046" fmla="*/ 7893222 w 9586368"/>
              <a:gd name="connsiteY8046" fmla="*/ 731899 h 6479439"/>
              <a:gd name="connsiteX8047" fmla="*/ 7893222 w 9586368"/>
              <a:gd name="connsiteY8047" fmla="*/ 722029 h 6479439"/>
              <a:gd name="connsiteX8048" fmla="*/ 7657926 w 9586368"/>
              <a:gd name="connsiteY8048" fmla="*/ 717990 h 6479439"/>
              <a:gd name="connsiteX8049" fmla="*/ 7667836 w 9586368"/>
              <a:gd name="connsiteY8049" fmla="*/ 717990 h 6479439"/>
              <a:gd name="connsiteX8050" fmla="*/ 7671855 w 9586368"/>
              <a:gd name="connsiteY8050" fmla="*/ 722029 h 6479439"/>
              <a:gd name="connsiteX8051" fmla="*/ 7671855 w 9586368"/>
              <a:gd name="connsiteY8051" fmla="*/ 731899 h 6479439"/>
              <a:gd name="connsiteX8052" fmla="*/ 7667836 w 9586368"/>
              <a:gd name="connsiteY8052" fmla="*/ 735938 h 6479439"/>
              <a:gd name="connsiteX8053" fmla="*/ 7657926 w 9586368"/>
              <a:gd name="connsiteY8053" fmla="*/ 735938 h 6479439"/>
              <a:gd name="connsiteX8054" fmla="*/ 7653906 w 9586368"/>
              <a:gd name="connsiteY8054" fmla="*/ 731899 h 6479439"/>
              <a:gd name="connsiteX8055" fmla="*/ 7653906 w 9586368"/>
              <a:gd name="connsiteY8055" fmla="*/ 722029 h 6479439"/>
              <a:gd name="connsiteX8056" fmla="*/ 7418611 w 9586368"/>
              <a:gd name="connsiteY8056" fmla="*/ 717990 h 6479439"/>
              <a:gd name="connsiteX8057" fmla="*/ 7428521 w 9586368"/>
              <a:gd name="connsiteY8057" fmla="*/ 717990 h 6479439"/>
              <a:gd name="connsiteX8058" fmla="*/ 7432540 w 9586368"/>
              <a:gd name="connsiteY8058" fmla="*/ 722029 h 6479439"/>
              <a:gd name="connsiteX8059" fmla="*/ 7432540 w 9586368"/>
              <a:gd name="connsiteY8059" fmla="*/ 731899 h 6479439"/>
              <a:gd name="connsiteX8060" fmla="*/ 7428521 w 9586368"/>
              <a:gd name="connsiteY8060" fmla="*/ 735938 h 6479439"/>
              <a:gd name="connsiteX8061" fmla="*/ 7418611 w 9586368"/>
              <a:gd name="connsiteY8061" fmla="*/ 735938 h 6479439"/>
              <a:gd name="connsiteX8062" fmla="*/ 7414592 w 9586368"/>
              <a:gd name="connsiteY8062" fmla="*/ 731899 h 6479439"/>
              <a:gd name="connsiteX8063" fmla="*/ 7414592 w 9586368"/>
              <a:gd name="connsiteY8063" fmla="*/ 722029 h 6479439"/>
              <a:gd name="connsiteX8064" fmla="*/ 7179298 w 9586368"/>
              <a:gd name="connsiteY8064" fmla="*/ 717990 h 6479439"/>
              <a:gd name="connsiteX8065" fmla="*/ 7189209 w 9586368"/>
              <a:gd name="connsiteY8065" fmla="*/ 717990 h 6479439"/>
              <a:gd name="connsiteX8066" fmla="*/ 7193228 w 9586368"/>
              <a:gd name="connsiteY8066" fmla="*/ 722029 h 6479439"/>
              <a:gd name="connsiteX8067" fmla="*/ 7193228 w 9586368"/>
              <a:gd name="connsiteY8067" fmla="*/ 731899 h 6479439"/>
              <a:gd name="connsiteX8068" fmla="*/ 7189209 w 9586368"/>
              <a:gd name="connsiteY8068" fmla="*/ 735938 h 6479439"/>
              <a:gd name="connsiteX8069" fmla="*/ 7179298 w 9586368"/>
              <a:gd name="connsiteY8069" fmla="*/ 735938 h 6479439"/>
              <a:gd name="connsiteX8070" fmla="*/ 7175279 w 9586368"/>
              <a:gd name="connsiteY8070" fmla="*/ 731899 h 6479439"/>
              <a:gd name="connsiteX8071" fmla="*/ 7175279 w 9586368"/>
              <a:gd name="connsiteY8071" fmla="*/ 722029 h 6479439"/>
              <a:gd name="connsiteX8072" fmla="*/ 961272 w 9586368"/>
              <a:gd name="connsiteY8072" fmla="*/ 717980 h 6479439"/>
              <a:gd name="connsiteX8073" fmla="*/ 971182 w 9586368"/>
              <a:gd name="connsiteY8073" fmla="*/ 717980 h 6479439"/>
              <a:gd name="connsiteX8074" fmla="*/ 975202 w 9586368"/>
              <a:gd name="connsiteY8074" fmla="*/ 722018 h 6479439"/>
              <a:gd name="connsiteX8075" fmla="*/ 975202 w 9586368"/>
              <a:gd name="connsiteY8075" fmla="*/ 731889 h 6479439"/>
              <a:gd name="connsiteX8076" fmla="*/ 971182 w 9586368"/>
              <a:gd name="connsiteY8076" fmla="*/ 735928 h 6479439"/>
              <a:gd name="connsiteX8077" fmla="*/ 961272 w 9586368"/>
              <a:gd name="connsiteY8077" fmla="*/ 735928 h 6479439"/>
              <a:gd name="connsiteX8078" fmla="*/ 957254 w 9586368"/>
              <a:gd name="connsiteY8078" fmla="*/ 731889 h 6479439"/>
              <a:gd name="connsiteX8079" fmla="*/ 957254 w 9586368"/>
              <a:gd name="connsiteY8079" fmla="*/ 722018 h 6479439"/>
              <a:gd name="connsiteX8080" fmla="*/ 1679219 w 9586368"/>
              <a:gd name="connsiteY8080" fmla="*/ 717979 h 6479439"/>
              <a:gd name="connsiteX8081" fmla="*/ 1689128 w 9586368"/>
              <a:gd name="connsiteY8081" fmla="*/ 717979 h 6479439"/>
              <a:gd name="connsiteX8082" fmla="*/ 1693149 w 9586368"/>
              <a:gd name="connsiteY8082" fmla="*/ 722018 h 6479439"/>
              <a:gd name="connsiteX8083" fmla="*/ 1693149 w 9586368"/>
              <a:gd name="connsiteY8083" fmla="*/ 731889 h 6479439"/>
              <a:gd name="connsiteX8084" fmla="*/ 1689128 w 9586368"/>
              <a:gd name="connsiteY8084" fmla="*/ 735927 h 6479439"/>
              <a:gd name="connsiteX8085" fmla="*/ 1679219 w 9586368"/>
              <a:gd name="connsiteY8085" fmla="*/ 735927 h 6479439"/>
              <a:gd name="connsiteX8086" fmla="*/ 1675200 w 9586368"/>
              <a:gd name="connsiteY8086" fmla="*/ 731889 h 6479439"/>
              <a:gd name="connsiteX8087" fmla="*/ 1675200 w 9586368"/>
              <a:gd name="connsiteY8087" fmla="*/ 722018 h 6479439"/>
              <a:gd name="connsiteX8088" fmla="*/ 1439901 w 9586368"/>
              <a:gd name="connsiteY8088" fmla="*/ 717979 h 6479439"/>
              <a:gd name="connsiteX8089" fmla="*/ 1449811 w 9586368"/>
              <a:gd name="connsiteY8089" fmla="*/ 717979 h 6479439"/>
              <a:gd name="connsiteX8090" fmla="*/ 1453831 w 9586368"/>
              <a:gd name="connsiteY8090" fmla="*/ 722018 h 6479439"/>
              <a:gd name="connsiteX8091" fmla="*/ 1453831 w 9586368"/>
              <a:gd name="connsiteY8091" fmla="*/ 731889 h 6479439"/>
              <a:gd name="connsiteX8092" fmla="*/ 1449811 w 9586368"/>
              <a:gd name="connsiteY8092" fmla="*/ 735927 h 6479439"/>
              <a:gd name="connsiteX8093" fmla="*/ 1439901 w 9586368"/>
              <a:gd name="connsiteY8093" fmla="*/ 735927 h 6479439"/>
              <a:gd name="connsiteX8094" fmla="*/ 1435883 w 9586368"/>
              <a:gd name="connsiteY8094" fmla="*/ 731889 h 6479439"/>
              <a:gd name="connsiteX8095" fmla="*/ 1435883 w 9586368"/>
              <a:gd name="connsiteY8095" fmla="*/ 722018 h 6479439"/>
              <a:gd name="connsiteX8096" fmla="*/ 1200585 w 9586368"/>
              <a:gd name="connsiteY8096" fmla="*/ 717979 h 6479439"/>
              <a:gd name="connsiteX8097" fmla="*/ 1210495 w 9586368"/>
              <a:gd name="connsiteY8097" fmla="*/ 717979 h 6479439"/>
              <a:gd name="connsiteX8098" fmla="*/ 1214513 w 9586368"/>
              <a:gd name="connsiteY8098" fmla="*/ 722018 h 6479439"/>
              <a:gd name="connsiteX8099" fmla="*/ 1214513 w 9586368"/>
              <a:gd name="connsiteY8099" fmla="*/ 731889 h 6479439"/>
              <a:gd name="connsiteX8100" fmla="*/ 1210495 w 9586368"/>
              <a:gd name="connsiteY8100" fmla="*/ 735927 h 6479439"/>
              <a:gd name="connsiteX8101" fmla="*/ 1200585 w 9586368"/>
              <a:gd name="connsiteY8101" fmla="*/ 735927 h 6479439"/>
              <a:gd name="connsiteX8102" fmla="*/ 1196566 w 9586368"/>
              <a:gd name="connsiteY8102" fmla="*/ 731889 h 6479439"/>
              <a:gd name="connsiteX8103" fmla="*/ 1196566 w 9586368"/>
              <a:gd name="connsiteY8103" fmla="*/ 722018 h 6479439"/>
              <a:gd name="connsiteX8104" fmla="*/ 9333125 w 9586368"/>
              <a:gd name="connsiteY8104" fmla="*/ 717978 h 6479439"/>
              <a:gd name="connsiteX8105" fmla="*/ 9343036 w 9586368"/>
              <a:gd name="connsiteY8105" fmla="*/ 717978 h 6479439"/>
              <a:gd name="connsiteX8106" fmla="*/ 9347055 w 9586368"/>
              <a:gd name="connsiteY8106" fmla="*/ 722016 h 6479439"/>
              <a:gd name="connsiteX8107" fmla="*/ 9347055 w 9586368"/>
              <a:gd name="connsiteY8107" fmla="*/ 731887 h 6479439"/>
              <a:gd name="connsiteX8108" fmla="*/ 9343036 w 9586368"/>
              <a:gd name="connsiteY8108" fmla="*/ 735926 h 6479439"/>
              <a:gd name="connsiteX8109" fmla="*/ 9333125 w 9586368"/>
              <a:gd name="connsiteY8109" fmla="*/ 735926 h 6479439"/>
              <a:gd name="connsiteX8110" fmla="*/ 9329106 w 9586368"/>
              <a:gd name="connsiteY8110" fmla="*/ 731887 h 6479439"/>
              <a:gd name="connsiteX8111" fmla="*/ 9329106 w 9586368"/>
              <a:gd name="connsiteY8111" fmla="*/ 722016 h 6479439"/>
              <a:gd name="connsiteX8112" fmla="*/ 9093811 w 9586368"/>
              <a:gd name="connsiteY8112" fmla="*/ 717978 h 6479439"/>
              <a:gd name="connsiteX8113" fmla="*/ 9103722 w 9586368"/>
              <a:gd name="connsiteY8113" fmla="*/ 717978 h 6479439"/>
              <a:gd name="connsiteX8114" fmla="*/ 9107741 w 9586368"/>
              <a:gd name="connsiteY8114" fmla="*/ 722016 h 6479439"/>
              <a:gd name="connsiteX8115" fmla="*/ 9107741 w 9586368"/>
              <a:gd name="connsiteY8115" fmla="*/ 731887 h 6479439"/>
              <a:gd name="connsiteX8116" fmla="*/ 9103722 w 9586368"/>
              <a:gd name="connsiteY8116" fmla="*/ 735926 h 6479439"/>
              <a:gd name="connsiteX8117" fmla="*/ 9093811 w 9586368"/>
              <a:gd name="connsiteY8117" fmla="*/ 735926 h 6479439"/>
              <a:gd name="connsiteX8118" fmla="*/ 9089792 w 9586368"/>
              <a:gd name="connsiteY8118" fmla="*/ 731887 h 6479439"/>
              <a:gd name="connsiteX8119" fmla="*/ 9089792 w 9586368"/>
              <a:gd name="connsiteY8119" fmla="*/ 722016 h 6479439"/>
              <a:gd name="connsiteX8120" fmla="*/ 8854496 w 9586368"/>
              <a:gd name="connsiteY8120" fmla="*/ 717978 h 6479439"/>
              <a:gd name="connsiteX8121" fmla="*/ 8864407 w 9586368"/>
              <a:gd name="connsiteY8121" fmla="*/ 717978 h 6479439"/>
              <a:gd name="connsiteX8122" fmla="*/ 8868426 w 9586368"/>
              <a:gd name="connsiteY8122" fmla="*/ 722016 h 6479439"/>
              <a:gd name="connsiteX8123" fmla="*/ 8868426 w 9586368"/>
              <a:gd name="connsiteY8123" fmla="*/ 731887 h 6479439"/>
              <a:gd name="connsiteX8124" fmla="*/ 8864407 w 9586368"/>
              <a:gd name="connsiteY8124" fmla="*/ 735926 h 6479439"/>
              <a:gd name="connsiteX8125" fmla="*/ 8854496 w 9586368"/>
              <a:gd name="connsiteY8125" fmla="*/ 735926 h 6479439"/>
              <a:gd name="connsiteX8126" fmla="*/ 8850477 w 9586368"/>
              <a:gd name="connsiteY8126" fmla="*/ 731887 h 6479439"/>
              <a:gd name="connsiteX8127" fmla="*/ 8850477 w 9586368"/>
              <a:gd name="connsiteY8127" fmla="*/ 722016 h 6479439"/>
              <a:gd name="connsiteX8128" fmla="*/ 8615184 w 9586368"/>
              <a:gd name="connsiteY8128" fmla="*/ 717978 h 6479439"/>
              <a:gd name="connsiteX8129" fmla="*/ 8625095 w 9586368"/>
              <a:gd name="connsiteY8129" fmla="*/ 717978 h 6479439"/>
              <a:gd name="connsiteX8130" fmla="*/ 8629114 w 9586368"/>
              <a:gd name="connsiteY8130" fmla="*/ 722016 h 6479439"/>
              <a:gd name="connsiteX8131" fmla="*/ 8629114 w 9586368"/>
              <a:gd name="connsiteY8131" fmla="*/ 731887 h 6479439"/>
              <a:gd name="connsiteX8132" fmla="*/ 8625095 w 9586368"/>
              <a:gd name="connsiteY8132" fmla="*/ 735926 h 6479439"/>
              <a:gd name="connsiteX8133" fmla="*/ 8615184 w 9586368"/>
              <a:gd name="connsiteY8133" fmla="*/ 735926 h 6479439"/>
              <a:gd name="connsiteX8134" fmla="*/ 8611165 w 9586368"/>
              <a:gd name="connsiteY8134" fmla="*/ 731887 h 6479439"/>
              <a:gd name="connsiteX8135" fmla="*/ 8611165 w 9586368"/>
              <a:gd name="connsiteY8135" fmla="*/ 722016 h 6479439"/>
              <a:gd name="connsiteX8136" fmla="*/ 8375869 w 9586368"/>
              <a:gd name="connsiteY8136" fmla="*/ 717978 h 6479439"/>
              <a:gd name="connsiteX8137" fmla="*/ 8385779 w 9586368"/>
              <a:gd name="connsiteY8137" fmla="*/ 717978 h 6479439"/>
              <a:gd name="connsiteX8138" fmla="*/ 8389799 w 9586368"/>
              <a:gd name="connsiteY8138" fmla="*/ 722016 h 6479439"/>
              <a:gd name="connsiteX8139" fmla="*/ 8389799 w 9586368"/>
              <a:gd name="connsiteY8139" fmla="*/ 731887 h 6479439"/>
              <a:gd name="connsiteX8140" fmla="*/ 8385779 w 9586368"/>
              <a:gd name="connsiteY8140" fmla="*/ 735926 h 6479439"/>
              <a:gd name="connsiteX8141" fmla="*/ 8375869 w 9586368"/>
              <a:gd name="connsiteY8141" fmla="*/ 735926 h 6479439"/>
              <a:gd name="connsiteX8142" fmla="*/ 8371850 w 9586368"/>
              <a:gd name="connsiteY8142" fmla="*/ 731887 h 6479439"/>
              <a:gd name="connsiteX8143" fmla="*/ 8371850 w 9586368"/>
              <a:gd name="connsiteY8143" fmla="*/ 722016 h 6479439"/>
              <a:gd name="connsiteX8144" fmla="*/ 1918514 w 9586368"/>
              <a:gd name="connsiteY8144" fmla="*/ 717970 h 6479439"/>
              <a:gd name="connsiteX8145" fmla="*/ 1928424 w 9586368"/>
              <a:gd name="connsiteY8145" fmla="*/ 717970 h 6479439"/>
              <a:gd name="connsiteX8146" fmla="*/ 1932444 w 9586368"/>
              <a:gd name="connsiteY8146" fmla="*/ 722009 h 6479439"/>
              <a:gd name="connsiteX8147" fmla="*/ 1932444 w 9586368"/>
              <a:gd name="connsiteY8147" fmla="*/ 731879 h 6479439"/>
              <a:gd name="connsiteX8148" fmla="*/ 1928424 w 9586368"/>
              <a:gd name="connsiteY8148" fmla="*/ 735918 h 6479439"/>
              <a:gd name="connsiteX8149" fmla="*/ 1918514 w 9586368"/>
              <a:gd name="connsiteY8149" fmla="*/ 735918 h 6479439"/>
              <a:gd name="connsiteX8150" fmla="*/ 1914495 w 9586368"/>
              <a:gd name="connsiteY8150" fmla="*/ 731879 h 6479439"/>
              <a:gd name="connsiteX8151" fmla="*/ 1914495 w 9586368"/>
              <a:gd name="connsiteY8151" fmla="*/ 722009 h 6479439"/>
              <a:gd name="connsiteX8152" fmla="*/ 2157823 w 9586368"/>
              <a:gd name="connsiteY8152" fmla="*/ 717968 h 6479439"/>
              <a:gd name="connsiteX8153" fmla="*/ 2167733 w 9586368"/>
              <a:gd name="connsiteY8153" fmla="*/ 717968 h 6479439"/>
              <a:gd name="connsiteX8154" fmla="*/ 2171753 w 9586368"/>
              <a:gd name="connsiteY8154" fmla="*/ 722006 h 6479439"/>
              <a:gd name="connsiteX8155" fmla="*/ 2171753 w 9586368"/>
              <a:gd name="connsiteY8155" fmla="*/ 731877 h 6479439"/>
              <a:gd name="connsiteX8156" fmla="*/ 2167733 w 9586368"/>
              <a:gd name="connsiteY8156" fmla="*/ 735916 h 6479439"/>
              <a:gd name="connsiteX8157" fmla="*/ 2157823 w 9586368"/>
              <a:gd name="connsiteY8157" fmla="*/ 735916 h 6479439"/>
              <a:gd name="connsiteX8158" fmla="*/ 2153804 w 9586368"/>
              <a:gd name="connsiteY8158" fmla="*/ 731877 h 6479439"/>
              <a:gd name="connsiteX8159" fmla="*/ 2153804 w 9586368"/>
              <a:gd name="connsiteY8159" fmla="*/ 722006 h 6479439"/>
              <a:gd name="connsiteX8160" fmla="*/ 9572438 w 9586368"/>
              <a:gd name="connsiteY8160" fmla="*/ 717966 h 6479439"/>
              <a:gd name="connsiteX8161" fmla="*/ 9582349 w 9586368"/>
              <a:gd name="connsiteY8161" fmla="*/ 717966 h 6479439"/>
              <a:gd name="connsiteX8162" fmla="*/ 9586368 w 9586368"/>
              <a:gd name="connsiteY8162" fmla="*/ 722004 h 6479439"/>
              <a:gd name="connsiteX8163" fmla="*/ 9586368 w 9586368"/>
              <a:gd name="connsiteY8163" fmla="*/ 731875 h 6479439"/>
              <a:gd name="connsiteX8164" fmla="*/ 9582349 w 9586368"/>
              <a:gd name="connsiteY8164" fmla="*/ 735914 h 6479439"/>
              <a:gd name="connsiteX8165" fmla="*/ 9572438 w 9586368"/>
              <a:gd name="connsiteY8165" fmla="*/ 735914 h 6479439"/>
              <a:gd name="connsiteX8166" fmla="*/ 9568419 w 9586368"/>
              <a:gd name="connsiteY8166" fmla="*/ 731875 h 6479439"/>
              <a:gd name="connsiteX8167" fmla="*/ 9568419 w 9586368"/>
              <a:gd name="connsiteY8167" fmla="*/ 722004 h 6479439"/>
              <a:gd name="connsiteX8168" fmla="*/ 243349 w 9586368"/>
              <a:gd name="connsiteY8168" fmla="*/ 717939 h 6479439"/>
              <a:gd name="connsiteX8169" fmla="*/ 253260 w 9586368"/>
              <a:gd name="connsiteY8169" fmla="*/ 717939 h 6479439"/>
              <a:gd name="connsiteX8170" fmla="*/ 257279 w 9586368"/>
              <a:gd name="connsiteY8170" fmla="*/ 721977 h 6479439"/>
              <a:gd name="connsiteX8171" fmla="*/ 257279 w 9586368"/>
              <a:gd name="connsiteY8171" fmla="*/ 731847 h 6479439"/>
              <a:gd name="connsiteX8172" fmla="*/ 253260 w 9586368"/>
              <a:gd name="connsiteY8172" fmla="*/ 735886 h 6479439"/>
              <a:gd name="connsiteX8173" fmla="*/ 243349 w 9586368"/>
              <a:gd name="connsiteY8173" fmla="*/ 735886 h 6479439"/>
              <a:gd name="connsiteX8174" fmla="*/ 239330 w 9586368"/>
              <a:gd name="connsiteY8174" fmla="*/ 731847 h 6479439"/>
              <a:gd name="connsiteX8175" fmla="*/ 239330 w 9586368"/>
              <a:gd name="connsiteY8175" fmla="*/ 721977 h 6479439"/>
              <a:gd name="connsiteX8176" fmla="*/ 4036 w 9586368"/>
              <a:gd name="connsiteY8176" fmla="*/ 717939 h 6479439"/>
              <a:gd name="connsiteX8177" fmla="*/ 13947 w 9586368"/>
              <a:gd name="connsiteY8177" fmla="*/ 717939 h 6479439"/>
              <a:gd name="connsiteX8178" fmla="*/ 17965 w 9586368"/>
              <a:gd name="connsiteY8178" fmla="*/ 721978 h 6479439"/>
              <a:gd name="connsiteX8179" fmla="*/ 17965 w 9586368"/>
              <a:gd name="connsiteY8179" fmla="*/ 731848 h 6479439"/>
              <a:gd name="connsiteX8180" fmla="*/ 13947 w 9586368"/>
              <a:gd name="connsiteY8180" fmla="*/ 735886 h 6479439"/>
              <a:gd name="connsiteX8181" fmla="*/ 4036 w 9586368"/>
              <a:gd name="connsiteY8181" fmla="*/ 735886 h 6479439"/>
              <a:gd name="connsiteX8182" fmla="*/ 17 w 9586368"/>
              <a:gd name="connsiteY8182" fmla="*/ 731848 h 6479439"/>
              <a:gd name="connsiteX8183" fmla="*/ 17 w 9586368"/>
              <a:gd name="connsiteY8183" fmla="*/ 721978 h 6479439"/>
              <a:gd name="connsiteX8184" fmla="*/ 721975 w 9586368"/>
              <a:gd name="connsiteY8184" fmla="*/ 717939 h 6479439"/>
              <a:gd name="connsiteX8185" fmla="*/ 731885 w 9586368"/>
              <a:gd name="connsiteY8185" fmla="*/ 717939 h 6479439"/>
              <a:gd name="connsiteX8186" fmla="*/ 735904 w 9586368"/>
              <a:gd name="connsiteY8186" fmla="*/ 721977 h 6479439"/>
              <a:gd name="connsiteX8187" fmla="*/ 735904 w 9586368"/>
              <a:gd name="connsiteY8187" fmla="*/ 731847 h 6479439"/>
              <a:gd name="connsiteX8188" fmla="*/ 731885 w 9586368"/>
              <a:gd name="connsiteY8188" fmla="*/ 735886 h 6479439"/>
              <a:gd name="connsiteX8189" fmla="*/ 721975 w 9586368"/>
              <a:gd name="connsiteY8189" fmla="*/ 735886 h 6479439"/>
              <a:gd name="connsiteX8190" fmla="*/ 717956 w 9586368"/>
              <a:gd name="connsiteY8190" fmla="*/ 731847 h 6479439"/>
              <a:gd name="connsiteX8191" fmla="*/ 717956 w 9586368"/>
              <a:gd name="connsiteY8191" fmla="*/ 721977 h 6479439"/>
              <a:gd name="connsiteX8192" fmla="*/ 482663 w 9586368"/>
              <a:gd name="connsiteY8192" fmla="*/ 717939 h 6479439"/>
              <a:gd name="connsiteX8193" fmla="*/ 492573 w 9586368"/>
              <a:gd name="connsiteY8193" fmla="*/ 717939 h 6479439"/>
              <a:gd name="connsiteX8194" fmla="*/ 496593 w 9586368"/>
              <a:gd name="connsiteY8194" fmla="*/ 721977 h 6479439"/>
              <a:gd name="connsiteX8195" fmla="*/ 496593 w 9586368"/>
              <a:gd name="connsiteY8195" fmla="*/ 731847 h 6479439"/>
              <a:gd name="connsiteX8196" fmla="*/ 492573 w 9586368"/>
              <a:gd name="connsiteY8196" fmla="*/ 735886 h 6479439"/>
              <a:gd name="connsiteX8197" fmla="*/ 482663 w 9586368"/>
              <a:gd name="connsiteY8197" fmla="*/ 735886 h 6479439"/>
              <a:gd name="connsiteX8198" fmla="*/ 478643 w 9586368"/>
              <a:gd name="connsiteY8198" fmla="*/ 731847 h 6479439"/>
              <a:gd name="connsiteX8199" fmla="*/ 478643 w 9586368"/>
              <a:gd name="connsiteY8199" fmla="*/ 721977 h 6479439"/>
              <a:gd name="connsiteX8200" fmla="*/ 3350359 w 9586368"/>
              <a:gd name="connsiteY8200" fmla="*/ 478760 h 6479439"/>
              <a:gd name="connsiteX8201" fmla="*/ 3360268 w 9586368"/>
              <a:gd name="connsiteY8201" fmla="*/ 478760 h 6479439"/>
              <a:gd name="connsiteX8202" fmla="*/ 3364287 w 9586368"/>
              <a:gd name="connsiteY8202" fmla="*/ 482801 h 6479439"/>
              <a:gd name="connsiteX8203" fmla="*/ 3364287 w 9586368"/>
              <a:gd name="connsiteY8203" fmla="*/ 492670 h 6479439"/>
              <a:gd name="connsiteX8204" fmla="*/ 3360268 w 9586368"/>
              <a:gd name="connsiteY8204" fmla="*/ 496707 h 6479439"/>
              <a:gd name="connsiteX8205" fmla="*/ 3350359 w 9586368"/>
              <a:gd name="connsiteY8205" fmla="*/ 496707 h 6479439"/>
              <a:gd name="connsiteX8206" fmla="*/ 3346340 w 9586368"/>
              <a:gd name="connsiteY8206" fmla="*/ 492670 h 6479439"/>
              <a:gd name="connsiteX8207" fmla="*/ 3346340 w 9586368"/>
              <a:gd name="connsiteY8207" fmla="*/ 482801 h 6479439"/>
              <a:gd name="connsiteX8208" fmla="*/ 3111048 w 9586368"/>
              <a:gd name="connsiteY8208" fmla="*/ 478760 h 6479439"/>
              <a:gd name="connsiteX8209" fmla="*/ 3120959 w 9586368"/>
              <a:gd name="connsiteY8209" fmla="*/ 478760 h 6479439"/>
              <a:gd name="connsiteX8210" fmla="*/ 3124977 w 9586368"/>
              <a:gd name="connsiteY8210" fmla="*/ 482801 h 6479439"/>
              <a:gd name="connsiteX8211" fmla="*/ 3124977 w 9586368"/>
              <a:gd name="connsiteY8211" fmla="*/ 492670 h 6479439"/>
              <a:gd name="connsiteX8212" fmla="*/ 3120959 w 9586368"/>
              <a:gd name="connsiteY8212" fmla="*/ 496707 h 6479439"/>
              <a:gd name="connsiteX8213" fmla="*/ 3111048 w 9586368"/>
              <a:gd name="connsiteY8213" fmla="*/ 496707 h 6479439"/>
              <a:gd name="connsiteX8214" fmla="*/ 3107029 w 9586368"/>
              <a:gd name="connsiteY8214" fmla="*/ 492670 h 6479439"/>
              <a:gd name="connsiteX8215" fmla="*/ 3107029 w 9586368"/>
              <a:gd name="connsiteY8215" fmla="*/ 482801 h 6479439"/>
              <a:gd name="connsiteX8216" fmla="*/ 2871737 w 9586368"/>
              <a:gd name="connsiteY8216" fmla="*/ 478760 h 6479439"/>
              <a:gd name="connsiteX8217" fmla="*/ 2881646 w 9586368"/>
              <a:gd name="connsiteY8217" fmla="*/ 478760 h 6479439"/>
              <a:gd name="connsiteX8218" fmla="*/ 2885666 w 9586368"/>
              <a:gd name="connsiteY8218" fmla="*/ 482801 h 6479439"/>
              <a:gd name="connsiteX8219" fmla="*/ 2885666 w 9586368"/>
              <a:gd name="connsiteY8219" fmla="*/ 492670 h 6479439"/>
              <a:gd name="connsiteX8220" fmla="*/ 2881646 w 9586368"/>
              <a:gd name="connsiteY8220" fmla="*/ 496707 h 6479439"/>
              <a:gd name="connsiteX8221" fmla="*/ 2871737 w 9586368"/>
              <a:gd name="connsiteY8221" fmla="*/ 496707 h 6479439"/>
              <a:gd name="connsiteX8222" fmla="*/ 2867717 w 9586368"/>
              <a:gd name="connsiteY8222" fmla="*/ 492670 h 6479439"/>
              <a:gd name="connsiteX8223" fmla="*/ 2867717 w 9586368"/>
              <a:gd name="connsiteY8223" fmla="*/ 482801 h 6479439"/>
              <a:gd name="connsiteX8224" fmla="*/ 2632423 w 9586368"/>
              <a:gd name="connsiteY8224" fmla="*/ 478760 h 6479439"/>
              <a:gd name="connsiteX8225" fmla="*/ 2642334 w 9586368"/>
              <a:gd name="connsiteY8225" fmla="*/ 478760 h 6479439"/>
              <a:gd name="connsiteX8226" fmla="*/ 2646352 w 9586368"/>
              <a:gd name="connsiteY8226" fmla="*/ 482801 h 6479439"/>
              <a:gd name="connsiteX8227" fmla="*/ 2646352 w 9586368"/>
              <a:gd name="connsiteY8227" fmla="*/ 492670 h 6479439"/>
              <a:gd name="connsiteX8228" fmla="*/ 2642334 w 9586368"/>
              <a:gd name="connsiteY8228" fmla="*/ 496707 h 6479439"/>
              <a:gd name="connsiteX8229" fmla="*/ 2632423 w 9586368"/>
              <a:gd name="connsiteY8229" fmla="*/ 496707 h 6479439"/>
              <a:gd name="connsiteX8230" fmla="*/ 2628404 w 9586368"/>
              <a:gd name="connsiteY8230" fmla="*/ 492670 h 6479439"/>
              <a:gd name="connsiteX8231" fmla="*/ 2628404 w 9586368"/>
              <a:gd name="connsiteY8231" fmla="*/ 482801 h 6479439"/>
              <a:gd name="connsiteX8232" fmla="*/ 2393104 w 9586368"/>
              <a:gd name="connsiteY8232" fmla="*/ 478760 h 6479439"/>
              <a:gd name="connsiteX8233" fmla="*/ 2403015 w 9586368"/>
              <a:gd name="connsiteY8233" fmla="*/ 478760 h 6479439"/>
              <a:gd name="connsiteX8234" fmla="*/ 2407034 w 9586368"/>
              <a:gd name="connsiteY8234" fmla="*/ 482801 h 6479439"/>
              <a:gd name="connsiteX8235" fmla="*/ 2407034 w 9586368"/>
              <a:gd name="connsiteY8235" fmla="*/ 492670 h 6479439"/>
              <a:gd name="connsiteX8236" fmla="*/ 2403015 w 9586368"/>
              <a:gd name="connsiteY8236" fmla="*/ 496707 h 6479439"/>
              <a:gd name="connsiteX8237" fmla="*/ 2393104 w 9586368"/>
              <a:gd name="connsiteY8237" fmla="*/ 496707 h 6479439"/>
              <a:gd name="connsiteX8238" fmla="*/ 2389087 w 9586368"/>
              <a:gd name="connsiteY8238" fmla="*/ 492670 h 6479439"/>
              <a:gd name="connsiteX8239" fmla="*/ 2389087 w 9586368"/>
              <a:gd name="connsiteY8239" fmla="*/ 482801 h 6479439"/>
              <a:gd name="connsiteX8240" fmla="*/ 4546929 w 9586368"/>
              <a:gd name="connsiteY8240" fmla="*/ 478748 h 6479439"/>
              <a:gd name="connsiteX8241" fmla="*/ 4556840 w 9586368"/>
              <a:gd name="connsiteY8241" fmla="*/ 478748 h 6479439"/>
              <a:gd name="connsiteX8242" fmla="*/ 4560859 w 9586368"/>
              <a:gd name="connsiteY8242" fmla="*/ 482789 h 6479439"/>
              <a:gd name="connsiteX8243" fmla="*/ 4560859 w 9586368"/>
              <a:gd name="connsiteY8243" fmla="*/ 492657 h 6479439"/>
              <a:gd name="connsiteX8244" fmla="*/ 4556840 w 9586368"/>
              <a:gd name="connsiteY8244" fmla="*/ 496695 h 6479439"/>
              <a:gd name="connsiteX8245" fmla="*/ 4546929 w 9586368"/>
              <a:gd name="connsiteY8245" fmla="*/ 496695 h 6479439"/>
              <a:gd name="connsiteX8246" fmla="*/ 4542910 w 9586368"/>
              <a:gd name="connsiteY8246" fmla="*/ 492657 h 6479439"/>
              <a:gd name="connsiteX8247" fmla="*/ 4542910 w 9586368"/>
              <a:gd name="connsiteY8247" fmla="*/ 482789 h 6479439"/>
              <a:gd name="connsiteX8248" fmla="*/ 4307612 w 9586368"/>
              <a:gd name="connsiteY8248" fmla="*/ 478748 h 6479439"/>
              <a:gd name="connsiteX8249" fmla="*/ 4317523 w 9586368"/>
              <a:gd name="connsiteY8249" fmla="*/ 478748 h 6479439"/>
              <a:gd name="connsiteX8250" fmla="*/ 4321543 w 9586368"/>
              <a:gd name="connsiteY8250" fmla="*/ 482789 h 6479439"/>
              <a:gd name="connsiteX8251" fmla="*/ 4321543 w 9586368"/>
              <a:gd name="connsiteY8251" fmla="*/ 492657 h 6479439"/>
              <a:gd name="connsiteX8252" fmla="*/ 4317523 w 9586368"/>
              <a:gd name="connsiteY8252" fmla="*/ 496695 h 6479439"/>
              <a:gd name="connsiteX8253" fmla="*/ 4307612 w 9586368"/>
              <a:gd name="connsiteY8253" fmla="*/ 496695 h 6479439"/>
              <a:gd name="connsiteX8254" fmla="*/ 4303595 w 9586368"/>
              <a:gd name="connsiteY8254" fmla="*/ 492657 h 6479439"/>
              <a:gd name="connsiteX8255" fmla="*/ 4303595 w 9586368"/>
              <a:gd name="connsiteY8255" fmla="*/ 482789 h 6479439"/>
              <a:gd name="connsiteX8256" fmla="*/ 4068297 w 9586368"/>
              <a:gd name="connsiteY8256" fmla="*/ 478748 h 6479439"/>
              <a:gd name="connsiteX8257" fmla="*/ 4078210 w 9586368"/>
              <a:gd name="connsiteY8257" fmla="*/ 478748 h 6479439"/>
              <a:gd name="connsiteX8258" fmla="*/ 4082229 w 9586368"/>
              <a:gd name="connsiteY8258" fmla="*/ 482789 h 6479439"/>
              <a:gd name="connsiteX8259" fmla="*/ 4082229 w 9586368"/>
              <a:gd name="connsiteY8259" fmla="*/ 492657 h 6479439"/>
              <a:gd name="connsiteX8260" fmla="*/ 4078210 w 9586368"/>
              <a:gd name="connsiteY8260" fmla="*/ 496695 h 6479439"/>
              <a:gd name="connsiteX8261" fmla="*/ 4068297 w 9586368"/>
              <a:gd name="connsiteY8261" fmla="*/ 496695 h 6479439"/>
              <a:gd name="connsiteX8262" fmla="*/ 4064278 w 9586368"/>
              <a:gd name="connsiteY8262" fmla="*/ 492657 h 6479439"/>
              <a:gd name="connsiteX8263" fmla="*/ 4064278 w 9586368"/>
              <a:gd name="connsiteY8263" fmla="*/ 482789 h 6479439"/>
              <a:gd name="connsiteX8264" fmla="*/ 3828990 w 9586368"/>
              <a:gd name="connsiteY8264" fmla="*/ 478748 h 6479439"/>
              <a:gd name="connsiteX8265" fmla="*/ 3838899 w 9586368"/>
              <a:gd name="connsiteY8265" fmla="*/ 478748 h 6479439"/>
              <a:gd name="connsiteX8266" fmla="*/ 3842917 w 9586368"/>
              <a:gd name="connsiteY8266" fmla="*/ 482789 h 6479439"/>
              <a:gd name="connsiteX8267" fmla="*/ 3842917 w 9586368"/>
              <a:gd name="connsiteY8267" fmla="*/ 492657 h 6479439"/>
              <a:gd name="connsiteX8268" fmla="*/ 3838899 w 9586368"/>
              <a:gd name="connsiteY8268" fmla="*/ 496695 h 6479439"/>
              <a:gd name="connsiteX8269" fmla="*/ 3828990 w 9586368"/>
              <a:gd name="connsiteY8269" fmla="*/ 496695 h 6479439"/>
              <a:gd name="connsiteX8270" fmla="*/ 3824971 w 9586368"/>
              <a:gd name="connsiteY8270" fmla="*/ 492657 h 6479439"/>
              <a:gd name="connsiteX8271" fmla="*/ 3824971 w 9586368"/>
              <a:gd name="connsiteY8271" fmla="*/ 482789 h 6479439"/>
              <a:gd name="connsiteX8272" fmla="*/ 3589676 w 9586368"/>
              <a:gd name="connsiteY8272" fmla="*/ 478748 h 6479439"/>
              <a:gd name="connsiteX8273" fmla="*/ 3599585 w 9586368"/>
              <a:gd name="connsiteY8273" fmla="*/ 478748 h 6479439"/>
              <a:gd name="connsiteX8274" fmla="*/ 3603604 w 9586368"/>
              <a:gd name="connsiteY8274" fmla="*/ 482789 h 6479439"/>
              <a:gd name="connsiteX8275" fmla="*/ 3603604 w 9586368"/>
              <a:gd name="connsiteY8275" fmla="*/ 492657 h 6479439"/>
              <a:gd name="connsiteX8276" fmla="*/ 3599585 w 9586368"/>
              <a:gd name="connsiteY8276" fmla="*/ 496695 h 6479439"/>
              <a:gd name="connsiteX8277" fmla="*/ 3589676 w 9586368"/>
              <a:gd name="connsiteY8277" fmla="*/ 496695 h 6479439"/>
              <a:gd name="connsiteX8278" fmla="*/ 3585657 w 9586368"/>
              <a:gd name="connsiteY8278" fmla="*/ 492657 h 6479439"/>
              <a:gd name="connsiteX8279" fmla="*/ 3585657 w 9586368"/>
              <a:gd name="connsiteY8279" fmla="*/ 482789 h 6479439"/>
              <a:gd name="connsiteX8280" fmla="*/ 5743412 w 9586368"/>
              <a:gd name="connsiteY8280" fmla="*/ 478736 h 6479439"/>
              <a:gd name="connsiteX8281" fmla="*/ 5753323 w 9586368"/>
              <a:gd name="connsiteY8281" fmla="*/ 478736 h 6479439"/>
              <a:gd name="connsiteX8282" fmla="*/ 5757342 w 9586368"/>
              <a:gd name="connsiteY8282" fmla="*/ 482776 h 6479439"/>
              <a:gd name="connsiteX8283" fmla="*/ 5757342 w 9586368"/>
              <a:gd name="connsiteY8283" fmla="*/ 492645 h 6479439"/>
              <a:gd name="connsiteX8284" fmla="*/ 5753323 w 9586368"/>
              <a:gd name="connsiteY8284" fmla="*/ 496683 h 6479439"/>
              <a:gd name="connsiteX8285" fmla="*/ 5743412 w 9586368"/>
              <a:gd name="connsiteY8285" fmla="*/ 496683 h 6479439"/>
              <a:gd name="connsiteX8286" fmla="*/ 5739393 w 9586368"/>
              <a:gd name="connsiteY8286" fmla="*/ 492645 h 6479439"/>
              <a:gd name="connsiteX8287" fmla="*/ 5739393 w 9586368"/>
              <a:gd name="connsiteY8287" fmla="*/ 482776 h 6479439"/>
              <a:gd name="connsiteX8288" fmla="*/ 5504099 w 9586368"/>
              <a:gd name="connsiteY8288" fmla="*/ 478736 h 6479439"/>
              <a:gd name="connsiteX8289" fmla="*/ 5514010 w 9586368"/>
              <a:gd name="connsiteY8289" fmla="*/ 478736 h 6479439"/>
              <a:gd name="connsiteX8290" fmla="*/ 5518029 w 9586368"/>
              <a:gd name="connsiteY8290" fmla="*/ 482776 h 6479439"/>
              <a:gd name="connsiteX8291" fmla="*/ 5518029 w 9586368"/>
              <a:gd name="connsiteY8291" fmla="*/ 492645 h 6479439"/>
              <a:gd name="connsiteX8292" fmla="*/ 5514010 w 9586368"/>
              <a:gd name="connsiteY8292" fmla="*/ 496683 h 6479439"/>
              <a:gd name="connsiteX8293" fmla="*/ 5504099 w 9586368"/>
              <a:gd name="connsiteY8293" fmla="*/ 496683 h 6479439"/>
              <a:gd name="connsiteX8294" fmla="*/ 5500080 w 9586368"/>
              <a:gd name="connsiteY8294" fmla="*/ 492645 h 6479439"/>
              <a:gd name="connsiteX8295" fmla="*/ 5500080 w 9586368"/>
              <a:gd name="connsiteY8295" fmla="*/ 482776 h 6479439"/>
              <a:gd name="connsiteX8296" fmla="*/ 5264784 w 9586368"/>
              <a:gd name="connsiteY8296" fmla="*/ 478736 h 6479439"/>
              <a:gd name="connsiteX8297" fmla="*/ 5274694 w 9586368"/>
              <a:gd name="connsiteY8297" fmla="*/ 478736 h 6479439"/>
              <a:gd name="connsiteX8298" fmla="*/ 5278713 w 9586368"/>
              <a:gd name="connsiteY8298" fmla="*/ 482776 h 6479439"/>
              <a:gd name="connsiteX8299" fmla="*/ 5278713 w 9586368"/>
              <a:gd name="connsiteY8299" fmla="*/ 492645 h 6479439"/>
              <a:gd name="connsiteX8300" fmla="*/ 5274694 w 9586368"/>
              <a:gd name="connsiteY8300" fmla="*/ 496683 h 6479439"/>
              <a:gd name="connsiteX8301" fmla="*/ 5264784 w 9586368"/>
              <a:gd name="connsiteY8301" fmla="*/ 496683 h 6479439"/>
              <a:gd name="connsiteX8302" fmla="*/ 5260765 w 9586368"/>
              <a:gd name="connsiteY8302" fmla="*/ 492645 h 6479439"/>
              <a:gd name="connsiteX8303" fmla="*/ 5260765 w 9586368"/>
              <a:gd name="connsiteY8303" fmla="*/ 482776 h 6479439"/>
              <a:gd name="connsiteX8304" fmla="*/ 5025470 w 9586368"/>
              <a:gd name="connsiteY8304" fmla="*/ 478736 h 6479439"/>
              <a:gd name="connsiteX8305" fmla="*/ 5035381 w 9586368"/>
              <a:gd name="connsiteY8305" fmla="*/ 478736 h 6479439"/>
              <a:gd name="connsiteX8306" fmla="*/ 5039400 w 9586368"/>
              <a:gd name="connsiteY8306" fmla="*/ 482776 h 6479439"/>
              <a:gd name="connsiteX8307" fmla="*/ 5039400 w 9586368"/>
              <a:gd name="connsiteY8307" fmla="*/ 492645 h 6479439"/>
              <a:gd name="connsiteX8308" fmla="*/ 5035381 w 9586368"/>
              <a:gd name="connsiteY8308" fmla="*/ 496683 h 6479439"/>
              <a:gd name="connsiteX8309" fmla="*/ 5025470 w 9586368"/>
              <a:gd name="connsiteY8309" fmla="*/ 496683 h 6479439"/>
              <a:gd name="connsiteX8310" fmla="*/ 5021451 w 9586368"/>
              <a:gd name="connsiteY8310" fmla="*/ 492645 h 6479439"/>
              <a:gd name="connsiteX8311" fmla="*/ 5021451 w 9586368"/>
              <a:gd name="connsiteY8311" fmla="*/ 482776 h 6479439"/>
              <a:gd name="connsiteX8312" fmla="*/ 4786241 w 9586368"/>
              <a:gd name="connsiteY8312" fmla="*/ 478736 h 6479439"/>
              <a:gd name="connsiteX8313" fmla="*/ 4796152 w 9586368"/>
              <a:gd name="connsiteY8313" fmla="*/ 478736 h 6479439"/>
              <a:gd name="connsiteX8314" fmla="*/ 4800171 w 9586368"/>
              <a:gd name="connsiteY8314" fmla="*/ 482776 h 6479439"/>
              <a:gd name="connsiteX8315" fmla="*/ 4800171 w 9586368"/>
              <a:gd name="connsiteY8315" fmla="*/ 492645 h 6479439"/>
              <a:gd name="connsiteX8316" fmla="*/ 4796152 w 9586368"/>
              <a:gd name="connsiteY8316" fmla="*/ 496683 h 6479439"/>
              <a:gd name="connsiteX8317" fmla="*/ 4786241 w 9586368"/>
              <a:gd name="connsiteY8317" fmla="*/ 496683 h 6479439"/>
              <a:gd name="connsiteX8318" fmla="*/ 4782224 w 9586368"/>
              <a:gd name="connsiteY8318" fmla="*/ 492645 h 6479439"/>
              <a:gd name="connsiteX8319" fmla="*/ 4782224 w 9586368"/>
              <a:gd name="connsiteY8319" fmla="*/ 482776 h 6479439"/>
              <a:gd name="connsiteX8320" fmla="*/ 6939983 w 9586368"/>
              <a:gd name="connsiteY8320" fmla="*/ 478724 h 6479439"/>
              <a:gd name="connsiteX8321" fmla="*/ 6949894 w 9586368"/>
              <a:gd name="connsiteY8321" fmla="*/ 478724 h 6479439"/>
              <a:gd name="connsiteX8322" fmla="*/ 6953913 w 9586368"/>
              <a:gd name="connsiteY8322" fmla="*/ 482764 h 6479439"/>
              <a:gd name="connsiteX8323" fmla="*/ 6953913 w 9586368"/>
              <a:gd name="connsiteY8323" fmla="*/ 492633 h 6479439"/>
              <a:gd name="connsiteX8324" fmla="*/ 6949894 w 9586368"/>
              <a:gd name="connsiteY8324" fmla="*/ 496671 h 6479439"/>
              <a:gd name="connsiteX8325" fmla="*/ 6939983 w 9586368"/>
              <a:gd name="connsiteY8325" fmla="*/ 496671 h 6479439"/>
              <a:gd name="connsiteX8326" fmla="*/ 6935964 w 9586368"/>
              <a:gd name="connsiteY8326" fmla="*/ 492633 h 6479439"/>
              <a:gd name="connsiteX8327" fmla="*/ 6935964 w 9586368"/>
              <a:gd name="connsiteY8327" fmla="*/ 482764 h 6479439"/>
              <a:gd name="connsiteX8328" fmla="*/ 6700670 w 9586368"/>
              <a:gd name="connsiteY8328" fmla="*/ 478724 h 6479439"/>
              <a:gd name="connsiteX8329" fmla="*/ 6710581 w 9586368"/>
              <a:gd name="connsiteY8329" fmla="*/ 478724 h 6479439"/>
              <a:gd name="connsiteX8330" fmla="*/ 6714600 w 9586368"/>
              <a:gd name="connsiteY8330" fmla="*/ 482764 h 6479439"/>
              <a:gd name="connsiteX8331" fmla="*/ 6714600 w 9586368"/>
              <a:gd name="connsiteY8331" fmla="*/ 492633 h 6479439"/>
              <a:gd name="connsiteX8332" fmla="*/ 6710581 w 9586368"/>
              <a:gd name="connsiteY8332" fmla="*/ 496671 h 6479439"/>
              <a:gd name="connsiteX8333" fmla="*/ 6700670 w 9586368"/>
              <a:gd name="connsiteY8333" fmla="*/ 496671 h 6479439"/>
              <a:gd name="connsiteX8334" fmla="*/ 6696651 w 9586368"/>
              <a:gd name="connsiteY8334" fmla="*/ 492633 h 6479439"/>
              <a:gd name="connsiteX8335" fmla="*/ 6696651 w 9586368"/>
              <a:gd name="connsiteY8335" fmla="*/ 482764 h 6479439"/>
              <a:gd name="connsiteX8336" fmla="*/ 6461356 w 9586368"/>
              <a:gd name="connsiteY8336" fmla="*/ 478724 h 6479439"/>
              <a:gd name="connsiteX8337" fmla="*/ 6471266 w 9586368"/>
              <a:gd name="connsiteY8337" fmla="*/ 478724 h 6479439"/>
              <a:gd name="connsiteX8338" fmla="*/ 6475285 w 9586368"/>
              <a:gd name="connsiteY8338" fmla="*/ 482764 h 6479439"/>
              <a:gd name="connsiteX8339" fmla="*/ 6475285 w 9586368"/>
              <a:gd name="connsiteY8339" fmla="*/ 492633 h 6479439"/>
              <a:gd name="connsiteX8340" fmla="*/ 6471266 w 9586368"/>
              <a:gd name="connsiteY8340" fmla="*/ 496671 h 6479439"/>
              <a:gd name="connsiteX8341" fmla="*/ 6461356 w 9586368"/>
              <a:gd name="connsiteY8341" fmla="*/ 496671 h 6479439"/>
              <a:gd name="connsiteX8342" fmla="*/ 6457337 w 9586368"/>
              <a:gd name="connsiteY8342" fmla="*/ 492633 h 6479439"/>
              <a:gd name="connsiteX8343" fmla="*/ 6457337 w 9586368"/>
              <a:gd name="connsiteY8343" fmla="*/ 482764 h 6479439"/>
              <a:gd name="connsiteX8344" fmla="*/ 6222042 w 9586368"/>
              <a:gd name="connsiteY8344" fmla="*/ 478724 h 6479439"/>
              <a:gd name="connsiteX8345" fmla="*/ 6231952 w 9586368"/>
              <a:gd name="connsiteY8345" fmla="*/ 478724 h 6479439"/>
              <a:gd name="connsiteX8346" fmla="*/ 6235971 w 9586368"/>
              <a:gd name="connsiteY8346" fmla="*/ 482764 h 6479439"/>
              <a:gd name="connsiteX8347" fmla="*/ 6235971 w 9586368"/>
              <a:gd name="connsiteY8347" fmla="*/ 492633 h 6479439"/>
              <a:gd name="connsiteX8348" fmla="*/ 6231952 w 9586368"/>
              <a:gd name="connsiteY8348" fmla="*/ 496671 h 6479439"/>
              <a:gd name="connsiteX8349" fmla="*/ 6222042 w 9586368"/>
              <a:gd name="connsiteY8349" fmla="*/ 496671 h 6479439"/>
              <a:gd name="connsiteX8350" fmla="*/ 6218023 w 9586368"/>
              <a:gd name="connsiteY8350" fmla="*/ 492633 h 6479439"/>
              <a:gd name="connsiteX8351" fmla="*/ 6218023 w 9586368"/>
              <a:gd name="connsiteY8351" fmla="*/ 482764 h 6479439"/>
              <a:gd name="connsiteX8352" fmla="*/ 5982729 w 9586368"/>
              <a:gd name="connsiteY8352" fmla="*/ 478724 h 6479439"/>
              <a:gd name="connsiteX8353" fmla="*/ 5992639 w 9586368"/>
              <a:gd name="connsiteY8353" fmla="*/ 478724 h 6479439"/>
              <a:gd name="connsiteX8354" fmla="*/ 5996658 w 9586368"/>
              <a:gd name="connsiteY8354" fmla="*/ 482764 h 6479439"/>
              <a:gd name="connsiteX8355" fmla="*/ 5996658 w 9586368"/>
              <a:gd name="connsiteY8355" fmla="*/ 492633 h 6479439"/>
              <a:gd name="connsiteX8356" fmla="*/ 5992639 w 9586368"/>
              <a:gd name="connsiteY8356" fmla="*/ 496671 h 6479439"/>
              <a:gd name="connsiteX8357" fmla="*/ 5982729 w 9586368"/>
              <a:gd name="connsiteY8357" fmla="*/ 496671 h 6479439"/>
              <a:gd name="connsiteX8358" fmla="*/ 5978710 w 9586368"/>
              <a:gd name="connsiteY8358" fmla="*/ 492633 h 6479439"/>
              <a:gd name="connsiteX8359" fmla="*/ 5978710 w 9586368"/>
              <a:gd name="connsiteY8359" fmla="*/ 482764 h 6479439"/>
              <a:gd name="connsiteX8360" fmla="*/ 7897241 w 9586368"/>
              <a:gd name="connsiteY8360" fmla="*/ 478712 h 6479439"/>
              <a:gd name="connsiteX8361" fmla="*/ 7907151 w 9586368"/>
              <a:gd name="connsiteY8361" fmla="*/ 478712 h 6479439"/>
              <a:gd name="connsiteX8362" fmla="*/ 7911170 w 9586368"/>
              <a:gd name="connsiteY8362" fmla="*/ 482751 h 6479439"/>
              <a:gd name="connsiteX8363" fmla="*/ 7911170 w 9586368"/>
              <a:gd name="connsiteY8363" fmla="*/ 492620 h 6479439"/>
              <a:gd name="connsiteX8364" fmla="*/ 7907151 w 9586368"/>
              <a:gd name="connsiteY8364" fmla="*/ 496658 h 6479439"/>
              <a:gd name="connsiteX8365" fmla="*/ 7897241 w 9586368"/>
              <a:gd name="connsiteY8365" fmla="*/ 496658 h 6479439"/>
              <a:gd name="connsiteX8366" fmla="*/ 7893222 w 9586368"/>
              <a:gd name="connsiteY8366" fmla="*/ 492620 h 6479439"/>
              <a:gd name="connsiteX8367" fmla="*/ 7893222 w 9586368"/>
              <a:gd name="connsiteY8367" fmla="*/ 482751 h 6479439"/>
              <a:gd name="connsiteX8368" fmla="*/ 7657926 w 9586368"/>
              <a:gd name="connsiteY8368" fmla="*/ 478712 h 6479439"/>
              <a:gd name="connsiteX8369" fmla="*/ 7667836 w 9586368"/>
              <a:gd name="connsiteY8369" fmla="*/ 478712 h 6479439"/>
              <a:gd name="connsiteX8370" fmla="*/ 7671855 w 9586368"/>
              <a:gd name="connsiteY8370" fmla="*/ 482751 h 6479439"/>
              <a:gd name="connsiteX8371" fmla="*/ 7671855 w 9586368"/>
              <a:gd name="connsiteY8371" fmla="*/ 492620 h 6479439"/>
              <a:gd name="connsiteX8372" fmla="*/ 7667836 w 9586368"/>
              <a:gd name="connsiteY8372" fmla="*/ 496659 h 6479439"/>
              <a:gd name="connsiteX8373" fmla="*/ 7657926 w 9586368"/>
              <a:gd name="connsiteY8373" fmla="*/ 496659 h 6479439"/>
              <a:gd name="connsiteX8374" fmla="*/ 7653906 w 9586368"/>
              <a:gd name="connsiteY8374" fmla="*/ 492620 h 6479439"/>
              <a:gd name="connsiteX8375" fmla="*/ 7653906 w 9586368"/>
              <a:gd name="connsiteY8375" fmla="*/ 482751 h 6479439"/>
              <a:gd name="connsiteX8376" fmla="*/ 7418611 w 9586368"/>
              <a:gd name="connsiteY8376" fmla="*/ 478712 h 6479439"/>
              <a:gd name="connsiteX8377" fmla="*/ 7428521 w 9586368"/>
              <a:gd name="connsiteY8377" fmla="*/ 478712 h 6479439"/>
              <a:gd name="connsiteX8378" fmla="*/ 7432540 w 9586368"/>
              <a:gd name="connsiteY8378" fmla="*/ 482751 h 6479439"/>
              <a:gd name="connsiteX8379" fmla="*/ 7432540 w 9586368"/>
              <a:gd name="connsiteY8379" fmla="*/ 492620 h 6479439"/>
              <a:gd name="connsiteX8380" fmla="*/ 7428521 w 9586368"/>
              <a:gd name="connsiteY8380" fmla="*/ 496659 h 6479439"/>
              <a:gd name="connsiteX8381" fmla="*/ 7418611 w 9586368"/>
              <a:gd name="connsiteY8381" fmla="*/ 496659 h 6479439"/>
              <a:gd name="connsiteX8382" fmla="*/ 7414592 w 9586368"/>
              <a:gd name="connsiteY8382" fmla="*/ 492620 h 6479439"/>
              <a:gd name="connsiteX8383" fmla="*/ 7414592 w 9586368"/>
              <a:gd name="connsiteY8383" fmla="*/ 482751 h 6479439"/>
              <a:gd name="connsiteX8384" fmla="*/ 7179298 w 9586368"/>
              <a:gd name="connsiteY8384" fmla="*/ 478712 h 6479439"/>
              <a:gd name="connsiteX8385" fmla="*/ 7189209 w 9586368"/>
              <a:gd name="connsiteY8385" fmla="*/ 478712 h 6479439"/>
              <a:gd name="connsiteX8386" fmla="*/ 7193228 w 9586368"/>
              <a:gd name="connsiteY8386" fmla="*/ 482751 h 6479439"/>
              <a:gd name="connsiteX8387" fmla="*/ 7193228 w 9586368"/>
              <a:gd name="connsiteY8387" fmla="*/ 492620 h 6479439"/>
              <a:gd name="connsiteX8388" fmla="*/ 7189209 w 9586368"/>
              <a:gd name="connsiteY8388" fmla="*/ 496659 h 6479439"/>
              <a:gd name="connsiteX8389" fmla="*/ 7179298 w 9586368"/>
              <a:gd name="connsiteY8389" fmla="*/ 496659 h 6479439"/>
              <a:gd name="connsiteX8390" fmla="*/ 7175279 w 9586368"/>
              <a:gd name="connsiteY8390" fmla="*/ 492620 h 6479439"/>
              <a:gd name="connsiteX8391" fmla="*/ 7175279 w 9586368"/>
              <a:gd name="connsiteY8391" fmla="*/ 482751 h 6479439"/>
              <a:gd name="connsiteX8392" fmla="*/ 8136553 w 9586368"/>
              <a:gd name="connsiteY8392" fmla="*/ 478711 h 6479439"/>
              <a:gd name="connsiteX8393" fmla="*/ 8146464 w 9586368"/>
              <a:gd name="connsiteY8393" fmla="*/ 478711 h 6479439"/>
              <a:gd name="connsiteX8394" fmla="*/ 8150483 w 9586368"/>
              <a:gd name="connsiteY8394" fmla="*/ 482751 h 6479439"/>
              <a:gd name="connsiteX8395" fmla="*/ 8150483 w 9586368"/>
              <a:gd name="connsiteY8395" fmla="*/ 492620 h 6479439"/>
              <a:gd name="connsiteX8396" fmla="*/ 8146464 w 9586368"/>
              <a:gd name="connsiteY8396" fmla="*/ 496658 h 6479439"/>
              <a:gd name="connsiteX8397" fmla="*/ 8136553 w 9586368"/>
              <a:gd name="connsiteY8397" fmla="*/ 496658 h 6479439"/>
              <a:gd name="connsiteX8398" fmla="*/ 8132534 w 9586368"/>
              <a:gd name="connsiteY8398" fmla="*/ 492620 h 6479439"/>
              <a:gd name="connsiteX8399" fmla="*/ 8132534 w 9586368"/>
              <a:gd name="connsiteY8399" fmla="*/ 482751 h 6479439"/>
              <a:gd name="connsiteX8400" fmla="*/ 9093811 w 9586368"/>
              <a:gd name="connsiteY8400" fmla="*/ 478699 h 6479439"/>
              <a:gd name="connsiteX8401" fmla="*/ 9103722 w 9586368"/>
              <a:gd name="connsiteY8401" fmla="*/ 478699 h 6479439"/>
              <a:gd name="connsiteX8402" fmla="*/ 9107741 w 9586368"/>
              <a:gd name="connsiteY8402" fmla="*/ 482738 h 6479439"/>
              <a:gd name="connsiteX8403" fmla="*/ 9107741 w 9586368"/>
              <a:gd name="connsiteY8403" fmla="*/ 492608 h 6479439"/>
              <a:gd name="connsiteX8404" fmla="*/ 9103722 w 9586368"/>
              <a:gd name="connsiteY8404" fmla="*/ 496646 h 6479439"/>
              <a:gd name="connsiteX8405" fmla="*/ 9093811 w 9586368"/>
              <a:gd name="connsiteY8405" fmla="*/ 496646 h 6479439"/>
              <a:gd name="connsiteX8406" fmla="*/ 9089792 w 9586368"/>
              <a:gd name="connsiteY8406" fmla="*/ 492608 h 6479439"/>
              <a:gd name="connsiteX8407" fmla="*/ 9089792 w 9586368"/>
              <a:gd name="connsiteY8407" fmla="*/ 482738 h 6479439"/>
              <a:gd name="connsiteX8408" fmla="*/ 8854496 w 9586368"/>
              <a:gd name="connsiteY8408" fmla="*/ 478699 h 6479439"/>
              <a:gd name="connsiteX8409" fmla="*/ 8864407 w 9586368"/>
              <a:gd name="connsiteY8409" fmla="*/ 478699 h 6479439"/>
              <a:gd name="connsiteX8410" fmla="*/ 8868426 w 9586368"/>
              <a:gd name="connsiteY8410" fmla="*/ 482738 h 6479439"/>
              <a:gd name="connsiteX8411" fmla="*/ 8868426 w 9586368"/>
              <a:gd name="connsiteY8411" fmla="*/ 492608 h 6479439"/>
              <a:gd name="connsiteX8412" fmla="*/ 8864407 w 9586368"/>
              <a:gd name="connsiteY8412" fmla="*/ 496647 h 6479439"/>
              <a:gd name="connsiteX8413" fmla="*/ 8854496 w 9586368"/>
              <a:gd name="connsiteY8413" fmla="*/ 496647 h 6479439"/>
              <a:gd name="connsiteX8414" fmla="*/ 8850477 w 9586368"/>
              <a:gd name="connsiteY8414" fmla="*/ 492608 h 6479439"/>
              <a:gd name="connsiteX8415" fmla="*/ 8850477 w 9586368"/>
              <a:gd name="connsiteY8415" fmla="*/ 482738 h 6479439"/>
              <a:gd name="connsiteX8416" fmla="*/ 8615184 w 9586368"/>
              <a:gd name="connsiteY8416" fmla="*/ 478699 h 6479439"/>
              <a:gd name="connsiteX8417" fmla="*/ 8625095 w 9586368"/>
              <a:gd name="connsiteY8417" fmla="*/ 478699 h 6479439"/>
              <a:gd name="connsiteX8418" fmla="*/ 8629114 w 9586368"/>
              <a:gd name="connsiteY8418" fmla="*/ 482739 h 6479439"/>
              <a:gd name="connsiteX8419" fmla="*/ 8629114 w 9586368"/>
              <a:gd name="connsiteY8419" fmla="*/ 492608 h 6479439"/>
              <a:gd name="connsiteX8420" fmla="*/ 8625095 w 9586368"/>
              <a:gd name="connsiteY8420" fmla="*/ 496647 h 6479439"/>
              <a:gd name="connsiteX8421" fmla="*/ 8615184 w 9586368"/>
              <a:gd name="connsiteY8421" fmla="*/ 496647 h 6479439"/>
              <a:gd name="connsiteX8422" fmla="*/ 8611165 w 9586368"/>
              <a:gd name="connsiteY8422" fmla="*/ 492608 h 6479439"/>
              <a:gd name="connsiteX8423" fmla="*/ 8611165 w 9586368"/>
              <a:gd name="connsiteY8423" fmla="*/ 482739 h 6479439"/>
              <a:gd name="connsiteX8424" fmla="*/ 8375869 w 9586368"/>
              <a:gd name="connsiteY8424" fmla="*/ 478699 h 6479439"/>
              <a:gd name="connsiteX8425" fmla="*/ 8385779 w 9586368"/>
              <a:gd name="connsiteY8425" fmla="*/ 478699 h 6479439"/>
              <a:gd name="connsiteX8426" fmla="*/ 8389799 w 9586368"/>
              <a:gd name="connsiteY8426" fmla="*/ 482739 h 6479439"/>
              <a:gd name="connsiteX8427" fmla="*/ 8389799 w 9586368"/>
              <a:gd name="connsiteY8427" fmla="*/ 492608 h 6479439"/>
              <a:gd name="connsiteX8428" fmla="*/ 8385779 w 9586368"/>
              <a:gd name="connsiteY8428" fmla="*/ 496647 h 6479439"/>
              <a:gd name="connsiteX8429" fmla="*/ 8375869 w 9586368"/>
              <a:gd name="connsiteY8429" fmla="*/ 496647 h 6479439"/>
              <a:gd name="connsiteX8430" fmla="*/ 8371850 w 9586368"/>
              <a:gd name="connsiteY8430" fmla="*/ 492608 h 6479439"/>
              <a:gd name="connsiteX8431" fmla="*/ 8371850 w 9586368"/>
              <a:gd name="connsiteY8431" fmla="*/ 482739 h 6479439"/>
              <a:gd name="connsiteX8432" fmla="*/ 9333125 w 9586368"/>
              <a:gd name="connsiteY8432" fmla="*/ 478698 h 6479439"/>
              <a:gd name="connsiteX8433" fmla="*/ 9343036 w 9586368"/>
              <a:gd name="connsiteY8433" fmla="*/ 478698 h 6479439"/>
              <a:gd name="connsiteX8434" fmla="*/ 9347055 w 9586368"/>
              <a:gd name="connsiteY8434" fmla="*/ 482738 h 6479439"/>
              <a:gd name="connsiteX8435" fmla="*/ 9347055 w 9586368"/>
              <a:gd name="connsiteY8435" fmla="*/ 492608 h 6479439"/>
              <a:gd name="connsiteX8436" fmla="*/ 9343036 w 9586368"/>
              <a:gd name="connsiteY8436" fmla="*/ 496646 h 6479439"/>
              <a:gd name="connsiteX8437" fmla="*/ 9333125 w 9586368"/>
              <a:gd name="connsiteY8437" fmla="*/ 496646 h 6479439"/>
              <a:gd name="connsiteX8438" fmla="*/ 9329106 w 9586368"/>
              <a:gd name="connsiteY8438" fmla="*/ 492608 h 6479439"/>
              <a:gd name="connsiteX8439" fmla="*/ 9329106 w 9586368"/>
              <a:gd name="connsiteY8439" fmla="*/ 482738 h 6479439"/>
              <a:gd name="connsiteX8440" fmla="*/ 9572438 w 9586368"/>
              <a:gd name="connsiteY8440" fmla="*/ 478687 h 6479439"/>
              <a:gd name="connsiteX8441" fmla="*/ 9582349 w 9586368"/>
              <a:gd name="connsiteY8441" fmla="*/ 478687 h 6479439"/>
              <a:gd name="connsiteX8442" fmla="*/ 9586368 w 9586368"/>
              <a:gd name="connsiteY8442" fmla="*/ 482726 h 6479439"/>
              <a:gd name="connsiteX8443" fmla="*/ 9586368 w 9586368"/>
              <a:gd name="connsiteY8443" fmla="*/ 492596 h 6479439"/>
              <a:gd name="connsiteX8444" fmla="*/ 9582349 w 9586368"/>
              <a:gd name="connsiteY8444" fmla="*/ 496634 h 6479439"/>
              <a:gd name="connsiteX8445" fmla="*/ 9572438 w 9586368"/>
              <a:gd name="connsiteY8445" fmla="*/ 496634 h 6479439"/>
              <a:gd name="connsiteX8446" fmla="*/ 9568419 w 9586368"/>
              <a:gd name="connsiteY8446" fmla="*/ 492596 h 6479439"/>
              <a:gd name="connsiteX8447" fmla="*/ 9568419 w 9586368"/>
              <a:gd name="connsiteY8447" fmla="*/ 482726 h 6479439"/>
              <a:gd name="connsiteX8448" fmla="*/ 721976 w 9586368"/>
              <a:gd name="connsiteY8448" fmla="*/ 478660 h 6479439"/>
              <a:gd name="connsiteX8449" fmla="*/ 731886 w 9586368"/>
              <a:gd name="connsiteY8449" fmla="*/ 478660 h 6479439"/>
              <a:gd name="connsiteX8450" fmla="*/ 735905 w 9586368"/>
              <a:gd name="connsiteY8450" fmla="*/ 482698 h 6479439"/>
              <a:gd name="connsiteX8451" fmla="*/ 735905 w 9586368"/>
              <a:gd name="connsiteY8451" fmla="*/ 492569 h 6479439"/>
              <a:gd name="connsiteX8452" fmla="*/ 731886 w 9586368"/>
              <a:gd name="connsiteY8452" fmla="*/ 496608 h 6479439"/>
              <a:gd name="connsiteX8453" fmla="*/ 721976 w 9586368"/>
              <a:gd name="connsiteY8453" fmla="*/ 496608 h 6479439"/>
              <a:gd name="connsiteX8454" fmla="*/ 717957 w 9586368"/>
              <a:gd name="connsiteY8454" fmla="*/ 492569 h 6479439"/>
              <a:gd name="connsiteX8455" fmla="*/ 717957 w 9586368"/>
              <a:gd name="connsiteY8455" fmla="*/ 482698 h 6479439"/>
              <a:gd name="connsiteX8456" fmla="*/ 482664 w 9586368"/>
              <a:gd name="connsiteY8456" fmla="*/ 478660 h 6479439"/>
              <a:gd name="connsiteX8457" fmla="*/ 492574 w 9586368"/>
              <a:gd name="connsiteY8457" fmla="*/ 478660 h 6479439"/>
              <a:gd name="connsiteX8458" fmla="*/ 496593 w 9586368"/>
              <a:gd name="connsiteY8458" fmla="*/ 482698 h 6479439"/>
              <a:gd name="connsiteX8459" fmla="*/ 496593 w 9586368"/>
              <a:gd name="connsiteY8459" fmla="*/ 492569 h 6479439"/>
              <a:gd name="connsiteX8460" fmla="*/ 492574 w 9586368"/>
              <a:gd name="connsiteY8460" fmla="*/ 496608 h 6479439"/>
              <a:gd name="connsiteX8461" fmla="*/ 482664 w 9586368"/>
              <a:gd name="connsiteY8461" fmla="*/ 496608 h 6479439"/>
              <a:gd name="connsiteX8462" fmla="*/ 478645 w 9586368"/>
              <a:gd name="connsiteY8462" fmla="*/ 492569 h 6479439"/>
              <a:gd name="connsiteX8463" fmla="*/ 478645 w 9586368"/>
              <a:gd name="connsiteY8463" fmla="*/ 482698 h 6479439"/>
              <a:gd name="connsiteX8464" fmla="*/ 243350 w 9586368"/>
              <a:gd name="connsiteY8464" fmla="*/ 478660 h 6479439"/>
              <a:gd name="connsiteX8465" fmla="*/ 253260 w 9586368"/>
              <a:gd name="connsiteY8465" fmla="*/ 478660 h 6479439"/>
              <a:gd name="connsiteX8466" fmla="*/ 257279 w 9586368"/>
              <a:gd name="connsiteY8466" fmla="*/ 482698 h 6479439"/>
              <a:gd name="connsiteX8467" fmla="*/ 257279 w 9586368"/>
              <a:gd name="connsiteY8467" fmla="*/ 492569 h 6479439"/>
              <a:gd name="connsiteX8468" fmla="*/ 253260 w 9586368"/>
              <a:gd name="connsiteY8468" fmla="*/ 496608 h 6479439"/>
              <a:gd name="connsiteX8469" fmla="*/ 243350 w 9586368"/>
              <a:gd name="connsiteY8469" fmla="*/ 496608 h 6479439"/>
              <a:gd name="connsiteX8470" fmla="*/ 239331 w 9586368"/>
              <a:gd name="connsiteY8470" fmla="*/ 492569 h 6479439"/>
              <a:gd name="connsiteX8471" fmla="*/ 239331 w 9586368"/>
              <a:gd name="connsiteY8471" fmla="*/ 482698 h 6479439"/>
              <a:gd name="connsiteX8472" fmla="*/ 4037 w 9586368"/>
              <a:gd name="connsiteY8472" fmla="*/ 478660 h 6479439"/>
              <a:gd name="connsiteX8473" fmla="*/ 13947 w 9586368"/>
              <a:gd name="connsiteY8473" fmla="*/ 478660 h 6479439"/>
              <a:gd name="connsiteX8474" fmla="*/ 17966 w 9586368"/>
              <a:gd name="connsiteY8474" fmla="*/ 482698 h 6479439"/>
              <a:gd name="connsiteX8475" fmla="*/ 17966 w 9586368"/>
              <a:gd name="connsiteY8475" fmla="*/ 492569 h 6479439"/>
              <a:gd name="connsiteX8476" fmla="*/ 13947 w 9586368"/>
              <a:gd name="connsiteY8476" fmla="*/ 496608 h 6479439"/>
              <a:gd name="connsiteX8477" fmla="*/ 4037 w 9586368"/>
              <a:gd name="connsiteY8477" fmla="*/ 496608 h 6479439"/>
              <a:gd name="connsiteX8478" fmla="*/ 18 w 9586368"/>
              <a:gd name="connsiteY8478" fmla="*/ 492569 h 6479439"/>
              <a:gd name="connsiteX8479" fmla="*/ 18 w 9586368"/>
              <a:gd name="connsiteY8479" fmla="*/ 482698 h 6479439"/>
              <a:gd name="connsiteX8480" fmla="*/ 1679220 w 9586368"/>
              <a:gd name="connsiteY8480" fmla="*/ 478650 h 6479439"/>
              <a:gd name="connsiteX8481" fmla="*/ 1689130 w 9586368"/>
              <a:gd name="connsiteY8481" fmla="*/ 478650 h 6479439"/>
              <a:gd name="connsiteX8482" fmla="*/ 1693149 w 9586368"/>
              <a:gd name="connsiteY8482" fmla="*/ 482688 h 6479439"/>
              <a:gd name="connsiteX8483" fmla="*/ 1693149 w 9586368"/>
              <a:gd name="connsiteY8483" fmla="*/ 492559 h 6479439"/>
              <a:gd name="connsiteX8484" fmla="*/ 1689130 w 9586368"/>
              <a:gd name="connsiteY8484" fmla="*/ 496598 h 6479439"/>
              <a:gd name="connsiteX8485" fmla="*/ 1679220 w 9586368"/>
              <a:gd name="connsiteY8485" fmla="*/ 496598 h 6479439"/>
              <a:gd name="connsiteX8486" fmla="*/ 1675200 w 9586368"/>
              <a:gd name="connsiteY8486" fmla="*/ 492559 h 6479439"/>
              <a:gd name="connsiteX8487" fmla="*/ 1675200 w 9586368"/>
              <a:gd name="connsiteY8487" fmla="*/ 482688 h 6479439"/>
              <a:gd name="connsiteX8488" fmla="*/ 1439902 w 9586368"/>
              <a:gd name="connsiteY8488" fmla="*/ 478650 h 6479439"/>
              <a:gd name="connsiteX8489" fmla="*/ 1449812 w 9586368"/>
              <a:gd name="connsiteY8489" fmla="*/ 478650 h 6479439"/>
              <a:gd name="connsiteX8490" fmla="*/ 1453831 w 9586368"/>
              <a:gd name="connsiteY8490" fmla="*/ 482688 h 6479439"/>
              <a:gd name="connsiteX8491" fmla="*/ 1453831 w 9586368"/>
              <a:gd name="connsiteY8491" fmla="*/ 492559 h 6479439"/>
              <a:gd name="connsiteX8492" fmla="*/ 1449812 w 9586368"/>
              <a:gd name="connsiteY8492" fmla="*/ 496598 h 6479439"/>
              <a:gd name="connsiteX8493" fmla="*/ 1439902 w 9586368"/>
              <a:gd name="connsiteY8493" fmla="*/ 496598 h 6479439"/>
              <a:gd name="connsiteX8494" fmla="*/ 1435883 w 9586368"/>
              <a:gd name="connsiteY8494" fmla="*/ 492559 h 6479439"/>
              <a:gd name="connsiteX8495" fmla="*/ 1435883 w 9586368"/>
              <a:gd name="connsiteY8495" fmla="*/ 482688 h 6479439"/>
              <a:gd name="connsiteX8496" fmla="*/ 1200585 w 9586368"/>
              <a:gd name="connsiteY8496" fmla="*/ 478650 h 6479439"/>
              <a:gd name="connsiteX8497" fmla="*/ 1210496 w 9586368"/>
              <a:gd name="connsiteY8497" fmla="*/ 478650 h 6479439"/>
              <a:gd name="connsiteX8498" fmla="*/ 1214515 w 9586368"/>
              <a:gd name="connsiteY8498" fmla="*/ 482689 h 6479439"/>
              <a:gd name="connsiteX8499" fmla="*/ 1214515 w 9586368"/>
              <a:gd name="connsiteY8499" fmla="*/ 492559 h 6479439"/>
              <a:gd name="connsiteX8500" fmla="*/ 1210496 w 9586368"/>
              <a:gd name="connsiteY8500" fmla="*/ 496598 h 6479439"/>
              <a:gd name="connsiteX8501" fmla="*/ 1200585 w 9586368"/>
              <a:gd name="connsiteY8501" fmla="*/ 496598 h 6479439"/>
              <a:gd name="connsiteX8502" fmla="*/ 1196567 w 9586368"/>
              <a:gd name="connsiteY8502" fmla="*/ 492559 h 6479439"/>
              <a:gd name="connsiteX8503" fmla="*/ 1196567 w 9586368"/>
              <a:gd name="connsiteY8503" fmla="*/ 482689 h 6479439"/>
              <a:gd name="connsiteX8504" fmla="*/ 961273 w 9586368"/>
              <a:gd name="connsiteY8504" fmla="*/ 478650 h 6479439"/>
              <a:gd name="connsiteX8505" fmla="*/ 971183 w 9586368"/>
              <a:gd name="connsiteY8505" fmla="*/ 478650 h 6479439"/>
              <a:gd name="connsiteX8506" fmla="*/ 975202 w 9586368"/>
              <a:gd name="connsiteY8506" fmla="*/ 482689 h 6479439"/>
              <a:gd name="connsiteX8507" fmla="*/ 975202 w 9586368"/>
              <a:gd name="connsiteY8507" fmla="*/ 492559 h 6479439"/>
              <a:gd name="connsiteX8508" fmla="*/ 971183 w 9586368"/>
              <a:gd name="connsiteY8508" fmla="*/ 496598 h 6479439"/>
              <a:gd name="connsiteX8509" fmla="*/ 961273 w 9586368"/>
              <a:gd name="connsiteY8509" fmla="*/ 496598 h 6479439"/>
              <a:gd name="connsiteX8510" fmla="*/ 957254 w 9586368"/>
              <a:gd name="connsiteY8510" fmla="*/ 492559 h 6479439"/>
              <a:gd name="connsiteX8511" fmla="*/ 957254 w 9586368"/>
              <a:gd name="connsiteY8511" fmla="*/ 482689 h 6479439"/>
              <a:gd name="connsiteX8512" fmla="*/ 1918515 w 9586368"/>
              <a:gd name="connsiteY8512" fmla="*/ 478641 h 6479439"/>
              <a:gd name="connsiteX8513" fmla="*/ 1928425 w 9586368"/>
              <a:gd name="connsiteY8513" fmla="*/ 478641 h 6479439"/>
              <a:gd name="connsiteX8514" fmla="*/ 1932444 w 9586368"/>
              <a:gd name="connsiteY8514" fmla="*/ 482679 h 6479439"/>
              <a:gd name="connsiteX8515" fmla="*/ 1932444 w 9586368"/>
              <a:gd name="connsiteY8515" fmla="*/ 492550 h 6479439"/>
              <a:gd name="connsiteX8516" fmla="*/ 1928425 w 9586368"/>
              <a:gd name="connsiteY8516" fmla="*/ 496589 h 6479439"/>
              <a:gd name="connsiteX8517" fmla="*/ 1918515 w 9586368"/>
              <a:gd name="connsiteY8517" fmla="*/ 496589 h 6479439"/>
              <a:gd name="connsiteX8518" fmla="*/ 1914495 w 9586368"/>
              <a:gd name="connsiteY8518" fmla="*/ 492550 h 6479439"/>
              <a:gd name="connsiteX8519" fmla="*/ 1914495 w 9586368"/>
              <a:gd name="connsiteY8519" fmla="*/ 482679 h 6479439"/>
              <a:gd name="connsiteX8520" fmla="*/ 2157823 w 9586368"/>
              <a:gd name="connsiteY8520" fmla="*/ 478638 h 6479439"/>
              <a:gd name="connsiteX8521" fmla="*/ 2167734 w 9586368"/>
              <a:gd name="connsiteY8521" fmla="*/ 478638 h 6479439"/>
              <a:gd name="connsiteX8522" fmla="*/ 2171753 w 9586368"/>
              <a:gd name="connsiteY8522" fmla="*/ 482677 h 6479439"/>
              <a:gd name="connsiteX8523" fmla="*/ 2171753 w 9586368"/>
              <a:gd name="connsiteY8523" fmla="*/ 492548 h 6479439"/>
              <a:gd name="connsiteX8524" fmla="*/ 2167734 w 9586368"/>
              <a:gd name="connsiteY8524" fmla="*/ 496587 h 6479439"/>
              <a:gd name="connsiteX8525" fmla="*/ 2157823 w 9586368"/>
              <a:gd name="connsiteY8525" fmla="*/ 496587 h 6479439"/>
              <a:gd name="connsiteX8526" fmla="*/ 2153804 w 9586368"/>
              <a:gd name="connsiteY8526" fmla="*/ 492548 h 6479439"/>
              <a:gd name="connsiteX8527" fmla="*/ 2153804 w 9586368"/>
              <a:gd name="connsiteY8527" fmla="*/ 482677 h 6479439"/>
              <a:gd name="connsiteX8528" fmla="*/ 2632423 w 9586368"/>
              <a:gd name="connsiteY8528" fmla="*/ 239432 h 6479439"/>
              <a:gd name="connsiteX8529" fmla="*/ 2642334 w 9586368"/>
              <a:gd name="connsiteY8529" fmla="*/ 239432 h 6479439"/>
              <a:gd name="connsiteX8530" fmla="*/ 2646352 w 9586368"/>
              <a:gd name="connsiteY8530" fmla="*/ 243470 h 6479439"/>
              <a:gd name="connsiteX8531" fmla="*/ 2646352 w 9586368"/>
              <a:gd name="connsiteY8531" fmla="*/ 253341 h 6479439"/>
              <a:gd name="connsiteX8532" fmla="*/ 2642334 w 9586368"/>
              <a:gd name="connsiteY8532" fmla="*/ 257380 h 6479439"/>
              <a:gd name="connsiteX8533" fmla="*/ 2632423 w 9586368"/>
              <a:gd name="connsiteY8533" fmla="*/ 257380 h 6479439"/>
              <a:gd name="connsiteX8534" fmla="*/ 2628404 w 9586368"/>
              <a:gd name="connsiteY8534" fmla="*/ 253341 h 6479439"/>
              <a:gd name="connsiteX8535" fmla="*/ 2628404 w 9586368"/>
              <a:gd name="connsiteY8535" fmla="*/ 243470 h 6479439"/>
              <a:gd name="connsiteX8536" fmla="*/ 2393104 w 9586368"/>
              <a:gd name="connsiteY8536" fmla="*/ 239432 h 6479439"/>
              <a:gd name="connsiteX8537" fmla="*/ 2403015 w 9586368"/>
              <a:gd name="connsiteY8537" fmla="*/ 239432 h 6479439"/>
              <a:gd name="connsiteX8538" fmla="*/ 2407034 w 9586368"/>
              <a:gd name="connsiteY8538" fmla="*/ 243470 h 6479439"/>
              <a:gd name="connsiteX8539" fmla="*/ 2407034 w 9586368"/>
              <a:gd name="connsiteY8539" fmla="*/ 253341 h 6479439"/>
              <a:gd name="connsiteX8540" fmla="*/ 2403015 w 9586368"/>
              <a:gd name="connsiteY8540" fmla="*/ 257380 h 6479439"/>
              <a:gd name="connsiteX8541" fmla="*/ 2393104 w 9586368"/>
              <a:gd name="connsiteY8541" fmla="*/ 257380 h 6479439"/>
              <a:gd name="connsiteX8542" fmla="*/ 2389087 w 9586368"/>
              <a:gd name="connsiteY8542" fmla="*/ 253341 h 6479439"/>
              <a:gd name="connsiteX8543" fmla="*/ 2389087 w 9586368"/>
              <a:gd name="connsiteY8543" fmla="*/ 243470 h 6479439"/>
              <a:gd name="connsiteX8544" fmla="*/ 3350359 w 9586368"/>
              <a:gd name="connsiteY8544" fmla="*/ 239432 h 6479439"/>
              <a:gd name="connsiteX8545" fmla="*/ 3360268 w 9586368"/>
              <a:gd name="connsiteY8545" fmla="*/ 239432 h 6479439"/>
              <a:gd name="connsiteX8546" fmla="*/ 3364287 w 9586368"/>
              <a:gd name="connsiteY8546" fmla="*/ 243470 h 6479439"/>
              <a:gd name="connsiteX8547" fmla="*/ 3364287 w 9586368"/>
              <a:gd name="connsiteY8547" fmla="*/ 253341 h 6479439"/>
              <a:gd name="connsiteX8548" fmla="*/ 3360268 w 9586368"/>
              <a:gd name="connsiteY8548" fmla="*/ 257380 h 6479439"/>
              <a:gd name="connsiteX8549" fmla="*/ 3350359 w 9586368"/>
              <a:gd name="connsiteY8549" fmla="*/ 257380 h 6479439"/>
              <a:gd name="connsiteX8550" fmla="*/ 3346340 w 9586368"/>
              <a:gd name="connsiteY8550" fmla="*/ 253341 h 6479439"/>
              <a:gd name="connsiteX8551" fmla="*/ 3346340 w 9586368"/>
              <a:gd name="connsiteY8551" fmla="*/ 243470 h 6479439"/>
              <a:gd name="connsiteX8552" fmla="*/ 3111048 w 9586368"/>
              <a:gd name="connsiteY8552" fmla="*/ 239432 h 6479439"/>
              <a:gd name="connsiteX8553" fmla="*/ 3120959 w 9586368"/>
              <a:gd name="connsiteY8553" fmla="*/ 239432 h 6479439"/>
              <a:gd name="connsiteX8554" fmla="*/ 3124977 w 9586368"/>
              <a:gd name="connsiteY8554" fmla="*/ 243470 h 6479439"/>
              <a:gd name="connsiteX8555" fmla="*/ 3124977 w 9586368"/>
              <a:gd name="connsiteY8555" fmla="*/ 253341 h 6479439"/>
              <a:gd name="connsiteX8556" fmla="*/ 3120959 w 9586368"/>
              <a:gd name="connsiteY8556" fmla="*/ 257380 h 6479439"/>
              <a:gd name="connsiteX8557" fmla="*/ 3111048 w 9586368"/>
              <a:gd name="connsiteY8557" fmla="*/ 257380 h 6479439"/>
              <a:gd name="connsiteX8558" fmla="*/ 3107029 w 9586368"/>
              <a:gd name="connsiteY8558" fmla="*/ 253341 h 6479439"/>
              <a:gd name="connsiteX8559" fmla="*/ 3107029 w 9586368"/>
              <a:gd name="connsiteY8559" fmla="*/ 243470 h 6479439"/>
              <a:gd name="connsiteX8560" fmla="*/ 2871737 w 9586368"/>
              <a:gd name="connsiteY8560" fmla="*/ 239432 h 6479439"/>
              <a:gd name="connsiteX8561" fmla="*/ 2881646 w 9586368"/>
              <a:gd name="connsiteY8561" fmla="*/ 239432 h 6479439"/>
              <a:gd name="connsiteX8562" fmla="*/ 2885666 w 9586368"/>
              <a:gd name="connsiteY8562" fmla="*/ 243470 h 6479439"/>
              <a:gd name="connsiteX8563" fmla="*/ 2885666 w 9586368"/>
              <a:gd name="connsiteY8563" fmla="*/ 253341 h 6479439"/>
              <a:gd name="connsiteX8564" fmla="*/ 2881646 w 9586368"/>
              <a:gd name="connsiteY8564" fmla="*/ 257380 h 6479439"/>
              <a:gd name="connsiteX8565" fmla="*/ 2871737 w 9586368"/>
              <a:gd name="connsiteY8565" fmla="*/ 257380 h 6479439"/>
              <a:gd name="connsiteX8566" fmla="*/ 2867717 w 9586368"/>
              <a:gd name="connsiteY8566" fmla="*/ 253341 h 6479439"/>
              <a:gd name="connsiteX8567" fmla="*/ 2867717 w 9586368"/>
              <a:gd name="connsiteY8567" fmla="*/ 243470 h 6479439"/>
              <a:gd name="connsiteX8568" fmla="*/ 3828990 w 9586368"/>
              <a:gd name="connsiteY8568" fmla="*/ 239420 h 6479439"/>
              <a:gd name="connsiteX8569" fmla="*/ 3838899 w 9586368"/>
              <a:gd name="connsiteY8569" fmla="*/ 239420 h 6479439"/>
              <a:gd name="connsiteX8570" fmla="*/ 3842917 w 9586368"/>
              <a:gd name="connsiteY8570" fmla="*/ 243457 h 6479439"/>
              <a:gd name="connsiteX8571" fmla="*/ 3842917 w 9586368"/>
              <a:gd name="connsiteY8571" fmla="*/ 253328 h 6479439"/>
              <a:gd name="connsiteX8572" fmla="*/ 3838899 w 9586368"/>
              <a:gd name="connsiteY8572" fmla="*/ 257367 h 6479439"/>
              <a:gd name="connsiteX8573" fmla="*/ 3828990 w 9586368"/>
              <a:gd name="connsiteY8573" fmla="*/ 257367 h 6479439"/>
              <a:gd name="connsiteX8574" fmla="*/ 3824971 w 9586368"/>
              <a:gd name="connsiteY8574" fmla="*/ 253328 h 6479439"/>
              <a:gd name="connsiteX8575" fmla="*/ 3824971 w 9586368"/>
              <a:gd name="connsiteY8575" fmla="*/ 243457 h 6479439"/>
              <a:gd name="connsiteX8576" fmla="*/ 3589676 w 9586368"/>
              <a:gd name="connsiteY8576" fmla="*/ 239420 h 6479439"/>
              <a:gd name="connsiteX8577" fmla="*/ 3599585 w 9586368"/>
              <a:gd name="connsiteY8577" fmla="*/ 239420 h 6479439"/>
              <a:gd name="connsiteX8578" fmla="*/ 3603604 w 9586368"/>
              <a:gd name="connsiteY8578" fmla="*/ 243457 h 6479439"/>
              <a:gd name="connsiteX8579" fmla="*/ 3603604 w 9586368"/>
              <a:gd name="connsiteY8579" fmla="*/ 253328 h 6479439"/>
              <a:gd name="connsiteX8580" fmla="*/ 3599585 w 9586368"/>
              <a:gd name="connsiteY8580" fmla="*/ 257367 h 6479439"/>
              <a:gd name="connsiteX8581" fmla="*/ 3589676 w 9586368"/>
              <a:gd name="connsiteY8581" fmla="*/ 257367 h 6479439"/>
              <a:gd name="connsiteX8582" fmla="*/ 3585657 w 9586368"/>
              <a:gd name="connsiteY8582" fmla="*/ 253328 h 6479439"/>
              <a:gd name="connsiteX8583" fmla="*/ 3585657 w 9586368"/>
              <a:gd name="connsiteY8583" fmla="*/ 243457 h 6479439"/>
              <a:gd name="connsiteX8584" fmla="*/ 4546929 w 9586368"/>
              <a:gd name="connsiteY8584" fmla="*/ 239419 h 6479439"/>
              <a:gd name="connsiteX8585" fmla="*/ 4556840 w 9586368"/>
              <a:gd name="connsiteY8585" fmla="*/ 239419 h 6479439"/>
              <a:gd name="connsiteX8586" fmla="*/ 4560859 w 9586368"/>
              <a:gd name="connsiteY8586" fmla="*/ 243457 h 6479439"/>
              <a:gd name="connsiteX8587" fmla="*/ 4560859 w 9586368"/>
              <a:gd name="connsiteY8587" fmla="*/ 253328 h 6479439"/>
              <a:gd name="connsiteX8588" fmla="*/ 4556840 w 9586368"/>
              <a:gd name="connsiteY8588" fmla="*/ 257367 h 6479439"/>
              <a:gd name="connsiteX8589" fmla="*/ 4546929 w 9586368"/>
              <a:gd name="connsiteY8589" fmla="*/ 257367 h 6479439"/>
              <a:gd name="connsiteX8590" fmla="*/ 4542910 w 9586368"/>
              <a:gd name="connsiteY8590" fmla="*/ 253328 h 6479439"/>
              <a:gd name="connsiteX8591" fmla="*/ 4542910 w 9586368"/>
              <a:gd name="connsiteY8591" fmla="*/ 243457 h 6479439"/>
              <a:gd name="connsiteX8592" fmla="*/ 4307612 w 9586368"/>
              <a:gd name="connsiteY8592" fmla="*/ 239419 h 6479439"/>
              <a:gd name="connsiteX8593" fmla="*/ 4317523 w 9586368"/>
              <a:gd name="connsiteY8593" fmla="*/ 239419 h 6479439"/>
              <a:gd name="connsiteX8594" fmla="*/ 4321543 w 9586368"/>
              <a:gd name="connsiteY8594" fmla="*/ 243457 h 6479439"/>
              <a:gd name="connsiteX8595" fmla="*/ 4321543 w 9586368"/>
              <a:gd name="connsiteY8595" fmla="*/ 253328 h 6479439"/>
              <a:gd name="connsiteX8596" fmla="*/ 4317523 w 9586368"/>
              <a:gd name="connsiteY8596" fmla="*/ 257367 h 6479439"/>
              <a:gd name="connsiteX8597" fmla="*/ 4307612 w 9586368"/>
              <a:gd name="connsiteY8597" fmla="*/ 257367 h 6479439"/>
              <a:gd name="connsiteX8598" fmla="*/ 4303595 w 9586368"/>
              <a:gd name="connsiteY8598" fmla="*/ 253328 h 6479439"/>
              <a:gd name="connsiteX8599" fmla="*/ 4303595 w 9586368"/>
              <a:gd name="connsiteY8599" fmla="*/ 243457 h 6479439"/>
              <a:gd name="connsiteX8600" fmla="*/ 4068297 w 9586368"/>
              <a:gd name="connsiteY8600" fmla="*/ 239419 h 6479439"/>
              <a:gd name="connsiteX8601" fmla="*/ 4078210 w 9586368"/>
              <a:gd name="connsiteY8601" fmla="*/ 239419 h 6479439"/>
              <a:gd name="connsiteX8602" fmla="*/ 4082229 w 9586368"/>
              <a:gd name="connsiteY8602" fmla="*/ 243457 h 6479439"/>
              <a:gd name="connsiteX8603" fmla="*/ 4082229 w 9586368"/>
              <a:gd name="connsiteY8603" fmla="*/ 253328 h 6479439"/>
              <a:gd name="connsiteX8604" fmla="*/ 4078210 w 9586368"/>
              <a:gd name="connsiteY8604" fmla="*/ 257367 h 6479439"/>
              <a:gd name="connsiteX8605" fmla="*/ 4068297 w 9586368"/>
              <a:gd name="connsiteY8605" fmla="*/ 257367 h 6479439"/>
              <a:gd name="connsiteX8606" fmla="*/ 4064278 w 9586368"/>
              <a:gd name="connsiteY8606" fmla="*/ 253328 h 6479439"/>
              <a:gd name="connsiteX8607" fmla="*/ 4064278 w 9586368"/>
              <a:gd name="connsiteY8607" fmla="*/ 243457 h 6479439"/>
              <a:gd name="connsiteX8608" fmla="*/ 5025470 w 9586368"/>
              <a:gd name="connsiteY8608" fmla="*/ 239407 h 6479439"/>
              <a:gd name="connsiteX8609" fmla="*/ 5035381 w 9586368"/>
              <a:gd name="connsiteY8609" fmla="*/ 239407 h 6479439"/>
              <a:gd name="connsiteX8610" fmla="*/ 5039400 w 9586368"/>
              <a:gd name="connsiteY8610" fmla="*/ 243445 h 6479439"/>
              <a:gd name="connsiteX8611" fmla="*/ 5039400 w 9586368"/>
              <a:gd name="connsiteY8611" fmla="*/ 253316 h 6479439"/>
              <a:gd name="connsiteX8612" fmla="*/ 5035381 w 9586368"/>
              <a:gd name="connsiteY8612" fmla="*/ 257355 h 6479439"/>
              <a:gd name="connsiteX8613" fmla="*/ 5025470 w 9586368"/>
              <a:gd name="connsiteY8613" fmla="*/ 257355 h 6479439"/>
              <a:gd name="connsiteX8614" fmla="*/ 5021451 w 9586368"/>
              <a:gd name="connsiteY8614" fmla="*/ 253316 h 6479439"/>
              <a:gd name="connsiteX8615" fmla="*/ 5021451 w 9586368"/>
              <a:gd name="connsiteY8615" fmla="*/ 243445 h 6479439"/>
              <a:gd name="connsiteX8616" fmla="*/ 4786241 w 9586368"/>
              <a:gd name="connsiteY8616" fmla="*/ 239407 h 6479439"/>
              <a:gd name="connsiteX8617" fmla="*/ 4796152 w 9586368"/>
              <a:gd name="connsiteY8617" fmla="*/ 239407 h 6479439"/>
              <a:gd name="connsiteX8618" fmla="*/ 4800171 w 9586368"/>
              <a:gd name="connsiteY8618" fmla="*/ 243445 h 6479439"/>
              <a:gd name="connsiteX8619" fmla="*/ 4800171 w 9586368"/>
              <a:gd name="connsiteY8619" fmla="*/ 253316 h 6479439"/>
              <a:gd name="connsiteX8620" fmla="*/ 4796152 w 9586368"/>
              <a:gd name="connsiteY8620" fmla="*/ 257355 h 6479439"/>
              <a:gd name="connsiteX8621" fmla="*/ 4786241 w 9586368"/>
              <a:gd name="connsiteY8621" fmla="*/ 257355 h 6479439"/>
              <a:gd name="connsiteX8622" fmla="*/ 4782224 w 9586368"/>
              <a:gd name="connsiteY8622" fmla="*/ 253316 h 6479439"/>
              <a:gd name="connsiteX8623" fmla="*/ 4782224 w 9586368"/>
              <a:gd name="connsiteY8623" fmla="*/ 243445 h 6479439"/>
              <a:gd name="connsiteX8624" fmla="*/ 5743412 w 9586368"/>
              <a:gd name="connsiteY8624" fmla="*/ 239407 h 6479439"/>
              <a:gd name="connsiteX8625" fmla="*/ 5753323 w 9586368"/>
              <a:gd name="connsiteY8625" fmla="*/ 239407 h 6479439"/>
              <a:gd name="connsiteX8626" fmla="*/ 5757342 w 9586368"/>
              <a:gd name="connsiteY8626" fmla="*/ 243445 h 6479439"/>
              <a:gd name="connsiteX8627" fmla="*/ 5757342 w 9586368"/>
              <a:gd name="connsiteY8627" fmla="*/ 253316 h 6479439"/>
              <a:gd name="connsiteX8628" fmla="*/ 5753323 w 9586368"/>
              <a:gd name="connsiteY8628" fmla="*/ 257355 h 6479439"/>
              <a:gd name="connsiteX8629" fmla="*/ 5743412 w 9586368"/>
              <a:gd name="connsiteY8629" fmla="*/ 257355 h 6479439"/>
              <a:gd name="connsiteX8630" fmla="*/ 5739393 w 9586368"/>
              <a:gd name="connsiteY8630" fmla="*/ 253316 h 6479439"/>
              <a:gd name="connsiteX8631" fmla="*/ 5739393 w 9586368"/>
              <a:gd name="connsiteY8631" fmla="*/ 243445 h 6479439"/>
              <a:gd name="connsiteX8632" fmla="*/ 5504099 w 9586368"/>
              <a:gd name="connsiteY8632" fmla="*/ 239407 h 6479439"/>
              <a:gd name="connsiteX8633" fmla="*/ 5514010 w 9586368"/>
              <a:gd name="connsiteY8633" fmla="*/ 239407 h 6479439"/>
              <a:gd name="connsiteX8634" fmla="*/ 5518029 w 9586368"/>
              <a:gd name="connsiteY8634" fmla="*/ 243445 h 6479439"/>
              <a:gd name="connsiteX8635" fmla="*/ 5518029 w 9586368"/>
              <a:gd name="connsiteY8635" fmla="*/ 253316 h 6479439"/>
              <a:gd name="connsiteX8636" fmla="*/ 5514010 w 9586368"/>
              <a:gd name="connsiteY8636" fmla="*/ 257355 h 6479439"/>
              <a:gd name="connsiteX8637" fmla="*/ 5504099 w 9586368"/>
              <a:gd name="connsiteY8637" fmla="*/ 257355 h 6479439"/>
              <a:gd name="connsiteX8638" fmla="*/ 5500080 w 9586368"/>
              <a:gd name="connsiteY8638" fmla="*/ 253316 h 6479439"/>
              <a:gd name="connsiteX8639" fmla="*/ 5500080 w 9586368"/>
              <a:gd name="connsiteY8639" fmla="*/ 243445 h 6479439"/>
              <a:gd name="connsiteX8640" fmla="*/ 5264784 w 9586368"/>
              <a:gd name="connsiteY8640" fmla="*/ 239407 h 6479439"/>
              <a:gd name="connsiteX8641" fmla="*/ 5274694 w 9586368"/>
              <a:gd name="connsiteY8641" fmla="*/ 239407 h 6479439"/>
              <a:gd name="connsiteX8642" fmla="*/ 5278713 w 9586368"/>
              <a:gd name="connsiteY8642" fmla="*/ 243445 h 6479439"/>
              <a:gd name="connsiteX8643" fmla="*/ 5278713 w 9586368"/>
              <a:gd name="connsiteY8643" fmla="*/ 253316 h 6479439"/>
              <a:gd name="connsiteX8644" fmla="*/ 5274694 w 9586368"/>
              <a:gd name="connsiteY8644" fmla="*/ 257355 h 6479439"/>
              <a:gd name="connsiteX8645" fmla="*/ 5264784 w 9586368"/>
              <a:gd name="connsiteY8645" fmla="*/ 257355 h 6479439"/>
              <a:gd name="connsiteX8646" fmla="*/ 5260765 w 9586368"/>
              <a:gd name="connsiteY8646" fmla="*/ 253316 h 6479439"/>
              <a:gd name="connsiteX8647" fmla="*/ 5260765 w 9586368"/>
              <a:gd name="connsiteY8647" fmla="*/ 243445 h 6479439"/>
              <a:gd name="connsiteX8648" fmla="*/ 6222042 w 9586368"/>
              <a:gd name="connsiteY8648" fmla="*/ 239395 h 6479439"/>
              <a:gd name="connsiteX8649" fmla="*/ 6231952 w 9586368"/>
              <a:gd name="connsiteY8649" fmla="*/ 239395 h 6479439"/>
              <a:gd name="connsiteX8650" fmla="*/ 6235971 w 9586368"/>
              <a:gd name="connsiteY8650" fmla="*/ 243432 h 6479439"/>
              <a:gd name="connsiteX8651" fmla="*/ 6235971 w 9586368"/>
              <a:gd name="connsiteY8651" fmla="*/ 253303 h 6479439"/>
              <a:gd name="connsiteX8652" fmla="*/ 6231952 w 9586368"/>
              <a:gd name="connsiteY8652" fmla="*/ 257342 h 6479439"/>
              <a:gd name="connsiteX8653" fmla="*/ 6222042 w 9586368"/>
              <a:gd name="connsiteY8653" fmla="*/ 257342 h 6479439"/>
              <a:gd name="connsiteX8654" fmla="*/ 6218023 w 9586368"/>
              <a:gd name="connsiteY8654" fmla="*/ 253303 h 6479439"/>
              <a:gd name="connsiteX8655" fmla="*/ 6218023 w 9586368"/>
              <a:gd name="connsiteY8655" fmla="*/ 243432 h 6479439"/>
              <a:gd name="connsiteX8656" fmla="*/ 5982729 w 9586368"/>
              <a:gd name="connsiteY8656" fmla="*/ 239395 h 6479439"/>
              <a:gd name="connsiteX8657" fmla="*/ 5992639 w 9586368"/>
              <a:gd name="connsiteY8657" fmla="*/ 239395 h 6479439"/>
              <a:gd name="connsiteX8658" fmla="*/ 5996658 w 9586368"/>
              <a:gd name="connsiteY8658" fmla="*/ 243433 h 6479439"/>
              <a:gd name="connsiteX8659" fmla="*/ 5996658 w 9586368"/>
              <a:gd name="connsiteY8659" fmla="*/ 253303 h 6479439"/>
              <a:gd name="connsiteX8660" fmla="*/ 5992639 w 9586368"/>
              <a:gd name="connsiteY8660" fmla="*/ 257342 h 6479439"/>
              <a:gd name="connsiteX8661" fmla="*/ 5982729 w 9586368"/>
              <a:gd name="connsiteY8661" fmla="*/ 257342 h 6479439"/>
              <a:gd name="connsiteX8662" fmla="*/ 5978710 w 9586368"/>
              <a:gd name="connsiteY8662" fmla="*/ 253303 h 6479439"/>
              <a:gd name="connsiteX8663" fmla="*/ 5978710 w 9586368"/>
              <a:gd name="connsiteY8663" fmla="*/ 243433 h 6479439"/>
              <a:gd name="connsiteX8664" fmla="*/ 6939983 w 9586368"/>
              <a:gd name="connsiteY8664" fmla="*/ 239394 h 6479439"/>
              <a:gd name="connsiteX8665" fmla="*/ 6949894 w 9586368"/>
              <a:gd name="connsiteY8665" fmla="*/ 239394 h 6479439"/>
              <a:gd name="connsiteX8666" fmla="*/ 6953913 w 9586368"/>
              <a:gd name="connsiteY8666" fmla="*/ 243432 h 6479439"/>
              <a:gd name="connsiteX8667" fmla="*/ 6953913 w 9586368"/>
              <a:gd name="connsiteY8667" fmla="*/ 253303 h 6479439"/>
              <a:gd name="connsiteX8668" fmla="*/ 6949894 w 9586368"/>
              <a:gd name="connsiteY8668" fmla="*/ 257342 h 6479439"/>
              <a:gd name="connsiteX8669" fmla="*/ 6939983 w 9586368"/>
              <a:gd name="connsiteY8669" fmla="*/ 257342 h 6479439"/>
              <a:gd name="connsiteX8670" fmla="*/ 6935964 w 9586368"/>
              <a:gd name="connsiteY8670" fmla="*/ 253303 h 6479439"/>
              <a:gd name="connsiteX8671" fmla="*/ 6935964 w 9586368"/>
              <a:gd name="connsiteY8671" fmla="*/ 243432 h 6479439"/>
              <a:gd name="connsiteX8672" fmla="*/ 6700670 w 9586368"/>
              <a:gd name="connsiteY8672" fmla="*/ 239394 h 6479439"/>
              <a:gd name="connsiteX8673" fmla="*/ 6710581 w 9586368"/>
              <a:gd name="connsiteY8673" fmla="*/ 239394 h 6479439"/>
              <a:gd name="connsiteX8674" fmla="*/ 6714600 w 9586368"/>
              <a:gd name="connsiteY8674" fmla="*/ 243432 h 6479439"/>
              <a:gd name="connsiteX8675" fmla="*/ 6714600 w 9586368"/>
              <a:gd name="connsiteY8675" fmla="*/ 253303 h 6479439"/>
              <a:gd name="connsiteX8676" fmla="*/ 6710581 w 9586368"/>
              <a:gd name="connsiteY8676" fmla="*/ 257342 h 6479439"/>
              <a:gd name="connsiteX8677" fmla="*/ 6700670 w 9586368"/>
              <a:gd name="connsiteY8677" fmla="*/ 257342 h 6479439"/>
              <a:gd name="connsiteX8678" fmla="*/ 6696651 w 9586368"/>
              <a:gd name="connsiteY8678" fmla="*/ 253303 h 6479439"/>
              <a:gd name="connsiteX8679" fmla="*/ 6696651 w 9586368"/>
              <a:gd name="connsiteY8679" fmla="*/ 243432 h 6479439"/>
              <a:gd name="connsiteX8680" fmla="*/ 6461356 w 9586368"/>
              <a:gd name="connsiteY8680" fmla="*/ 239394 h 6479439"/>
              <a:gd name="connsiteX8681" fmla="*/ 6471266 w 9586368"/>
              <a:gd name="connsiteY8681" fmla="*/ 239394 h 6479439"/>
              <a:gd name="connsiteX8682" fmla="*/ 6475285 w 9586368"/>
              <a:gd name="connsiteY8682" fmla="*/ 243432 h 6479439"/>
              <a:gd name="connsiteX8683" fmla="*/ 6475285 w 9586368"/>
              <a:gd name="connsiteY8683" fmla="*/ 253303 h 6479439"/>
              <a:gd name="connsiteX8684" fmla="*/ 6471266 w 9586368"/>
              <a:gd name="connsiteY8684" fmla="*/ 257342 h 6479439"/>
              <a:gd name="connsiteX8685" fmla="*/ 6461356 w 9586368"/>
              <a:gd name="connsiteY8685" fmla="*/ 257342 h 6479439"/>
              <a:gd name="connsiteX8686" fmla="*/ 6457337 w 9586368"/>
              <a:gd name="connsiteY8686" fmla="*/ 253303 h 6479439"/>
              <a:gd name="connsiteX8687" fmla="*/ 6457337 w 9586368"/>
              <a:gd name="connsiteY8687" fmla="*/ 243432 h 6479439"/>
              <a:gd name="connsiteX8688" fmla="*/ 7418611 w 9586368"/>
              <a:gd name="connsiteY8688" fmla="*/ 239382 h 6479439"/>
              <a:gd name="connsiteX8689" fmla="*/ 7428521 w 9586368"/>
              <a:gd name="connsiteY8689" fmla="*/ 239382 h 6479439"/>
              <a:gd name="connsiteX8690" fmla="*/ 7432540 w 9586368"/>
              <a:gd name="connsiteY8690" fmla="*/ 243420 h 6479439"/>
              <a:gd name="connsiteX8691" fmla="*/ 7432540 w 9586368"/>
              <a:gd name="connsiteY8691" fmla="*/ 253291 h 6479439"/>
              <a:gd name="connsiteX8692" fmla="*/ 7428521 w 9586368"/>
              <a:gd name="connsiteY8692" fmla="*/ 257330 h 6479439"/>
              <a:gd name="connsiteX8693" fmla="*/ 7418611 w 9586368"/>
              <a:gd name="connsiteY8693" fmla="*/ 257330 h 6479439"/>
              <a:gd name="connsiteX8694" fmla="*/ 7414592 w 9586368"/>
              <a:gd name="connsiteY8694" fmla="*/ 253291 h 6479439"/>
              <a:gd name="connsiteX8695" fmla="*/ 7414592 w 9586368"/>
              <a:gd name="connsiteY8695" fmla="*/ 243420 h 6479439"/>
              <a:gd name="connsiteX8696" fmla="*/ 7179298 w 9586368"/>
              <a:gd name="connsiteY8696" fmla="*/ 239382 h 6479439"/>
              <a:gd name="connsiteX8697" fmla="*/ 7189209 w 9586368"/>
              <a:gd name="connsiteY8697" fmla="*/ 239382 h 6479439"/>
              <a:gd name="connsiteX8698" fmla="*/ 7193228 w 9586368"/>
              <a:gd name="connsiteY8698" fmla="*/ 243421 h 6479439"/>
              <a:gd name="connsiteX8699" fmla="*/ 7193228 w 9586368"/>
              <a:gd name="connsiteY8699" fmla="*/ 253292 h 6479439"/>
              <a:gd name="connsiteX8700" fmla="*/ 7189209 w 9586368"/>
              <a:gd name="connsiteY8700" fmla="*/ 257330 h 6479439"/>
              <a:gd name="connsiteX8701" fmla="*/ 7179298 w 9586368"/>
              <a:gd name="connsiteY8701" fmla="*/ 257330 h 6479439"/>
              <a:gd name="connsiteX8702" fmla="*/ 7175279 w 9586368"/>
              <a:gd name="connsiteY8702" fmla="*/ 253292 h 6479439"/>
              <a:gd name="connsiteX8703" fmla="*/ 7175279 w 9586368"/>
              <a:gd name="connsiteY8703" fmla="*/ 243421 h 6479439"/>
              <a:gd name="connsiteX8704" fmla="*/ 8136553 w 9586368"/>
              <a:gd name="connsiteY8704" fmla="*/ 239382 h 6479439"/>
              <a:gd name="connsiteX8705" fmla="*/ 8146464 w 9586368"/>
              <a:gd name="connsiteY8705" fmla="*/ 239382 h 6479439"/>
              <a:gd name="connsiteX8706" fmla="*/ 8150483 w 9586368"/>
              <a:gd name="connsiteY8706" fmla="*/ 243420 h 6479439"/>
              <a:gd name="connsiteX8707" fmla="*/ 8150483 w 9586368"/>
              <a:gd name="connsiteY8707" fmla="*/ 253291 h 6479439"/>
              <a:gd name="connsiteX8708" fmla="*/ 8146464 w 9586368"/>
              <a:gd name="connsiteY8708" fmla="*/ 257330 h 6479439"/>
              <a:gd name="connsiteX8709" fmla="*/ 8136553 w 9586368"/>
              <a:gd name="connsiteY8709" fmla="*/ 257330 h 6479439"/>
              <a:gd name="connsiteX8710" fmla="*/ 8132534 w 9586368"/>
              <a:gd name="connsiteY8710" fmla="*/ 253291 h 6479439"/>
              <a:gd name="connsiteX8711" fmla="*/ 8132534 w 9586368"/>
              <a:gd name="connsiteY8711" fmla="*/ 243420 h 6479439"/>
              <a:gd name="connsiteX8712" fmla="*/ 7897241 w 9586368"/>
              <a:gd name="connsiteY8712" fmla="*/ 239382 h 6479439"/>
              <a:gd name="connsiteX8713" fmla="*/ 7907151 w 9586368"/>
              <a:gd name="connsiteY8713" fmla="*/ 239382 h 6479439"/>
              <a:gd name="connsiteX8714" fmla="*/ 7911170 w 9586368"/>
              <a:gd name="connsiteY8714" fmla="*/ 243420 h 6479439"/>
              <a:gd name="connsiteX8715" fmla="*/ 7911170 w 9586368"/>
              <a:gd name="connsiteY8715" fmla="*/ 253291 h 6479439"/>
              <a:gd name="connsiteX8716" fmla="*/ 7907151 w 9586368"/>
              <a:gd name="connsiteY8716" fmla="*/ 257330 h 6479439"/>
              <a:gd name="connsiteX8717" fmla="*/ 7897241 w 9586368"/>
              <a:gd name="connsiteY8717" fmla="*/ 257330 h 6479439"/>
              <a:gd name="connsiteX8718" fmla="*/ 7893222 w 9586368"/>
              <a:gd name="connsiteY8718" fmla="*/ 253291 h 6479439"/>
              <a:gd name="connsiteX8719" fmla="*/ 7893222 w 9586368"/>
              <a:gd name="connsiteY8719" fmla="*/ 243420 h 6479439"/>
              <a:gd name="connsiteX8720" fmla="*/ 7657926 w 9586368"/>
              <a:gd name="connsiteY8720" fmla="*/ 239382 h 6479439"/>
              <a:gd name="connsiteX8721" fmla="*/ 7667836 w 9586368"/>
              <a:gd name="connsiteY8721" fmla="*/ 239382 h 6479439"/>
              <a:gd name="connsiteX8722" fmla="*/ 7671855 w 9586368"/>
              <a:gd name="connsiteY8722" fmla="*/ 243420 h 6479439"/>
              <a:gd name="connsiteX8723" fmla="*/ 7671855 w 9586368"/>
              <a:gd name="connsiteY8723" fmla="*/ 253291 h 6479439"/>
              <a:gd name="connsiteX8724" fmla="*/ 7667836 w 9586368"/>
              <a:gd name="connsiteY8724" fmla="*/ 257330 h 6479439"/>
              <a:gd name="connsiteX8725" fmla="*/ 7657926 w 9586368"/>
              <a:gd name="connsiteY8725" fmla="*/ 257330 h 6479439"/>
              <a:gd name="connsiteX8726" fmla="*/ 7653906 w 9586368"/>
              <a:gd name="connsiteY8726" fmla="*/ 253291 h 6479439"/>
              <a:gd name="connsiteX8727" fmla="*/ 7653906 w 9586368"/>
              <a:gd name="connsiteY8727" fmla="*/ 243420 h 6479439"/>
              <a:gd name="connsiteX8728" fmla="*/ 1679220 w 9586368"/>
              <a:gd name="connsiteY8728" fmla="*/ 239371 h 6479439"/>
              <a:gd name="connsiteX8729" fmla="*/ 1689131 w 9586368"/>
              <a:gd name="connsiteY8729" fmla="*/ 239371 h 6479439"/>
              <a:gd name="connsiteX8730" fmla="*/ 1693150 w 9586368"/>
              <a:gd name="connsiteY8730" fmla="*/ 243409 h 6479439"/>
              <a:gd name="connsiteX8731" fmla="*/ 1693150 w 9586368"/>
              <a:gd name="connsiteY8731" fmla="*/ 253280 h 6479439"/>
              <a:gd name="connsiteX8732" fmla="*/ 1689131 w 9586368"/>
              <a:gd name="connsiteY8732" fmla="*/ 257319 h 6479439"/>
              <a:gd name="connsiteX8733" fmla="*/ 1679220 w 9586368"/>
              <a:gd name="connsiteY8733" fmla="*/ 257319 h 6479439"/>
              <a:gd name="connsiteX8734" fmla="*/ 1675202 w 9586368"/>
              <a:gd name="connsiteY8734" fmla="*/ 253280 h 6479439"/>
              <a:gd name="connsiteX8735" fmla="*/ 1675202 w 9586368"/>
              <a:gd name="connsiteY8735" fmla="*/ 243409 h 6479439"/>
              <a:gd name="connsiteX8736" fmla="*/ 1439902 w 9586368"/>
              <a:gd name="connsiteY8736" fmla="*/ 239371 h 6479439"/>
              <a:gd name="connsiteX8737" fmla="*/ 1449813 w 9586368"/>
              <a:gd name="connsiteY8737" fmla="*/ 239371 h 6479439"/>
              <a:gd name="connsiteX8738" fmla="*/ 1453832 w 9586368"/>
              <a:gd name="connsiteY8738" fmla="*/ 243409 h 6479439"/>
              <a:gd name="connsiteX8739" fmla="*/ 1453832 w 9586368"/>
              <a:gd name="connsiteY8739" fmla="*/ 253280 h 6479439"/>
              <a:gd name="connsiteX8740" fmla="*/ 1449813 w 9586368"/>
              <a:gd name="connsiteY8740" fmla="*/ 257319 h 6479439"/>
              <a:gd name="connsiteX8741" fmla="*/ 1439902 w 9586368"/>
              <a:gd name="connsiteY8741" fmla="*/ 257319 h 6479439"/>
              <a:gd name="connsiteX8742" fmla="*/ 1435884 w 9586368"/>
              <a:gd name="connsiteY8742" fmla="*/ 253280 h 6479439"/>
              <a:gd name="connsiteX8743" fmla="*/ 1435884 w 9586368"/>
              <a:gd name="connsiteY8743" fmla="*/ 243409 h 6479439"/>
              <a:gd name="connsiteX8744" fmla="*/ 1200587 w 9586368"/>
              <a:gd name="connsiteY8744" fmla="*/ 239371 h 6479439"/>
              <a:gd name="connsiteX8745" fmla="*/ 1210496 w 9586368"/>
              <a:gd name="connsiteY8745" fmla="*/ 239371 h 6479439"/>
              <a:gd name="connsiteX8746" fmla="*/ 1214515 w 9586368"/>
              <a:gd name="connsiteY8746" fmla="*/ 243409 h 6479439"/>
              <a:gd name="connsiteX8747" fmla="*/ 1214515 w 9586368"/>
              <a:gd name="connsiteY8747" fmla="*/ 253280 h 6479439"/>
              <a:gd name="connsiteX8748" fmla="*/ 1210496 w 9586368"/>
              <a:gd name="connsiteY8748" fmla="*/ 257319 h 6479439"/>
              <a:gd name="connsiteX8749" fmla="*/ 1200587 w 9586368"/>
              <a:gd name="connsiteY8749" fmla="*/ 257319 h 6479439"/>
              <a:gd name="connsiteX8750" fmla="*/ 1196567 w 9586368"/>
              <a:gd name="connsiteY8750" fmla="*/ 253280 h 6479439"/>
              <a:gd name="connsiteX8751" fmla="*/ 1196567 w 9586368"/>
              <a:gd name="connsiteY8751" fmla="*/ 243409 h 6479439"/>
              <a:gd name="connsiteX8752" fmla="*/ 961273 w 9586368"/>
              <a:gd name="connsiteY8752" fmla="*/ 239371 h 6479439"/>
              <a:gd name="connsiteX8753" fmla="*/ 971184 w 9586368"/>
              <a:gd name="connsiteY8753" fmla="*/ 239371 h 6479439"/>
              <a:gd name="connsiteX8754" fmla="*/ 975203 w 9586368"/>
              <a:gd name="connsiteY8754" fmla="*/ 243409 h 6479439"/>
              <a:gd name="connsiteX8755" fmla="*/ 975203 w 9586368"/>
              <a:gd name="connsiteY8755" fmla="*/ 253280 h 6479439"/>
              <a:gd name="connsiteX8756" fmla="*/ 971184 w 9586368"/>
              <a:gd name="connsiteY8756" fmla="*/ 257319 h 6479439"/>
              <a:gd name="connsiteX8757" fmla="*/ 961273 w 9586368"/>
              <a:gd name="connsiteY8757" fmla="*/ 257319 h 6479439"/>
              <a:gd name="connsiteX8758" fmla="*/ 957255 w 9586368"/>
              <a:gd name="connsiteY8758" fmla="*/ 253280 h 6479439"/>
              <a:gd name="connsiteX8759" fmla="*/ 957255 w 9586368"/>
              <a:gd name="connsiteY8759" fmla="*/ 243409 h 6479439"/>
              <a:gd name="connsiteX8760" fmla="*/ 8615184 w 9586368"/>
              <a:gd name="connsiteY8760" fmla="*/ 239370 h 6479439"/>
              <a:gd name="connsiteX8761" fmla="*/ 8625095 w 9586368"/>
              <a:gd name="connsiteY8761" fmla="*/ 239370 h 6479439"/>
              <a:gd name="connsiteX8762" fmla="*/ 8629114 w 9586368"/>
              <a:gd name="connsiteY8762" fmla="*/ 243408 h 6479439"/>
              <a:gd name="connsiteX8763" fmla="*/ 8629114 w 9586368"/>
              <a:gd name="connsiteY8763" fmla="*/ 253278 h 6479439"/>
              <a:gd name="connsiteX8764" fmla="*/ 8625095 w 9586368"/>
              <a:gd name="connsiteY8764" fmla="*/ 257317 h 6479439"/>
              <a:gd name="connsiteX8765" fmla="*/ 8615184 w 9586368"/>
              <a:gd name="connsiteY8765" fmla="*/ 257317 h 6479439"/>
              <a:gd name="connsiteX8766" fmla="*/ 8611165 w 9586368"/>
              <a:gd name="connsiteY8766" fmla="*/ 253278 h 6479439"/>
              <a:gd name="connsiteX8767" fmla="*/ 8611165 w 9586368"/>
              <a:gd name="connsiteY8767" fmla="*/ 243408 h 6479439"/>
              <a:gd name="connsiteX8768" fmla="*/ 8375869 w 9586368"/>
              <a:gd name="connsiteY8768" fmla="*/ 239370 h 6479439"/>
              <a:gd name="connsiteX8769" fmla="*/ 8385779 w 9586368"/>
              <a:gd name="connsiteY8769" fmla="*/ 239370 h 6479439"/>
              <a:gd name="connsiteX8770" fmla="*/ 8389799 w 9586368"/>
              <a:gd name="connsiteY8770" fmla="*/ 243408 h 6479439"/>
              <a:gd name="connsiteX8771" fmla="*/ 8389799 w 9586368"/>
              <a:gd name="connsiteY8771" fmla="*/ 253279 h 6479439"/>
              <a:gd name="connsiteX8772" fmla="*/ 8385779 w 9586368"/>
              <a:gd name="connsiteY8772" fmla="*/ 257318 h 6479439"/>
              <a:gd name="connsiteX8773" fmla="*/ 8375869 w 9586368"/>
              <a:gd name="connsiteY8773" fmla="*/ 257318 h 6479439"/>
              <a:gd name="connsiteX8774" fmla="*/ 8371850 w 9586368"/>
              <a:gd name="connsiteY8774" fmla="*/ 253279 h 6479439"/>
              <a:gd name="connsiteX8775" fmla="*/ 8371850 w 9586368"/>
              <a:gd name="connsiteY8775" fmla="*/ 243408 h 6479439"/>
              <a:gd name="connsiteX8776" fmla="*/ 9333125 w 9586368"/>
              <a:gd name="connsiteY8776" fmla="*/ 239369 h 6479439"/>
              <a:gd name="connsiteX8777" fmla="*/ 9343036 w 9586368"/>
              <a:gd name="connsiteY8777" fmla="*/ 239369 h 6479439"/>
              <a:gd name="connsiteX8778" fmla="*/ 9347055 w 9586368"/>
              <a:gd name="connsiteY8778" fmla="*/ 243407 h 6479439"/>
              <a:gd name="connsiteX8779" fmla="*/ 9347055 w 9586368"/>
              <a:gd name="connsiteY8779" fmla="*/ 253278 h 6479439"/>
              <a:gd name="connsiteX8780" fmla="*/ 9343036 w 9586368"/>
              <a:gd name="connsiteY8780" fmla="*/ 257317 h 6479439"/>
              <a:gd name="connsiteX8781" fmla="*/ 9333125 w 9586368"/>
              <a:gd name="connsiteY8781" fmla="*/ 257317 h 6479439"/>
              <a:gd name="connsiteX8782" fmla="*/ 9329106 w 9586368"/>
              <a:gd name="connsiteY8782" fmla="*/ 253278 h 6479439"/>
              <a:gd name="connsiteX8783" fmla="*/ 9329106 w 9586368"/>
              <a:gd name="connsiteY8783" fmla="*/ 243407 h 6479439"/>
              <a:gd name="connsiteX8784" fmla="*/ 9093811 w 9586368"/>
              <a:gd name="connsiteY8784" fmla="*/ 239369 h 6479439"/>
              <a:gd name="connsiteX8785" fmla="*/ 9103722 w 9586368"/>
              <a:gd name="connsiteY8785" fmla="*/ 239369 h 6479439"/>
              <a:gd name="connsiteX8786" fmla="*/ 9107741 w 9586368"/>
              <a:gd name="connsiteY8786" fmla="*/ 243407 h 6479439"/>
              <a:gd name="connsiteX8787" fmla="*/ 9107741 w 9586368"/>
              <a:gd name="connsiteY8787" fmla="*/ 253278 h 6479439"/>
              <a:gd name="connsiteX8788" fmla="*/ 9103722 w 9586368"/>
              <a:gd name="connsiteY8788" fmla="*/ 257317 h 6479439"/>
              <a:gd name="connsiteX8789" fmla="*/ 9093811 w 9586368"/>
              <a:gd name="connsiteY8789" fmla="*/ 257317 h 6479439"/>
              <a:gd name="connsiteX8790" fmla="*/ 9089792 w 9586368"/>
              <a:gd name="connsiteY8790" fmla="*/ 253278 h 6479439"/>
              <a:gd name="connsiteX8791" fmla="*/ 9089792 w 9586368"/>
              <a:gd name="connsiteY8791" fmla="*/ 243407 h 6479439"/>
              <a:gd name="connsiteX8792" fmla="*/ 8854496 w 9586368"/>
              <a:gd name="connsiteY8792" fmla="*/ 239369 h 6479439"/>
              <a:gd name="connsiteX8793" fmla="*/ 8864407 w 9586368"/>
              <a:gd name="connsiteY8793" fmla="*/ 239369 h 6479439"/>
              <a:gd name="connsiteX8794" fmla="*/ 8868426 w 9586368"/>
              <a:gd name="connsiteY8794" fmla="*/ 243407 h 6479439"/>
              <a:gd name="connsiteX8795" fmla="*/ 8868426 w 9586368"/>
              <a:gd name="connsiteY8795" fmla="*/ 253278 h 6479439"/>
              <a:gd name="connsiteX8796" fmla="*/ 8864407 w 9586368"/>
              <a:gd name="connsiteY8796" fmla="*/ 257317 h 6479439"/>
              <a:gd name="connsiteX8797" fmla="*/ 8854496 w 9586368"/>
              <a:gd name="connsiteY8797" fmla="*/ 257317 h 6479439"/>
              <a:gd name="connsiteX8798" fmla="*/ 8850477 w 9586368"/>
              <a:gd name="connsiteY8798" fmla="*/ 253278 h 6479439"/>
              <a:gd name="connsiteX8799" fmla="*/ 8850477 w 9586368"/>
              <a:gd name="connsiteY8799" fmla="*/ 243407 h 6479439"/>
              <a:gd name="connsiteX8800" fmla="*/ 1918515 w 9586368"/>
              <a:gd name="connsiteY8800" fmla="*/ 239361 h 6479439"/>
              <a:gd name="connsiteX8801" fmla="*/ 1928425 w 9586368"/>
              <a:gd name="connsiteY8801" fmla="*/ 239361 h 6479439"/>
              <a:gd name="connsiteX8802" fmla="*/ 1932444 w 9586368"/>
              <a:gd name="connsiteY8802" fmla="*/ 243400 h 6479439"/>
              <a:gd name="connsiteX8803" fmla="*/ 1932444 w 9586368"/>
              <a:gd name="connsiteY8803" fmla="*/ 253271 h 6479439"/>
              <a:gd name="connsiteX8804" fmla="*/ 1928425 w 9586368"/>
              <a:gd name="connsiteY8804" fmla="*/ 257310 h 6479439"/>
              <a:gd name="connsiteX8805" fmla="*/ 1918515 w 9586368"/>
              <a:gd name="connsiteY8805" fmla="*/ 257310 h 6479439"/>
              <a:gd name="connsiteX8806" fmla="*/ 1914495 w 9586368"/>
              <a:gd name="connsiteY8806" fmla="*/ 253271 h 6479439"/>
              <a:gd name="connsiteX8807" fmla="*/ 1914495 w 9586368"/>
              <a:gd name="connsiteY8807" fmla="*/ 243400 h 6479439"/>
              <a:gd name="connsiteX8808" fmla="*/ 2157824 w 9586368"/>
              <a:gd name="connsiteY8808" fmla="*/ 239359 h 6479439"/>
              <a:gd name="connsiteX8809" fmla="*/ 2167734 w 9586368"/>
              <a:gd name="connsiteY8809" fmla="*/ 239359 h 6479439"/>
              <a:gd name="connsiteX8810" fmla="*/ 2171753 w 9586368"/>
              <a:gd name="connsiteY8810" fmla="*/ 243397 h 6479439"/>
              <a:gd name="connsiteX8811" fmla="*/ 2171753 w 9586368"/>
              <a:gd name="connsiteY8811" fmla="*/ 253268 h 6479439"/>
              <a:gd name="connsiteX8812" fmla="*/ 2167734 w 9586368"/>
              <a:gd name="connsiteY8812" fmla="*/ 257307 h 6479439"/>
              <a:gd name="connsiteX8813" fmla="*/ 2157824 w 9586368"/>
              <a:gd name="connsiteY8813" fmla="*/ 257307 h 6479439"/>
              <a:gd name="connsiteX8814" fmla="*/ 2153804 w 9586368"/>
              <a:gd name="connsiteY8814" fmla="*/ 253268 h 6479439"/>
              <a:gd name="connsiteX8815" fmla="*/ 2153804 w 9586368"/>
              <a:gd name="connsiteY8815" fmla="*/ 243397 h 6479439"/>
              <a:gd name="connsiteX8816" fmla="*/ 9572438 w 9586368"/>
              <a:gd name="connsiteY8816" fmla="*/ 239357 h 6479439"/>
              <a:gd name="connsiteX8817" fmla="*/ 9582349 w 9586368"/>
              <a:gd name="connsiteY8817" fmla="*/ 239357 h 6479439"/>
              <a:gd name="connsiteX8818" fmla="*/ 9586368 w 9586368"/>
              <a:gd name="connsiteY8818" fmla="*/ 243395 h 6479439"/>
              <a:gd name="connsiteX8819" fmla="*/ 9586368 w 9586368"/>
              <a:gd name="connsiteY8819" fmla="*/ 253267 h 6479439"/>
              <a:gd name="connsiteX8820" fmla="*/ 9582349 w 9586368"/>
              <a:gd name="connsiteY8820" fmla="*/ 257306 h 6479439"/>
              <a:gd name="connsiteX8821" fmla="*/ 9572438 w 9586368"/>
              <a:gd name="connsiteY8821" fmla="*/ 257306 h 6479439"/>
              <a:gd name="connsiteX8822" fmla="*/ 9568419 w 9586368"/>
              <a:gd name="connsiteY8822" fmla="*/ 253267 h 6479439"/>
              <a:gd name="connsiteX8823" fmla="*/ 9568419 w 9586368"/>
              <a:gd name="connsiteY8823" fmla="*/ 243395 h 6479439"/>
              <a:gd name="connsiteX8824" fmla="*/ 721976 w 9586368"/>
              <a:gd name="connsiteY8824" fmla="*/ 239330 h 6479439"/>
              <a:gd name="connsiteX8825" fmla="*/ 731887 w 9586368"/>
              <a:gd name="connsiteY8825" fmla="*/ 239330 h 6479439"/>
              <a:gd name="connsiteX8826" fmla="*/ 735906 w 9586368"/>
              <a:gd name="connsiteY8826" fmla="*/ 243368 h 6479439"/>
              <a:gd name="connsiteX8827" fmla="*/ 735906 w 9586368"/>
              <a:gd name="connsiteY8827" fmla="*/ 253239 h 6479439"/>
              <a:gd name="connsiteX8828" fmla="*/ 731887 w 9586368"/>
              <a:gd name="connsiteY8828" fmla="*/ 257278 h 6479439"/>
              <a:gd name="connsiteX8829" fmla="*/ 721976 w 9586368"/>
              <a:gd name="connsiteY8829" fmla="*/ 257278 h 6479439"/>
              <a:gd name="connsiteX8830" fmla="*/ 717958 w 9586368"/>
              <a:gd name="connsiteY8830" fmla="*/ 253239 h 6479439"/>
              <a:gd name="connsiteX8831" fmla="*/ 717958 w 9586368"/>
              <a:gd name="connsiteY8831" fmla="*/ 243368 h 6479439"/>
              <a:gd name="connsiteX8832" fmla="*/ 482664 w 9586368"/>
              <a:gd name="connsiteY8832" fmla="*/ 239330 h 6479439"/>
              <a:gd name="connsiteX8833" fmla="*/ 492575 w 9586368"/>
              <a:gd name="connsiteY8833" fmla="*/ 239330 h 6479439"/>
              <a:gd name="connsiteX8834" fmla="*/ 496594 w 9586368"/>
              <a:gd name="connsiteY8834" fmla="*/ 243368 h 6479439"/>
              <a:gd name="connsiteX8835" fmla="*/ 496594 w 9586368"/>
              <a:gd name="connsiteY8835" fmla="*/ 253239 h 6479439"/>
              <a:gd name="connsiteX8836" fmla="*/ 492575 w 9586368"/>
              <a:gd name="connsiteY8836" fmla="*/ 257278 h 6479439"/>
              <a:gd name="connsiteX8837" fmla="*/ 482664 w 9586368"/>
              <a:gd name="connsiteY8837" fmla="*/ 257278 h 6479439"/>
              <a:gd name="connsiteX8838" fmla="*/ 478645 w 9586368"/>
              <a:gd name="connsiteY8838" fmla="*/ 253239 h 6479439"/>
              <a:gd name="connsiteX8839" fmla="*/ 478645 w 9586368"/>
              <a:gd name="connsiteY8839" fmla="*/ 243368 h 6479439"/>
              <a:gd name="connsiteX8840" fmla="*/ 243350 w 9586368"/>
              <a:gd name="connsiteY8840" fmla="*/ 239330 h 6479439"/>
              <a:gd name="connsiteX8841" fmla="*/ 253261 w 9586368"/>
              <a:gd name="connsiteY8841" fmla="*/ 239330 h 6479439"/>
              <a:gd name="connsiteX8842" fmla="*/ 257280 w 9586368"/>
              <a:gd name="connsiteY8842" fmla="*/ 243368 h 6479439"/>
              <a:gd name="connsiteX8843" fmla="*/ 257280 w 9586368"/>
              <a:gd name="connsiteY8843" fmla="*/ 253239 h 6479439"/>
              <a:gd name="connsiteX8844" fmla="*/ 253261 w 9586368"/>
              <a:gd name="connsiteY8844" fmla="*/ 257278 h 6479439"/>
              <a:gd name="connsiteX8845" fmla="*/ 243350 w 9586368"/>
              <a:gd name="connsiteY8845" fmla="*/ 257278 h 6479439"/>
              <a:gd name="connsiteX8846" fmla="*/ 239332 w 9586368"/>
              <a:gd name="connsiteY8846" fmla="*/ 253239 h 6479439"/>
              <a:gd name="connsiteX8847" fmla="*/ 239332 w 9586368"/>
              <a:gd name="connsiteY8847" fmla="*/ 243368 h 6479439"/>
              <a:gd name="connsiteX8848" fmla="*/ 4037 w 9586368"/>
              <a:gd name="connsiteY8848" fmla="*/ 239330 h 6479439"/>
              <a:gd name="connsiteX8849" fmla="*/ 13948 w 9586368"/>
              <a:gd name="connsiteY8849" fmla="*/ 239330 h 6479439"/>
              <a:gd name="connsiteX8850" fmla="*/ 17967 w 9586368"/>
              <a:gd name="connsiteY8850" fmla="*/ 243368 h 6479439"/>
              <a:gd name="connsiteX8851" fmla="*/ 17967 w 9586368"/>
              <a:gd name="connsiteY8851" fmla="*/ 253239 h 6479439"/>
              <a:gd name="connsiteX8852" fmla="*/ 13948 w 9586368"/>
              <a:gd name="connsiteY8852" fmla="*/ 257278 h 6479439"/>
              <a:gd name="connsiteX8853" fmla="*/ 4037 w 9586368"/>
              <a:gd name="connsiteY8853" fmla="*/ 257278 h 6479439"/>
              <a:gd name="connsiteX8854" fmla="*/ 18 w 9586368"/>
              <a:gd name="connsiteY8854" fmla="*/ 253239 h 6479439"/>
              <a:gd name="connsiteX8855" fmla="*/ 18 w 9586368"/>
              <a:gd name="connsiteY8855" fmla="*/ 243368 h 6479439"/>
              <a:gd name="connsiteX8856" fmla="*/ 3111048 w 9586368"/>
              <a:gd name="connsiteY8856" fmla="*/ 106 h 6479439"/>
              <a:gd name="connsiteX8857" fmla="*/ 3120959 w 9586368"/>
              <a:gd name="connsiteY8857" fmla="*/ 106 h 6479439"/>
              <a:gd name="connsiteX8858" fmla="*/ 3124977 w 9586368"/>
              <a:gd name="connsiteY8858" fmla="*/ 4144 h 6479439"/>
              <a:gd name="connsiteX8859" fmla="*/ 3124977 w 9586368"/>
              <a:gd name="connsiteY8859" fmla="*/ 14015 h 6479439"/>
              <a:gd name="connsiteX8860" fmla="*/ 3120959 w 9586368"/>
              <a:gd name="connsiteY8860" fmla="*/ 18054 h 6479439"/>
              <a:gd name="connsiteX8861" fmla="*/ 3111048 w 9586368"/>
              <a:gd name="connsiteY8861" fmla="*/ 18054 h 6479439"/>
              <a:gd name="connsiteX8862" fmla="*/ 3107029 w 9586368"/>
              <a:gd name="connsiteY8862" fmla="*/ 14015 h 6479439"/>
              <a:gd name="connsiteX8863" fmla="*/ 3107029 w 9586368"/>
              <a:gd name="connsiteY8863" fmla="*/ 4144 h 6479439"/>
              <a:gd name="connsiteX8864" fmla="*/ 2871737 w 9586368"/>
              <a:gd name="connsiteY8864" fmla="*/ 106 h 6479439"/>
              <a:gd name="connsiteX8865" fmla="*/ 2881646 w 9586368"/>
              <a:gd name="connsiteY8865" fmla="*/ 106 h 6479439"/>
              <a:gd name="connsiteX8866" fmla="*/ 2885666 w 9586368"/>
              <a:gd name="connsiteY8866" fmla="*/ 4145 h 6479439"/>
              <a:gd name="connsiteX8867" fmla="*/ 2885666 w 9586368"/>
              <a:gd name="connsiteY8867" fmla="*/ 14015 h 6479439"/>
              <a:gd name="connsiteX8868" fmla="*/ 2881646 w 9586368"/>
              <a:gd name="connsiteY8868" fmla="*/ 18054 h 6479439"/>
              <a:gd name="connsiteX8869" fmla="*/ 2871737 w 9586368"/>
              <a:gd name="connsiteY8869" fmla="*/ 18054 h 6479439"/>
              <a:gd name="connsiteX8870" fmla="*/ 2867717 w 9586368"/>
              <a:gd name="connsiteY8870" fmla="*/ 14015 h 6479439"/>
              <a:gd name="connsiteX8871" fmla="*/ 2867717 w 9586368"/>
              <a:gd name="connsiteY8871" fmla="*/ 4145 h 6479439"/>
              <a:gd name="connsiteX8872" fmla="*/ 2632423 w 9586368"/>
              <a:gd name="connsiteY8872" fmla="*/ 106 h 6479439"/>
              <a:gd name="connsiteX8873" fmla="*/ 2642334 w 9586368"/>
              <a:gd name="connsiteY8873" fmla="*/ 106 h 6479439"/>
              <a:gd name="connsiteX8874" fmla="*/ 2646352 w 9586368"/>
              <a:gd name="connsiteY8874" fmla="*/ 4145 h 6479439"/>
              <a:gd name="connsiteX8875" fmla="*/ 2646352 w 9586368"/>
              <a:gd name="connsiteY8875" fmla="*/ 14016 h 6479439"/>
              <a:gd name="connsiteX8876" fmla="*/ 2642334 w 9586368"/>
              <a:gd name="connsiteY8876" fmla="*/ 18055 h 6479439"/>
              <a:gd name="connsiteX8877" fmla="*/ 2632423 w 9586368"/>
              <a:gd name="connsiteY8877" fmla="*/ 18055 h 6479439"/>
              <a:gd name="connsiteX8878" fmla="*/ 2628404 w 9586368"/>
              <a:gd name="connsiteY8878" fmla="*/ 14016 h 6479439"/>
              <a:gd name="connsiteX8879" fmla="*/ 2628404 w 9586368"/>
              <a:gd name="connsiteY8879" fmla="*/ 4145 h 6479439"/>
              <a:gd name="connsiteX8880" fmla="*/ 2393104 w 9586368"/>
              <a:gd name="connsiteY8880" fmla="*/ 106 h 6479439"/>
              <a:gd name="connsiteX8881" fmla="*/ 2403015 w 9586368"/>
              <a:gd name="connsiteY8881" fmla="*/ 106 h 6479439"/>
              <a:gd name="connsiteX8882" fmla="*/ 2407034 w 9586368"/>
              <a:gd name="connsiteY8882" fmla="*/ 4145 h 6479439"/>
              <a:gd name="connsiteX8883" fmla="*/ 2407034 w 9586368"/>
              <a:gd name="connsiteY8883" fmla="*/ 14016 h 6479439"/>
              <a:gd name="connsiteX8884" fmla="*/ 2403015 w 9586368"/>
              <a:gd name="connsiteY8884" fmla="*/ 18055 h 6479439"/>
              <a:gd name="connsiteX8885" fmla="*/ 2393104 w 9586368"/>
              <a:gd name="connsiteY8885" fmla="*/ 18055 h 6479439"/>
              <a:gd name="connsiteX8886" fmla="*/ 2389087 w 9586368"/>
              <a:gd name="connsiteY8886" fmla="*/ 14016 h 6479439"/>
              <a:gd name="connsiteX8887" fmla="*/ 2389087 w 9586368"/>
              <a:gd name="connsiteY8887" fmla="*/ 4145 h 6479439"/>
              <a:gd name="connsiteX8888" fmla="*/ 3350359 w 9586368"/>
              <a:gd name="connsiteY8888" fmla="*/ 106 h 6479439"/>
              <a:gd name="connsiteX8889" fmla="*/ 3360268 w 9586368"/>
              <a:gd name="connsiteY8889" fmla="*/ 106 h 6479439"/>
              <a:gd name="connsiteX8890" fmla="*/ 3364287 w 9586368"/>
              <a:gd name="connsiteY8890" fmla="*/ 4144 h 6479439"/>
              <a:gd name="connsiteX8891" fmla="*/ 3364287 w 9586368"/>
              <a:gd name="connsiteY8891" fmla="*/ 14015 h 6479439"/>
              <a:gd name="connsiteX8892" fmla="*/ 3360268 w 9586368"/>
              <a:gd name="connsiteY8892" fmla="*/ 18054 h 6479439"/>
              <a:gd name="connsiteX8893" fmla="*/ 3350359 w 9586368"/>
              <a:gd name="connsiteY8893" fmla="*/ 18054 h 6479439"/>
              <a:gd name="connsiteX8894" fmla="*/ 3346340 w 9586368"/>
              <a:gd name="connsiteY8894" fmla="*/ 14015 h 6479439"/>
              <a:gd name="connsiteX8895" fmla="*/ 3346340 w 9586368"/>
              <a:gd name="connsiteY8895" fmla="*/ 4144 h 6479439"/>
              <a:gd name="connsiteX8896" fmla="*/ 4546929 w 9586368"/>
              <a:gd name="connsiteY8896" fmla="*/ 93 h 6479439"/>
              <a:gd name="connsiteX8897" fmla="*/ 4556840 w 9586368"/>
              <a:gd name="connsiteY8897" fmla="*/ 93 h 6479439"/>
              <a:gd name="connsiteX8898" fmla="*/ 4560859 w 9586368"/>
              <a:gd name="connsiteY8898" fmla="*/ 4132 h 6479439"/>
              <a:gd name="connsiteX8899" fmla="*/ 4560859 w 9586368"/>
              <a:gd name="connsiteY8899" fmla="*/ 14002 h 6479439"/>
              <a:gd name="connsiteX8900" fmla="*/ 4556840 w 9586368"/>
              <a:gd name="connsiteY8900" fmla="*/ 18041 h 6479439"/>
              <a:gd name="connsiteX8901" fmla="*/ 4546929 w 9586368"/>
              <a:gd name="connsiteY8901" fmla="*/ 18041 h 6479439"/>
              <a:gd name="connsiteX8902" fmla="*/ 4542910 w 9586368"/>
              <a:gd name="connsiteY8902" fmla="*/ 14002 h 6479439"/>
              <a:gd name="connsiteX8903" fmla="*/ 4542910 w 9586368"/>
              <a:gd name="connsiteY8903" fmla="*/ 4132 h 6479439"/>
              <a:gd name="connsiteX8904" fmla="*/ 4307612 w 9586368"/>
              <a:gd name="connsiteY8904" fmla="*/ 93 h 6479439"/>
              <a:gd name="connsiteX8905" fmla="*/ 4317523 w 9586368"/>
              <a:gd name="connsiteY8905" fmla="*/ 93 h 6479439"/>
              <a:gd name="connsiteX8906" fmla="*/ 4321543 w 9586368"/>
              <a:gd name="connsiteY8906" fmla="*/ 4132 h 6479439"/>
              <a:gd name="connsiteX8907" fmla="*/ 4321543 w 9586368"/>
              <a:gd name="connsiteY8907" fmla="*/ 14003 h 6479439"/>
              <a:gd name="connsiteX8908" fmla="*/ 4317523 w 9586368"/>
              <a:gd name="connsiteY8908" fmla="*/ 18042 h 6479439"/>
              <a:gd name="connsiteX8909" fmla="*/ 4307612 w 9586368"/>
              <a:gd name="connsiteY8909" fmla="*/ 18042 h 6479439"/>
              <a:gd name="connsiteX8910" fmla="*/ 4303595 w 9586368"/>
              <a:gd name="connsiteY8910" fmla="*/ 14003 h 6479439"/>
              <a:gd name="connsiteX8911" fmla="*/ 4303595 w 9586368"/>
              <a:gd name="connsiteY8911" fmla="*/ 4132 h 6479439"/>
              <a:gd name="connsiteX8912" fmla="*/ 4068297 w 9586368"/>
              <a:gd name="connsiteY8912" fmla="*/ 93 h 6479439"/>
              <a:gd name="connsiteX8913" fmla="*/ 4078210 w 9586368"/>
              <a:gd name="connsiteY8913" fmla="*/ 93 h 6479439"/>
              <a:gd name="connsiteX8914" fmla="*/ 4082229 w 9586368"/>
              <a:gd name="connsiteY8914" fmla="*/ 4132 h 6479439"/>
              <a:gd name="connsiteX8915" fmla="*/ 4082229 w 9586368"/>
              <a:gd name="connsiteY8915" fmla="*/ 14003 h 6479439"/>
              <a:gd name="connsiteX8916" fmla="*/ 4078210 w 9586368"/>
              <a:gd name="connsiteY8916" fmla="*/ 18042 h 6479439"/>
              <a:gd name="connsiteX8917" fmla="*/ 4068297 w 9586368"/>
              <a:gd name="connsiteY8917" fmla="*/ 18042 h 6479439"/>
              <a:gd name="connsiteX8918" fmla="*/ 4064278 w 9586368"/>
              <a:gd name="connsiteY8918" fmla="*/ 14003 h 6479439"/>
              <a:gd name="connsiteX8919" fmla="*/ 4064278 w 9586368"/>
              <a:gd name="connsiteY8919" fmla="*/ 4132 h 6479439"/>
              <a:gd name="connsiteX8920" fmla="*/ 3828990 w 9586368"/>
              <a:gd name="connsiteY8920" fmla="*/ 93 h 6479439"/>
              <a:gd name="connsiteX8921" fmla="*/ 3838899 w 9586368"/>
              <a:gd name="connsiteY8921" fmla="*/ 93 h 6479439"/>
              <a:gd name="connsiteX8922" fmla="*/ 3842917 w 9586368"/>
              <a:gd name="connsiteY8922" fmla="*/ 4132 h 6479439"/>
              <a:gd name="connsiteX8923" fmla="*/ 3842917 w 9586368"/>
              <a:gd name="connsiteY8923" fmla="*/ 14003 h 6479439"/>
              <a:gd name="connsiteX8924" fmla="*/ 3838899 w 9586368"/>
              <a:gd name="connsiteY8924" fmla="*/ 18042 h 6479439"/>
              <a:gd name="connsiteX8925" fmla="*/ 3828990 w 9586368"/>
              <a:gd name="connsiteY8925" fmla="*/ 18042 h 6479439"/>
              <a:gd name="connsiteX8926" fmla="*/ 3824971 w 9586368"/>
              <a:gd name="connsiteY8926" fmla="*/ 14003 h 6479439"/>
              <a:gd name="connsiteX8927" fmla="*/ 3824971 w 9586368"/>
              <a:gd name="connsiteY8927" fmla="*/ 4132 h 6479439"/>
              <a:gd name="connsiteX8928" fmla="*/ 3589676 w 9586368"/>
              <a:gd name="connsiteY8928" fmla="*/ 93 h 6479439"/>
              <a:gd name="connsiteX8929" fmla="*/ 3599585 w 9586368"/>
              <a:gd name="connsiteY8929" fmla="*/ 93 h 6479439"/>
              <a:gd name="connsiteX8930" fmla="*/ 3603604 w 9586368"/>
              <a:gd name="connsiteY8930" fmla="*/ 4132 h 6479439"/>
              <a:gd name="connsiteX8931" fmla="*/ 3603604 w 9586368"/>
              <a:gd name="connsiteY8931" fmla="*/ 14003 h 6479439"/>
              <a:gd name="connsiteX8932" fmla="*/ 3599585 w 9586368"/>
              <a:gd name="connsiteY8932" fmla="*/ 18042 h 6479439"/>
              <a:gd name="connsiteX8933" fmla="*/ 3589676 w 9586368"/>
              <a:gd name="connsiteY8933" fmla="*/ 18042 h 6479439"/>
              <a:gd name="connsiteX8934" fmla="*/ 3585657 w 9586368"/>
              <a:gd name="connsiteY8934" fmla="*/ 14003 h 6479439"/>
              <a:gd name="connsiteX8935" fmla="*/ 3585657 w 9586368"/>
              <a:gd name="connsiteY8935" fmla="*/ 4132 h 6479439"/>
              <a:gd name="connsiteX8936" fmla="*/ 4786241 w 9586368"/>
              <a:gd name="connsiteY8936" fmla="*/ 81 h 6479439"/>
              <a:gd name="connsiteX8937" fmla="*/ 4796152 w 9586368"/>
              <a:gd name="connsiteY8937" fmla="*/ 81 h 6479439"/>
              <a:gd name="connsiteX8938" fmla="*/ 4800171 w 9586368"/>
              <a:gd name="connsiteY8938" fmla="*/ 4119 h 6479439"/>
              <a:gd name="connsiteX8939" fmla="*/ 4800171 w 9586368"/>
              <a:gd name="connsiteY8939" fmla="*/ 13990 h 6479439"/>
              <a:gd name="connsiteX8940" fmla="*/ 4796152 w 9586368"/>
              <a:gd name="connsiteY8940" fmla="*/ 18029 h 6479439"/>
              <a:gd name="connsiteX8941" fmla="*/ 4786241 w 9586368"/>
              <a:gd name="connsiteY8941" fmla="*/ 18029 h 6479439"/>
              <a:gd name="connsiteX8942" fmla="*/ 4782224 w 9586368"/>
              <a:gd name="connsiteY8942" fmla="*/ 13990 h 6479439"/>
              <a:gd name="connsiteX8943" fmla="*/ 4782224 w 9586368"/>
              <a:gd name="connsiteY8943" fmla="*/ 4119 h 6479439"/>
              <a:gd name="connsiteX8944" fmla="*/ 5743412 w 9586368"/>
              <a:gd name="connsiteY8944" fmla="*/ 80 h 6479439"/>
              <a:gd name="connsiteX8945" fmla="*/ 5753323 w 9586368"/>
              <a:gd name="connsiteY8945" fmla="*/ 80 h 6479439"/>
              <a:gd name="connsiteX8946" fmla="*/ 5757342 w 9586368"/>
              <a:gd name="connsiteY8946" fmla="*/ 4119 h 6479439"/>
              <a:gd name="connsiteX8947" fmla="*/ 5757342 w 9586368"/>
              <a:gd name="connsiteY8947" fmla="*/ 13990 h 6479439"/>
              <a:gd name="connsiteX8948" fmla="*/ 5753323 w 9586368"/>
              <a:gd name="connsiteY8948" fmla="*/ 18029 h 6479439"/>
              <a:gd name="connsiteX8949" fmla="*/ 5743412 w 9586368"/>
              <a:gd name="connsiteY8949" fmla="*/ 18029 h 6479439"/>
              <a:gd name="connsiteX8950" fmla="*/ 5739393 w 9586368"/>
              <a:gd name="connsiteY8950" fmla="*/ 13990 h 6479439"/>
              <a:gd name="connsiteX8951" fmla="*/ 5739393 w 9586368"/>
              <a:gd name="connsiteY8951" fmla="*/ 4119 h 6479439"/>
              <a:gd name="connsiteX8952" fmla="*/ 5504099 w 9586368"/>
              <a:gd name="connsiteY8952" fmla="*/ 80 h 6479439"/>
              <a:gd name="connsiteX8953" fmla="*/ 5514010 w 9586368"/>
              <a:gd name="connsiteY8953" fmla="*/ 80 h 6479439"/>
              <a:gd name="connsiteX8954" fmla="*/ 5518029 w 9586368"/>
              <a:gd name="connsiteY8954" fmla="*/ 4119 h 6479439"/>
              <a:gd name="connsiteX8955" fmla="*/ 5518029 w 9586368"/>
              <a:gd name="connsiteY8955" fmla="*/ 13990 h 6479439"/>
              <a:gd name="connsiteX8956" fmla="*/ 5514010 w 9586368"/>
              <a:gd name="connsiteY8956" fmla="*/ 18029 h 6479439"/>
              <a:gd name="connsiteX8957" fmla="*/ 5504099 w 9586368"/>
              <a:gd name="connsiteY8957" fmla="*/ 18029 h 6479439"/>
              <a:gd name="connsiteX8958" fmla="*/ 5500080 w 9586368"/>
              <a:gd name="connsiteY8958" fmla="*/ 13990 h 6479439"/>
              <a:gd name="connsiteX8959" fmla="*/ 5500080 w 9586368"/>
              <a:gd name="connsiteY8959" fmla="*/ 4119 h 6479439"/>
              <a:gd name="connsiteX8960" fmla="*/ 5264784 w 9586368"/>
              <a:gd name="connsiteY8960" fmla="*/ 80 h 6479439"/>
              <a:gd name="connsiteX8961" fmla="*/ 5274694 w 9586368"/>
              <a:gd name="connsiteY8961" fmla="*/ 80 h 6479439"/>
              <a:gd name="connsiteX8962" fmla="*/ 5278713 w 9586368"/>
              <a:gd name="connsiteY8962" fmla="*/ 4119 h 6479439"/>
              <a:gd name="connsiteX8963" fmla="*/ 5278713 w 9586368"/>
              <a:gd name="connsiteY8963" fmla="*/ 13990 h 6479439"/>
              <a:gd name="connsiteX8964" fmla="*/ 5274694 w 9586368"/>
              <a:gd name="connsiteY8964" fmla="*/ 18029 h 6479439"/>
              <a:gd name="connsiteX8965" fmla="*/ 5264784 w 9586368"/>
              <a:gd name="connsiteY8965" fmla="*/ 18029 h 6479439"/>
              <a:gd name="connsiteX8966" fmla="*/ 5260765 w 9586368"/>
              <a:gd name="connsiteY8966" fmla="*/ 13990 h 6479439"/>
              <a:gd name="connsiteX8967" fmla="*/ 5260765 w 9586368"/>
              <a:gd name="connsiteY8967" fmla="*/ 4119 h 6479439"/>
              <a:gd name="connsiteX8968" fmla="*/ 5025470 w 9586368"/>
              <a:gd name="connsiteY8968" fmla="*/ 80 h 6479439"/>
              <a:gd name="connsiteX8969" fmla="*/ 5035381 w 9586368"/>
              <a:gd name="connsiteY8969" fmla="*/ 80 h 6479439"/>
              <a:gd name="connsiteX8970" fmla="*/ 5039400 w 9586368"/>
              <a:gd name="connsiteY8970" fmla="*/ 4119 h 6479439"/>
              <a:gd name="connsiteX8971" fmla="*/ 5039400 w 9586368"/>
              <a:gd name="connsiteY8971" fmla="*/ 13990 h 6479439"/>
              <a:gd name="connsiteX8972" fmla="*/ 5035381 w 9586368"/>
              <a:gd name="connsiteY8972" fmla="*/ 18029 h 6479439"/>
              <a:gd name="connsiteX8973" fmla="*/ 5025470 w 9586368"/>
              <a:gd name="connsiteY8973" fmla="*/ 18029 h 6479439"/>
              <a:gd name="connsiteX8974" fmla="*/ 5021451 w 9586368"/>
              <a:gd name="connsiteY8974" fmla="*/ 13990 h 6479439"/>
              <a:gd name="connsiteX8975" fmla="*/ 5021451 w 9586368"/>
              <a:gd name="connsiteY8975" fmla="*/ 4119 h 6479439"/>
              <a:gd name="connsiteX8976" fmla="*/ 6461356 w 9586368"/>
              <a:gd name="connsiteY8976" fmla="*/ 68 h 6479439"/>
              <a:gd name="connsiteX8977" fmla="*/ 6471266 w 9586368"/>
              <a:gd name="connsiteY8977" fmla="*/ 68 h 6479439"/>
              <a:gd name="connsiteX8978" fmla="*/ 6475285 w 9586368"/>
              <a:gd name="connsiteY8978" fmla="*/ 4106 h 6479439"/>
              <a:gd name="connsiteX8979" fmla="*/ 6475285 w 9586368"/>
              <a:gd name="connsiteY8979" fmla="*/ 13976 h 6479439"/>
              <a:gd name="connsiteX8980" fmla="*/ 6471266 w 9586368"/>
              <a:gd name="connsiteY8980" fmla="*/ 18015 h 6479439"/>
              <a:gd name="connsiteX8981" fmla="*/ 6461356 w 9586368"/>
              <a:gd name="connsiteY8981" fmla="*/ 18015 h 6479439"/>
              <a:gd name="connsiteX8982" fmla="*/ 6457337 w 9586368"/>
              <a:gd name="connsiteY8982" fmla="*/ 13976 h 6479439"/>
              <a:gd name="connsiteX8983" fmla="*/ 6457337 w 9586368"/>
              <a:gd name="connsiteY8983" fmla="*/ 4106 h 6479439"/>
              <a:gd name="connsiteX8984" fmla="*/ 6222042 w 9586368"/>
              <a:gd name="connsiteY8984" fmla="*/ 68 h 6479439"/>
              <a:gd name="connsiteX8985" fmla="*/ 6231952 w 9586368"/>
              <a:gd name="connsiteY8985" fmla="*/ 68 h 6479439"/>
              <a:gd name="connsiteX8986" fmla="*/ 6235971 w 9586368"/>
              <a:gd name="connsiteY8986" fmla="*/ 4106 h 6479439"/>
              <a:gd name="connsiteX8987" fmla="*/ 6235971 w 9586368"/>
              <a:gd name="connsiteY8987" fmla="*/ 13977 h 6479439"/>
              <a:gd name="connsiteX8988" fmla="*/ 6231952 w 9586368"/>
              <a:gd name="connsiteY8988" fmla="*/ 18016 h 6479439"/>
              <a:gd name="connsiteX8989" fmla="*/ 6222042 w 9586368"/>
              <a:gd name="connsiteY8989" fmla="*/ 18016 h 6479439"/>
              <a:gd name="connsiteX8990" fmla="*/ 6218023 w 9586368"/>
              <a:gd name="connsiteY8990" fmla="*/ 13977 h 6479439"/>
              <a:gd name="connsiteX8991" fmla="*/ 6218023 w 9586368"/>
              <a:gd name="connsiteY8991" fmla="*/ 4106 h 6479439"/>
              <a:gd name="connsiteX8992" fmla="*/ 5982729 w 9586368"/>
              <a:gd name="connsiteY8992" fmla="*/ 68 h 6479439"/>
              <a:gd name="connsiteX8993" fmla="*/ 5992639 w 9586368"/>
              <a:gd name="connsiteY8993" fmla="*/ 68 h 6479439"/>
              <a:gd name="connsiteX8994" fmla="*/ 5996658 w 9586368"/>
              <a:gd name="connsiteY8994" fmla="*/ 4106 h 6479439"/>
              <a:gd name="connsiteX8995" fmla="*/ 5996658 w 9586368"/>
              <a:gd name="connsiteY8995" fmla="*/ 13977 h 6479439"/>
              <a:gd name="connsiteX8996" fmla="*/ 5992639 w 9586368"/>
              <a:gd name="connsiteY8996" fmla="*/ 18016 h 6479439"/>
              <a:gd name="connsiteX8997" fmla="*/ 5982729 w 9586368"/>
              <a:gd name="connsiteY8997" fmla="*/ 18016 h 6479439"/>
              <a:gd name="connsiteX8998" fmla="*/ 5978710 w 9586368"/>
              <a:gd name="connsiteY8998" fmla="*/ 13977 h 6479439"/>
              <a:gd name="connsiteX8999" fmla="*/ 5978710 w 9586368"/>
              <a:gd name="connsiteY8999" fmla="*/ 4106 h 6479439"/>
              <a:gd name="connsiteX9000" fmla="*/ 6939983 w 9586368"/>
              <a:gd name="connsiteY9000" fmla="*/ 67 h 6479439"/>
              <a:gd name="connsiteX9001" fmla="*/ 6949894 w 9586368"/>
              <a:gd name="connsiteY9001" fmla="*/ 67 h 6479439"/>
              <a:gd name="connsiteX9002" fmla="*/ 6953913 w 9586368"/>
              <a:gd name="connsiteY9002" fmla="*/ 4105 h 6479439"/>
              <a:gd name="connsiteX9003" fmla="*/ 6953913 w 9586368"/>
              <a:gd name="connsiteY9003" fmla="*/ 13976 h 6479439"/>
              <a:gd name="connsiteX9004" fmla="*/ 6949894 w 9586368"/>
              <a:gd name="connsiteY9004" fmla="*/ 18015 h 6479439"/>
              <a:gd name="connsiteX9005" fmla="*/ 6939983 w 9586368"/>
              <a:gd name="connsiteY9005" fmla="*/ 18015 h 6479439"/>
              <a:gd name="connsiteX9006" fmla="*/ 6935964 w 9586368"/>
              <a:gd name="connsiteY9006" fmla="*/ 13976 h 6479439"/>
              <a:gd name="connsiteX9007" fmla="*/ 6935964 w 9586368"/>
              <a:gd name="connsiteY9007" fmla="*/ 4105 h 6479439"/>
              <a:gd name="connsiteX9008" fmla="*/ 6700670 w 9586368"/>
              <a:gd name="connsiteY9008" fmla="*/ 67 h 6479439"/>
              <a:gd name="connsiteX9009" fmla="*/ 6710581 w 9586368"/>
              <a:gd name="connsiteY9009" fmla="*/ 67 h 6479439"/>
              <a:gd name="connsiteX9010" fmla="*/ 6714600 w 9586368"/>
              <a:gd name="connsiteY9010" fmla="*/ 4105 h 6479439"/>
              <a:gd name="connsiteX9011" fmla="*/ 6714600 w 9586368"/>
              <a:gd name="connsiteY9011" fmla="*/ 13976 h 6479439"/>
              <a:gd name="connsiteX9012" fmla="*/ 6710581 w 9586368"/>
              <a:gd name="connsiteY9012" fmla="*/ 18015 h 6479439"/>
              <a:gd name="connsiteX9013" fmla="*/ 6700670 w 9586368"/>
              <a:gd name="connsiteY9013" fmla="*/ 18015 h 6479439"/>
              <a:gd name="connsiteX9014" fmla="*/ 6696651 w 9586368"/>
              <a:gd name="connsiteY9014" fmla="*/ 13976 h 6479439"/>
              <a:gd name="connsiteX9015" fmla="*/ 6696651 w 9586368"/>
              <a:gd name="connsiteY9015" fmla="*/ 4105 h 6479439"/>
              <a:gd name="connsiteX9016" fmla="*/ 8136553 w 9586368"/>
              <a:gd name="connsiteY9016" fmla="*/ 54 h 6479439"/>
              <a:gd name="connsiteX9017" fmla="*/ 8146464 w 9586368"/>
              <a:gd name="connsiteY9017" fmla="*/ 54 h 6479439"/>
              <a:gd name="connsiteX9018" fmla="*/ 8150483 w 9586368"/>
              <a:gd name="connsiteY9018" fmla="*/ 4093 h 6479439"/>
              <a:gd name="connsiteX9019" fmla="*/ 8150483 w 9586368"/>
              <a:gd name="connsiteY9019" fmla="*/ 13963 h 6479439"/>
              <a:gd name="connsiteX9020" fmla="*/ 8146464 w 9586368"/>
              <a:gd name="connsiteY9020" fmla="*/ 18002 h 6479439"/>
              <a:gd name="connsiteX9021" fmla="*/ 8136553 w 9586368"/>
              <a:gd name="connsiteY9021" fmla="*/ 18002 h 6479439"/>
              <a:gd name="connsiteX9022" fmla="*/ 8132534 w 9586368"/>
              <a:gd name="connsiteY9022" fmla="*/ 13963 h 6479439"/>
              <a:gd name="connsiteX9023" fmla="*/ 8132534 w 9586368"/>
              <a:gd name="connsiteY9023" fmla="*/ 4093 h 6479439"/>
              <a:gd name="connsiteX9024" fmla="*/ 7897241 w 9586368"/>
              <a:gd name="connsiteY9024" fmla="*/ 54 h 6479439"/>
              <a:gd name="connsiteX9025" fmla="*/ 7907151 w 9586368"/>
              <a:gd name="connsiteY9025" fmla="*/ 54 h 6479439"/>
              <a:gd name="connsiteX9026" fmla="*/ 7911170 w 9586368"/>
              <a:gd name="connsiteY9026" fmla="*/ 4093 h 6479439"/>
              <a:gd name="connsiteX9027" fmla="*/ 7911170 w 9586368"/>
              <a:gd name="connsiteY9027" fmla="*/ 13964 h 6479439"/>
              <a:gd name="connsiteX9028" fmla="*/ 7907151 w 9586368"/>
              <a:gd name="connsiteY9028" fmla="*/ 18003 h 6479439"/>
              <a:gd name="connsiteX9029" fmla="*/ 7897241 w 9586368"/>
              <a:gd name="connsiteY9029" fmla="*/ 18003 h 6479439"/>
              <a:gd name="connsiteX9030" fmla="*/ 7893222 w 9586368"/>
              <a:gd name="connsiteY9030" fmla="*/ 13964 h 6479439"/>
              <a:gd name="connsiteX9031" fmla="*/ 7893222 w 9586368"/>
              <a:gd name="connsiteY9031" fmla="*/ 4093 h 6479439"/>
              <a:gd name="connsiteX9032" fmla="*/ 7657926 w 9586368"/>
              <a:gd name="connsiteY9032" fmla="*/ 54 h 6479439"/>
              <a:gd name="connsiteX9033" fmla="*/ 7667836 w 9586368"/>
              <a:gd name="connsiteY9033" fmla="*/ 54 h 6479439"/>
              <a:gd name="connsiteX9034" fmla="*/ 7671855 w 9586368"/>
              <a:gd name="connsiteY9034" fmla="*/ 4093 h 6479439"/>
              <a:gd name="connsiteX9035" fmla="*/ 7671855 w 9586368"/>
              <a:gd name="connsiteY9035" fmla="*/ 13964 h 6479439"/>
              <a:gd name="connsiteX9036" fmla="*/ 7667836 w 9586368"/>
              <a:gd name="connsiteY9036" fmla="*/ 18003 h 6479439"/>
              <a:gd name="connsiteX9037" fmla="*/ 7657926 w 9586368"/>
              <a:gd name="connsiteY9037" fmla="*/ 18003 h 6479439"/>
              <a:gd name="connsiteX9038" fmla="*/ 7653906 w 9586368"/>
              <a:gd name="connsiteY9038" fmla="*/ 13964 h 6479439"/>
              <a:gd name="connsiteX9039" fmla="*/ 7653906 w 9586368"/>
              <a:gd name="connsiteY9039" fmla="*/ 4093 h 6479439"/>
              <a:gd name="connsiteX9040" fmla="*/ 7418611 w 9586368"/>
              <a:gd name="connsiteY9040" fmla="*/ 54 h 6479439"/>
              <a:gd name="connsiteX9041" fmla="*/ 7428521 w 9586368"/>
              <a:gd name="connsiteY9041" fmla="*/ 54 h 6479439"/>
              <a:gd name="connsiteX9042" fmla="*/ 7432540 w 9586368"/>
              <a:gd name="connsiteY9042" fmla="*/ 4093 h 6479439"/>
              <a:gd name="connsiteX9043" fmla="*/ 7432540 w 9586368"/>
              <a:gd name="connsiteY9043" fmla="*/ 13964 h 6479439"/>
              <a:gd name="connsiteX9044" fmla="*/ 7428521 w 9586368"/>
              <a:gd name="connsiteY9044" fmla="*/ 18003 h 6479439"/>
              <a:gd name="connsiteX9045" fmla="*/ 7418611 w 9586368"/>
              <a:gd name="connsiteY9045" fmla="*/ 18003 h 6479439"/>
              <a:gd name="connsiteX9046" fmla="*/ 7414592 w 9586368"/>
              <a:gd name="connsiteY9046" fmla="*/ 13964 h 6479439"/>
              <a:gd name="connsiteX9047" fmla="*/ 7414592 w 9586368"/>
              <a:gd name="connsiteY9047" fmla="*/ 4093 h 6479439"/>
              <a:gd name="connsiteX9048" fmla="*/ 7179298 w 9586368"/>
              <a:gd name="connsiteY9048" fmla="*/ 54 h 6479439"/>
              <a:gd name="connsiteX9049" fmla="*/ 7189209 w 9586368"/>
              <a:gd name="connsiteY9049" fmla="*/ 54 h 6479439"/>
              <a:gd name="connsiteX9050" fmla="*/ 7193228 w 9586368"/>
              <a:gd name="connsiteY9050" fmla="*/ 4093 h 6479439"/>
              <a:gd name="connsiteX9051" fmla="*/ 7193228 w 9586368"/>
              <a:gd name="connsiteY9051" fmla="*/ 13964 h 6479439"/>
              <a:gd name="connsiteX9052" fmla="*/ 7189209 w 9586368"/>
              <a:gd name="connsiteY9052" fmla="*/ 18003 h 6479439"/>
              <a:gd name="connsiteX9053" fmla="*/ 7179298 w 9586368"/>
              <a:gd name="connsiteY9053" fmla="*/ 18003 h 6479439"/>
              <a:gd name="connsiteX9054" fmla="*/ 7175279 w 9586368"/>
              <a:gd name="connsiteY9054" fmla="*/ 13964 h 6479439"/>
              <a:gd name="connsiteX9055" fmla="*/ 7175279 w 9586368"/>
              <a:gd name="connsiteY9055" fmla="*/ 4093 h 6479439"/>
              <a:gd name="connsiteX9056" fmla="*/ 8375869 w 9586368"/>
              <a:gd name="connsiteY9056" fmla="*/ 42 h 6479439"/>
              <a:gd name="connsiteX9057" fmla="*/ 8385779 w 9586368"/>
              <a:gd name="connsiteY9057" fmla="*/ 42 h 6479439"/>
              <a:gd name="connsiteX9058" fmla="*/ 8389799 w 9586368"/>
              <a:gd name="connsiteY9058" fmla="*/ 4080 h 6479439"/>
              <a:gd name="connsiteX9059" fmla="*/ 8389799 w 9586368"/>
              <a:gd name="connsiteY9059" fmla="*/ 13951 h 6479439"/>
              <a:gd name="connsiteX9060" fmla="*/ 8385779 w 9586368"/>
              <a:gd name="connsiteY9060" fmla="*/ 17990 h 6479439"/>
              <a:gd name="connsiteX9061" fmla="*/ 8375869 w 9586368"/>
              <a:gd name="connsiteY9061" fmla="*/ 17990 h 6479439"/>
              <a:gd name="connsiteX9062" fmla="*/ 8371850 w 9586368"/>
              <a:gd name="connsiteY9062" fmla="*/ 13951 h 6479439"/>
              <a:gd name="connsiteX9063" fmla="*/ 8371850 w 9586368"/>
              <a:gd name="connsiteY9063" fmla="*/ 4080 h 6479439"/>
              <a:gd name="connsiteX9064" fmla="*/ 9333125 w 9586368"/>
              <a:gd name="connsiteY9064" fmla="*/ 41 h 6479439"/>
              <a:gd name="connsiteX9065" fmla="*/ 9343036 w 9586368"/>
              <a:gd name="connsiteY9065" fmla="*/ 41 h 6479439"/>
              <a:gd name="connsiteX9066" fmla="*/ 9347055 w 9586368"/>
              <a:gd name="connsiteY9066" fmla="*/ 4080 h 6479439"/>
              <a:gd name="connsiteX9067" fmla="*/ 9347055 w 9586368"/>
              <a:gd name="connsiteY9067" fmla="*/ 13951 h 6479439"/>
              <a:gd name="connsiteX9068" fmla="*/ 9343036 w 9586368"/>
              <a:gd name="connsiteY9068" fmla="*/ 17990 h 6479439"/>
              <a:gd name="connsiteX9069" fmla="*/ 9333125 w 9586368"/>
              <a:gd name="connsiteY9069" fmla="*/ 17990 h 6479439"/>
              <a:gd name="connsiteX9070" fmla="*/ 9329106 w 9586368"/>
              <a:gd name="connsiteY9070" fmla="*/ 13951 h 6479439"/>
              <a:gd name="connsiteX9071" fmla="*/ 9329106 w 9586368"/>
              <a:gd name="connsiteY9071" fmla="*/ 4080 h 6479439"/>
              <a:gd name="connsiteX9072" fmla="*/ 9093811 w 9586368"/>
              <a:gd name="connsiteY9072" fmla="*/ 41 h 6479439"/>
              <a:gd name="connsiteX9073" fmla="*/ 9103722 w 9586368"/>
              <a:gd name="connsiteY9073" fmla="*/ 41 h 6479439"/>
              <a:gd name="connsiteX9074" fmla="*/ 9107741 w 9586368"/>
              <a:gd name="connsiteY9074" fmla="*/ 4080 h 6479439"/>
              <a:gd name="connsiteX9075" fmla="*/ 9107741 w 9586368"/>
              <a:gd name="connsiteY9075" fmla="*/ 13951 h 6479439"/>
              <a:gd name="connsiteX9076" fmla="*/ 9103722 w 9586368"/>
              <a:gd name="connsiteY9076" fmla="*/ 17990 h 6479439"/>
              <a:gd name="connsiteX9077" fmla="*/ 9093811 w 9586368"/>
              <a:gd name="connsiteY9077" fmla="*/ 17990 h 6479439"/>
              <a:gd name="connsiteX9078" fmla="*/ 9089792 w 9586368"/>
              <a:gd name="connsiteY9078" fmla="*/ 13951 h 6479439"/>
              <a:gd name="connsiteX9079" fmla="*/ 9089792 w 9586368"/>
              <a:gd name="connsiteY9079" fmla="*/ 4080 h 6479439"/>
              <a:gd name="connsiteX9080" fmla="*/ 8854496 w 9586368"/>
              <a:gd name="connsiteY9080" fmla="*/ 41 h 6479439"/>
              <a:gd name="connsiteX9081" fmla="*/ 8864407 w 9586368"/>
              <a:gd name="connsiteY9081" fmla="*/ 41 h 6479439"/>
              <a:gd name="connsiteX9082" fmla="*/ 8868426 w 9586368"/>
              <a:gd name="connsiteY9082" fmla="*/ 4080 h 6479439"/>
              <a:gd name="connsiteX9083" fmla="*/ 8868426 w 9586368"/>
              <a:gd name="connsiteY9083" fmla="*/ 13951 h 6479439"/>
              <a:gd name="connsiteX9084" fmla="*/ 8864407 w 9586368"/>
              <a:gd name="connsiteY9084" fmla="*/ 17990 h 6479439"/>
              <a:gd name="connsiteX9085" fmla="*/ 8854496 w 9586368"/>
              <a:gd name="connsiteY9085" fmla="*/ 17990 h 6479439"/>
              <a:gd name="connsiteX9086" fmla="*/ 8850477 w 9586368"/>
              <a:gd name="connsiteY9086" fmla="*/ 13951 h 6479439"/>
              <a:gd name="connsiteX9087" fmla="*/ 8850477 w 9586368"/>
              <a:gd name="connsiteY9087" fmla="*/ 4080 h 6479439"/>
              <a:gd name="connsiteX9088" fmla="*/ 8615184 w 9586368"/>
              <a:gd name="connsiteY9088" fmla="*/ 41 h 6479439"/>
              <a:gd name="connsiteX9089" fmla="*/ 8625095 w 9586368"/>
              <a:gd name="connsiteY9089" fmla="*/ 41 h 6479439"/>
              <a:gd name="connsiteX9090" fmla="*/ 8629114 w 9586368"/>
              <a:gd name="connsiteY9090" fmla="*/ 4080 h 6479439"/>
              <a:gd name="connsiteX9091" fmla="*/ 8629114 w 9586368"/>
              <a:gd name="connsiteY9091" fmla="*/ 13951 h 6479439"/>
              <a:gd name="connsiteX9092" fmla="*/ 8625095 w 9586368"/>
              <a:gd name="connsiteY9092" fmla="*/ 17990 h 6479439"/>
              <a:gd name="connsiteX9093" fmla="*/ 8615184 w 9586368"/>
              <a:gd name="connsiteY9093" fmla="*/ 17990 h 6479439"/>
              <a:gd name="connsiteX9094" fmla="*/ 8611165 w 9586368"/>
              <a:gd name="connsiteY9094" fmla="*/ 13951 h 6479439"/>
              <a:gd name="connsiteX9095" fmla="*/ 8611165 w 9586368"/>
              <a:gd name="connsiteY9095" fmla="*/ 4080 h 6479439"/>
              <a:gd name="connsiteX9096" fmla="*/ 961275 w 9586368"/>
              <a:gd name="connsiteY9096" fmla="*/ 41 h 6479439"/>
              <a:gd name="connsiteX9097" fmla="*/ 971184 w 9586368"/>
              <a:gd name="connsiteY9097" fmla="*/ 41 h 6479439"/>
              <a:gd name="connsiteX9098" fmla="*/ 975204 w 9586368"/>
              <a:gd name="connsiteY9098" fmla="*/ 4080 h 6479439"/>
              <a:gd name="connsiteX9099" fmla="*/ 975204 w 9586368"/>
              <a:gd name="connsiteY9099" fmla="*/ 13951 h 6479439"/>
              <a:gd name="connsiteX9100" fmla="*/ 971184 w 9586368"/>
              <a:gd name="connsiteY9100" fmla="*/ 17990 h 6479439"/>
              <a:gd name="connsiteX9101" fmla="*/ 961275 w 9586368"/>
              <a:gd name="connsiteY9101" fmla="*/ 17990 h 6479439"/>
              <a:gd name="connsiteX9102" fmla="*/ 957256 w 9586368"/>
              <a:gd name="connsiteY9102" fmla="*/ 13951 h 6479439"/>
              <a:gd name="connsiteX9103" fmla="*/ 957256 w 9586368"/>
              <a:gd name="connsiteY9103" fmla="*/ 4080 h 6479439"/>
              <a:gd name="connsiteX9104" fmla="*/ 1679221 w 9586368"/>
              <a:gd name="connsiteY9104" fmla="*/ 41 h 6479439"/>
              <a:gd name="connsiteX9105" fmla="*/ 1689131 w 9586368"/>
              <a:gd name="connsiteY9105" fmla="*/ 41 h 6479439"/>
              <a:gd name="connsiteX9106" fmla="*/ 1693151 w 9586368"/>
              <a:gd name="connsiteY9106" fmla="*/ 4079 h 6479439"/>
              <a:gd name="connsiteX9107" fmla="*/ 1693151 w 9586368"/>
              <a:gd name="connsiteY9107" fmla="*/ 13950 h 6479439"/>
              <a:gd name="connsiteX9108" fmla="*/ 1689131 w 9586368"/>
              <a:gd name="connsiteY9108" fmla="*/ 17989 h 6479439"/>
              <a:gd name="connsiteX9109" fmla="*/ 1679221 w 9586368"/>
              <a:gd name="connsiteY9109" fmla="*/ 17989 h 6479439"/>
              <a:gd name="connsiteX9110" fmla="*/ 1675203 w 9586368"/>
              <a:gd name="connsiteY9110" fmla="*/ 13950 h 6479439"/>
              <a:gd name="connsiteX9111" fmla="*/ 1675203 w 9586368"/>
              <a:gd name="connsiteY9111" fmla="*/ 4079 h 6479439"/>
              <a:gd name="connsiteX9112" fmla="*/ 1439904 w 9586368"/>
              <a:gd name="connsiteY9112" fmla="*/ 41 h 6479439"/>
              <a:gd name="connsiteX9113" fmla="*/ 1449813 w 9586368"/>
              <a:gd name="connsiteY9113" fmla="*/ 41 h 6479439"/>
              <a:gd name="connsiteX9114" fmla="*/ 1453833 w 9586368"/>
              <a:gd name="connsiteY9114" fmla="*/ 4079 h 6479439"/>
              <a:gd name="connsiteX9115" fmla="*/ 1453833 w 9586368"/>
              <a:gd name="connsiteY9115" fmla="*/ 13950 h 6479439"/>
              <a:gd name="connsiteX9116" fmla="*/ 1449813 w 9586368"/>
              <a:gd name="connsiteY9116" fmla="*/ 17989 h 6479439"/>
              <a:gd name="connsiteX9117" fmla="*/ 1439904 w 9586368"/>
              <a:gd name="connsiteY9117" fmla="*/ 17989 h 6479439"/>
              <a:gd name="connsiteX9118" fmla="*/ 1435885 w 9586368"/>
              <a:gd name="connsiteY9118" fmla="*/ 13950 h 6479439"/>
              <a:gd name="connsiteX9119" fmla="*/ 1435885 w 9586368"/>
              <a:gd name="connsiteY9119" fmla="*/ 4079 h 6479439"/>
              <a:gd name="connsiteX9120" fmla="*/ 1200587 w 9586368"/>
              <a:gd name="connsiteY9120" fmla="*/ 41 h 6479439"/>
              <a:gd name="connsiteX9121" fmla="*/ 1210497 w 9586368"/>
              <a:gd name="connsiteY9121" fmla="*/ 41 h 6479439"/>
              <a:gd name="connsiteX9122" fmla="*/ 1214516 w 9586368"/>
              <a:gd name="connsiteY9122" fmla="*/ 4080 h 6479439"/>
              <a:gd name="connsiteX9123" fmla="*/ 1214516 w 9586368"/>
              <a:gd name="connsiteY9123" fmla="*/ 13951 h 6479439"/>
              <a:gd name="connsiteX9124" fmla="*/ 1210497 w 9586368"/>
              <a:gd name="connsiteY9124" fmla="*/ 17989 h 6479439"/>
              <a:gd name="connsiteX9125" fmla="*/ 1200587 w 9586368"/>
              <a:gd name="connsiteY9125" fmla="*/ 17989 h 6479439"/>
              <a:gd name="connsiteX9126" fmla="*/ 1196568 w 9586368"/>
              <a:gd name="connsiteY9126" fmla="*/ 13951 h 6479439"/>
              <a:gd name="connsiteX9127" fmla="*/ 1196568 w 9586368"/>
              <a:gd name="connsiteY9127" fmla="*/ 4080 h 6479439"/>
              <a:gd name="connsiteX9128" fmla="*/ 1918515 w 9586368"/>
              <a:gd name="connsiteY9128" fmla="*/ 31 h 6479439"/>
              <a:gd name="connsiteX9129" fmla="*/ 1928425 w 9586368"/>
              <a:gd name="connsiteY9129" fmla="*/ 31 h 6479439"/>
              <a:gd name="connsiteX9130" fmla="*/ 1932444 w 9586368"/>
              <a:gd name="connsiteY9130" fmla="*/ 4069 h 6479439"/>
              <a:gd name="connsiteX9131" fmla="*/ 1932444 w 9586368"/>
              <a:gd name="connsiteY9131" fmla="*/ 13940 h 6479439"/>
              <a:gd name="connsiteX9132" fmla="*/ 1928425 w 9586368"/>
              <a:gd name="connsiteY9132" fmla="*/ 17979 h 6479439"/>
              <a:gd name="connsiteX9133" fmla="*/ 1918515 w 9586368"/>
              <a:gd name="connsiteY9133" fmla="*/ 17979 h 6479439"/>
              <a:gd name="connsiteX9134" fmla="*/ 1914497 w 9586368"/>
              <a:gd name="connsiteY9134" fmla="*/ 13940 h 6479439"/>
              <a:gd name="connsiteX9135" fmla="*/ 1914497 w 9586368"/>
              <a:gd name="connsiteY9135" fmla="*/ 4069 h 6479439"/>
              <a:gd name="connsiteX9136" fmla="*/ 9572438 w 9586368"/>
              <a:gd name="connsiteY9136" fmla="*/ 29 h 6479439"/>
              <a:gd name="connsiteX9137" fmla="*/ 9582349 w 9586368"/>
              <a:gd name="connsiteY9137" fmla="*/ 29 h 6479439"/>
              <a:gd name="connsiteX9138" fmla="*/ 9586368 w 9586368"/>
              <a:gd name="connsiteY9138" fmla="*/ 4067 h 6479439"/>
              <a:gd name="connsiteX9139" fmla="*/ 9586368 w 9586368"/>
              <a:gd name="connsiteY9139" fmla="*/ 13938 h 6479439"/>
              <a:gd name="connsiteX9140" fmla="*/ 9582349 w 9586368"/>
              <a:gd name="connsiteY9140" fmla="*/ 17977 h 6479439"/>
              <a:gd name="connsiteX9141" fmla="*/ 9572438 w 9586368"/>
              <a:gd name="connsiteY9141" fmla="*/ 17977 h 6479439"/>
              <a:gd name="connsiteX9142" fmla="*/ 9568419 w 9586368"/>
              <a:gd name="connsiteY9142" fmla="*/ 13938 h 6479439"/>
              <a:gd name="connsiteX9143" fmla="*/ 9568419 w 9586368"/>
              <a:gd name="connsiteY9143" fmla="*/ 4067 h 6479439"/>
              <a:gd name="connsiteX9144" fmla="*/ 2157824 w 9586368"/>
              <a:gd name="connsiteY9144" fmla="*/ 28 h 6479439"/>
              <a:gd name="connsiteX9145" fmla="*/ 2167734 w 9586368"/>
              <a:gd name="connsiteY9145" fmla="*/ 28 h 6479439"/>
              <a:gd name="connsiteX9146" fmla="*/ 2171753 w 9586368"/>
              <a:gd name="connsiteY9146" fmla="*/ 4067 h 6479439"/>
              <a:gd name="connsiteX9147" fmla="*/ 2171753 w 9586368"/>
              <a:gd name="connsiteY9147" fmla="*/ 13938 h 6479439"/>
              <a:gd name="connsiteX9148" fmla="*/ 2167734 w 9586368"/>
              <a:gd name="connsiteY9148" fmla="*/ 17977 h 6479439"/>
              <a:gd name="connsiteX9149" fmla="*/ 2157824 w 9586368"/>
              <a:gd name="connsiteY9149" fmla="*/ 17977 h 6479439"/>
              <a:gd name="connsiteX9150" fmla="*/ 2153804 w 9586368"/>
              <a:gd name="connsiteY9150" fmla="*/ 13938 h 6479439"/>
              <a:gd name="connsiteX9151" fmla="*/ 2153804 w 9586368"/>
              <a:gd name="connsiteY9151" fmla="*/ 4067 h 6479439"/>
              <a:gd name="connsiteX9152" fmla="*/ 721977 w 9586368"/>
              <a:gd name="connsiteY9152" fmla="*/ 0 h 6479439"/>
              <a:gd name="connsiteX9153" fmla="*/ 731887 w 9586368"/>
              <a:gd name="connsiteY9153" fmla="*/ 0 h 6479439"/>
              <a:gd name="connsiteX9154" fmla="*/ 735906 w 9586368"/>
              <a:gd name="connsiteY9154" fmla="*/ 4039 h 6479439"/>
              <a:gd name="connsiteX9155" fmla="*/ 735906 w 9586368"/>
              <a:gd name="connsiteY9155" fmla="*/ 13910 h 6479439"/>
              <a:gd name="connsiteX9156" fmla="*/ 731887 w 9586368"/>
              <a:gd name="connsiteY9156" fmla="*/ 17949 h 6479439"/>
              <a:gd name="connsiteX9157" fmla="*/ 721977 w 9586368"/>
              <a:gd name="connsiteY9157" fmla="*/ 17949 h 6479439"/>
              <a:gd name="connsiteX9158" fmla="*/ 717959 w 9586368"/>
              <a:gd name="connsiteY9158" fmla="*/ 13910 h 6479439"/>
              <a:gd name="connsiteX9159" fmla="*/ 717959 w 9586368"/>
              <a:gd name="connsiteY9159" fmla="*/ 4039 h 6479439"/>
              <a:gd name="connsiteX9160" fmla="*/ 482665 w 9586368"/>
              <a:gd name="connsiteY9160" fmla="*/ 0 h 6479439"/>
              <a:gd name="connsiteX9161" fmla="*/ 492575 w 9586368"/>
              <a:gd name="connsiteY9161" fmla="*/ 0 h 6479439"/>
              <a:gd name="connsiteX9162" fmla="*/ 496594 w 9586368"/>
              <a:gd name="connsiteY9162" fmla="*/ 4039 h 6479439"/>
              <a:gd name="connsiteX9163" fmla="*/ 496594 w 9586368"/>
              <a:gd name="connsiteY9163" fmla="*/ 13910 h 6479439"/>
              <a:gd name="connsiteX9164" fmla="*/ 492575 w 9586368"/>
              <a:gd name="connsiteY9164" fmla="*/ 17949 h 6479439"/>
              <a:gd name="connsiteX9165" fmla="*/ 482665 w 9586368"/>
              <a:gd name="connsiteY9165" fmla="*/ 17949 h 6479439"/>
              <a:gd name="connsiteX9166" fmla="*/ 478646 w 9586368"/>
              <a:gd name="connsiteY9166" fmla="*/ 13910 h 6479439"/>
              <a:gd name="connsiteX9167" fmla="*/ 478646 w 9586368"/>
              <a:gd name="connsiteY9167" fmla="*/ 4039 h 6479439"/>
              <a:gd name="connsiteX9168" fmla="*/ 243351 w 9586368"/>
              <a:gd name="connsiteY9168" fmla="*/ 0 h 6479439"/>
              <a:gd name="connsiteX9169" fmla="*/ 253261 w 9586368"/>
              <a:gd name="connsiteY9169" fmla="*/ 0 h 6479439"/>
              <a:gd name="connsiteX9170" fmla="*/ 257281 w 9586368"/>
              <a:gd name="connsiteY9170" fmla="*/ 4039 h 6479439"/>
              <a:gd name="connsiteX9171" fmla="*/ 257281 w 9586368"/>
              <a:gd name="connsiteY9171" fmla="*/ 13910 h 6479439"/>
              <a:gd name="connsiteX9172" fmla="*/ 253261 w 9586368"/>
              <a:gd name="connsiteY9172" fmla="*/ 17949 h 6479439"/>
              <a:gd name="connsiteX9173" fmla="*/ 243351 w 9586368"/>
              <a:gd name="connsiteY9173" fmla="*/ 17949 h 6479439"/>
              <a:gd name="connsiteX9174" fmla="*/ 239332 w 9586368"/>
              <a:gd name="connsiteY9174" fmla="*/ 13910 h 6479439"/>
              <a:gd name="connsiteX9175" fmla="*/ 239332 w 9586368"/>
              <a:gd name="connsiteY9175" fmla="*/ 4039 h 6479439"/>
              <a:gd name="connsiteX9176" fmla="*/ 4039 w 9586368"/>
              <a:gd name="connsiteY9176" fmla="*/ 0 h 6479439"/>
              <a:gd name="connsiteX9177" fmla="*/ 13948 w 9586368"/>
              <a:gd name="connsiteY9177" fmla="*/ 0 h 6479439"/>
              <a:gd name="connsiteX9178" fmla="*/ 17967 w 9586368"/>
              <a:gd name="connsiteY9178" fmla="*/ 4039 h 6479439"/>
              <a:gd name="connsiteX9179" fmla="*/ 17967 w 9586368"/>
              <a:gd name="connsiteY9179" fmla="*/ 13910 h 6479439"/>
              <a:gd name="connsiteX9180" fmla="*/ 13948 w 9586368"/>
              <a:gd name="connsiteY9180" fmla="*/ 17949 h 6479439"/>
              <a:gd name="connsiteX9181" fmla="*/ 4039 w 9586368"/>
              <a:gd name="connsiteY9181" fmla="*/ 17949 h 6479439"/>
              <a:gd name="connsiteX9182" fmla="*/ 19 w 9586368"/>
              <a:gd name="connsiteY9182" fmla="*/ 13910 h 6479439"/>
              <a:gd name="connsiteX9183" fmla="*/ 19 w 9586368"/>
              <a:gd name="connsiteY9183" fmla="*/ 4039 h 6479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Lst>
            <a:rect l="l" t="t" r="r" b="b"/>
            <a:pathLst>
              <a:path w="9586368" h="6479439">
                <a:moveTo>
                  <a:pt x="2157895" y="6461491"/>
                </a:moveTo>
                <a:lnTo>
                  <a:pt x="2167802" y="6461491"/>
                </a:lnTo>
                <a:lnTo>
                  <a:pt x="2171820" y="6465529"/>
                </a:lnTo>
                <a:lnTo>
                  <a:pt x="2171820" y="6475400"/>
                </a:lnTo>
                <a:lnTo>
                  <a:pt x="2167802" y="6479439"/>
                </a:lnTo>
                <a:lnTo>
                  <a:pt x="2157895" y="6479439"/>
                </a:lnTo>
                <a:lnTo>
                  <a:pt x="2153871" y="6475400"/>
                </a:lnTo>
                <a:lnTo>
                  <a:pt x="2153871" y="6465529"/>
                </a:lnTo>
                <a:close/>
                <a:moveTo>
                  <a:pt x="1918509" y="6461491"/>
                </a:moveTo>
                <a:lnTo>
                  <a:pt x="1928419" y="6461491"/>
                </a:lnTo>
                <a:lnTo>
                  <a:pt x="1932437" y="6465529"/>
                </a:lnTo>
                <a:lnTo>
                  <a:pt x="1932437" y="6475400"/>
                </a:lnTo>
                <a:lnTo>
                  <a:pt x="1928419" y="6479439"/>
                </a:lnTo>
                <a:lnTo>
                  <a:pt x="1918509" y="6479439"/>
                </a:lnTo>
                <a:lnTo>
                  <a:pt x="1914490" y="6475400"/>
                </a:lnTo>
                <a:lnTo>
                  <a:pt x="1914490" y="6465529"/>
                </a:lnTo>
                <a:close/>
                <a:moveTo>
                  <a:pt x="1679200" y="6461491"/>
                </a:moveTo>
                <a:lnTo>
                  <a:pt x="1689110" y="6461491"/>
                </a:lnTo>
                <a:lnTo>
                  <a:pt x="1693128" y="6465529"/>
                </a:lnTo>
                <a:lnTo>
                  <a:pt x="1693128" y="6475400"/>
                </a:lnTo>
                <a:lnTo>
                  <a:pt x="1689110" y="6479439"/>
                </a:lnTo>
                <a:lnTo>
                  <a:pt x="1679200" y="6479439"/>
                </a:lnTo>
                <a:lnTo>
                  <a:pt x="1675180" y="6475400"/>
                </a:lnTo>
                <a:lnTo>
                  <a:pt x="1675180" y="6465529"/>
                </a:lnTo>
                <a:close/>
                <a:moveTo>
                  <a:pt x="1439885" y="6461491"/>
                </a:moveTo>
                <a:lnTo>
                  <a:pt x="1449795" y="6461491"/>
                </a:lnTo>
                <a:lnTo>
                  <a:pt x="1453813" y="6465529"/>
                </a:lnTo>
                <a:lnTo>
                  <a:pt x="1453813" y="6475400"/>
                </a:lnTo>
                <a:lnTo>
                  <a:pt x="1449795" y="6479439"/>
                </a:lnTo>
                <a:lnTo>
                  <a:pt x="1439885" y="6479439"/>
                </a:lnTo>
                <a:lnTo>
                  <a:pt x="1435865" y="6475400"/>
                </a:lnTo>
                <a:lnTo>
                  <a:pt x="1435865" y="6465529"/>
                </a:lnTo>
                <a:close/>
                <a:moveTo>
                  <a:pt x="1200570" y="6461491"/>
                </a:moveTo>
                <a:lnTo>
                  <a:pt x="1210480" y="6461491"/>
                </a:lnTo>
                <a:lnTo>
                  <a:pt x="1214498" y="6465529"/>
                </a:lnTo>
                <a:lnTo>
                  <a:pt x="1214498" y="6475400"/>
                </a:lnTo>
                <a:lnTo>
                  <a:pt x="1210480" y="6479439"/>
                </a:lnTo>
                <a:lnTo>
                  <a:pt x="1200570" y="6479439"/>
                </a:lnTo>
                <a:lnTo>
                  <a:pt x="1196551" y="6475400"/>
                </a:lnTo>
                <a:lnTo>
                  <a:pt x="1196551" y="6465529"/>
                </a:lnTo>
                <a:close/>
                <a:moveTo>
                  <a:pt x="961257" y="6461491"/>
                </a:moveTo>
                <a:lnTo>
                  <a:pt x="971167" y="6461491"/>
                </a:lnTo>
                <a:lnTo>
                  <a:pt x="975186" y="6465529"/>
                </a:lnTo>
                <a:lnTo>
                  <a:pt x="975186" y="6475400"/>
                </a:lnTo>
                <a:lnTo>
                  <a:pt x="971167" y="6479439"/>
                </a:lnTo>
                <a:lnTo>
                  <a:pt x="961257" y="6479439"/>
                </a:lnTo>
                <a:lnTo>
                  <a:pt x="957238" y="6475400"/>
                </a:lnTo>
                <a:lnTo>
                  <a:pt x="957238" y="6465529"/>
                </a:lnTo>
                <a:close/>
                <a:moveTo>
                  <a:pt x="9572438" y="6461440"/>
                </a:moveTo>
                <a:lnTo>
                  <a:pt x="9582349" y="6461440"/>
                </a:lnTo>
                <a:lnTo>
                  <a:pt x="9586368" y="6465478"/>
                </a:lnTo>
                <a:lnTo>
                  <a:pt x="9586368" y="6475349"/>
                </a:lnTo>
                <a:lnTo>
                  <a:pt x="9582349" y="6479388"/>
                </a:lnTo>
                <a:lnTo>
                  <a:pt x="9572438" y="6479388"/>
                </a:lnTo>
                <a:lnTo>
                  <a:pt x="9568419" y="6475349"/>
                </a:lnTo>
                <a:lnTo>
                  <a:pt x="9568419" y="6465478"/>
                </a:lnTo>
                <a:close/>
                <a:moveTo>
                  <a:pt x="9333125" y="6461440"/>
                </a:moveTo>
                <a:lnTo>
                  <a:pt x="9343036" y="6461440"/>
                </a:lnTo>
                <a:lnTo>
                  <a:pt x="9347055" y="6465478"/>
                </a:lnTo>
                <a:lnTo>
                  <a:pt x="9347055" y="6475349"/>
                </a:lnTo>
                <a:lnTo>
                  <a:pt x="9343036" y="6479388"/>
                </a:lnTo>
                <a:lnTo>
                  <a:pt x="9333125" y="6479388"/>
                </a:lnTo>
                <a:lnTo>
                  <a:pt x="9329106" y="6475349"/>
                </a:lnTo>
                <a:lnTo>
                  <a:pt x="9329106" y="6465478"/>
                </a:lnTo>
                <a:close/>
                <a:moveTo>
                  <a:pt x="9093811" y="6461440"/>
                </a:moveTo>
                <a:lnTo>
                  <a:pt x="9103722" y="6461440"/>
                </a:lnTo>
                <a:lnTo>
                  <a:pt x="9107741" y="6465478"/>
                </a:lnTo>
                <a:lnTo>
                  <a:pt x="9107741" y="6475349"/>
                </a:lnTo>
                <a:lnTo>
                  <a:pt x="9103722" y="6479388"/>
                </a:lnTo>
                <a:lnTo>
                  <a:pt x="9093811" y="6479388"/>
                </a:lnTo>
                <a:lnTo>
                  <a:pt x="9089792" y="6475349"/>
                </a:lnTo>
                <a:lnTo>
                  <a:pt x="9089792" y="6465478"/>
                </a:lnTo>
                <a:close/>
                <a:moveTo>
                  <a:pt x="8854496" y="6461440"/>
                </a:moveTo>
                <a:lnTo>
                  <a:pt x="8864407" y="6461440"/>
                </a:lnTo>
                <a:lnTo>
                  <a:pt x="8868426" y="6465478"/>
                </a:lnTo>
                <a:lnTo>
                  <a:pt x="8868426" y="6475349"/>
                </a:lnTo>
                <a:lnTo>
                  <a:pt x="8864407" y="6479388"/>
                </a:lnTo>
                <a:lnTo>
                  <a:pt x="8854496" y="6479388"/>
                </a:lnTo>
                <a:lnTo>
                  <a:pt x="8850477" y="6475349"/>
                </a:lnTo>
                <a:lnTo>
                  <a:pt x="8850477" y="6465478"/>
                </a:lnTo>
                <a:close/>
                <a:moveTo>
                  <a:pt x="8615184" y="6461440"/>
                </a:moveTo>
                <a:lnTo>
                  <a:pt x="8625095" y="6461440"/>
                </a:lnTo>
                <a:lnTo>
                  <a:pt x="8629114" y="6465478"/>
                </a:lnTo>
                <a:lnTo>
                  <a:pt x="8629114" y="6475349"/>
                </a:lnTo>
                <a:lnTo>
                  <a:pt x="8625095" y="6479388"/>
                </a:lnTo>
                <a:lnTo>
                  <a:pt x="8615184" y="6479388"/>
                </a:lnTo>
                <a:lnTo>
                  <a:pt x="8611165" y="6475349"/>
                </a:lnTo>
                <a:lnTo>
                  <a:pt x="8611165" y="6465478"/>
                </a:lnTo>
                <a:close/>
                <a:moveTo>
                  <a:pt x="8375869" y="6461440"/>
                </a:moveTo>
                <a:lnTo>
                  <a:pt x="8385779" y="6461440"/>
                </a:lnTo>
                <a:lnTo>
                  <a:pt x="8389799" y="6465478"/>
                </a:lnTo>
                <a:lnTo>
                  <a:pt x="8389799" y="6475349"/>
                </a:lnTo>
                <a:lnTo>
                  <a:pt x="8385779" y="6479388"/>
                </a:lnTo>
                <a:lnTo>
                  <a:pt x="8375869" y="6479388"/>
                </a:lnTo>
                <a:lnTo>
                  <a:pt x="8371850" y="6475349"/>
                </a:lnTo>
                <a:lnTo>
                  <a:pt x="8371850" y="6465478"/>
                </a:lnTo>
                <a:close/>
                <a:moveTo>
                  <a:pt x="8136553" y="6461440"/>
                </a:moveTo>
                <a:lnTo>
                  <a:pt x="8146464" y="6461440"/>
                </a:lnTo>
                <a:lnTo>
                  <a:pt x="8150483" y="6465478"/>
                </a:lnTo>
                <a:lnTo>
                  <a:pt x="8150483" y="6475349"/>
                </a:lnTo>
                <a:lnTo>
                  <a:pt x="8146464" y="6479388"/>
                </a:lnTo>
                <a:lnTo>
                  <a:pt x="8136553" y="6479388"/>
                </a:lnTo>
                <a:lnTo>
                  <a:pt x="8132534" y="6475349"/>
                </a:lnTo>
                <a:lnTo>
                  <a:pt x="8132534" y="6465478"/>
                </a:lnTo>
                <a:close/>
                <a:moveTo>
                  <a:pt x="7897241" y="6461440"/>
                </a:moveTo>
                <a:lnTo>
                  <a:pt x="7907151" y="6461440"/>
                </a:lnTo>
                <a:lnTo>
                  <a:pt x="7911170" y="6465478"/>
                </a:lnTo>
                <a:lnTo>
                  <a:pt x="7911170" y="6475349"/>
                </a:lnTo>
                <a:lnTo>
                  <a:pt x="7907151" y="6479388"/>
                </a:lnTo>
                <a:lnTo>
                  <a:pt x="7897241" y="6479388"/>
                </a:lnTo>
                <a:lnTo>
                  <a:pt x="7893222" y="6475349"/>
                </a:lnTo>
                <a:lnTo>
                  <a:pt x="7893222" y="6465478"/>
                </a:lnTo>
                <a:close/>
                <a:moveTo>
                  <a:pt x="7657926" y="6461440"/>
                </a:moveTo>
                <a:lnTo>
                  <a:pt x="7667836" y="6461440"/>
                </a:lnTo>
                <a:lnTo>
                  <a:pt x="7671855" y="6465478"/>
                </a:lnTo>
                <a:lnTo>
                  <a:pt x="7671855" y="6475349"/>
                </a:lnTo>
                <a:lnTo>
                  <a:pt x="7667836" y="6479388"/>
                </a:lnTo>
                <a:lnTo>
                  <a:pt x="7657926" y="6479388"/>
                </a:lnTo>
                <a:lnTo>
                  <a:pt x="7653906" y="6475349"/>
                </a:lnTo>
                <a:lnTo>
                  <a:pt x="7653906" y="6465478"/>
                </a:lnTo>
                <a:close/>
                <a:moveTo>
                  <a:pt x="7418611" y="6461440"/>
                </a:moveTo>
                <a:lnTo>
                  <a:pt x="7428521" y="6461440"/>
                </a:lnTo>
                <a:lnTo>
                  <a:pt x="7432540" y="6465478"/>
                </a:lnTo>
                <a:lnTo>
                  <a:pt x="7432540" y="6475349"/>
                </a:lnTo>
                <a:lnTo>
                  <a:pt x="7428521" y="6479388"/>
                </a:lnTo>
                <a:lnTo>
                  <a:pt x="7418611" y="6479388"/>
                </a:lnTo>
                <a:lnTo>
                  <a:pt x="7414592" y="6475349"/>
                </a:lnTo>
                <a:lnTo>
                  <a:pt x="7414592" y="6465478"/>
                </a:lnTo>
                <a:close/>
                <a:moveTo>
                  <a:pt x="7179298" y="6461440"/>
                </a:moveTo>
                <a:lnTo>
                  <a:pt x="7189209" y="6461440"/>
                </a:lnTo>
                <a:lnTo>
                  <a:pt x="7193228" y="6465478"/>
                </a:lnTo>
                <a:lnTo>
                  <a:pt x="7193228" y="6475349"/>
                </a:lnTo>
                <a:lnTo>
                  <a:pt x="7189209" y="6479388"/>
                </a:lnTo>
                <a:lnTo>
                  <a:pt x="7179298" y="6479388"/>
                </a:lnTo>
                <a:lnTo>
                  <a:pt x="7175279" y="6475349"/>
                </a:lnTo>
                <a:lnTo>
                  <a:pt x="7175279" y="6465478"/>
                </a:lnTo>
                <a:close/>
                <a:moveTo>
                  <a:pt x="6939983" y="6461440"/>
                </a:moveTo>
                <a:lnTo>
                  <a:pt x="6949894" y="6461440"/>
                </a:lnTo>
                <a:lnTo>
                  <a:pt x="6953913" y="6465478"/>
                </a:lnTo>
                <a:lnTo>
                  <a:pt x="6953913" y="6475349"/>
                </a:lnTo>
                <a:lnTo>
                  <a:pt x="6949894" y="6479388"/>
                </a:lnTo>
                <a:lnTo>
                  <a:pt x="6939983" y="6479388"/>
                </a:lnTo>
                <a:lnTo>
                  <a:pt x="6935964" y="6475349"/>
                </a:lnTo>
                <a:lnTo>
                  <a:pt x="6935964" y="6465478"/>
                </a:lnTo>
                <a:close/>
                <a:moveTo>
                  <a:pt x="6700670" y="6461440"/>
                </a:moveTo>
                <a:lnTo>
                  <a:pt x="6710581" y="6461440"/>
                </a:lnTo>
                <a:lnTo>
                  <a:pt x="6714600" y="6465478"/>
                </a:lnTo>
                <a:lnTo>
                  <a:pt x="6714600" y="6475349"/>
                </a:lnTo>
                <a:lnTo>
                  <a:pt x="6710581" y="6479388"/>
                </a:lnTo>
                <a:lnTo>
                  <a:pt x="6700670" y="6479388"/>
                </a:lnTo>
                <a:lnTo>
                  <a:pt x="6696651" y="6475349"/>
                </a:lnTo>
                <a:lnTo>
                  <a:pt x="6696651" y="6465478"/>
                </a:lnTo>
                <a:close/>
                <a:moveTo>
                  <a:pt x="6461356" y="6461440"/>
                </a:moveTo>
                <a:lnTo>
                  <a:pt x="6471266" y="6461440"/>
                </a:lnTo>
                <a:lnTo>
                  <a:pt x="6475285" y="6465478"/>
                </a:lnTo>
                <a:lnTo>
                  <a:pt x="6475285" y="6475349"/>
                </a:lnTo>
                <a:lnTo>
                  <a:pt x="6471266" y="6479388"/>
                </a:lnTo>
                <a:lnTo>
                  <a:pt x="6461356" y="6479388"/>
                </a:lnTo>
                <a:lnTo>
                  <a:pt x="6457337" y="6475349"/>
                </a:lnTo>
                <a:lnTo>
                  <a:pt x="6457337" y="6465478"/>
                </a:lnTo>
                <a:close/>
                <a:moveTo>
                  <a:pt x="6222042" y="6461440"/>
                </a:moveTo>
                <a:lnTo>
                  <a:pt x="6231952" y="6461440"/>
                </a:lnTo>
                <a:lnTo>
                  <a:pt x="6235971" y="6465478"/>
                </a:lnTo>
                <a:lnTo>
                  <a:pt x="6235971" y="6475349"/>
                </a:lnTo>
                <a:lnTo>
                  <a:pt x="6231952" y="6479388"/>
                </a:lnTo>
                <a:lnTo>
                  <a:pt x="6222042" y="6479388"/>
                </a:lnTo>
                <a:lnTo>
                  <a:pt x="6218023" y="6475349"/>
                </a:lnTo>
                <a:lnTo>
                  <a:pt x="6218023" y="6465478"/>
                </a:lnTo>
                <a:close/>
                <a:moveTo>
                  <a:pt x="5982729" y="6461440"/>
                </a:moveTo>
                <a:lnTo>
                  <a:pt x="5992639" y="6461440"/>
                </a:lnTo>
                <a:lnTo>
                  <a:pt x="5996658" y="6465478"/>
                </a:lnTo>
                <a:lnTo>
                  <a:pt x="5996658" y="6475349"/>
                </a:lnTo>
                <a:lnTo>
                  <a:pt x="5992639" y="6479388"/>
                </a:lnTo>
                <a:lnTo>
                  <a:pt x="5982729" y="6479388"/>
                </a:lnTo>
                <a:lnTo>
                  <a:pt x="5978710" y="6475349"/>
                </a:lnTo>
                <a:lnTo>
                  <a:pt x="5978710" y="6465478"/>
                </a:lnTo>
                <a:close/>
                <a:moveTo>
                  <a:pt x="5743412" y="6461440"/>
                </a:moveTo>
                <a:lnTo>
                  <a:pt x="5753323" y="6461440"/>
                </a:lnTo>
                <a:lnTo>
                  <a:pt x="5757342" y="6465478"/>
                </a:lnTo>
                <a:lnTo>
                  <a:pt x="5757342" y="6475349"/>
                </a:lnTo>
                <a:lnTo>
                  <a:pt x="5753323" y="6479388"/>
                </a:lnTo>
                <a:lnTo>
                  <a:pt x="5743412" y="6479388"/>
                </a:lnTo>
                <a:lnTo>
                  <a:pt x="5739393" y="6475349"/>
                </a:lnTo>
                <a:lnTo>
                  <a:pt x="5739393" y="6465478"/>
                </a:lnTo>
                <a:close/>
                <a:moveTo>
                  <a:pt x="5504099" y="6461440"/>
                </a:moveTo>
                <a:lnTo>
                  <a:pt x="5514010" y="6461440"/>
                </a:lnTo>
                <a:lnTo>
                  <a:pt x="5518029" y="6465478"/>
                </a:lnTo>
                <a:lnTo>
                  <a:pt x="5518029" y="6475349"/>
                </a:lnTo>
                <a:lnTo>
                  <a:pt x="5514010" y="6479388"/>
                </a:lnTo>
                <a:lnTo>
                  <a:pt x="5504099" y="6479388"/>
                </a:lnTo>
                <a:lnTo>
                  <a:pt x="5500080" y="6475349"/>
                </a:lnTo>
                <a:lnTo>
                  <a:pt x="5500080" y="6465478"/>
                </a:lnTo>
                <a:close/>
                <a:moveTo>
                  <a:pt x="5264784" y="6461440"/>
                </a:moveTo>
                <a:lnTo>
                  <a:pt x="5274694" y="6461440"/>
                </a:lnTo>
                <a:lnTo>
                  <a:pt x="5278713" y="6465478"/>
                </a:lnTo>
                <a:lnTo>
                  <a:pt x="5278713" y="6475349"/>
                </a:lnTo>
                <a:lnTo>
                  <a:pt x="5274694" y="6479388"/>
                </a:lnTo>
                <a:lnTo>
                  <a:pt x="5264784" y="6479388"/>
                </a:lnTo>
                <a:lnTo>
                  <a:pt x="5260765" y="6475349"/>
                </a:lnTo>
                <a:lnTo>
                  <a:pt x="5260765" y="6465478"/>
                </a:lnTo>
                <a:close/>
                <a:moveTo>
                  <a:pt x="5025470" y="6461440"/>
                </a:moveTo>
                <a:lnTo>
                  <a:pt x="5035381" y="6461440"/>
                </a:lnTo>
                <a:lnTo>
                  <a:pt x="5039400" y="6465478"/>
                </a:lnTo>
                <a:lnTo>
                  <a:pt x="5039400" y="6475349"/>
                </a:lnTo>
                <a:lnTo>
                  <a:pt x="5035381" y="6479388"/>
                </a:lnTo>
                <a:lnTo>
                  <a:pt x="5025470" y="6479388"/>
                </a:lnTo>
                <a:lnTo>
                  <a:pt x="5021451" y="6475349"/>
                </a:lnTo>
                <a:lnTo>
                  <a:pt x="5021451" y="6465478"/>
                </a:lnTo>
                <a:close/>
                <a:moveTo>
                  <a:pt x="4786241" y="6461440"/>
                </a:moveTo>
                <a:lnTo>
                  <a:pt x="4796152" y="6461440"/>
                </a:lnTo>
                <a:lnTo>
                  <a:pt x="4800171" y="6465478"/>
                </a:lnTo>
                <a:lnTo>
                  <a:pt x="4800171" y="6475349"/>
                </a:lnTo>
                <a:lnTo>
                  <a:pt x="4796152" y="6479388"/>
                </a:lnTo>
                <a:lnTo>
                  <a:pt x="4786241" y="6479388"/>
                </a:lnTo>
                <a:lnTo>
                  <a:pt x="4782224" y="6475349"/>
                </a:lnTo>
                <a:lnTo>
                  <a:pt x="4782224" y="6465478"/>
                </a:lnTo>
                <a:close/>
                <a:moveTo>
                  <a:pt x="4546929" y="6461440"/>
                </a:moveTo>
                <a:lnTo>
                  <a:pt x="4556840" y="6461440"/>
                </a:lnTo>
                <a:lnTo>
                  <a:pt x="4560859" y="6465478"/>
                </a:lnTo>
                <a:lnTo>
                  <a:pt x="4560859" y="6475349"/>
                </a:lnTo>
                <a:lnTo>
                  <a:pt x="4556840" y="6479388"/>
                </a:lnTo>
                <a:lnTo>
                  <a:pt x="4546929" y="6479388"/>
                </a:lnTo>
                <a:lnTo>
                  <a:pt x="4542910" y="6475349"/>
                </a:lnTo>
                <a:lnTo>
                  <a:pt x="4542910" y="6465478"/>
                </a:lnTo>
                <a:close/>
                <a:moveTo>
                  <a:pt x="4307612" y="6461440"/>
                </a:moveTo>
                <a:lnTo>
                  <a:pt x="4317523" y="6461440"/>
                </a:lnTo>
                <a:lnTo>
                  <a:pt x="4321543" y="6465478"/>
                </a:lnTo>
                <a:lnTo>
                  <a:pt x="4321543" y="6475349"/>
                </a:lnTo>
                <a:lnTo>
                  <a:pt x="4317523" y="6479388"/>
                </a:lnTo>
                <a:lnTo>
                  <a:pt x="4307612" y="6479388"/>
                </a:lnTo>
                <a:lnTo>
                  <a:pt x="4303595" y="6475349"/>
                </a:lnTo>
                <a:lnTo>
                  <a:pt x="4303595" y="6465478"/>
                </a:lnTo>
                <a:close/>
                <a:moveTo>
                  <a:pt x="4068297" y="6461440"/>
                </a:moveTo>
                <a:lnTo>
                  <a:pt x="4078210" y="6461440"/>
                </a:lnTo>
                <a:lnTo>
                  <a:pt x="4082229" y="6465478"/>
                </a:lnTo>
                <a:lnTo>
                  <a:pt x="4082229" y="6475349"/>
                </a:lnTo>
                <a:lnTo>
                  <a:pt x="4078210" y="6479388"/>
                </a:lnTo>
                <a:lnTo>
                  <a:pt x="4068297" y="6479388"/>
                </a:lnTo>
                <a:lnTo>
                  <a:pt x="4064278" y="6475349"/>
                </a:lnTo>
                <a:lnTo>
                  <a:pt x="4064278" y="6465478"/>
                </a:lnTo>
                <a:close/>
                <a:moveTo>
                  <a:pt x="3828990" y="6461440"/>
                </a:moveTo>
                <a:lnTo>
                  <a:pt x="3838899" y="6461440"/>
                </a:lnTo>
                <a:lnTo>
                  <a:pt x="3842917" y="6465478"/>
                </a:lnTo>
                <a:lnTo>
                  <a:pt x="3842917" y="6475349"/>
                </a:lnTo>
                <a:lnTo>
                  <a:pt x="3838899" y="6479388"/>
                </a:lnTo>
                <a:lnTo>
                  <a:pt x="3828990" y="6479388"/>
                </a:lnTo>
                <a:lnTo>
                  <a:pt x="3824971" y="6475349"/>
                </a:lnTo>
                <a:lnTo>
                  <a:pt x="3824971" y="6465478"/>
                </a:lnTo>
                <a:close/>
                <a:moveTo>
                  <a:pt x="3589676" y="6461440"/>
                </a:moveTo>
                <a:lnTo>
                  <a:pt x="3599585" y="6461440"/>
                </a:lnTo>
                <a:lnTo>
                  <a:pt x="3603604" y="6465478"/>
                </a:lnTo>
                <a:lnTo>
                  <a:pt x="3603604" y="6475349"/>
                </a:lnTo>
                <a:lnTo>
                  <a:pt x="3599585" y="6479388"/>
                </a:lnTo>
                <a:lnTo>
                  <a:pt x="3589676" y="6479388"/>
                </a:lnTo>
                <a:lnTo>
                  <a:pt x="3585657" y="6475349"/>
                </a:lnTo>
                <a:lnTo>
                  <a:pt x="3585657" y="6465478"/>
                </a:lnTo>
                <a:close/>
                <a:moveTo>
                  <a:pt x="3350359" y="6461440"/>
                </a:moveTo>
                <a:lnTo>
                  <a:pt x="3360268" y="6461440"/>
                </a:lnTo>
                <a:lnTo>
                  <a:pt x="3364287" y="6465478"/>
                </a:lnTo>
                <a:lnTo>
                  <a:pt x="3364287" y="6475349"/>
                </a:lnTo>
                <a:lnTo>
                  <a:pt x="3360268" y="6479388"/>
                </a:lnTo>
                <a:lnTo>
                  <a:pt x="3350359" y="6479388"/>
                </a:lnTo>
                <a:lnTo>
                  <a:pt x="3346340" y="6475349"/>
                </a:lnTo>
                <a:lnTo>
                  <a:pt x="3346340" y="6465478"/>
                </a:lnTo>
                <a:close/>
                <a:moveTo>
                  <a:pt x="3111048" y="6461440"/>
                </a:moveTo>
                <a:lnTo>
                  <a:pt x="3120959" y="6461440"/>
                </a:lnTo>
                <a:lnTo>
                  <a:pt x="3124977" y="6465478"/>
                </a:lnTo>
                <a:lnTo>
                  <a:pt x="3124977" y="6475349"/>
                </a:lnTo>
                <a:lnTo>
                  <a:pt x="3120959" y="6479388"/>
                </a:lnTo>
                <a:lnTo>
                  <a:pt x="3111048" y="6479388"/>
                </a:lnTo>
                <a:lnTo>
                  <a:pt x="3107029" y="6475349"/>
                </a:lnTo>
                <a:lnTo>
                  <a:pt x="3107029" y="6465478"/>
                </a:lnTo>
                <a:close/>
                <a:moveTo>
                  <a:pt x="2871737" y="6461440"/>
                </a:moveTo>
                <a:lnTo>
                  <a:pt x="2881646" y="6461440"/>
                </a:lnTo>
                <a:lnTo>
                  <a:pt x="2885666" y="6465478"/>
                </a:lnTo>
                <a:lnTo>
                  <a:pt x="2885666" y="6475349"/>
                </a:lnTo>
                <a:lnTo>
                  <a:pt x="2881646" y="6479388"/>
                </a:lnTo>
                <a:lnTo>
                  <a:pt x="2871737" y="6479388"/>
                </a:lnTo>
                <a:lnTo>
                  <a:pt x="2867717" y="6475349"/>
                </a:lnTo>
                <a:lnTo>
                  <a:pt x="2867717" y="6465478"/>
                </a:lnTo>
                <a:close/>
                <a:moveTo>
                  <a:pt x="2632423" y="6461440"/>
                </a:moveTo>
                <a:lnTo>
                  <a:pt x="2642334" y="6461440"/>
                </a:lnTo>
                <a:lnTo>
                  <a:pt x="2646352" y="6465478"/>
                </a:lnTo>
                <a:lnTo>
                  <a:pt x="2646352" y="6475349"/>
                </a:lnTo>
                <a:lnTo>
                  <a:pt x="2642334" y="6479388"/>
                </a:lnTo>
                <a:lnTo>
                  <a:pt x="2632423" y="6479388"/>
                </a:lnTo>
                <a:lnTo>
                  <a:pt x="2628404" y="6475349"/>
                </a:lnTo>
                <a:lnTo>
                  <a:pt x="2628404" y="6465478"/>
                </a:lnTo>
                <a:close/>
                <a:moveTo>
                  <a:pt x="2393104" y="6461440"/>
                </a:moveTo>
                <a:lnTo>
                  <a:pt x="2403015" y="6461440"/>
                </a:lnTo>
                <a:lnTo>
                  <a:pt x="2407034" y="6465478"/>
                </a:lnTo>
                <a:lnTo>
                  <a:pt x="2407034" y="6475349"/>
                </a:lnTo>
                <a:lnTo>
                  <a:pt x="2403015" y="6479388"/>
                </a:lnTo>
                <a:lnTo>
                  <a:pt x="2393104" y="6479388"/>
                </a:lnTo>
                <a:lnTo>
                  <a:pt x="2389087" y="6475349"/>
                </a:lnTo>
                <a:lnTo>
                  <a:pt x="2389087" y="6465478"/>
                </a:lnTo>
                <a:close/>
                <a:moveTo>
                  <a:pt x="721958" y="6461440"/>
                </a:moveTo>
                <a:lnTo>
                  <a:pt x="731868" y="6461440"/>
                </a:lnTo>
                <a:lnTo>
                  <a:pt x="735887" y="6465478"/>
                </a:lnTo>
                <a:lnTo>
                  <a:pt x="735887" y="6475349"/>
                </a:lnTo>
                <a:lnTo>
                  <a:pt x="731868" y="6479388"/>
                </a:lnTo>
                <a:lnTo>
                  <a:pt x="721958" y="6479388"/>
                </a:lnTo>
                <a:lnTo>
                  <a:pt x="717939" y="6475349"/>
                </a:lnTo>
                <a:lnTo>
                  <a:pt x="717939" y="6465478"/>
                </a:lnTo>
                <a:close/>
                <a:moveTo>
                  <a:pt x="482646" y="6461440"/>
                </a:moveTo>
                <a:lnTo>
                  <a:pt x="492556" y="6461440"/>
                </a:lnTo>
                <a:lnTo>
                  <a:pt x="496575" y="6465478"/>
                </a:lnTo>
                <a:lnTo>
                  <a:pt x="496575" y="6475349"/>
                </a:lnTo>
                <a:lnTo>
                  <a:pt x="492556" y="6479388"/>
                </a:lnTo>
                <a:lnTo>
                  <a:pt x="482646" y="6479388"/>
                </a:lnTo>
                <a:lnTo>
                  <a:pt x="478627" y="6475349"/>
                </a:lnTo>
                <a:lnTo>
                  <a:pt x="478627" y="6465478"/>
                </a:lnTo>
                <a:close/>
                <a:moveTo>
                  <a:pt x="243332" y="6461440"/>
                </a:moveTo>
                <a:lnTo>
                  <a:pt x="253242" y="6461440"/>
                </a:lnTo>
                <a:lnTo>
                  <a:pt x="257261" y="6465478"/>
                </a:lnTo>
                <a:lnTo>
                  <a:pt x="257261" y="6475349"/>
                </a:lnTo>
                <a:lnTo>
                  <a:pt x="253242" y="6479388"/>
                </a:lnTo>
                <a:lnTo>
                  <a:pt x="243332" y="6479388"/>
                </a:lnTo>
                <a:lnTo>
                  <a:pt x="239313" y="6475349"/>
                </a:lnTo>
                <a:lnTo>
                  <a:pt x="239313" y="6465478"/>
                </a:lnTo>
                <a:close/>
                <a:moveTo>
                  <a:pt x="4019" y="6461440"/>
                </a:moveTo>
                <a:lnTo>
                  <a:pt x="13929" y="6461440"/>
                </a:lnTo>
                <a:lnTo>
                  <a:pt x="17949" y="6465478"/>
                </a:lnTo>
                <a:lnTo>
                  <a:pt x="17949" y="6475349"/>
                </a:lnTo>
                <a:lnTo>
                  <a:pt x="13929" y="6479388"/>
                </a:lnTo>
                <a:lnTo>
                  <a:pt x="4019" y="6479388"/>
                </a:lnTo>
                <a:lnTo>
                  <a:pt x="0" y="6475349"/>
                </a:lnTo>
                <a:lnTo>
                  <a:pt x="0" y="6465478"/>
                </a:lnTo>
                <a:close/>
                <a:moveTo>
                  <a:pt x="9572438" y="6222160"/>
                </a:moveTo>
                <a:lnTo>
                  <a:pt x="9582349" y="6222160"/>
                </a:lnTo>
                <a:lnTo>
                  <a:pt x="9586368" y="6226198"/>
                </a:lnTo>
                <a:lnTo>
                  <a:pt x="9586368" y="6236069"/>
                </a:lnTo>
                <a:lnTo>
                  <a:pt x="9582349" y="6240109"/>
                </a:lnTo>
                <a:lnTo>
                  <a:pt x="9572438" y="6240109"/>
                </a:lnTo>
                <a:lnTo>
                  <a:pt x="9568419" y="6236069"/>
                </a:lnTo>
                <a:lnTo>
                  <a:pt x="9568419" y="6226198"/>
                </a:lnTo>
                <a:close/>
                <a:moveTo>
                  <a:pt x="9333125" y="6222160"/>
                </a:moveTo>
                <a:lnTo>
                  <a:pt x="9343036" y="6222160"/>
                </a:lnTo>
                <a:lnTo>
                  <a:pt x="9347055" y="6226198"/>
                </a:lnTo>
                <a:lnTo>
                  <a:pt x="9347055" y="6236069"/>
                </a:lnTo>
                <a:lnTo>
                  <a:pt x="9343036" y="6240109"/>
                </a:lnTo>
                <a:lnTo>
                  <a:pt x="9333125" y="6240109"/>
                </a:lnTo>
                <a:lnTo>
                  <a:pt x="9329106" y="6236069"/>
                </a:lnTo>
                <a:lnTo>
                  <a:pt x="9329106" y="6226198"/>
                </a:lnTo>
                <a:close/>
                <a:moveTo>
                  <a:pt x="9093811" y="6222160"/>
                </a:moveTo>
                <a:lnTo>
                  <a:pt x="9103722" y="6222160"/>
                </a:lnTo>
                <a:lnTo>
                  <a:pt x="9107741" y="6226198"/>
                </a:lnTo>
                <a:lnTo>
                  <a:pt x="9107741" y="6236069"/>
                </a:lnTo>
                <a:lnTo>
                  <a:pt x="9103722" y="6240109"/>
                </a:lnTo>
                <a:lnTo>
                  <a:pt x="9093811" y="6240109"/>
                </a:lnTo>
                <a:lnTo>
                  <a:pt x="9089792" y="6236069"/>
                </a:lnTo>
                <a:lnTo>
                  <a:pt x="9089792" y="6226198"/>
                </a:lnTo>
                <a:close/>
                <a:moveTo>
                  <a:pt x="8854496" y="6222160"/>
                </a:moveTo>
                <a:lnTo>
                  <a:pt x="8864407" y="6222160"/>
                </a:lnTo>
                <a:lnTo>
                  <a:pt x="8868426" y="6226198"/>
                </a:lnTo>
                <a:lnTo>
                  <a:pt x="8868426" y="6236069"/>
                </a:lnTo>
                <a:lnTo>
                  <a:pt x="8864407" y="6240109"/>
                </a:lnTo>
                <a:lnTo>
                  <a:pt x="8854496" y="6240109"/>
                </a:lnTo>
                <a:lnTo>
                  <a:pt x="8850477" y="6236069"/>
                </a:lnTo>
                <a:lnTo>
                  <a:pt x="8850477" y="6226198"/>
                </a:lnTo>
                <a:close/>
                <a:moveTo>
                  <a:pt x="8615184" y="6222160"/>
                </a:moveTo>
                <a:lnTo>
                  <a:pt x="8625095" y="6222160"/>
                </a:lnTo>
                <a:lnTo>
                  <a:pt x="8629114" y="6226198"/>
                </a:lnTo>
                <a:lnTo>
                  <a:pt x="8629114" y="6236069"/>
                </a:lnTo>
                <a:lnTo>
                  <a:pt x="8625095" y="6240109"/>
                </a:lnTo>
                <a:lnTo>
                  <a:pt x="8615184" y="6240109"/>
                </a:lnTo>
                <a:lnTo>
                  <a:pt x="8611165" y="6236069"/>
                </a:lnTo>
                <a:lnTo>
                  <a:pt x="8611165" y="6226198"/>
                </a:lnTo>
                <a:close/>
                <a:moveTo>
                  <a:pt x="8375869" y="6222160"/>
                </a:moveTo>
                <a:lnTo>
                  <a:pt x="8385779" y="6222160"/>
                </a:lnTo>
                <a:lnTo>
                  <a:pt x="8389799" y="6226198"/>
                </a:lnTo>
                <a:lnTo>
                  <a:pt x="8389799" y="6236069"/>
                </a:lnTo>
                <a:lnTo>
                  <a:pt x="8385779" y="6240109"/>
                </a:lnTo>
                <a:lnTo>
                  <a:pt x="8375869" y="6240109"/>
                </a:lnTo>
                <a:lnTo>
                  <a:pt x="8371850" y="6236069"/>
                </a:lnTo>
                <a:lnTo>
                  <a:pt x="8371850" y="6226198"/>
                </a:lnTo>
                <a:close/>
                <a:moveTo>
                  <a:pt x="8136553" y="6222160"/>
                </a:moveTo>
                <a:lnTo>
                  <a:pt x="8146464" y="6222160"/>
                </a:lnTo>
                <a:lnTo>
                  <a:pt x="8150483" y="6226198"/>
                </a:lnTo>
                <a:lnTo>
                  <a:pt x="8150483" y="6236069"/>
                </a:lnTo>
                <a:lnTo>
                  <a:pt x="8146464" y="6240109"/>
                </a:lnTo>
                <a:lnTo>
                  <a:pt x="8136553" y="6240109"/>
                </a:lnTo>
                <a:lnTo>
                  <a:pt x="8132534" y="6236069"/>
                </a:lnTo>
                <a:lnTo>
                  <a:pt x="8132534" y="6226198"/>
                </a:lnTo>
                <a:close/>
                <a:moveTo>
                  <a:pt x="7897241" y="6222160"/>
                </a:moveTo>
                <a:lnTo>
                  <a:pt x="7907151" y="6222160"/>
                </a:lnTo>
                <a:lnTo>
                  <a:pt x="7911170" y="6226198"/>
                </a:lnTo>
                <a:lnTo>
                  <a:pt x="7911170" y="6236069"/>
                </a:lnTo>
                <a:lnTo>
                  <a:pt x="7907151" y="6240109"/>
                </a:lnTo>
                <a:lnTo>
                  <a:pt x="7897241" y="6240109"/>
                </a:lnTo>
                <a:lnTo>
                  <a:pt x="7893222" y="6236069"/>
                </a:lnTo>
                <a:lnTo>
                  <a:pt x="7893222" y="6226198"/>
                </a:lnTo>
                <a:close/>
                <a:moveTo>
                  <a:pt x="7657926" y="6222160"/>
                </a:moveTo>
                <a:lnTo>
                  <a:pt x="7667836" y="6222160"/>
                </a:lnTo>
                <a:lnTo>
                  <a:pt x="7671855" y="6226198"/>
                </a:lnTo>
                <a:lnTo>
                  <a:pt x="7671855" y="6236069"/>
                </a:lnTo>
                <a:lnTo>
                  <a:pt x="7667836" y="6240109"/>
                </a:lnTo>
                <a:lnTo>
                  <a:pt x="7657926" y="6240109"/>
                </a:lnTo>
                <a:lnTo>
                  <a:pt x="7653906" y="6236069"/>
                </a:lnTo>
                <a:lnTo>
                  <a:pt x="7653906" y="6226198"/>
                </a:lnTo>
                <a:close/>
                <a:moveTo>
                  <a:pt x="7418611" y="6222160"/>
                </a:moveTo>
                <a:lnTo>
                  <a:pt x="7428521" y="6222160"/>
                </a:lnTo>
                <a:lnTo>
                  <a:pt x="7432540" y="6226198"/>
                </a:lnTo>
                <a:lnTo>
                  <a:pt x="7432540" y="6236069"/>
                </a:lnTo>
                <a:lnTo>
                  <a:pt x="7428521" y="6240109"/>
                </a:lnTo>
                <a:lnTo>
                  <a:pt x="7418611" y="6240109"/>
                </a:lnTo>
                <a:lnTo>
                  <a:pt x="7414592" y="6236069"/>
                </a:lnTo>
                <a:lnTo>
                  <a:pt x="7414592" y="6226198"/>
                </a:lnTo>
                <a:close/>
                <a:moveTo>
                  <a:pt x="7179298" y="6222160"/>
                </a:moveTo>
                <a:lnTo>
                  <a:pt x="7189209" y="6222160"/>
                </a:lnTo>
                <a:lnTo>
                  <a:pt x="7193228" y="6226198"/>
                </a:lnTo>
                <a:lnTo>
                  <a:pt x="7193228" y="6236069"/>
                </a:lnTo>
                <a:lnTo>
                  <a:pt x="7189209" y="6240109"/>
                </a:lnTo>
                <a:lnTo>
                  <a:pt x="7179298" y="6240109"/>
                </a:lnTo>
                <a:lnTo>
                  <a:pt x="7175279" y="6236069"/>
                </a:lnTo>
                <a:lnTo>
                  <a:pt x="7175279" y="6226198"/>
                </a:lnTo>
                <a:close/>
                <a:moveTo>
                  <a:pt x="6939983" y="6222160"/>
                </a:moveTo>
                <a:lnTo>
                  <a:pt x="6949894" y="6222160"/>
                </a:lnTo>
                <a:lnTo>
                  <a:pt x="6953913" y="6226198"/>
                </a:lnTo>
                <a:lnTo>
                  <a:pt x="6953913" y="6236069"/>
                </a:lnTo>
                <a:lnTo>
                  <a:pt x="6949894" y="6240109"/>
                </a:lnTo>
                <a:lnTo>
                  <a:pt x="6939983" y="6240109"/>
                </a:lnTo>
                <a:lnTo>
                  <a:pt x="6935964" y="6236069"/>
                </a:lnTo>
                <a:lnTo>
                  <a:pt x="6935964" y="6226198"/>
                </a:lnTo>
                <a:close/>
                <a:moveTo>
                  <a:pt x="6700670" y="6222160"/>
                </a:moveTo>
                <a:lnTo>
                  <a:pt x="6710581" y="6222160"/>
                </a:lnTo>
                <a:lnTo>
                  <a:pt x="6714600" y="6226198"/>
                </a:lnTo>
                <a:lnTo>
                  <a:pt x="6714600" y="6236069"/>
                </a:lnTo>
                <a:lnTo>
                  <a:pt x="6710581" y="6240109"/>
                </a:lnTo>
                <a:lnTo>
                  <a:pt x="6700670" y="6240109"/>
                </a:lnTo>
                <a:lnTo>
                  <a:pt x="6696651" y="6236069"/>
                </a:lnTo>
                <a:lnTo>
                  <a:pt x="6696651" y="6226198"/>
                </a:lnTo>
                <a:close/>
                <a:moveTo>
                  <a:pt x="6461356" y="6222160"/>
                </a:moveTo>
                <a:lnTo>
                  <a:pt x="6471266" y="6222160"/>
                </a:lnTo>
                <a:lnTo>
                  <a:pt x="6475285" y="6226198"/>
                </a:lnTo>
                <a:lnTo>
                  <a:pt x="6475285" y="6236069"/>
                </a:lnTo>
                <a:lnTo>
                  <a:pt x="6471266" y="6240109"/>
                </a:lnTo>
                <a:lnTo>
                  <a:pt x="6461356" y="6240109"/>
                </a:lnTo>
                <a:lnTo>
                  <a:pt x="6457337" y="6236069"/>
                </a:lnTo>
                <a:lnTo>
                  <a:pt x="6457337" y="6226198"/>
                </a:lnTo>
                <a:close/>
                <a:moveTo>
                  <a:pt x="6222042" y="6222160"/>
                </a:moveTo>
                <a:lnTo>
                  <a:pt x="6231952" y="6222160"/>
                </a:lnTo>
                <a:lnTo>
                  <a:pt x="6235971" y="6226198"/>
                </a:lnTo>
                <a:lnTo>
                  <a:pt x="6235971" y="6236069"/>
                </a:lnTo>
                <a:lnTo>
                  <a:pt x="6231952" y="6240109"/>
                </a:lnTo>
                <a:lnTo>
                  <a:pt x="6222042" y="6240109"/>
                </a:lnTo>
                <a:lnTo>
                  <a:pt x="6218023" y="6236069"/>
                </a:lnTo>
                <a:lnTo>
                  <a:pt x="6218023" y="6226198"/>
                </a:lnTo>
                <a:close/>
                <a:moveTo>
                  <a:pt x="5982729" y="6222160"/>
                </a:moveTo>
                <a:lnTo>
                  <a:pt x="5992639" y="6222160"/>
                </a:lnTo>
                <a:lnTo>
                  <a:pt x="5996658" y="6226198"/>
                </a:lnTo>
                <a:lnTo>
                  <a:pt x="5996658" y="6236069"/>
                </a:lnTo>
                <a:lnTo>
                  <a:pt x="5992639" y="6240109"/>
                </a:lnTo>
                <a:lnTo>
                  <a:pt x="5982729" y="6240109"/>
                </a:lnTo>
                <a:lnTo>
                  <a:pt x="5978710" y="6236069"/>
                </a:lnTo>
                <a:lnTo>
                  <a:pt x="5978710" y="6226198"/>
                </a:lnTo>
                <a:close/>
                <a:moveTo>
                  <a:pt x="5743412" y="6222160"/>
                </a:moveTo>
                <a:lnTo>
                  <a:pt x="5753323" y="6222160"/>
                </a:lnTo>
                <a:lnTo>
                  <a:pt x="5757342" y="6226198"/>
                </a:lnTo>
                <a:lnTo>
                  <a:pt x="5757342" y="6236069"/>
                </a:lnTo>
                <a:lnTo>
                  <a:pt x="5753323" y="6240109"/>
                </a:lnTo>
                <a:lnTo>
                  <a:pt x="5743412" y="6240109"/>
                </a:lnTo>
                <a:lnTo>
                  <a:pt x="5739393" y="6236069"/>
                </a:lnTo>
                <a:lnTo>
                  <a:pt x="5739393" y="6226198"/>
                </a:lnTo>
                <a:close/>
                <a:moveTo>
                  <a:pt x="5504099" y="6222160"/>
                </a:moveTo>
                <a:lnTo>
                  <a:pt x="5514010" y="6222160"/>
                </a:lnTo>
                <a:lnTo>
                  <a:pt x="5518029" y="6226198"/>
                </a:lnTo>
                <a:lnTo>
                  <a:pt x="5518029" y="6236069"/>
                </a:lnTo>
                <a:lnTo>
                  <a:pt x="5514010" y="6240109"/>
                </a:lnTo>
                <a:lnTo>
                  <a:pt x="5504099" y="6240109"/>
                </a:lnTo>
                <a:lnTo>
                  <a:pt x="5500080" y="6236069"/>
                </a:lnTo>
                <a:lnTo>
                  <a:pt x="5500080" y="6226198"/>
                </a:lnTo>
                <a:close/>
                <a:moveTo>
                  <a:pt x="5264784" y="6222160"/>
                </a:moveTo>
                <a:lnTo>
                  <a:pt x="5274694" y="6222160"/>
                </a:lnTo>
                <a:lnTo>
                  <a:pt x="5278713" y="6226198"/>
                </a:lnTo>
                <a:lnTo>
                  <a:pt x="5278713" y="6236069"/>
                </a:lnTo>
                <a:lnTo>
                  <a:pt x="5274694" y="6240109"/>
                </a:lnTo>
                <a:lnTo>
                  <a:pt x="5264784" y="6240109"/>
                </a:lnTo>
                <a:lnTo>
                  <a:pt x="5260765" y="6236069"/>
                </a:lnTo>
                <a:lnTo>
                  <a:pt x="5260765" y="6226198"/>
                </a:lnTo>
                <a:close/>
                <a:moveTo>
                  <a:pt x="5025470" y="6222160"/>
                </a:moveTo>
                <a:lnTo>
                  <a:pt x="5035381" y="6222160"/>
                </a:lnTo>
                <a:lnTo>
                  <a:pt x="5039400" y="6226198"/>
                </a:lnTo>
                <a:lnTo>
                  <a:pt x="5039400" y="6236069"/>
                </a:lnTo>
                <a:lnTo>
                  <a:pt x="5035381" y="6240109"/>
                </a:lnTo>
                <a:lnTo>
                  <a:pt x="5025470" y="6240109"/>
                </a:lnTo>
                <a:lnTo>
                  <a:pt x="5021451" y="6236069"/>
                </a:lnTo>
                <a:lnTo>
                  <a:pt x="5021451" y="6226198"/>
                </a:lnTo>
                <a:close/>
                <a:moveTo>
                  <a:pt x="4786241" y="6222160"/>
                </a:moveTo>
                <a:lnTo>
                  <a:pt x="4796152" y="6222160"/>
                </a:lnTo>
                <a:lnTo>
                  <a:pt x="4800171" y="6226198"/>
                </a:lnTo>
                <a:lnTo>
                  <a:pt x="4800171" y="6236069"/>
                </a:lnTo>
                <a:lnTo>
                  <a:pt x="4796152" y="6240109"/>
                </a:lnTo>
                <a:lnTo>
                  <a:pt x="4786241" y="6240109"/>
                </a:lnTo>
                <a:lnTo>
                  <a:pt x="4782224" y="6236069"/>
                </a:lnTo>
                <a:lnTo>
                  <a:pt x="4782224" y="6226198"/>
                </a:lnTo>
                <a:close/>
                <a:moveTo>
                  <a:pt x="4546929" y="6222160"/>
                </a:moveTo>
                <a:lnTo>
                  <a:pt x="4556840" y="6222160"/>
                </a:lnTo>
                <a:lnTo>
                  <a:pt x="4560859" y="6226198"/>
                </a:lnTo>
                <a:lnTo>
                  <a:pt x="4560859" y="6236069"/>
                </a:lnTo>
                <a:lnTo>
                  <a:pt x="4556840" y="6240109"/>
                </a:lnTo>
                <a:lnTo>
                  <a:pt x="4546929" y="6240109"/>
                </a:lnTo>
                <a:lnTo>
                  <a:pt x="4542910" y="6236069"/>
                </a:lnTo>
                <a:lnTo>
                  <a:pt x="4542910" y="6226198"/>
                </a:lnTo>
                <a:close/>
                <a:moveTo>
                  <a:pt x="4307612" y="6222160"/>
                </a:moveTo>
                <a:lnTo>
                  <a:pt x="4317523" y="6222160"/>
                </a:lnTo>
                <a:lnTo>
                  <a:pt x="4321543" y="6226198"/>
                </a:lnTo>
                <a:lnTo>
                  <a:pt x="4321543" y="6236069"/>
                </a:lnTo>
                <a:lnTo>
                  <a:pt x="4317523" y="6240109"/>
                </a:lnTo>
                <a:lnTo>
                  <a:pt x="4307612" y="6240109"/>
                </a:lnTo>
                <a:lnTo>
                  <a:pt x="4303595" y="6236069"/>
                </a:lnTo>
                <a:lnTo>
                  <a:pt x="4303595" y="6226198"/>
                </a:lnTo>
                <a:close/>
                <a:moveTo>
                  <a:pt x="4068297" y="6222160"/>
                </a:moveTo>
                <a:lnTo>
                  <a:pt x="4078210" y="6222160"/>
                </a:lnTo>
                <a:lnTo>
                  <a:pt x="4082229" y="6226198"/>
                </a:lnTo>
                <a:lnTo>
                  <a:pt x="4082229" y="6236069"/>
                </a:lnTo>
                <a:lnTo>
                  <a:pt x="4078210" y="6240109"/>
                </a:lnTo>
                <a:lnTo>
                  <a:pt x="4068297" y="6240109"/>
                </a:lnTo>
                <a:lnTo>
                  <a:pt x="4064278" y="6236069"/>
                </a:lnTo>
                <a:lnTo>
                  <a:pt x="4064278" y="6226198"/>
                </a:lnTo>
                <a:close/>
                <a:moveTo>
                  <a:pt x="3828990" y="6222160"/>
                </a:moveTo>
                <a:lnTo>
                  <a:pt x="3838899" y="6222160"/>
                </a:lnTo>
                <a:lnTo>
                  <a:pt x="3842917" y="6226198"/>
                </a:lnTo>
                <a:lnTo>
                  <a:pt x="3842917" y="6236069"/>
                </a:lnTo>
                <a:lnTo>
                  <a:pt x="3838899" y="6240109"/>
                </a:lnTo>
                <a:lnTo>
                  <a:pt x="3828990" y="6240109"/>
                </a:lnTo>
                <a:lnTo>
                  <a:pt x="3824971" y="6236069"/>
                </a:lnTo>
                <a:lnTo>
                  <a:pt x="3824971" y="6226198"/>
                </a:lnTo>
                <a:close/>
                <a:moveTo>
                  <a:pt x="3589676" y="6222160"/>
                </a:moveTo>
                <a:lnTo>
                  <a:pt x="3599585" y="6222160"/>
                </a:lnTo>
                <a:lnTo>
                  <a:pt x="3603604" y="6226198"/>
                </a:lnTo>
                <a:lnTo>
                  <a:pt x="3603604" y="6236069"/>
                </a:lnTo>
                <a:lnTo>
                  <a:pt x="3599585" y="6240109"/>
                </a:lnTo>
                <a:lnTo>
                  <a:pt x="3589676" y="6240109"/>
                </a:lnTo>
                <a:lnTo>
                  <a:pt x="3585657" y="6236069"/>
                </a:lnTo>
                <a:lnTo>
                  <a:pt x="3585657" y="6226198"/>
                </a:lnTo>
                <a:close/>
                <a:moveTo>
                  <a:pt x="3350359" y="6222160"/>
                </a:moveTo>
                <a:lnTo>
                  <a:pt x="3360268" y="6222160"/>
                </a:lnTo>
                <a:lnTo>
                  <a:pt x="3364287" y="6226198"/>
                </a:lnTo>
                <a:lnTo>
                  <a:pt x="3364287" y="6236069"/>
                </a:lnTo>
                <a:lnTo>
                  <a:pt x="3360268" y="6240109"/>
                </a:lnTo>
                <a:lnTo>
                  <a:pt x="3350359" y="6240109"/>
                </a:lnTo>
                <a:lnTo>
                  <a:pt x="3346340" y="6236069"/>
                </a:lnTo>
                <a:lnTo>
                  <a:pt x="3346340" y="6226198"/>
                </a:lnTo>
                <a:close/>
                <a:moveTo>
                  <a:pt x="3111048" y="6222160"/>
                </a:moveTo>
                <a:lnTo>
                  <a:pt x="3120959" y="6222160"/>
                </a:lnTo>
                <a:lnTo>
                  <a:pt x="3124977" y="6226198"/>
                </a:lnTo>
                <a:lnTo>
                  <a:pt x="3124977" y="6236069"/>
                </a:lnTo>
                <a:lnTo>
                  <a:pt x="3120959" y="6240109"/>
                </a:lnTo>
                <a:lnTo>
                  <a:pt x="3111048" y="6240109"/>
                </a:lnTo>
                <a:lnTo>
                  <a:pt x="3107029" y="6236069"/>
                </a:lnTo>
                <a:lnTo>
                  <a:pt x="3107029" y="6226198"/>
                </a:lnTo>
                <a:close/>
                <a:moveTo>
                  <a:pt x="2871737" y="6222160"/>
                </a:moveTo>
                <a:lnTo>
                  <a:pt x="2881646" y="6222160"/>
                </a:lnTo>
                <a:lnTo>
                  <a:pt x="2885666" y="6226198"/>
                </a:lnTo>
                <a:lnTo>
                  <a:pt x="2885666" y="6236069"/>
                </a:lnTo>
                <a:lnTo>
                  <a:pt x="2881646" y="6240109"/>
                </a:lnTo>
                <a:lnTo>
                  <a:pt x="2871737" y="6240109"/>
                </a:lnTo>
                <a:lnTo>
                  <a:pt x="2867717" y="6236069"/>
                </a:lnTo>
                <a:lnTo>
                  <a:pt x="2867717" y="6226198"/>
                </a:lnTo>
                <a:close/>
                <a:moveTo>
                  <a:pt x="2632423" y="6222160"/>
                </a:moveTo>
                <a:lnTo>
                  <a:pt x="2642334" y="6222160"/>
                </a:lnTo>
                <a:lnTo>
                  <a:pt x="2646352" y="6226198"/>
                </a:lnTo>
                <a:lnTo>
                  <a:pt x="2646352" y="6236069"/>
                </a:lnTo>
                <a:lnTo>
                  <a:pt x="2642334" y="6240109"/>
                </a:lnTo>
                <a:lnTo>
                  <a:pt x="2632423" y="6240109"/>
                </a:lnTo>
                <a:lnTo>
                  <a:pt x="2628404" y="6236069"/>
                </a:lnTo>
                <a:lnTo>
                  <a:pt x="2628404" y="6226198"/>
                </a:lnTo>
                <a:close/>
                <a:moveTo>
                  <a:pt x="2393104" y="6222160"/>
                </a:moveTo>
                <a:lnTo>
                  <a:pt x="2403015" y="6222160"/>
                </a:lnTo>
                <a:lnTo>
                  <a:pt x="2407034" y="6226198"/>
                </a:lnTo>
                <a:lnTo>
                  <a:pt x="2407034" y="6236069"/>
                </a:lnTo>
                <a:lnTo>
                  <a:pt x="2403015" y="6240109"/>
                </a:lnTo>
                <a:lnTo>
                  <a:pt x="2393104" y="6240109"/>
                </a:lnTo>
                <a:lnTo>
                  <a:pt x="2389087" y="6236069"/>
                </a:lnTo>
                <a:lnTo>
                  <a:pt x="2389087" y="6226198"/>
                </a:lnTo>
                <a:close/>
                <a:moveTo>
                  <a:pt x="2157818" y="6222160"/>
                </a:moveTo>
                <a:lnTo>
                  <a:pt x="2167728" y="6222160"/>
                </a:lnTo>
                <a:lnTo>
                  <a:pt x="2171746" y="6226198"/>
                </a:lnTo>
                <a:lnTo>
                  <a:pt x="2171746" y="6236069"/>
                </a:lnTo>
                <a:lnTo>
                  <a:pt x="2167728" y="6240109"/>
                </a:lnTo>
                <a:lnTo>
                  <a:pt x="2157818" y="6240109"/>
                </a:lnTo>
                <a:lnTo>
                  <a:pt x="2153799" y="6236069"/>
                </a:lnTo>
                <a:lnTo>
                  <a:pt x="2153799" y="6226198"/>
                </a:lnTo>
                <a:close/>
                <a:moveTo>
                  <a:pt x="1918509" y="6222160"/>
                </a:moveTo>
                <a:lnTo>
                  <a:pt x="1928419" y="6222160"/>
                </a:lnTo>
                <a:lnTo>
                  <a:pt x="1932438" y="6226198"/>
                </a:lnTo>
                <a:lnTo>
                  <a:pt x="1932438" y="6236069"/>
                </a:lnTo>
                <a:lnTo>
                  <a:pt x="1928419" y="6240109"/>
                </a:lnTo>
                <a:lnTo>
                  <a:pt x="1918509" y="6240109"/>
                </a:lnTo>
                <a:lnTo>
                  <a:pt x="1914490" y="6236069"/>
                </a:lnTo>
                <a:lnTo>
                  <a:pt x="1914490" y="6226198"/>
                </a:lnTo>
                <a:close/>
                <a:moveTo>
                  <a:pt x="1679200" y="6222160"/>
                </a:moveTo>
                <a:lnTo>
                  <a:pt x="1689110" y="6222160"/>
                </a:lnTo>
                <a:lnTo>
                  <a:pt x="1693129" y="6226198"/>
                </a:lnTo>
                <a:lnTo>
                  <a:pt x="1693129" y="6236069"/>
                </a:lnTo>
                <a:lnTo>
                  <a:pt x="1689110" y="6240109"/>
                </a:lnTo>
                <a:lnTo>
                  <a:pt x="1679200" y="6240109"/>
                </a:lnTo>
                <a:lnTo>
                  <a:pt x="1675182" y="6236069"/>
                </a:lnTo>
                <a:lnTo>
                  <a:pt x="1675182" y="6226198"/>
                </a:lnTo>
                <a:close/>
                <a:moveTo>
                  <a:pt x="1439885" y="6222160"/>
                </a:moveTo>
                <a:lnTo>
                  <a:pt x="1449795" y="6222160"/>
                </a:lnTo>
                <a:lnTo>
                  <a:pt x="1453814" y="6226198"/>
                </a:lnTo>
                <a:lnTo>
                  <a:pt x="1453814" y="6236069"/>
                </a:lnTo>
                <a:lnTo>
                  <a:pt x="1449795" y="6240109"/>
                </a:lnTo>
                <a:lnTo>
                  <a:pt x="1439885" y="6240109"/>
                </a:lnTo>
                <a:lnTo>
                  <a:pt x="1435866" y="6236069"/>
                </a:lnTo>
                <a:lnTo>
                  <a:pt x="1435866" y="6226198"/>
                </a:lnTo>
                <a:close/>
                <a:moveTo>
                  <a:pt x="1200570" y="6222160"/>
                </a:moveTo>
                <a:lnTo>
                  <a:pt x="1210481" y="6222160"/>
                </a:lnTo>
                <a:lnTo>
                  <a:pt x="1214499" y="6226198"/>
                </a:lnTo>
                <a:lnTo>
                  <a:pt x="1214499" y="6236069"/>
                </a:lnTo>
                <a:lnTo>
                  <a:pt x="1210481" y="6240109"/>
                </a:lnTo>
                <a:lnTo>
                  <a:pt x="1200570" y="6240109"/>
                </a:lnTo>
                <a:lnTo>
                  <a:pt x="1196551" y="6236069"/>
                </a:lnTo>
                <a:lnTo>
                  <a:pt x="1196551" y="6226198"/>
                </a:lnTo>
                <a:close/>
                <a:moveTo>
                  <a:pt x="961258" y="6222160"/>
                </a:moveTo>
                <a:lnTo>
                  <a:pt x="971167" y="6222160"/>
                </a:lnTo>
                <a:lnTo>
                  <a:pt x="975186" y="6226198"/>
                </a:lnTo>
                <a:lnTo>
                  <a:pt x="975186" y="6236069"/>
                </a:lnTo>
                <a:lnTo>
                  <a:pt x="971167" y="6240109"/>
                </a:lnTo>
                <a:lnTo>
                  <a:pt x="961258" y="6240109"/>
                </a:lnTo>
                <a:lnTo>
                  <a:pt x="957239" y="6236069"/>
                </a:lnTo>
                <a:lnTo>
                  <a:pt x="957239" y="6226198"/>
                </a:lnTo>
                <a:close/>
                <a:moveTo>
                  <a:pt x="721959" y="6222160"/>
                </a:moveTo>
                <a:lnTo>
                  <a:pt x="731869" y="6222160"/>
                </a:lnTo>
                <a:lnTo>
                  <a:pt x="735888" y="6226198"/>
                </a:lnTo>
                <a:lnTo>
                  <a:pt x="735888" y="6236069"/>
                </a:lnTo>
                <a:lnTo>
                  <a:pt x="731869" y="6240109"/>
                </a:lnTo>
                <a:lnTo>
                  <a:pt x="721959" y="6240109"/>
                </a:lnTo>
                <a:lnTo>
                  <a:pt x="717940" y="6236069"/>
                </a:lnTo>
                <a:lnTo>
                  <a:pt x="717940" y="6226198"/>
                </a:lnTo>
                <a:close/>
                <a:moveTo>
                  <a:pt x="482646" y="6222160"/>
                </a:moveTo>
                <a:lnTo>
                  <a:pt x="492557" y="6222160"/>
                </a:lnTo>
                <a:lnTo>
                  <a:pt x="496576" y="6226198"/>
                </a:lnTo>
                <a:lnTo>
                  <a:pt x="496576" y="6236069"/>
                </a:lnTo>
                <a:lnTo>
                  <a:pt x="492557" y="6240109"/>
                </a:lnTo>
                <a:lnTo>
                  <a:pt x="482646" y="6240109"/>
                </a:lnTo>
                <a:lnTo>
                  <a:pt x="478627" y="6236069"/>
                </a:lnTo>
                <a:lnTo>
                  <a:pt x="478627" y="6226198"/>
                </a:lnTo>
                <a:close/>
                <a:moveTo>
                  <a:pt x="243333" y="6222160"/>
                </a:moveTo>
                <a:lnTo>
                  <a:pt x="253243" y="6222160"/>
                </a:lnTo>
                <a:lnTo>
                  <a:pt x="257263" y="6226198"/>
                </a:lnTo>
                <a:lnTo>
                  <a:pt x="257263" y="6236069"/>
                </a:lnTo>
                <a:lnTo>
                  <a:pt x="253243" y="6240109"/>
                </a:lnTo>
                <a:lnTo>
                  <a:pt x="243333" y="6240109"/>
                </a:lnTo>
                <a:lnTo>
                  <a:pt x="239314" y="6236069"/>
                </a:lnTo>
                <a:lnTo>
                  <a:pt x="239314" y="6226198"/>
                </a:lnTo>
                <a:close/>
                <a:moveTo>
                  <a:pt x="4020" y="6222160"/>
                </a:moveTo>
                <a:lnTo>
                  <a:pt x="13930" y="6222160"/>
                </a:lnTo>
                <a:lnTo>
                  <a:pt x="17949" y="6226198"/>
                </a:lnTo>
                <a:lnTo>
                  <a:pt x="17949" y="6236069"/>
                </a:lnTo>
                <a:lnTo>
                  <a:pt x="13930" y="6240109"/>
                </a:lnTo>
                <a:lnTo>
                  <a:pt x="4020" y="6240109"/>
                </a:lnTo>
                <a:lnTo>
                  <a:pt x="1" y="6236069"/>
                </a:lnTo>
                <a:lnTo>
                  <a:pt x="1" y="6226198"/>
                </a:lnTo>
                <a:close/>
                <a:moveTo>
                  <a:pt x="2157818" y="5982881"/>
                </a:moveTo>
                <a:lnTo>
                  <a:pt x="2167728" y="5982881"/>
                </a:lnTo>
                <a:lnTo>
                  <a:pt x="2171747" y="5986919"/>
                </a:lnTo>
                <a:lnTo>
                  <a:pt x="2171747" y="5996790"/>
                </a:lnTo>
                <a:lnTo>
                  <a:pt x="2167728" y="6000829"/>
                </a:lnTo>
                <a:lnTo>
                  <a:pt x="2157818" y="6000829"/>
                </a:lnTo>
                <a:lnTo>
                  <a:pt x="2153799" y="5996790"/>
                </a:lnTo>
                <a:lnTo>
                  <a:pt x="2153799" y="5986919"/>
                </a:lnTo>
                <a:close/>
                <a:moveTo>
                  <a:pt x="1918509" y="5982881"/>
                </a:moveTo>
                <a:lnTo>
                  <a:pt x="1928420" y="5982881"/>
                </a:lnTo>
                <a:lnTo>
                  <a:pt x="1932438" y="5986919"/>
                </a:lnTo>
                <a:lnTo>
                  <a:pt x="1932438" y="5996790"/>
                </a:lnTo>
                <a:lnTo>
                  <a:pt x="1928420" y="6000829"/>
                </a:lnTo>
                <a:lnTo>
                  <a:pt x="1918509" y="6000829"/>
                </a:lnTo>
                <a:lnTo>
                  <a:pt x="1914490" y="5996790"/>
                </a:lnTo>
                <a:lnTo>
                  <a:pt x="1914490" y="5986919"/>
                </a:lnTo>
                <a:close/>
                <a:moveTo>
                  <a:pt x="1679201" y="5982881"/>
                </a:moveTo>
                <a:lnTo>
                  <a:pt x="1689111" y="5982881"/>
                </a:lnTo>
                <a:lnTo>
                  <a:pt x="1693129" y="5986919"/>
                </a:lnTo>
                <a:lnTo>
                  <a:pt x="1693129" y="5996790"/>
                </a:lnTo>
                <a:lnTo>
                  <a:pt x="1689111" y="6000829"/>
                </a:lnTo>
                <a:lnTo>
                  <a:pt x="1679201" y="6000829"/>
                </a:lnTo>
                <a:lnTo>
                  <a:pt x="1675182" y="5996790"/>
                </a:lnTo>
                <a:lnTo>
                  <a:pt x="1675182" y="5986919"/>
                </a:lnTo>
                <a:close/>
                <a:moveTo>
                  <a:pt x="1439886" y="5982881"/>
                </a:moveTo>
                <a:lnTo>
                  <a:pt x="1449796" y="5982881"/>
                </a:lnTo>
                <a:lnTo>
                  <a:pt x="1453814" y="5986919"/>
                </a:lnTo>
                <a:lnTo>
                  <a:pt x="1453814" y="5996790"/>
                </a:lnTo>
                <a:lnTo>
                  <a:pt x="1449796" y="6000829"/>
                </a:lnTo>
                <a:lnTo>
                  <a:pt x="1439886" y="6000829"/>
                </a:lnTo>
                <a:lnTo>
                  <a:pt x="1435866" y="5996790"/>
                </a:lnTo>
                <a:lnTo>
                  <a:pt x="1435866" y="5986919"/>
                </a:lnTo>
                <a:close/>
                <a:moveTo>
                  <a:pt x="1200571" y="5982881"/>
                </a:moveTo>
                <a:lnTo>
                  <a:pt x="1210481" y="5982881"/>
                </a:lnTo>
                <a:lnTo>
                  <a:pt x="1214500" y="5986919"/>
                </a:lnTo>
                <a:lnTo>
                  <a:pt x="1214500" y="5996790"/>
                </a:lnTo>
                <a:lnTo>
                  <a:pt x="1210481" y="6000829"/>
                </a:lnTo>
                <a:lnTo>
                  <a:pt x="1200571" y="6000829"/>
                </a:lnTo>
                <a:lnTo>
                  <a:pt x="1196553" y="5996790"/>
                </a:lnTo>
                <a:lnTo>
                  <a:pt x="1196553" y="5986919"/>
                </a:lnTo>
                <a:close/>
                <a:moveTo>
                  <a:pt x="961258" y="5982881"/>
                </a:moveTo>
                <a:lnTo>
                  <a:pt x="971168" y="5982881"/>
                </a:lnTo>
                <a:lnTo>
                  <a:pt x="975187" y="5986919"/>
                </a:lnTo>
                <a:lnTo>
                  <a:pt x="975187" y="5996790"/>
                </a:lnTo>
                <a:lnTo>
                  <a:pt x="971168" y="6000829"/>
                </a:lnTo>
                <a:lnTo>
                  <a:pt x="961258" y="6000829"/>
                </a:lnTo>
                <a:lnTo>
                  <a:pt x="957239" y="5996790"/>
                </a:lnTo>
                <a:lnTo>
                  <a:pt x="957239" y="5986919"/>
                </a:lnTo>
                <a:close/>
                <a:moveTo>
                  <a:pt x="9572438" y="5982829"/>
                </a:moveTo>
                <a:lnTo>
                  <a:pt x="9582349" y="5982829"/>
                </a:lnTo>
                <a:lnTo>
                  <a:pt x="9586368" y="5986868"/>
                </a:lnTo>
                <a:lnTo>
                  <a:pt x="9586368" y="5996739"/>
                </a:lnTo>
                <a:lnTo>
                  <a:pt x="9582349" y="6000778"/>
                </a:lnTo>
                <a:lnTo>
                  <a:pt x="9572438" y="6000778"/>
                </a:lnTo>
                <a:lnTo>
                  <a:pt x="9568419" y="5996739"/>
                </a:lnTo>
                <a:lnTo>
                  <a:pt x="9568419" y="5986868"/>
                </a:lnTo>
                <a:close/>
                <a:moveTo>
                  <a:pt x="9333125" y="5982829"/>
                </a:moveTo>
                <a:lnTo>
                  <a:pt x="9343036" y="5982829"/>
                </a:lnTo>
                <a:lnTo>
                  <a:pt x="9347055" y="5986868"/>
                </a:lnTo>
                <a:lnTo>
                  <a:pt x="9347055" y="5996739"/>
                </a:lnTo>
                <a:lnTo>
                  <a:pt x="9343036" y="6000778"/>
                </a:lnTo>
                <a:lnTo>
                  <a:pt x="9333125" y="6000778"/>
                </a:lnTo>
                <a:lnTo>
                  <a:pt x="9329106" y="5996739"/>
                </a:lnTo>
                <a:lnTo>
                  <a:pt x="9329106" y="5986868"/>
                </a:lnTo>
                <a:close/>
                <a:moveTo>
                  <a:pt x="9093811" y="5982829"/>
                </a:moveTo>
                <a:lnTo>
                  <a:pt x="9103722" y="5982829"/>
                </a:lnTo>
                <a:lnTo>
                  <a:pt x="9107741" y="5986868"/>
                </a:lnTo>
                <a:lnTo>
                  <a:pt x="9107741" y="5996739"/>
                </a:lnTo>
                <a:lnTo>
                  <a:pt x="9103722" y="6000778"/>
                </a:lnTo>
                <a:lnTo>
                  <a:pt x="9093811" y="6000778"/>
                </a:lnTo>
                <a:lnTo>
                  <a:pt x="9089792" y="5996739"/>
                </a:lnTo>
                <a:lnTo>
                  <a:pt x="9089792" y="5986868"/>
                </a:lnTo>
                <a:close/>
                <a:moveTo>
                  <a:pt x="8854496" y="5982829"/>
                </a:moveTo>
                <a:lnTo>
                  <a:pt x="8864407" y="5982829"/>
                </a:lnTo>
                <a:lnTo>
                  <a:pt x="8868426" y="5986868"/>
                </a:lnTo>
                <a:lnTo>
                  <a:pt x="8868426" y="5996739"/>
                </a:lnTo>
                <a:lnTo>
                  <a:pt x="8864407" y="6000778"/>
                </a:lnTo>
                <a:lnTo>
                  <a:pt x="8854496" y="6000778"/>
                </a:lnTo>
                <a:lnTo>
                  <a:pt x="8850477" y="5996739"/>
                </a:lnTo>
                <a:lnTo>
                  <a:pt x="8850477" y="5986868"/>
                </a:lnTo>
                <a:close/>
                <a:moveTo>
                  <a:pt x="8615184" y="5982829"/>
                </a:moveTo>
                <a:lnTo>
                  <a:pt x="8625095" y="5982829"/>
                </a:lnTo>
                <a:lnTo>
                  <a:pt x="8629114" y="5986868"/>
                </a:lnTo>
                <a:lnTo>
                  <a:pt x="8629114" y="5996739"/>
                </a:lnTo>
                <a:lnTo>
                  <a:pt x="8625095" y="6000778"/>
                </a:lnTo>
                <a:lnTo>
                  <a:pt x="8615184" y="6000778"/>
                </a:lnTo>
                <a:lnTo>
                  <a:pt x="8611165" y="5996739"/>
                </a:lnTo>
                <a:lnTo>
                  <a:pt x="8611165" y="5986868"/>
                </a:lnTo>
                <a:close/>
                <a:moveTo>
                  <a:pt x="8375869" y="5982829"/>
                </a:moveTo>
                <a:lnTo>
                  <a:pt x="8385779" y="5982829"/>
                </a:lnTo>
                <a:lnTo>
                  <a:pt x="8389799" y="5986868"/>
                </a:lnTo>
                <a:lnTo>
                  <a:pt x="8389799" y="5996739"/>
                </a:lnTo>
                <a:lnTo>
                  <a:pt x="8385779" y="6000778"/>
                </a:lnTo>
                <a:lnTo>
                  <a:pt x="8375869" y="6000778"/>
                </a:lnTo>
                <a:lnTo>
                  <a:pt x="8371850" y="5996739"/>
                </a:lnTo>
                <a:lnTo>
                  <a:pt x="8371850" y="5986868"/>
                </a:lnTo>
                <a:close/>
                <a:moveTo>
                  <a:pt x="8136553" y="5982829"/>
                </a:moveTo>
                <a:lnTo>
                  <a:pt x="8146464" y="5982829"/>
                </a:lnTo>
                <a:lnTo>
                  <a:pt x="8150483" y="5986868"/>
                </a:lnTo>
                <a:lnTo>
                  <a:pt x="8150483" y="5996739"/>
                </a:lnTo>
                <a:lnTo>
                  <a:pt x="8146464" y="6000778"/>
                </a:lnTo>
                <a:lnTo>
                  <a:pt x="8136553" y="6000778"/>
                </a:lnTo>
                <a:lnTo>
                  <a:pt x="8132534" y="5996739"/>
                </a:lnTo>
                <a:lnTo>
                  <a:pt x="8132534" y="5986868"/>
                </a:lnTo>
                <a:close/>
                <a:moveTo>
                  <a:pt x="7897241" y="5982829"/>
                </a:moveTo>
                <a:lnTo>
                  <a:pt x="7907151" y="5982829"/>
                </a:lnTo>
                <a:lnTo>
                  <a:pt x="7911170" y="5986868"/>
                </a:lnTo>
                <a:lnTo>
                  <a:pt x="7911170" y="5996739"/>
                </a:lnTo>
                <a:lnTo>
                  <a:pt x="7907151" y="6000778"/>
                </a:lnTo>
                <a:lnTo>
                  <a:pt x="7897241" y="6000778"/>
                </a:lnTo>
                <a:lnTo>
                  <a:pt x="7893222" y="5996739"/>
                </a:lnTo>
                <a:lnTo>
                  <a:pt x="7893222" y="5986868"/>
                </a:lnTo>
                <a:close/>
                <a:moveTo>
                  <a:pt x="7657926" y="5982829"/>
                </a:moveTo>
                <a:lnTo>
                  <a:pt x="7667836" y="5982829"/>
                </a:lnTo>
                <a:lnTo>
                  <a:pt x="7671855" y="5986868"/>
                </a:lnTo>
                <a:lnTo>
                  <a:pt x="7671855" y="5996739"/>
                </a:lnTo>
                <a:lnTo>
                  <a:pt x="7667836" y="6000778"/>
                </a:lnTo>
                <a:lnTo>
                  <a:pt x="7657926" y="6000778"/>
                </a:lnTo>
                <a:lnTo>
                  <a:pt x="7653906" y="5996739"/>
                </a:lnTo>
                <a:lnTo>
                  <a:pt x="7653906" y="5986868"/>
                </a:lnTo>
                <a:close/>
                <a:moveTo>
                  <a:pt x="7418611" y="5982829"/>
                </a:moveTo>
                <a:lnTo>
                  <a:pt x="7428521" y="5982829"/>
                </a:lnTo>
                <a:lnTo>
                  <a:pt x="7432540" y="5986868"/>
                </a:lnTo>
                <a:lnTo>
                  <a:pt x="7432540" y="5996739"/>
                </a:lnTo>
                <a:lnTo>
                  <a:pt x="7428521" y="6000778"/>
                </a:lnTo>
                <a:lnTo>
                  <a:pt x="7418611" y="6000778"/>
                </a:lnTo>
                <a:lnTo>
                  <a:pt x="7414592" y="5996739"/>
                </a:lnTo>
                <a:lnTo>
                  <a:pt x="7414592" y="5986868"/>
                </a:lnTo>
                <a:close/>
                <a:moveTo>
                  <a:pt x="7179298" y="5982829"/>
                </a:moveTo>
                <a:lnTo>
                  <a:pt x="7189209" y="5982829"/>
                </a:lnTo>
                <a:lnTo>
                  <a:pt x="7193228" y="5986868"/>
                </a:lnTo>
                <a:lnTo>
                  <a:pt x="7193228" y="5996739"/>
                </a:lnTo>
                <a:lnTo>
                  <a:pt x="7189209" y="6000778"/>
                </a:lnTo>
                <a:lnTo>
                  <a:pt x="7179298" y="6000778"/>
                </a:lnTo>
                <a:lnTo>
                  <a:pt x="7175279" y="5996739"/>
                </a:lnTo>
                <a:lnTo>
                  <a:pt x="7175279" y="5986868"/>
                </a:lnTo>
                <a:close/>
                <a:moveTo>
                  <a:pt x="6939983" y="5982829"/>
                </a:moveTo>
                <a:lnTo>
                  <a:pt x="6949894" y="5982829"/>
                </a:lnTo>
                <a:lnTo>
                  <a:pt x="6953913" y="5986868"/>
                </a:lnTo>
                <a:lnTo>
                  <a:pt x="6953913" y="5996739"/>
                </a:lnTo>
                <a:lnTo>
                  <a:pt x="6949894" y="6000778"/>
                </a:lnTo>
                <a:lnTo>
                  <a:pt x="6939983" y="6000778"/>
                </a:lnTo>
                <a:lnTo>
                  <a:pt x="6935964" y="5996739"/>
                </a:lnTo>
                <a:lnTo>
                  <a:pt x="6935964" y="5986868"/>
                </a:lnTo>
                <a:close/>
                <a:moveTo>
                  <a:pt x="6700670" y="5982829"/>
                </a:moveTo>
                <a:lnTo>
                  <a:pt x="6710581" y="5982829"/>
                </a:lnTo>
                <a:lnTo>
                  <a:pt x="6714600" y="5986868"/>
                </a:lnTo>
                <a:lnTo>
                  <a:pt x="6714600" y="5996739"/>
                </a:lnTo>
                <a:lnTo>
                  <a:pt x="6710581" y="6000778"/>
                </a:lnTo>
                <a:lnTo>
                  <a:pt x="6700670" y="6000778"/>
                </a:lnTo>
                <a:lnTo>
                  <a:pt x="6696651" y="5996739"/>
                </a:lnTo>
                <a:lnTo>
                  <a:pt x="6696651" y="5986868"/>
                </a:lnTo>
                <a:close/>
                <a:moveTo>
                  <a:pt x="6461356" y="5982829"/>
                </a:moveTo>
                <a:lnTo>
                  <a:pt x="6471266" y="5982829"/>
                </a:lnTo>
                <a:lnTo>
                  <a:pt x="6475285" y="5986868"/>
                </a:lnTo>
                <a:lnTo>
                  <a:pt x="6475285" y="5996739"/>
                </a:lnTo>
                <a:lnTo>
                  <a:pt x="6471266" y="6000778"/>
                </a:lnTo>
                <a:lnTo>
                  <a:pt x="6461356" y="6000778"/>
                </a:lnTo>
                <a:lnTo>
                  <a:pt x="6457337" y="5996739"/>
                </a:lnTo>
                <a:lnTo>
                  <a:pt x="6457337" y="5986868"/>
                </a:lnTo>
                <a:close/>
                <a:moveTo>
                  <a:pt x="6222042" y="5982829"/>
                </a:moveTo>
                <a:lnTo>
                  <a:pt x="6231952" y="5982829"/>
                </a:lnTo>
                <a:lnTo>
                  <a:pt x="6235971" y="5986868"/>
                </a:lnTo>
                <a:lnTo>
                  <a:pt x="6235971" y="5996739"/>
                </a:lnTo>
                <a:lnTo>
                  <a:pt x="6231952" y="6000778"/>
                </a:lnTo>
                <a:lnTo>
                  <a:pt x="6222042" y="6000778"/>
                </a:lnTo>
                <a:lnTo>
                  <a:pt x="6218023" y="5996739"/>
                </a:lnTo>
                <a:lnTo>
                  <a:pt x="6218023" y="5986868"/>
                </a:lnTo>
                <a:close/>
                <a:moveTo>
                  <a:pt x="5982729" y="5982829"/>
                </a:moveTo>
                <a:lnTo>
                  <a:pt x="5992639" y="5982829"/>
                </a:lnTo>
                <a:lnTo>
                  <a:pt x="5996658" y="5986868"/>
                </a:lnTo>
                <a:lnTo>
                  <a:pt x="5996658" y="5996739"/>
                </a:lnTo>
                <a:lnTo>
                  <a:pt x="5992639" y="6000778"/>
                </a:lnTo>
                <a:lnTo>
                  <a:pt x="5982729" y="6000778"/>
                </a:lnTo>
                <a:lnTo>
                  <a:pt x="5978710" y="5996739"/>
                </a:lnTo>
                <a:lnTo>
                  <a:pt x="5978710" y="5986868"/>
                </a:lnTo>
                <a:close/>
                <a:moveTo>
                  <a:pt x="5743412" y="5982829"/>
                </a:moveTo>
                <a:lnTo>
                  <a:pt x="5753323" y="5982829"/>
                </a:lnTo>
                <a:lnTo>
                  <a:pt x="5757342" y="5986868"/>
                </a:lnTo>
                <a:lnTo>
                  <a:pt x="5757342" y="5996739"/>
                </a:lnTo>
                <a:lnTo>
                  <a:pt x="5753323" y="6000778"/>
                </a:lnTo>
                <a:lnTo>
                  <a:pt x="5743412" y="6000778"/>
                </a:lnTo>
                <a:lnTo>
                  <a:pt x="5739393" y="5996739"/>
                </a:lnTo>
                <a:lnTo>
                  <a:pt x="5739393" y="5986868"/>
                </a:lnTo>
                <a:close/>
                <a:moveTo>
                  <a:pt x="5504099" y="5982829"/>
                </a:moveTo>
                <a:lnTo>
                  <a:pt x="5514010" y="5982829"/>
                </a:lnTo>
                <a:lnTo>
                  <a:pt x="5518029" y="5986868"/>
                </a:lnTo>
                <a:lnTo>
                  <a:pt x="5518029" y="5996739"/>
                </a:lnTo>
                <a:lnTo>
                  <a:pt x="5514010" y="6000778"/>
                </a:lnTo>
                <a:lnTo>
                  <a:pt x="5504099" y="6000778"/>
                </a:lnTo>
                <a:lnTo>
                  <a:pt x="5500080" y="5996739"/>
                </a:lnTo>
                <a:lnTo>
                  <a:pt x="5500080" y="5986868"/>
                </a:lnTo>
                <a:close/>
                <a:moveTo>
                  <a:pt x="5264784" y="5982829"/>
                </a:moveTo>
                <a:lnTo>
                  <a:pt x="5274694" y="5982829"/>
                </a:lnTo>
                <a:lnTo>
                  <a:pt x="5278713" y="5986868"/>
                </a:lnTo>
                <a:lnTo>
                  <a:pt x="5278713" y="5996739"/>
                </a:lnTo>
                <a:lnTo>
                  <a:pt x="5274694" y="6000778"/>
                </a:lnTo>
                <a:lnTo>
                  <a:pt x="5264784" y="6000778"/>
                </a:lnTo>
                <a:lnTo>
                  <a:pt x="5260765" y="5996739"/>
                </a:lnTo>
                <a:lnTo>
                  <a:pt x="5260765" y="5986868"/>
                </a:lnTo>
                <a:close/>
                <a:moveTo>
                  <a:pt x="5025470" y="5982829"/>
                </a:moveTo>
                <a:lnTo>
                  <a:pt x="5035381" y="5982829"/>
                </a:lnTo>
                <a:lnTo>
                  <a:pt x="5039400" y="5986868"/>
                </a:lnTo>
                <a:lnTo>
                  <a:pt x="5039400" y="5996739"/>
                </a:lnTo>
                <a:lnTo>
                  <a:pt x="5035381" y="6000778"/>
                </a:lnTo>
                <a:lnTo>
                  <a:pt x="5025470" y="6000778"/>
                </a:lnTo>
                <a:lnTo>
                  <a:pt x="5021451" y="5996739"/>
                </a:lnTo>
                <a:lnTo>
                  <a:pt x="5021451" y="5986868"/>
                </a:lnTo>
                <a:close/>
                <a:moveTo>
                  <a:pt x="4786241" y="5982829"/>
                </a:moveTo>
                <a:lnTo>
                  <a:pt x="4796152" y="5982829"/>
                </a:lnTo>
                <a:lnTo>
                  <a:pt x="4800171" y="5986868"/>
                </a:lnTo>
                <a:lnTo>
                  <a:pt x="4800171" y="5996739"/>
                </a:lnTo>
                <a:lnTo>
                  <a:pt x="4796152" y="6000778"/>
                </a:lnTo>
                <a:lnTo>
                  <a:pt x="4786241" y="6000778"/>
                </a:lnTo>
                <a:lnTo>
                  <a:pt x="4782224" y="5996739"/>
                </a:lnTo>
                <a:lnTo>
                  <a:pt x="4782224" y="5986868"/>
                </a:lnTo>
                <a:close/>
                <a:moveTo>
                  <a:pt x="4546929" y="5982829"/>
                </a:moveTo>
                <a:lnTo>
                  <a:pt x="4556840" y="5982829"/>
                </a:lnTo>
                <a:lnTo>
                  <a:pt x="4560859" y="5986868"/>
                </a:lnTo>
                <a:lnTo>
                  <a:pt x="4560859" y="5996739"/>
                </a:lnTo>
                <a:lnTo>
                  <a:pt x="4556840" y="6000778"/>
                </a:lnTo>
                <a:lnTo>
                  <a:pt x="4546929" y="6000778"/>
                </a:lnTo>
                <a:lnTo>
                  <a:pt x="4542910" y="5996739"/>
                </a:lnTo>
                <a:lnTo>
                  <a:pt x="4542910" y="5986868"/>
                </a:lnTo>
                <a:close/>
                <a:moveTo>
                  <a:pt x="4307612" y="5982829"/>
                </a:moveTo>
                <a:lnTo>
                  <a:pt x="4317523" y="5982829"/>
                </a:lnTo>
                <a:lnTo>
                  <a:pt x="4321543" y="5986868"/>
                </a:lnTo>
                <a:lnTo>
                  <a:pt x="4321543" y="5996739"/>
                </a:lnTo>
                <a:lnTo>
                  <a:pt x="4317523" y="6000778"/>
                </a:lnTo>
                <a:lnTo>
                  <a:pt x="4307612" y="6000778"/>
                </a:lnTo>
                <a:lnTo>
                  <a:pt x="4303595" y="5996739"/>
                </a:lnTo>
                <a:lnTo>
                  <a:pt x="4303595" y="5986868"/>
                </a:lnTo>
                <a:close/>
                <a:moveTo>
                  <a:pt x="4068297" y="5982829"/>
                </a:moveTo>
                <a:lnTo>
                  <a:pt x="4078210" y="5982829"/>
                </a:lnTo>
                <a:lnTo>
                  <a:pt x="4082229" y="5986868"/>
                </a:lnTo>
                <a:lnTo>
                  <a:pt x="4082229" y="5996739"/>
                </a:lnTo>
                <a:lnTo>
                  <a:pt x="4078210" y="6000778"/>
                </a:lnTo>
                <a:lnTo>
                  <a:pt x="4068297" y="6000778"/>
                </a:lnTo>
                <a:lnTo>
                  <a:pt x="4064278" y="5996739"/>
                </a:lnTo>
                <a:lnTo>
                  <a:pt x="4064278" y="5986868"/>
                </a:lnTo>
                <a:close/>
                <a:moveTo>
                  <a:pt x="3828990" y="5982829"/>
                </a:moveTo>
                <a:lnTo>
                  <a:pt x="3838899" y="5982829"/>
                </a:lnTo>
                <a:lnTo>
                  <a:pt x="3842917" y="5986868"/>
                </a:lnTo>
                <a:lnTo>
                  <a:pt x="3842917" y="5996739"/>
                </a:lnTo>
                <a:lnTo>
                  <a:pt x="3838899" y="6000778"/>
                </a:lnTo>
                <a:lnTo>
                  <a:pt x="3828990" y="6000778"/>
                </a:lnTo>
                <a:lnTo>
                  <a:pt x="3824971" y="5996739"/>
                </a:lnTo>
                <a:lnTo>
                  <a:pt x="3824971" y="5986868"/>
                </a:lnTo>
                <a:close/>
                <a:moveTo>
                  <a:pt x="3589676" y="5982829"/>
                </a:moveTo>
                <a:lnTo>
                  <a:pt x="3599585" y="5982829"/>
                </a:lnTo>
                <a:lnTo>
                  <a:pt x="3603604" y="5986868"/>
                </a:lnTo>
                <a:lnTo>
                  <a:pt x="3603604" y="5996739"/>
                </a:lnTo>
                <a:lnTo>
                  <a:pt x="3599585" y="6000778"/>
                </a:lnTo>
                <a:lnTo>
                  <a:pt x="3589676" y="6000778"/>
                </a:lnTo>
                <a:lnTo>
                  <a:pt x="3585657" y="5996739"/>
                </a:lnTo>
                <a:lnTo>
                  <a:pt x="3585657" y="5986868"/>
                </a:lnTo>
                <a:close/>
                <a:moveTo>
                  <a:pt x="3350359" y="5982829"/>
                </a:moveTo>
                <a:lnTo>
                  <a:pt x="3360268" y="5982829"/>
                </a:lnTo>
                <a:lnTo>
                  <a:pt x="3364287" y="5986868"/>
                </a:lnTo>
                <a:lnTo>
                  <a:pt x="3364287" y="5996739"/>
                </a:lnTo>
                <a:lnTo>
                  <a:pt x="3360268" y="6000778"/>
                </a:lnTo>
                <a:lnTo>
                  <a:pt x="3350359" y="6000778"/>
                </a:lnTo>
                <a:lnTo>
                  <a:pt x="3346340" y="5996739"/>
                </a:lnTo>
                <a:lnTo>
                  <a:pt x="3346340" y="5986868"/>
                </a:lnTo>
                <a:close/>
                <a:moveTo>
                  <a:pt x="3111048" y="5982829"/>
                </a:moveTo>
                <a:lnTo>
                  <a:pt x="3120959" y="5982829"/>
                </a:lnTo>
                <a:lnTo>
                  <a:pt x="3124977" y="5986868"/>
                </a:lnTo>
                <a:lnTo>
                  <a:pt x="3124977" y="5996739"/>
                </a:lnTo>
                <a:lnTo>
                  <a:pt x="3120959" y="6000778"/>
                </a:lnTo>
                <a:lnTo>
                  <a:pt x="3111048" y="6000778"/>
                </a:lnTo>
                <a:lnTo>
                  <a:pt x="3107029" y="5996739"/>
                </a:lnTo>
                <a:lnTo>
                  <a:pt x="3107029" y="5986868"/>
                </a:lnTo>
                <a:close/>
                <a:moveTo>
                  <a:pt x="2871737" y="5982829"/>
                </a:moveTo>
                <a:lnTo>
                  <a:pt x="2881646" y="5982829"/>
                </a:lnTo>
                <a:lnTo>
                  <a:pt x="2885666" y="5986868"/>
                </a:lnTo>
                <a:lnTo>
                  <a:pt x="2885666" y="5996739"/>
                </a:lnTo>
                <a:lnTo>
                  <a:pt x="2881646" y="6000778"/>
                </a:lnTo>
                <a:lnTo>
                  <a:pt x="2871737" y="6000778"/>
                </a:lnTo>
                <a:lnTo>
                  <a:pt x="2867717" y="5996739"/>
                </a:lnTo>
                <a:lnTo>
                  <a:pt x="2867717" y="5986868"/>
                </a:lnTo>
                <a:close/>
                <a:moveTo>
                  <a:pt x="2632423" y="5982829"/>
                </a:moveTo>
                <a:lnTo>
                  <a:pt x="2642334" y="5982829"/>
                </a:lnTo>
                <a:lnTo>
                  <a:pt x="2646352" y="5986868"/>
                </a:lnTo>
                <a:lnTo>
                  <a:pt x="2646352" y="5996739"/>
                </a:lnTo>
                <a:lnTo>
                  <a:pt x="2642334" y="6000778"/>
                </a:lnTo>
                <a:lnTo>
                  <a:pt x="2632423" y="6000778"/>
                </a:lnTo>
                <a:lnTo>
                  <a:pt x="2628404" y="5996739"/>
                </a:lnTo>
                <a:lnTo>
                  <a:pt x="2628404" y="5986868"/>
                </a:lnTo>
                <a:close/>
                <a:moveTo>
                  <a:pt x="2393104" y="5982829"/>
                </a:moveTo>
                <a:lnTo>
                  <a:pt x="2403015" y="5982829"/>
                </a:lnTo>
                <a:lnTo>
                  <a:pt x="2407034" y="5986868"/>
                </a:lnTo>
                <a:lnTo>
                  <a:pt x="2407034" y="5996739"/>
                </a:lnTo>
                <a:lnTo>
                  <a:pt x="2403015" y="6000778"/>
                </a:lnTo>
                <a:lnTo>
                  <a:pt x="2393104" y="6000778"/>
                </a:lnTo>
                <a:lnTo>
                  <a:pt x="2389087" y="5996739"/>
                </a:lnTo>
                <a:lnTo>
                  <a:pt x="2389087" y="5986868"/>
                </a:lnTo>
                <a:close/>
                <a:moveTo>
                  <a:pt x="721960" y="5982829"/>
                </a:moveTo>
                <a:lnTo>
                  <a:pt x="731869" y="5982829"/>
                </a:lnTo>
                <a:lnTo>
                  <a:pt x="735888" y="5986868"/>
                </a:lnTo>
                <a:lnTo>
                  <a:pt x="735888" y="5996739"/>
                </a:lnTo>
                <a:lnTo>
                  <a:pt x="731869" y="6000778"/>
                </a:lnTo>
                <a:lnTo>
                  <a:pt x="721960" y="6000778"/>
                </a:lnTo>
                <a:lnTo>
                  <a:pt x="717940" y="5996739"/>
                </a:lnTo>
                <a:lnTo>
                  <a:pt x="717940" y="5986868"/>
                </a:lnTo>
                <a:close/>
                <a:moveTo>
                  <a:pt x="482647" y="5982829"/>
                </a:moveTo>
                <a:lnTo>
                  <a:pt x="492557" y="5982829"/>
                </a:lnTo>
                <a:lnTo>
                  <a:pt x="496576" y="5986868"/>
                </a:lnTo>
                <a:lnTo>
                  <a:pt x="496576" y="5996739"/>
                </a:lnTo>
                <a:lnTo>
                  <a:pt x="492557" y="6000778"/>
                </a:lnTo>
                <a:lnTo>
                  <a:pt x="482647" y="6000778"/>
                </a:lnTo>
                <a:lnTo>
                  <a:pt x="478628" y="5996739"/>
                </a:lnTo>
                <a:lnTo>
                  <a:pt x="478628" y="5986868"/>
                </a:lnTo>
                <a:close/>
                <a:moveTo>
                  <a:pt x="243334" y="5982829"/>
                </a:moveTo>
                <a:lnTo>
                  <a:pt x="253244" y="5982829"/>
                </a:lnTo>
                <a:lnTo>
                  <a:pt x="257263" y="5986868"/>
                </a:lnTo>
                <a:lnTo>
                  <a:pt x="257263" y="5996739"/>
                </a:lnTo>
                <a:lnTo>
                  <a:pt x="253244" y="6000778"/>
                </a:lnTo>
                <a:lnTo>
                  <a:pt x="243334" y="6000778"/>
                </a:lnTo>
                <a:lnTo>
                  <a:pt x="239315" y="5996739"/>
                </a:lnTo>
                <a:lnTo>
                  <a:pt x="239315" y="5986868"/>
                </a:lnTo>
                <a:close/>
                <a:moveTo>
                  <a:pt x="4021" y="5982829"/>
                </a:moveTo>
                <a:lnTo>
                  <a:pt x="13931" y="5982829"/>
                </a:lnTo>
                <a:lnTo>
                  <a:pt x="17950" y="5986868"/>
                </a:lnTo>
                <a:lnTo>
                  <a:pt x="17950" y="5996739"/>
                </a:lnTo>
                <a:lnTo>
                  <a:pt x="13931" y="6000778"/>
                </a:lnTo>
                <a:lnTo>
                  <a:pt x="4021" y="6000778"/>
                </a:lnTo>
                <a:lnTo>
                  <a:pt x="1" y="5996739"/>
                </a:lnTo>
                <a:lnTo>
                  <a:pt x="1" y="5986868"/>
                </a:lnTo>
                <a:close/>
                <a:moveTo>
                  <a:pt x="2157818" y="5743551"/>
                </a:moveTo>
                <a:lnTo>
                  <a:pt x="2167728" y="5743551"/>
                </a:lnTo>
                <a:lnTo>
                  <a:pt x="2171747" y="5747589"/>
                </a:lnTo>
                <a:lnTo>
                  <a:pt x="2171747" y="5757460"/>
                </a:lnTo>
                <a:lnTo>
                  <a:pt x="2167728" y="5761499"/>
                </a:lnTo>
                <a:lnTo>
                  <a:pt x="2157818" y="5761499"/>
                </a:lnTo>
                <a:lnTo>
                  <a:pt x="2153799" y="5757460"/>
                </a:lnTo>
                <a:lnTo>
                  <a:pt x="2153799" y="5747589"/>
                </a:lnTo>
                <a:close/>
                <a:moveTo>
                  <a:pt x="1918510" y="5743551"/>
                </a:moveTo>
                <a:lnTo>
                  <a:pt x="1928420" y="5743551"/>
                </a:lnTo>
                <a:lnTo>
                  <a:pt x="1932438" y="5747589"/>
                </a:lnTo>
                <a:lnTo>
                  <a:pt x="1932438" y="5757460"/>
                </a:lnTo>
                <a:lnTo>
                  <a:pt x="1928420" y="5761499"/>
                </a:lnTo>
                <a:lnTo>
                  <a:pt x="1918510" y="5761499"/>
                </a:lnTo>
                <a:lnTo>
                  <a:pt x="1914490" y="5757460"/>
                </a:lnTo>
                <a:lnTo>
                  <a:pt x="1914490" y="5747589"/>
                </a:lnTo>
                <a:close/>
                <a:moveTo>
                  <a:pt x="1679201" y="5743551"/>
                </a:moveTo>
                <a:lnTo>
                  <a:pt x="1689112" y="5743551"/>
                </a:lnTo>
                <a:lnTo>
                  <a:pt x="1693131" y="5747589"/>
                </a:lnTo>
                <a:lnTo>
                  <a:pt x="1693131" y="5757460"/>
                </a:lnTo>
                <a:lnTo>
                  <a:pt x="1689112" y="5761499"/>
                </a:lnTo>
                <a:lnTo>
                  <a:pt x="1679201" y="5761499"/>
                </a:lnTo>
                <a:lnTo>
                  <a:pt x="1675183" y="5757460"/>
                </a:lnTo>
                <a:lnTo>
                  <a:pt x="1675183" y="5747589"/>
                </a:lnTo>
                <a:close/>
                <a:moveTo>
                  <a:pt x="1439886" y="5743551"/>
                </a:moveTo>
                <a:lnTo>
                  <a:pt x="1449797" y="5743551"/>
                </a:lnTo>
                <a:lnTo>
                  <a:pt x="1453815" y="5747589"/>
                </a:lnTo>
                <a:lnTo>
                  <a:pt x="1453815" y="5757460"/>
                </a:lnTo>
                <a:lnTo>
                  <a:pt x="1449797" y="5761499"/>
                </a:lnTo>
                <a:lnTo>
                  <a:pt x="1439886" y="5761499"/>
                </a:lnTo>
                <a:lnTo>
                  <a:pt x="1435868" y="5757460"/>
                </a:lnTo>
                <a:lnTo>
                  <a:pt x="1435868" y="5747589"/>
                </a:lnTo>
                <a:close/>
                <a:moveTo>
                  <a:pt x="1200572" y="5743551"/>
                </a:moveTo>
                <a:lnTo>
                  <a:pt x="1210482" y="5743551"/>
                </a:lnTo>
                <a:lnTo>
                  <a:pt x="1214500" y="5747589"/>
                </a:lnTo>
                <a:lnTo>
                  <a:pt x="1214500" y="5757460"/>
                </a:lnTo>
                <a:lnTo>
                  <a:pt x="1210482" y="5761499"/>
                </a:lnTo>
                <a:lnTo>
                  <a:pt x="1200572" y="5761499"/>
                </a:lnTo>
                <a:lnTo>
                  <a:pt x="1196553" y="5757460"/>
                </a:lnTo>
                <a:lnTo>
                  <a:pt x="1196553" y="5747589"/>
                </a:lnTo>
                <a:close/>
                <a:moveTo>
                  <a:pt x="961259" y="5743551"/>
                </a:moveTo>
                <a:lnTo>
                  <a:pt x="971169" y="5743551"/>
                </a:lnTo>
                <a:lnTo>
                  <a:pt x="975188" y="5747589"/>
                </a:lnTo>
                <a:lnTo>
                  <a:pt x="975188" y="5757460"/>
                </a:lnTo>
                <a:lnTo>
                  <a:pt x="971169" y="5761499"/>
                </a:lnTo>
                <a:lnTo>
                  <a:pt x="961259" y="5761499"/>
                </a:lnTo>
                <a:lnTo>
                  <a:pt x="957240" y="5757460"/>
                </a:lnTo>
                <a:lnTo>
                  <a:pt x="957240" y="5747589"/>
                </a:lnTo>
                <a:close/>
                <a:moveTo>
                  <a:pt x="9572438" y="5743499"/>
                </a:moveTo>
                <a:lnTo>
                  <a:pt x="9582349" y="5743499"/>
                </a:lnTo>
                <a:lnTo>
                  <a:pt x="9586368" y="5747537"/>
                </a:lnTo>
                <a:lnTo>
                  <a:pt x="9586368" y="5757408"/>
                </a:lnTo>
                <a:lnTo>
                  <a:pt x="9582349" y="5761447"/>
                </a:lnTo>
                <a:lnTo>
                  <a:pt x="9572438" y="5761447"/>
                </a:lnTo>
                <a:lnTo>
                  <a:pt x="9568419" y="5757408"/>
                </a:lnTo>
                <a:lnTo>
                  <a:pt x="9568419" y="5747537"/>
                </a:lnTo>
                <a:close/>
                <a:moveTo>
                  <a:pt x="9333125" y="5743499"/>
                </a:moveTo>
                <a:lnTo>
                  <a:pt x="9343036" y="5743499"/>
                </a:lnTo>
                <a:lnTo>
                  <a:pt x="9347055" y="5747537"/>
                </a:lnTo>
                <a:lnTo>
                  <a:pt x="9347055" y="5757408"/>
                </a:lnTo>
                <a:lnTo>
                  <a:pt x="9343036" y="5761447"/>
                </a:lnTo>
                <a:lnTo>
                  <a:pt x="9333125" y="5761447"/>
                </a:lnTo>
                <a:lnTo>
                  <a:pt x="9329106" y="5757408"/>
                </a:lnTo>
                <a:lnTo>
                  <a:pt x="9329106" y="5747537"/>
                </a:lnTo>
                <a:close/>
                <a:moveTo>
                  <a:pt x="9093811" y="5743499"/>
                </a:moveTo>
                <a:lnTo>
                  <a:pt x="9103722" y="5743499"/>
                </a:lnTo>
                <a:lnTo>
                  <a:pt x="9107741" y="5747537"/>
                </a:lnTo>
                <a:lnTo>
                  <a:pt x="9107741" y="5757408"/>
                </a:lnTo>
                <a:lnTo>
                  <a:pt x="9103722" y="5761447"/>
                </a:lnTo>
                <a:lnTo>
                  <a:pt x="9093811" y="5761447"/>
                </a:lnTo>
                <a:lnTo>
                  <a:pt x="9089792" y="5757408"/>
                </a:lnTo>
                <a:lnTo>
                  <a:pt x="9089792" y="5747537"/>
                </a:lnTo>
                <a:close/>
                <a:moveTo>
                  <a:pt x="8854496" y="5743499"/>
                </a:moveTo>
                <a:lnTo>
                  <a:pt x="8864407" y="5743499"/>
                </a:lnTo>
                <a:lnTo>
                  <a:pt x="8868426" y="5747537"/>
                </a:lnTo>
                <a:lnTo>
                  <a:pt x="8868426" y="5757408"/>
                </a:lnTo>
                <a:lnTo>
                  <a:pt x="8864407" y="5761447"/>
                </a:lnTo>
                <a:lnTo>
                  <a:pt x="8854496" y="5761447"/>
                </a:lnTo>
                <a:lnTo>
                  <a:pt x="8850477" y="5757408"/>
                </a:lnTo>
                <a:lnTo>
                  <a:pt x="8850477" y="5747537"/>
                </a:lnTo>
                <a:close/>
                <a:moveTo>
                  <a:pt x="8615184" y="5743499"/>
                </a:moveTo>
                <a:lnTo>
                  <a:pt x="8625095" y="5743499"/>
                </a:lnTo>
                <a:lnTo>
                  <a:pt x="8629114" y="5747537"/>
                </a:lnTo>
                <a:lnTo>
                  <a:pt x="8629114" y="5757408"/>
                </a:lnTo>
                <a:lnTo>
                  <a:pt x="8625095" y="5761447"/>
                </a:lnTo>
                <a:lnTo>
                  <a:pt x="8615184" y="5761447"/>
                </a:lnTo>
                <a:lnTo>
                  <a:pt x="8611165" y="5757408"/>
                </a:lnTo>
                <a:lnTo>
                  <a:pt x="8611165" y="5747537"/>
                </a:lnTo>
                <a:close/>
                <a:moveTo>
                  <a:pt x="8375869" y="5743499"/>
                </a:moveTo>
                <a:lnTo>
                  <a:pt x="8385779" y="5743499"/>
                </a:lnTo>
                <a:lnTo>
                  <a:pt x="8389799" y="5747537"/>
                </a:lnTo>
                <a:lnTo>
                  <a:pt x="8389799" y="5757408"/>
                </a:lnTo>
                <a:lnTo>
                  <a:pt x="8385779" y="5761447"/>
                </a:lnTo>
                <a:lnTo>
                  <a:pt x="8375869" y="5761447"/>
                </a:lnTo>
                <a:lnTo>
                  <a:pt x="8371850" y="5757408"/>
                </a:lnTo>
                <a:lnTo>
                  <a:pt x="8371850" y="5747537"/>
                </a:lnTo>
                <a:close/>
                <a:moveTo>
                  <a:pt x="8136553" y="5743499"/>
                </a:moveTo>
                <a:lnTo>
                  <a:pt x="8146464" y="5743499"/>
                </a:lnTo>
                <a:lnTo>
                  <a:pt x="8150483" y="5747537"/>
                </a:lnTo>
                <a:lnTo>
                  <a:pt x="8150483" y="5757408"/>
                </a:lnTo>
                <a:lnTo>
                  <a:pt x="8146464" y="5761447"/>
                </a:lnTo>
                <a:lnTo>
                  <a:pt x="8136553" y="5761447"/>
                </a:lnTo>
                <a:lnTo>
                  <a:pt x="8132534" y="5757408"/>
                </a:lnTo>
                <a:lnTo>
                  <a:pt x="8132534" y="5747537"/>
                </a:lnTo>
                <a:close/>
                <a:moveTo>
                  <a:pt x="7897241" y="5743499"/>
                </a:moveTo>
                <a:lnTo>
                  <a:pt x="7907151" y="5743499"/>
                </a:lnTo>
                <a:lnTo>
                  <a:pt x="7911170" y="5747537"/>
                </a:lnTo>
                <a:lnTo>
                  <a:pt x="7911170" y="5757408"/>
                </a:lnTo>
                <a:lnTo>
                  <a:pt x="7907151" y="5761447"/>
                </a:lnTo>
                <a:lnTo>
                  <a:pt x="7897241" y="5761447"/>
                </a:lnTo>
                <a:lnTo>
                  <a:pt x="7893222" y="5757408"/>
                </a:lnTo>
                <a:lnTo>
                  <a:pt x="7893222" y="5747537"/>
                </a:lnTo>
                <a:close/>
                <a:moveTo>
                  <a:pt x="7657926" y="5743499"/>
                </a:moveTo>
                <a:lnTo>
                  <a:pt x="7667836" y="5743499"/>
                </a:lnTo>
                <a:lnTo>
                  <a:pt x="7671855" y="5747537"/>
                </a:lnTo>
                <a:lnTo>
                  <a:pt x="7671855" y="5757408"/>
                </a:lnTo>
                <a:lnTo>
                  <a:pt x="7667836" y="5761447"/>
                </a:lnTo>
                <a:lnTo>
                  <a:pt x="7657926" y="5761447"/>
                </a:lnTo>
                <a:lnTo>
                  <a:pt x="7653906" y="5757408"/>
                </a:lnTo>
                <a:lnTo>
                  <a:pt x="7653906" y="5747537"/>
                </a:lnTo>
                <a:close/>
                <a:moveTo>
                  <a:pt x="7418611" y="5743499"/>
                </a:moveTo>
                <a:lnTo>
                  <a:pt x="7428521" y="5743499"/>
                </a:lnTo>
                <a:lnTo>
                  <a:pt x="7432540" y="5747537"/>
                </a:lnTo>
                <a:lnTo>
                  <a:pt x="7432540" y="5757408"/>
                </a:lnTo>
                <a:lnTo>
                  <a:pt x="7428521" y="5761447"/>
                </a:lnTo>
                <a:lnTo>
                  <a:pt x="7418611" y="5761447"/>
                </a:lnTo>
                <a:lnTo>
                  <a:pt x="7414592" y="5757408"/>
                </a:lnTo>
                <a:lnTo>
                  <a:pt x="7414592" y="5747537"/>
                </a:lnTo>
                <a:close/>
                <a:moveTo>
                  <a:pt x="7179298" y="5743499"/>
                </a:moveTo>
                <a:lnTo>
                  <a:pt x="7189209" y="5743499"/>
                </a:lnTo>
                <a:lnTo>
                  <a:pt x="7193228" y="5747537"/>
                </a:lnTo>
                <a:lnTo>
                  <a:pt x="7193228" y="5757408"/>
                </a:lnTo>
                <a:lnTo>
                  <a:pt x="7189209" y="5761447"/>
                </a:lnTo>
                <a:lnTo>
                  <a:pt x="7179298" y="5761447"/>
                </a:lnTo>
                <a:lnTo>
                  <a:pt x="7175279" y="5757408"/>
                </a:lnTo>
                <a:lnTo>
                  <a:pt x="7175279" y="5747537"/>
                </a:lnTo>
                <a:close/>
                <a:moveTo>
                  <a:pt x="6939983" y="5743499"/>
                </a:moveTo>
                <a:lnTo>
                  <a:pt x="6949894" y="5743499"/>
                </a:lnTo>
                <a:lnTo>
                  <a:pt x="6953913" y="5747537"/>
                </a:lnTo>
                <a:lnTo>
                  <a:pt x="6953913" y="5757408"/>
                </a:lnTo>
                <a:lnTo>
                  <a:pt x="6949894" y="5761447"/>
                </a:lnTo>
                <a:lnTo>
                  <a:pt x="6939983" y="5761447"/>
                </a:lnTo>
                <a:lnTo>
                  <a:pt x="6935964" y="5757408"/>
                </a:lnTo>
                <a:lnTo>
                  <a:pt x="6935964" y="5747537"/>
                </a:lnTo>
                <a:close/>
                <a:moveTo>
                  <a:pt x="6700670" y="5743499"/>
                </a:moveTo>
                <a:lnTo>
                  <a:pt x="6710581" y="5743499"/>
                </a:lnTo>
                <a:lnTo>
                  <a:pt x="6714600" y="5747537"/>
                </a:lnTo>
                <a:lnTo>
                  <a:pt x="6714600" y="5757408"/>
                </a:lnTo>
                <a:lnTo>
                  <a:pt x="6710581" y="5761447"/>
                </a:lnTo>
                <a:lnTo>
                  <a:pt x="6700670" y="5761447"/>
                </a:lnTo>
                <a:lnTo>
                  <a:pt x="6696651" y="5757408"/>
                </a:lnTo>
                <a:lnTo>
                  <a:pt x="6696651" y="5747537"/>
                </a:lnTo>
                <a:close/>
                <a:moveTo>
                  <a:pt x="6461356" y="5743499"/>
                </a:moveTo>
                <a:lnTo>
                  <a:pt x="6471266" y="5743499"/>
                </a:lnTo>
                <a:lnTo>
                  <a:pt x="6475285" y="5747537"/>
                </a:lnTo>
                <a:lnTo>
                  <a:pt x="6475285" y="5757408"/>
                </a:lnTo>
                <a:lnTo>
                  <a:pt x="6471266" y="5761447"/>
                </a:lnTo>
                <a:lnTo>
                  <a:pt x="6461356" y="5761447"/>
                </a:lnTo>
                <a:lnTo>
                  <a:pt x="6457337" y="5757408"/>
                </a:lnTo>
                <a:lnTo>
                  <a:pt x="6457337" y="5747537"/>
                </a:lnTo>
                <a:close/>
                <a:moveTo>
                  <a:pt x="6222042" y="5743499"/>
                </a:moveTo>
                <a:lnTo>
                  <a:pt x="6231952" y="5743499"/>
                </a:lnTo>
                <a:lnTo>
                  <a:pt x="6235971" y="5747537"/>
                </a:lnTo>
                <a:lnTo>
                  <a:pt x="6235971" y="5757408"/>
                </a:lnTo>
                <a:lnTo>
                  <a:pt x="6231952" y="5761447"/>
                </a:lnTo>
                <a:lnTo>
                  <a:pt x="6222042" y="5761447"/>
                </a:lnTo>
                <a:lnTo>
                  <a:pt x="6218023" y="5757408"/>
                </a:lnTo>
                <a:lnTo>
                  <a:pt x="6218023" y="5747537"/>
                </a:lnTo>
                <a:close/>
                <a:moveTo>
                  <a:pt x="5982729" y="5743499"/>
                </a:moveTo>
                <a:lnTo>
                  <a:pt x="5992639" y="5743499"/>
                </a:lnTo>
                <a:lnTo>
                  <a:pt x="5996658" y="5747537"/>
                </a:lnTo>
                <a:lnTo>
                  <a:pt x="5996658" y="5757408"/>
                </a:lnTo>
                <a:lnTo>
                  <a:pt x="5992639" y="5761447"/>
                </a:lnTo>
                <a:lnTo>
                  <a:pt x="5982729" y="5761447"/>
                </a:lnTo>
                <a:lnTo>
                  <a:pt x="5978710" y="5757408"/>
                </a:lnTo>
                <a:lnTo>
                  <a:pt x="5978710" y="5747537"/>
                </a:lnTo>
                <a:close/>
                <a:moveTo>
                  <a:pt x="5743412" y="5743499"/>
                </a:moveTo>
                <a:lnTo>
                  <a:pt x="5753323" y="5743499"/>
                </a:lnTo>
                <a:lnTo>
                  <a:pt x="5757342" y="5747537"/>
                </a:lnTo>
                <a:lnTo>
                  <a:pt x="5757342" y="5757408"/>
                </a:lnTo>
                <a:lnTo>
                  <a:pt x="5753323" y="5761447"/>
                </a:lnTo>
                <a:lnTo>
                  <a:pt x="5743412" y="5761447"/>
                </a:lnTo>
                <a:lnTo>
                  <a:pt x="5739393" y="5757408"/>
                </a:lnTo>
                <a:lnTo>
                  <a:pt x="5739393" y="5747537"/>
                </a:lnTo>
                <a:close/>
                <a:moveTo>
                  <a:pt x="5504099" y="5743499"/>
                </a:moveTo>
                <a:lnTo>
                  <a:pt x="5514010" y="5743499"/>
                </a:lnTo>
                <a:lnTo>
                  <a:pt x="5518029" y="5747537"/>
                </a:lnTo>
                <a:lnTo>
                  <a:pt x="5518029" y="5757408"/>
                </a:lnTo>
                <a:lnTo>
                  <a:pt x="5514010" y="5761447"/>
                </a:lnTo>
                <a:lnTo>
                  <a:pt x="5504099" y="5761447"/>
                </a:lnTo>
                <a:lnTo>
                  <a:pt x="5500080" y="5757408"/>
                </a:lnTo>
                <a:lnTo>
                  <a:pt x="5500080" y="5747537"/>
                </a:lnTo>
                <a:close/>
                <a:moveTo>
                  <a:pt x="5264784" y="5743499"/>
                </a:moveTo>
                <a:lnTo>
                  <a:pt x="5274694" y="5743499"/>
                </a:lnTo>
                <a:lnTo>
                  <a:pt x="5278713" y="5747537"/>
                </a:lnTo>
                <a:lnTo>
                  <a:pt x="5278713" y="5757408"/>
                </a:lnTo>
                <a:lnTo>
                  <a:pt x="5274694" y="5761447"/>
                </a:lnTo>
                <a:lnTo>
                  <a:pt x="5264784" y="5761447"/>
                </a:lnTo>
                <a:lnTo>
                  <a:pt x="5260765" y="5757408"/>
                </a:lnTo>
                <a:lnTo>
                  <a:pt x="5260765" y="5747537"/>
                </a:lnTo>
                <a:close/>
                <a:moveTo>
                  <a:pt x="5025470" y="5743499"/>
                </a:moveTo>
                <a:lnTo>
                  <a:pt x="5035381" y="5743499"/>
                </a:lnTo>
                <a:lnTo>
                  <a:pt x="5039400" y="5747537"/>
                </a:lnTo>
                <a:lnTo>
                  <a:pt x="5039400" y="5757408"/>
                </a:lnTo>
                <a:lnTo>
                  <a:pt x="5035381" y="5761447"/>
                </a:lnTo>
                <a:lnTo>
                  <a:pt x="5025470" y="5761447"/>
                </a:lnTo>
                <a:lnTo>
                  <a:pt x="5021451" y="5757408"/>
                </a:lnTo>
                <a:lnTo>
                  <a:pt x="5021451" y="5747537"/>
                </a:lnTo>
                <a:close/>
                <a:moveTo>
                  <a:pt x="4786241" y="5743499"/>
                </a:moveTo>
                <a:lnTo>
                  <a:pt x="4796152" y="5743499"/>
                </a:lnTo>
                <a:lnTo>
                  <a:pt x="4800171" y="5747537"/>
                </a:lnTo>
                <a:lnTo>
                  <a:pt x="4800171" y="5757408"/>
                </a:lnTo>
                <a:lnTo>
                  <a:pt x="4796152" y="5761447"/>
                </a:lnTo>
                <a:lnTo>
                  <a:pt x="4786241" y="5761447"/>
                </a:lnTo>
                <a:lnTo>
                  <a:pt x="4782224" y="5757408"/>
                </a:lnTo>
                <a:lnTo>
                  <a:pt x="4782224" y="5747537"/>
                </a:lnTo>
                <a:close/>
                <a:moveTo>
                  <a:pt x="4546929" y="5743499"/>
                </a:moveTo>
                <a:lnTo>
                  <a:pt x="4556840" y="5743499"/>
                </a:lnTo>
                <a:lnTo>
                  <a:pt x="4560859" y="5747537"/>
                </a:lnTo>
                <a:lnTo>
                  <a:pt x="4560859" y="5757408"/>
                </a:lnTo>
                <a:lnTo>
                  <a:pt x="4556840" y="5761447"/>
                </a:lnTo>
                <a:lnTo>
                  <a:pt x="4546929" y="5761447"/>
                </a:lnTo>
                <a:lnTo>
                  <a:pt x="4542910" y="5757408"/>
                </a:lnTo>
                <a:lnTo>
                  <a:pt x="4542910" y="5747537"/>
                </a:lnTo>
                <a:close/>
                <a:moveTo>
                  <a:pt x="4307612" y="5743499"/>
                </a:moveTo>
                <a:lnTo>
                  <a:pt x="4317523" y="5743499"/>
                </a:lnTo>
                <a:lnTo>
                  <a:pt x="4321543" y="5747537"/>
                </a:lnTo>
                <a:lnTo>
                  <a:pt x="4321543" y="5757408"/>
                </a:lnTo>
                <a:lnTo>
                  <a:pt x="4317523" y="5761447"/>
                </a:lnTo>
                <a:lnTo>
                  <a:pt x="4307612" y="5761447"/>
                </a:lnTo>
                <a:lnTo>
                  <a:pt x="4303595" y="5757408"/>
                </a:lnTo>
                <a:lnTo>
                  <a:pt x="4303595" y="5747537"/>
                </a:lnTo>
                <a:close/>
                <a:moveTo>
                  <a:pt x="4068297" y="5743499"/>
                </a:moveTo>
                <a:lnTo>
                  <a:pt x="4078210" y="5743499"/>
                </a:lnTo>
                <a:lnTo>
                  <a:pt x="4082229" y="5747537"/>
                </a:lnTo>
                <a:lnTo>
                  <a:pt x="4082229" y="5757408"/>
                </a:lnTo>
                <a:lnTo>
                  <a:pt x="4078210" y="5761447"/>
                </a:lnTo>
                <a:lnTo>
                  <a:pt x="4068297" y="5761447"/>
                </a:lnTo>
                <a:lnTo>
                  <a:pt x="4064278" y="5757408"/>
                </a:lnTo>
                <a:lnTo>
                  <a:pt x="4064278" y="5747537"/>
                </a:lnTo>
                <a:close/>
                <a:moveTo>
                  <a:pt x="3828990" y="5743499"/>
                </a:moveTo>
                <a:lnTo>
                  <a:pt x="3838899" y="5743499"/>
                </a:lnTo>
                <a:lnTo>
                  <a:pt x="3842917" y="5747537"/>
                </a:lnTo>
                <a:lnTo>
                  <a:pt x="3842917" y="5757408"/>
                </a:lnTo>
                <a:lnTo>
                  <a:pt x="3838899" y="5761447"/>
                </a:lnTo>
                <a:lnTo>
                  <a:pt x="3828990" y="5761447"/>
                </a:lnTo>
                <a:lnTo>
                  <a:pt x="3824971" y="5757408"/>
                </a:lnTo>
                <a:lnTo>
                  <a:pt x="3824971" y="5747537"/>
                </a:lnTo>
                <a:close/>
                <a:moveTo>
                  <a:pt x="3589676" y="5743499"/>
                </a:moveTo>
                <a:lnTo>
                  <a:pt x="3599585" y="5743499"/>
                </a:lnTo>
                <a:lnTo>
                  <a:pt x="3603604" y="5747537"/>
                </a:lnTo>
                <a:lnTo>
                  <a:pt x="3603604" y="5757408"/>
                </a:lnTo>
                <a:lnTo>
                  <a:pt x="3599585" y="5761447"/>
                </a:lnTo>
                <a:lnTo>
                  <a:pt x="3589676" y="5761447"/>
                </a:lnTo>
                <a:lnTo>
                  <a:pt x="3585657" y="5757408"/>
                </a:lnTo>
                <a:lnTo>
                  <a:pt x="3585657" y="5747537"/>
                </a:lnTo>
                <a:close/>
                <a:moveTo>
                  <a:pt x="3350359" y="5743499"/>
                </a:moveTo>
                <a:lnTo>
                  <a:pt x="3360268" y="5743499"/>
                </a:lnTo>
                <a:lnTo>
                  <a:pt x="3364287" y="5747537"/>
                </a:lnTo>
                <a:lnTo>
                  <a:pt x="3364287" y="5757408"/>
                </a:lnTo>
                <a:lnTo>
                  <a:pt x="3360268" y="5761447"/>
                </a:lnTo>
                <a:lnTo>
                  <a:pt x="3350359" y="5761447"/>
                </a:lnTo>
                <a:lnTo>
                  <a:pt x="3346340" y="5757408"/>
                </a:lnTo>
                <a:lnTo>
                  <a:pt x="3346340" y="5747537"/>
                </a:lnTo>
                <a:close/>
                <a:moveTo>
                  <a:pt x="3111048" y="5743499"/>
                </a:moveTo>
                <a:lnTo>
                  <a:pt x="3120959" y="5743499"/>
                </a:lnTo>
                <a:lnTo>
                  <a:pt x="3124977" y="5747537"/>
                </a:lnTo>
                <a:lnTo>
                  <a:pt x="3124977" y="5757408"/>
                </a:lnTo>
                <a:lnTo>
                  <a:pt x="3120959" y="5761447"/>
                </a:lnTo>
                <a:lnTo>
                  <a:pt x="3111048" y="5761447"/>
                </a:lnTo>
                <a:lnTo>
                  <a:pt x="3107029" y="5757408"/>
                </a:lnTo>
                <a:lnTo>
                  <a:pt x="3107029" y="5747537"/>
                </a:lnTo>
                <a:close/>
                <a:moveTo>
                  <a:pt x="2871737" y="5743499"/>
                </a:moveTo>
                <a:lnTo>
                  <a:pt x="2881646" y="5743499"/>
                </a:lnTo>
                <a:lnTo>
                  <a:pt x="2885666" y="5747537"/>
                </a:lnTo>
                <a:lnTo>
                  <a:pt x="2885666" y="5757408"/>
                </a:lnTo>
                <a:lnTo>
                  <a:pt x="2881646" y="5761447"/>
                </a:lnTo>
                <a:lnTo>
                  <a:pt x="2871737" y="5761447"/>
                </a:lnTo>
                <a:lnTo>
                  <a:pt x="2867717" y="5757408"/>
                </a:lnTo>
                <a:lnTo>
                  <a:pt x="2867717" y="5747537"/>
                </a:lnTo>
                <a:close/>
                <a:moveTo>
                  <a:pt x="2632423" y="5743499"/>
                </a:moveTo>
                <a:lnTo>
                  <a:pt x="2642334" y="5743499"/>
                </a:lnTo>
                <a:lnTo>
                  <a:pt x="2646352" y="5747537"/>
                </a:lnTo>
                <a:lnTo>
                  <a:pt x="2646352" y="5757408"/>
                </a:lnTo>
                <a:lnTo>
                  <a:pt x="2642334" y="5761447"/>
                </a:lnTo>
                <a:lnTo>
                  <a:pt x="2632423" y="5761447"/>
                </a:lnTo>
                <a:lnTo>
                  <a:pt x="2628404" y="5757408"/>
                </a:lnTo>
                <a:lnTo>
                  <a:pt x="2628404" y="5747537"/>
                </a:lnTo>
                <a:close/>
                <a:moveTo>
                  <a:pt x="2393104" y="5743499"/>
                </a:moveTo>
                <a:lnTo>
                  <a:pt x="2403015" y="5743499"/>
                </a:lnTo>
                <a:lnTo>
                  <a:pt x="2407034" y="5747537"/>
                </a:lnTo>
                <a:lnTo>
                  <a:pt x="2407034" y="5757408"/>
                </a:lnTo>
                <a:lnTo>
                  <a:pt x="2403015" y="5761447"/>
                </a:lnTo>
                <a:lnTo>
                  <a:pt x="2393104" y="5761447"/>
                </a:lnTo>
                <a:lnTo>
                  <a:pt x="2389087" y="5757408"/>
                </a:lnTo>
                <a:lnTo>
                  <a:pt x="2389087" y="5747537"/>
                </a:lnTo>
                <a:close/>
                <a:moveTo>
                  <a:pt x="721960" y="5743499"/>
                </a:moveTo>
                <a:lnTo>
                  <a:pt x="731871" y="5743499"/>
                </a:lnTo>
                <a:lnTo>
                  <a:pt x="735889" y="5747537"/>
                </a:lnTo>
                <a:lnTo>
                  <a:pt x="735889" y="5757408"/>
                </a:lnTo>
                <a:lnTo>
                  <a:pt x="731871" y="5761447"/>
                </a:lnTo>
                <a:lnTo>
                  <a:pt x="721960" y="5761447"/>
                </a:lnTo>
                <a:lnTo>
                  <a:pt x="717941" y="5757408"/>
                </a:lnTo>
                <a:lnTo>
                  <a:pt x="717941" y="5747537"/>
                </a:lnTo>
                <a:close/>
                <a:moveTo>
                  <a:pt x="482648" y="5743499"/>
                </a:moveTo>
                <a:lnTo>
                  <a:pt x="492558" y="5743499"/>
                </a:lnTo>
                <a:lnTo>
                  <a:pt x="496578" y="5747537"/>
                </a:lnTo>
                <a:lnTo>
                  <a:pt x="496578" y="5757408"/>
                </a:lnTo>
                <a:lnTo>
                  <a:pt x="492558" y="5761447"/>
                </a:lnTo>
                <a:lnTo>
                  <a:pt x="482648" y="5761447"/>
                </a:lnTo>
                <a:lnTo>
                  <a:pt x="478629" y="5757408"/>
                </a:lnTo>
                <a:lnTo>
                  <a:pt x="478629" y="5747537"/>
                </a:lnTo>
                <a:close/>
                <a:moveTo>
                  <a:pt x="243334" y="5743499"/>
                </a:moveTo>
                <a:lnTo>
                  <a:pt x="253245" y="5743499"/>
                </a:lnTo>
                <a:lnTo>
                  <a:pt x="257264" y="5747537"/>
                </a:lnTo>
                <a:lnTo>
                  <a:pt x="257264" y="5757408"/>
                </a:lnTo>
                <a:lnTo>
                  <a:pt x="253245" y="5761447"/>
                </a:lnTo>
                <a:lnTo>
                  <a:pt x="243334" y="5761447"/>
                </a:lnTo>
                <a:lnTo>
                  <a:pt x="239315" y="5757408"/>
                </a:lnTo>
                <a:lnTo>
                  <a:pt x="239315" y="5747537"/>
                </a:lnTo>
                <a:close/>
                <a:moveTo>
                  <a:pt x="4021" y="5743499"/>
                </a:moveTo>
                <a:lnTo>
                  <a:pt x="13932" y="5743499"/>
                </a:lnTo>
                <a:lnTo>
                  <a:pt x="17950" y="5747537"/>
                </a:lnTo>
                <a:lnTo>
                  <a:pt x="17950" y="5757408"/>
                </a:lnTo>
                <a:lnTo>
                  <a:pt x="13932" y="5761447"/>
                </a:lnTo>
                <a:lnTo>
                  <a:pt x="4021" y="5761447"/>
                </a:lnTo>
                <a:lnTo>
                  <a:pt x="2" y="5757408"/>
                </a:lnTo>
                <a:lnTo>
                  <a:pt x="2" y="5747537"/>
                </a:lnTo>
                <a:close/>
                <a:moveTo>
                  <a:pt x="9572438" y="5504220"/>
                </a:moveTo>
                <a:lnTo>
                  <a:pt x="9582349" y="5504220"/>
                </a:lnTo>
                <a:lnTo>
                  <a:pt x="9586368" y="5508258"/>
                </a:lnTo>
                <a:lnTo>
                  <a:pt x="9586368" y="5518129"/>
                </a:lnTo>
                <a:lnTo>
                  <a:pt x="9582349" y="5522168"/>
                </a:lnTo>
                <a:lnTo>
                  <a:pt x="9572438" y="5522168"/>
                </a:lnTo>
                <a:lnTo>
                  <a:pt x="9568419" y="5518129"/>
                </a:lnTo>
                <a:lnTo>
                  <a:pt x="9568419" y="5508258"/>
                </a:lnTo>
                <a:close/>
                <a:moveTo>
                  <a:pt x="9333125" y="5504220"/>
                </a:moveTo>
                <a:lnTo>
                  <a:pt x="9343036" y="5504220"/>
                </a:lnTo>
                <a:lnTo>
                  <a:pt x="9347055" y="5508258"/>
                </a:lnTo>
                <a:lnTo>
                  <a:pt x="9347055" y="5518129"/>
                </a:lnTo>
                <a:lnTo>
                  <a:pt x="9343036" y="5522168"/>
                </a:lnTo>
                <a:lnTo>
                  <a:pt x="9333125" y="5522168"/>
                </a:lnTo>
                <a:lnTo>
                  <a:pt x="9329106" y="5518129"/>
                </a:lnTo>
                <a:lnTo>
                  <a:pt x="9329106" y="5508258"/>
                </a:lnTo>
                <a:close/>
                <a:moveTo>
                  <a:pt x="9093811" y="5504220"/>
                </a:moveTo>
                <a:lnTo>
                  <a:pt x="9103722" y="5504220"/>
                </a:lnTo>
                <a:lnTo>
                  <a:pt x="9107741" y="5508258"/>
                </a:lnTo>
                <a:lnTo>
                  <a:pt x="9107741" y="5518129"/>
                </a:lnTo>
                <a:lnTo>
                  <a:pt x="9103722" y="5522168"/>
                </a:lnTo>
                <a:lnTo>
                  <a:pt x="9093811" y="5522168"/>
                </a:lnTo>
                <a:lnTo>
                  <a:pt x="9089792" y="5518129"/>
                </a:lnTo>
                <a:lnTo>
                  <a:pt x="9089792" y="5508258"/>
                </a:lnTo>
                <a:close/>
                <a:moveTo>
                  <a:pt x="8854496" y="5504220"/>
                </a:moveTo>
                <a:lnTo>
                  <a:pt x="8864407" y="5504220"/>
                </a:lnTo>
                <a:lnTo>
                  <a:pt x="8868426" y="5508258"/>
                </a:lnTo>
                <a:lnTo>
                  <a:pt x="8868426" y="5518129"/>
                </a:lnTo>
                <a:lnTo>
                  <a:pt x="8864407" y="5522168"/>
                </a:lnTo>
                <a:lnTo>
                  <a:pt x="8854496" y="5522168"/>
                </a:lnTo>
                <a:lnTo>
                  <a:pt x="8850477" y="5518129"/>
                </a:lnTo>
                <a:lnTo>
                  <a:pt x="8850477" y="5508258"/>
                </a:lnTo>
                <a:close/>
                <a:moveTo>
                  <a:pt x="8615184" y="5504220"/>
                </a:moveTo>
                <a:lnTo>
                  <a:pt x="8625095" y="5504220"/>
                </a:lnTo>
                <a:lnTo>
                  <a:pt x="8629114" y="5508258"/>
                </a:lnTo>
                <a:lnTo>
                  <a:pt x="8629114" y="5518129"/>
                </a:lnTo>
                <a:lnTo>
                  <a:pt x="8625095" y="5522168"/>
                </a:lnTo>
                <a:lnTo>
                  <a:pt x="8615184" y="5522168"/>
                </a:lnTo>
                <a:lnTo>
                  <a:pt x="8611165" y="5518129"/>
                </a:lnTo>
                <a:lnTo>
                  <a:pt x="8611165" y="5508258"/>
                </a:lnTo>
                <a:close/>
                <a:moveTo>
                  <a:pt x="8375869" y="5504220"/>
                </a:moveTo>
                <a:lnTo>
                  <a:pt x="8385779" y="5504220"/>
                </a:lnTo>
                <a:lnTo>
                  <a:pt x="8389799" y="5508258"/>
                </a:lnTo>
                <a:lnTo>
                  <a:pt x="8389799" y="5518129"/>
                </a:lnTo>
                <a:lnTo>
                  <a:pt x="8385779" y="5522168"/>
                </a:lnTo>
                <a:lnTo>
                  <a:pt x="8375869" y="5522168"/>
                </a:lnTo>
                <a:lnTo>
                  <a:pt x="8371850" y="5518129"/>
                </a:lnTo>
                <a:lnTo>
                  <a:pt x="8371850" y="5508258"/>
                </a:lnTo>
                <a:close/>
                <a:moveTo>
                  <a:pt x="8136553" y="5504220"/>
                </a:moveTo>
                <a:lnTo>
                  <a:pt x="8146464" y="5504220"/>
                </a:lnTo>
                <a:lnTo>
                  <a:pt x="8150483" y="5508258"/>
                </a:lnTo>
                <a:lnTo>
                  <a:pt x="8150483" y="5518129"/>
                </a:lnTo>
                <a:lnTo>
                  <a:pt x="8146464" y="5522168"/>
                </a:lnTo>
                <a:lnTo>
                  <a:pt x="8136553" y="5522168"/>
                </a:lnTo>
                <a:lnTo>
                  <a:pt x="8132534" y="5518129"/>
                </a:lnTo>
                <a:lnTo>
                  <a:pt x="8132534" y="5508258"/>
                </a:lnTo>
                <a:close/>
                <a:moveTo>
                  <a:pt x="7897241" y="5504220"/>
                </a:moveTo>
                <a:lnTo>
                  <a:pt x="7907151" y="5504220"/>
                </a:lnTo>
                <a:lnTo>
                  <a:pt x="7911170" y="5508258"/>
                </a:lnTo>
                <a:lnTo>
                  <a:pt x="7911170" y="5518129"/>
                </a:lnTo>
                <a:lnTo>
                  <a:pt x="7907151" y="5522168"/>
                </a:lnTo>
                <a:lnTo>
                  <a:pt x="7897241" y="5522168"/>
                </a:lnTo>
                <a:lnTo>
                  <a:pt x="7893222" y="5518129"/>
                </a:lnTo>
                <a:lnTo>
                  <a:pt x="7893222" y="5508258"/>
                </a:lnTo>
                <a:close/>
                <a:moveTo>
                  <a:pt x="7657926" y="5504220"/>
                </a:moveTo>
                <a:lnTo>
                  <a:pt x="7667836" y="5504220"/>
                </a:lnTo>
                <a:lnTo>
                  <a:pt x="7671855" y="5508258"/>
                </a:lnTo>
                <a:lnTo>
                  <a:pt x="7671855" y="5518129"/>
                </a:lnTo>
                <a:lnTo>
                  <a:pt x="7667836" y="5522168"/>
                </a:lnTo>
                <a:lnTo>
                  <a:pt x="7657926" y="5522168"/>
                </a:lnTo>
                <a:lnTo>
                  <a:pt x="7653906" y="5518129"/>
                </a:lnTo>
                <a:lnTo>
                  <a:pt x="7653906" y="5508258"/>
                </a:lnTo>
                <a:close/>
                <a:moveTo>
                  <a:pt x="7418611" y="5504220"/>
                </a:moveTo>
                <a:lnTo>
                  <a:pt x="7428521" y="5504220"/>
                </a:lnTo>
                <a:lnTo>
                  <a:pt x="7432540" y="5508258"/>
                </a:lnTo>
                <a:lnTo>
                  <a:pt x="7432540" y="5518129"/>
                </a:lnTo>
                <a:lnTo>
                  <a:pt x="7428521" y="5522168"/>
                </a:lnTo>
                <a:lnTo>
                  <a:pt x="7418611" y="5522168"/>
                </a:lnTo>
                <a:lnTo>
                  <a:pt x="7414592" y="5518129"/>
                </a:lnTo>
                <a:lnTo>
                  <a:pt x="7414592" y="5508258"/>
                </a:lnTo>
                <a:close/>
                <a:moveTo>
                  <a:pt x="7179298" y="5504220"/>
                </a:moveTo>
                <a:lnTo>
                  <a:pt x="7189209" y="5504220"/>
                </a:lnTo>
                <a:lnTo>
                  <a:pt x="7193228" y="5508258"/>
                </a:lnTo>
                <a:lnTo>
                  <a:pt x="7193228" y="5518129"/>
                </a:lnTo>
                <a:lnTo>
                  <a:pt x="7189209" y="5522168"/>
                </a:lnTo>
                <a:lnTo>
                  <a:pt x="7179298" y="5522168"/>
                </a:lnTo>
                <a:lnTo>
                  <a:pt x="7175279" y="5518129"/>
                </a:lnTo>
                <a:lnTo>
                  <a:pt x="7175279" y="5508258"/>
                </a:lnTo>
                <a:close/>
                <a:moveTo>
                  <a:pt x="6939983" y="5504220"/>
                </a:moveTo>
                <a:lnTo>
                  <a:pt x="6949894" y="5504220"/>
                </a:lnTo>
                <a:lnTo>
                  <a:pt x="6953913" y="5508258"/>
                </a:lnTo>
                <a:lnTo>
                  <a:pt x="6953913" y="5518129"/>
                </a:lnTo>
                <a:lnTo>
                  <a:pt x="6949894" y="5522168"/>
                </a:lnTo>
                <a:lnTo>
                  <a:pt x="6939983" y="5522168"/>
                </a:lnTo>
                <a:lnTo>
                  <a:pt x="6935964" y="5518129"/>
                </a:lnTo>
                <a:lnTo>
                  <a:pt x="6935964" y="5508258"/>
                </a:lnTo>
                <a:close/>
                <a:moveTo>
                  <a:pt x="6700670" y="5504220"/>
                </a:moveTo>
                <a:lnTo>
                  <a:pt x="6710581" y="5504220"/>
                </a:lnTo>
                <a:lnTo>
                  <a:pt x="6714600" y="5508258"/>
                </a:lnTo>
                <a:lnTo>
                  <a:pt x="6714600" y="5518129"/>
                </a:lnTo>
                <a:lnTo>
                  <a:pt x="6710581" y="5522168"/>
                </a:lnTo>
                <a:lnTo>
                  <a:pt x="6700670" y="5522168"/>
                </a:lnTo>
                <a:lnTo>
                  <a:pt x="6696651" y="5518129"/>
                </a:lnTo>
                <a:lnTo>
                  <a:pt x="6696651" y="5508258"/>
                </a:lnTo>
                <a:close/>
                <a:moveTo>
                  <a:pt x="6461356" y="5504220"/>
                </a:moveTo>
                <a:lnTo>
                  <a:pt x="6471266" y="5504220"/>
                </a:lnTo>
                <a:lnTo>
                  <a:pt x="6475285" y="5508258"/>
                </a:lnTo>
                <a:lnTo>
                  <a:pt x="6475285" y="5518129"/>
                </a:lnTo>
                <a:lnTo>
                  <a:pt x="6471266" y="5522168"/>
                </a:lnTo>
                <a:lnTo>
                  <a:pt x="6461356" y="5522168"/>
                </a:lnTo>
                <a:lnTo>
                  <a:pt x="6457337" y="5518129"/>
                </a:lnTo>
                <a:lnTo>
                  <a:pt x="6457337" y="5508258"/>
                </a:lnTo>
                <a:close/>
                <a:moveTo>
                  <a:pt x="6222042" y="5504220"/>
                </a:moveTo>
                <a:lnTo>
                  <a:pt x="6231952" y="5504220"/>
                </a:lnTo>
                <a:lnTo>
                  <a:pt x="6235971" y="5508258"/>
                </a:lnTo>
                <a:lnTo>
                  <a:pt x="6235971" y="5518129"/>
                </a:lnTo>
                <a:lnTo>
                  <a:pt x="6231952" y="5522168"/>
                </a:lnTo>
                <a:lnTo>
                  <a:pt x="6222042" y="5522168"/>
                </a:lnTo>
                <a:lnTo>
                  <a:pt x="6218023" y="5518129"/>
                </a:lnTo>
                <a:lnTo>
                  <a:pt x="6218023" y="5508258"/>
                </a:lnTo>
                <a:close/>
                <a:moveTo>
                  <a:pt x="5982729" y="5504220"/>
                </a:moveTo>
                <a:lnTo>
                  <a:pt x="5992639" y="5504220"/>
                </a:lnTo>
                <a:lnTo>
                  <a:pt x="5996658" y="5508258"/>
                </a:lnTo>
                <a:lnTo>
                  <a:pt x="5996658" y="5518129"/>
                </a:lnTo>
                <a:lnTo>
                  <a:pt x="5992639" y="5522168"/>
                </a:lnTo>
                <a:lnTo>
                  <a:pt x="5982729" y="5522168"/>
                </a:lnTo>
                <a:lnTo>
                  <a:pt x="5978710" y="5518129"/>
                </a:lnTo>
                <a:lnTo>
                  <a:pt x="5978710" y="5508258"/>
                </a:lnTo>
                <a:close/>
                <a:moveTo>
                  <a:pt x="5743412" y="5504220"/>
                </a:moveTo>
                <a:lnTo>
                  <a:pt x="5753323" y="5504220"/>
                </a:lnTo>
                <a:lnTo>
                  <a:pt x="5757342" y="5508258"/>
                </a:lnTo>
                <a:lnTo>
                  <a:pt x="5757342" y="5518129"/>
                </a:lnTo>
                <a:lnTo>
                  <a:pt x="5753323" y="5522168"/>
                </a:lnTo>
                <a:lnTo>
                  <a:pt x="5743412" y="5522168"/>
                </a:lnTo>
                <a:lnTo>
                  <a:pt x="5739393" y="5518129"/>
                </a:lnTo>
                <a:lnTo>
                  <a:pt x="5739393" y="5508258"/>
                </a:lnTo>
                <a:close/>
                <a:moveTo>
                  <a:pt x="5504099" y="5504220"/>
                </a:moveTo>
                <a:lnTo>
                  <a:pt x="5514010" y="5504220"/>
                </a:lnTo>
                <a:lnTo>
                  <a:pt x="5518029" y="5508258"/>
                </a:lnTo>
                <a:lnTo>
                  <a:pt x="5518029" y="5518129"/>
                </a:lnTo>
                <a:lnTo>
                  <a:pt x="5514010" y="5522168"/>
                </a:lnTo>
                <a:lnTo>
                  <a:pt x="5504099" y="5522168"/>
                </a:lnTo>
                <a:lnTo>
                  <a:pt x="5500080" y="5518129"/>
                </a:lnTo>
                <a:lnTo>
                  <a:pt x="5500080" y="5508258"/>
                </a:lnTo>
                <a:close/>
                <a:moveTo>
                  <a:pt x="5264784" y="5504220"/>
                </a:moveTo>
                <a:lnTo>
                  <a:pt x="5274694" y="5504220"/>
                </a:lnTo>
                <a:lnTo>
                  <a:pt x="5278713" y="5508258"/>
                </a:lnTo>
                <a:lnTo>
                  <a:pt x="5278713" y="5518129"/>
                </a:lnTo>
                <a:lnTo>
                  <a:pt x="5274694" y="5522168"/>
                </a:lnTo>
                <a:lnTo>
                  <a:pt x="5264784" y="5522168"/>
                </a:lnTo>
                <a:lnTo>
                  <a:pt x="5260765" y="5518129"/>
                </a:lnTo>
                <a:lnTo>
                  <a:pt x="5260765" y="5508258"/>
                </a:lnTo>
                <a:close/>
                <a:moveTo>
                  <a:pt x="5025470" y="5504220"/>
                </a:moveTo>
                <a:lnTo>
                  <a:pt x="5035381" y="5504220"/>
                </a:lnTo>
                <a:lnTo>
                  <a:pt x="5039400" y="5508258"/>
                </a:lnTo>
                <a:lnTo>
                  <a:pt x="5039400" y="5518129"/>
                </a:lnTo>
                <a:lnTo>
                  <a:pt x="5035381" y="5522168"/>
                </a:lnTo>
                <a:lnTo>
                  <a:pt x="5025470" y="5522168"/>
                </a:lnTo>
                <a:lnTo>
                  <a:pt x="5021451" y="5518129"/>
                </a:lnTo>
                <a:lnTo>
                  <a:pt x="5021451" y="5508258"/>
                </a:lnTo>
                <a:close/>
                <a:moveTo>
                  <a:pt x="4786241" y="5504220"/>
                </a:moveTo>
                <a:lnTo>
                  <a:pt x="4796152" y="5504220"/>
                </a:lnTo>
                <a:lnTo>
                  <a:pt x="4800171" y="5508258"/>
                </a:lnTo>
                <a:lnTo>
                  <a:pt x="4800171" y="5518129"/>
                </a:lnTo>
                <a:lnTo>
                  <a:pt x="4796152" y="5522168"/>
                </a:lnTo>
                <a:lnTo>
                  <a:pt x="4786241" y="5522168"/>
                </a:lnTo>
                <a:lnTo>
                  <a:pt x="4782224" y="5518129"/>
                </a:lnTo>
                <a:lnTo>
                  <a:pt x="4782224" y="5508258"/>
                </a:lnTo>
                <a:close/>
                <a:moveTo>
                  <a:pt x="4546929" y="5504220"/>
                </a:moveTo>
                <a:lnTo>
                  <a:pt x="4556840" y="5504220"/>
                </a:lnTo>
                <a:lnTo>
                  <a:pt x="4560859" y="5508258"/>
                </a:lnTo>
                <a:lnTo>
                  <a:pt x="4560859" y="5518129"/>
                </a:lnTo>
                <a:lnTo>
                  <a:pt x="4556840" y="5522168"/>
                </a:lnTo>
                <a:lnTo>
                  <a:pt x="4546929" y="5522168"/>
                </a:lnTo>
                <a:lnTo>
                  <a:pt x="4542910" y="5518129"/>
                </a:lnTo>
                <a:lnTo>
                  <a:pt x="4542910" y="5508258"/>
                </a:lnTo>
                <a:close/>
                <a:moveTo>
                  <a:pt x="4307612" y="5504220"/>
                </a:moveTo>
                <a:lnTo>
                  <a:pt x="4317523" y="5504220"/>
                </a:lnTo>
                <a:lnTo>
                  <a:pt x="4321543" y="5508258"/>
                </a:lnTo>
                <a:lnTo>
                  <a:pt x="4321543" y="5518129"/>
                </a:lnTo>
                <a:lnTo>
                  <a:pt x="4317523" y="5522168"/>
                </a:lnTo>
                <a:lnTo>
                  <a:pt x="4307612" y="5522168"/>
                </a:lnTo>
                <a:lnTo>
                  <a:pt x="4303595" y="5518129"/>
                </a:lnTo>
                <a:lnTo>
                  <a:pt x="4303595" y="5508258"/>
                </a:lnTo>
                <a:close/>
                <a:moveTo>
                  <a:pt x="4068297" y="5504220"/>
                </a:moveTo>
                <a:lnTo>
                  <a:pt x="4078210" y="5504220"/>
                </a:lnTo>
                <a:lnTo>
                  <a:pt x="4082229" y="5508258"/>
                </a:lnTo>
                <a:lnTo>
                  <a:pt x="4082229" y="5518129"/>
                </a:lnTo>
                <a:lnTo>
                  <a:pt x="4078210" y="5522168"/>
                </a:lnTo>
                <a:lnTo>
                  <a:pt x="4068297" y="5522168"/>
                </a:lnTo>
                <a:lnTo>
                  <a:pt x="4064278" y="5518129"/>
                </a:lnTo>
                <a:lnTo>
                  <a:pt x="4064278" y="5508258"/>
                </a:lnTo>
                <a:close/>
                <a:moveTo>
                  <a:pt x="3828990" y="5504220"/>
                </a:moveTo>
                <a:lnTo>
                  <a:pt x="3838899" y="5504220"/>
                </a:lnTo>
                <a:lnTo>
                  <a:pt x="3842917" y="5508258"/>
                </a:lnTo>
                <a:lnTo>
                  <a:pt x="3842917" y="5518129"/>
                </a:lnTo>
                <a:lnTo>
                  <a:pt x="3838899" y="5522168"/>
                </a:lnTo>
                <a:lnTo>
                  <a:pt x="3828990" y="5522168"/>
                </a:lnTo>
                <a:lnTo>
                  <a:pt x="3824971" y="5518129"/>
                </a:lnTo>
                <a:lnTo>
                  <a:pt x="3824971" y="5508258"/>
                </a:lnTo>
                <a:close/>
                <a:moveTo>
                  <a:pt x="3589676" y="5504220"/>
                </a:moveTo>
                <a:lnTo>
                  <a:pt x="3599585" y="5504220"/>
                </a:lnTo>
                <a:lnTo>
                  <a:pt x="3603604" y="5508258"/>
                </a:lnTo>
                <a:lnTo>
                  <a:pt x="3603604" y="5518129"/>
                </a:lnTo>
                <a:lnTo>
                  <a:pt x="3599585" y="5522168"/>
                </a:lnTo>
                <a:lnTo>
                  <a:pt x="3589676" y="5522168"/>
                </a:lnTo>
                <a:lnTo>
                  <a:pt x="3585657" y="5518129"/>
                </a:lnTo>
                <a:lnTo>
                  <a:pt x="3585657" y="5508258"/>
                </a:lnTo>
                <a:close/>
                <a:moveTo>
                  <a:pt x="3350359" y="5504220"/>
                </a:moveTo>
                <a:lnTo>
                  <a:pt x="3360268" y="5504220"/>
                </a:lnTo>
                <a:lnTo>
                  <a:pt x="3364287" y="5508258"/>
                </a:lnTo>
                <a:lnTo>
                  <a:pt x="3364287" y="5518129"/>
                </a:lnTo>
                <a:lnTo>
                  <a:pt x="3360268" y="5522168"/>
                </a:lnTo>
                <a:lnTo>
                  <a:pt x="3350359" y="5522168"/>
                </a:lnTo>
                <a:lnTo>
                  <a:pt x="3346340" y="5518129"/>
                </a:lnTo>
                <a:lnTo>
                  <a:pt x="3346340" y="5508258"/>
                </a:lnTo>
                <a:close/>
                <a:moveTo>
                  <a:pt x="3111048" y="5504220"/>
                </a:moveTo>
                <a:lnTo>
                  <a:pt x="3120959" y="5504220"/>
                </a:lnTo>
                <a:lnTo>
                  <a:pt x="3124977" y="5508258"/>
                </a:lnTo>
                <a:lnTo>
                  <a:pt x="3124977" y="5518129"/>
                </a:lnTo>
                <a:lnTo>
                  <a:pt x="3120959" y="5522168"/>
                </a:lnTo>
                <a:lnTo>
                  <a:pt x="3111048" y="5522168"/>
                </a:lnTo>
                <a:lnTo>
                  <a:pt x="3107029" y="5518129"/>
                </a:lnTo>
                <a:lnTo>
                  <a:pt x="3107029" y="5508258"/>
                </a:lnTo>
                <a:close/>
                <a:moveTo>
                  <a:pt x="2871737" y="5504220"/>
                </a:moveTo>
                <a:lnTo>
                  <a:pt x="2881646" y="5504220"/>
                </a:lnTo>
                <a:lnTo>
                  <a:pt x="2885666" y="5508258"/>
                </a:lnTo>
                <a:lnTo>
                  <a:pt x="2885666" y="5518129"/>
                </a:lnTo>
                <a:lnTo>
                  <a:pt x="2881646" y="5522168"/>
                </a:lnTo>
                <a:lnTo>
                  <a:pt x="2871737" y="5522168"/>
                </a:lnTo>
                <a:lnTo>
                  <a:pt x="2867717" y="5518129"/>
                </a:lnTo>
                <a:lnTo>
                  <a:pt x="2867717" y="5508258"/>
                </a:lnTo>
                <a:close/>
                <a:moveTo>
                  <a:pt x="2632423" y="5504220"/>
                </a:moveTo>
                <a:lnTo>
                  <a:pt x="2642334" y="5504220"/>
                </a:lnTo>
                <a:lnTo>
                  <a:pt x="2646352" y="5508258"/>
                </a:lnTo>
                <a:lnTo>
                  <a:pt x="2646352" y="5518129"/>
                </a:lnTo>
                <a:lnTo>
                  <a:pt x="2642334" y="5522168"/>
                </a:lnTo>
                <a:lnTo>
                  <a:pt x="2632423" y="5522168"/>
                </a:lnTo>
                <a:lnTo>
                  <a:pt x="2628404" y="5518129"/>
                </a:lnTo>
                <a:lnTo>
                  <a:pt x="2628404" y="5508258"/>
                </a:lnTo>
                <a:close/>
                <a:moveTo>
                  <a:pt x="2393104" y="5504220"/>
                </a:moveTo>
                <a:lnTo>
                  <a:pt x="2403015" y="5504220"/>
                </a:lnTo>
                <a:lnTo>
                  <a:pt x="2407034" y="5508258"/>
                </a:lnTo>
                <a:lnTo>
                  <a:pt x="2407034" y="5518129"/>
                </a:lnTo>
                <a:lnTo>
                  <a:pt x="2403015" y="5522168"/>
                </a:lnTo>
                <a:lnTo>
                  <a:pt x="2393104" y="5522168"/>
                </a:lnTo>
                <a:lnTo>
                  <a:pt x="2389087" y="5518129"/>
                </a:lnTo>
                <a:lnTo>
                  <a:pt x="2389087" y="5508258"/>
                </a:lnTo>
                <a:close/>
                <a:moveTo>
                  <a:pt x="2157818" y="5504220"/>
                </a:moveTo>
                <a:lnTo>
                  <a:pt x="2167728" y="5504220"/>
                </a:lnTo>
                <a:lnTo>
                  <a:pt x="2171748" y="5508258"/>
                </a:lnTo>
                <a:lnTo>
                  <a:pt x="2171748" y="5518129"/>
                </a:lnTo>
                <a:lnTo>
                  <a:pt x="2167728" y="5522168"/>
                </a:lnTo>
                <a:lnTo>
                  <a:pt x="2157818" y="5522168"/>
                </a:lnTo>
                <a:lnTo>
                  <a:pt x="2153799" y="5518129"/>
                </a:lnTo>
                <a:lnTo>
                  <a:pt x="2153799" y="5508258"/>
                </a:lnTo>
                <a:close/>
                <a:moveTo>
                  <a:pt x="1918510" y="5504220"/>
                </a:moveTo>
                <a:lnTo>
                  <a:pt x="1928420" y="5504220"/>
                </a:lnTo>
                <a:lnTo>
                  <a:pt x="1932438" y="5508258"/>
                </a:lnTo>
                <a:lnTo>
                  <a:pt x="1932438" y="5518129"/>
                </a:lnTo>
                <a:lnTo>
                  <a:pt x="1928420" y="5522168"/>
                </a:lnTo>
                <a:lnTo>
                  <a:pt x="1918510" y="5522168"/>
                </a:lnTo>
                <a:lnTo>
                  <a:pt x="1914490" y="5518129"/>
                </a:lnTo>
                <a:lnTo>
                  <a:pt x="1914490" y="5508258"/>
                </a:lnTo>
                <a:close/>
                <a:moveTo>
                  <a:pt x="1679202" y="5504220"/>
                </a:moveTo>
                <a:lnTo>
                  <a:pt x="1689112" y="5504220"/>
                </a:lnTo>
                <a:lnTo>
                  <a:pt x="1693132" y="5508258"/>
                </a:lnTo>
                <a:lnTo>
                  <a:pt x="1693132" y="5518129"/>
                </a:lnTo>
                <a:lnTo>
                  <a:pt x="1689112" y="5522168"/>
                </a:lnTo>
                <a:lnTo>
                  <a:pt x="1679202" y="5522168"/>
                </a:lnTo>
                <a:lnTo>
                  <a:pt x="1675184" y="5518129"/>
                </a:lnTo>
                <a:lnTo>
                  <a:pt x="1675184" y="5508258"/>
                </a:lnTo>
                <a:close/>
                <a:moveTo>
                  <a:pt x="1439887" y="5504220"/>
                </a:moveTo>
                <a:lnTo>
                  <a:pt x="1449797" y="5504220"/>
                </a:lnTo>
                <a:lnTo>
                  <a:pt x="1453815" y="5508258"/>
                </a:lnTo>
                <a:lnTo>
                  <a:pt x="1453815" y="5518129"/>
                </a:lnTo>
                <a:lnTo>
                  <a:pt x="1449797" y="5522168"/>
                </a:lnTo>
                <a:lnTo>
                  <a:pt x="1439887" y="5522168"/>
                </a:lnTo>
                <a:lnTo>
                  <a:pt x="1435869" y="5518129"/>
                </a:lnTo>
                <a:lnTo>
                  <a:pt x="1435869" y="5508258"/>
                </a:lnTo>
                <a:close/>
                <a:moveTo>
                  <a:pt x="1200572" y="5504220"/>
                </a:moveTo>
                <a:lnTo>
                  <a:pt x="1210483" y="5504220"/>
                </a:lnTo>
                <a:lnTo>
                  <a:pt x="1214501" y="5508258"/>
                </a:lnTo>
                <a:lnTo>
                  <a:pt x="1214501" y="5518129"/>
                </a:lnTo>
                <a:lnTo>
                  <a:pt x="1210483" y="5522168"/>
                </a:lnTo>
                <a:lnTo>
                  <a:pt x="1200572" y="5522168"/>
                </a:lnTo>
                <a:lnTo>
                  <a:pt x="1196554" y="5518129"/>
                </a:lnTo>
                <a:lnTo>
                  <a:pt x="1196554" y="5508258"/>
                </a:lnTo>
                <a:close/>
                <a:moveTo>
                  <a:pt x="961260" y="5504220"/>
                </a:moveTo>
                <a:lnTo>
                  <a:pt x="971169" y="5504220"/>
                </a:lnTo>
                <a:lnTo>
                  <a:pt x="975189" y="5508258"/>
                </a:lnTo>
                <a:lnTo>
                  <a:pt x="975189" y="5518129"/>
                </a:lnTo>
                <a:lnTo>
                  <a:pt x="971169" y="5522168"/>
                </a:lnTo>
                <a:lnTo>
                  <a:pt x="961260" y="5522168"/>
                </a:lnTo>
                <a:lnTo>
                  <a:pt x="957241" y="5518129"/>
                </a:lnTo>
                <a:lnTo>
                  <a:pt x="957241" y="5508258"/>
                </a:lnTo>
                <a:close/>
                <a:moveTo>
                  <a:pt x="721961" y="5504220"/>
                </a:moveTo>
                <a:lnTo>
                  <a:pt x="731871" y="5504220"/>
                </a:lnTo>
                <a:lnTo>
                  <a:pt x="735890" y="5508258"/>
                </a:lnTo>
                <a:lnTo>
                  <a:pt x="735890" y="5518129"/>
                </a:lnTo>
                <a:lnTo>
                  <a:pt x="731871" y="5522168"/>
                </a:lnTo>
                <a:lnTo>
                  <a:pt x="721961" y="5522168"/>
                </a:lnTo>
                <a:lnTo>
                  <a:pt x="717942" y="5518129"/>
                </a:lnTo>
                <a:lnTo>
                  <a:pt x="717942" y="5508258"/>
                </a:lnTo>
                <a:close/>
                <a:moveTo>
                  <a:pt x="482649" y="5504220"/>
                </a:moveTo>
                <a:lnTo>
                  <a:pt x="492559" y="5504220"/>
                </a:lnTo>
                <a:lnTo>
                  <a:pt x="496578" y="5508258"/>
                </a:lnTo>
                <a:lnTo>
                  <a:pt x="496578" y="5518129"/>
                </a:lnTo>
                <a:lnTo>
                  <a:pt x="492559" y="5522168"/>
                </a:lnTo>
                <a:lnTo>
                  <a:pt x="482649" y="5522168"/>
                </a:lnTo>
                <a:lnTo>
                  <a:pt x="478630" y="5518129"/>
                </a:lnTo>
                <a:lnTo>
                  <a:pt x="478630" y="5508258"/>
                </a:lnTo>
                <a:close/>
                <a:moveTo>
                  <a:pt x="243335" y="5504220"/>
                </a:moveTo>
                <a:lnTo>
                  <a:pt x="253245" y="5504220"/>
                </a:lnTo>
                <a:lnTo>
                  <a:pt x="257264" y="5508258"/>
                </a:lnTo>
                <a:lnTo>
                  <a:pt x="257264" y="5518129"/>
                </a:lnTo>
                <a:lnTo>
                  <a:pt x="253245" y="5522168"/>
                </a:lnTo>
                <a:lnTo>
                  <a:pt x="243335" y="5522168"/>
                </a:lnTo>
                <a:lnTo>
                  <a:pt x="239316" y="5518129"/>
                </a:lnTo>
                <a:lnTo>
                  <a:pt x="239316" y="5508258"/>
                </a:lnTo>
                <a:close/>
                <a:moveTo>
                  <a:pt x="4022" y="5504220"/>
                </a:moveTo>
                <a:lnTo>
                  <a:pt x="13932" y="5504220"/>
                </a:lnTo>
                <a:lnTo>
                  <a:pt x="17951" y="5508258"/>
                </a:lnTo>
                <a:lnTo>
                  <a:pt x="17951" y="5518129"/>
                </a:lnTo>
                <a:lnTo>
                  <a:pt x="13932" y="5522168"/>
                </a:lnTo>
                <a:lnTo>
                  <a:pt x="4022" y="5522168"/>
                </a:lnTo>
                <a:lnTo>
                  <a:pt x="3" y="5518129"/>
                </a:lnTo>
                <a:lnTo>
                  <a:pt x="3" y="5508258"/>
                </a:lnTo>
                <a:close/>
                <a:moveTo>
                  <a:pt x="2157818" y="5264940"/>
                </a:moveTo>
                <a:lnTo>
                  <a:pt x="2167729" y="5264940"/>
                </a:lnTo>
                <a:lnTo>
                  <a:pt x="2171748" y="5268978"/>
                </a:lnTo>
                <a:lnTo>
                  <a:pt x="2171748" y="5278849"/>
                </a:lnTo>
                <a:lnTo>
                  <a:pt x="2167729" y="5282888"/>
                </a:lnTo>
                <a:lnTo>
                  <a:pt x="2157818" y="5282888"/>
                </a:lnTo>
                <a:lnTo>
                  <a:pt x="2153799" y="5278849"/>
                </a:lnTo>
                <a:lnTo>
                  <a:pt x="2153799" y="5268978"/>
                </a:lnTo>
                <a:close/>
                <a:moveTo>
                  <a:pt x="1918510" y="5264940"/>
                </a:moveTo>
                <a:lnTo>
                  <a:pt x="1928420" y="5264940"/>
                </a:lnTo>
                <a:lnTo>
                  <a:pt x="1932438" y="5268978"/>
                </a:lnTo>
                <a:lnTo>
                  <a:pt x="1932438" y="5278849"/>
                </a:lnTo>
                <a:lnTo>
                  <a:pt x="1928420" y="5282888"/>
                </a:lnTo>
                <a:lnTo>
                  <a:pt x="1918510" y="5282888"/>
                </a:lnTo>
                <a:lnTo>
                  <a:pt x="1914492" y="5278849"/>
                </a:lnTo>
                <a:lnTo>
                  <a:pt x="1914492" y="5268978"/>
                </a:lnTo>
                <a:close/>
                <a:moveTo>
                  <a:pt x="1679204" y="5264940"/>
                </a:moveTo>
                <a:lnTo>
                  <a:pt x="1689113" y="5264940"/>
                </a:lnTo>
                <a:lnTo>
                  <a:pt x="1693132" y="5268978"/>
                </a:lnTo>
                <a:lnTo>
                  <a:pt x="1693132" y="5278849"/>
                </a:lnTo>
                <a:lnTo>
                  <a:pt x="1689113" y="5282888"/>
                </a:lnTo>
                <a:lnTo>
                  <a:pt x="1679204" y="5282888"/>
                </a:lnTo>
                <a:lnTo>
                  <a:pt x="1675184" y="5278849"/>
                </a:lnTo>
                <a:lnTo>
                  <a:pt x="1675184" y="5268978"/>
                </a:lnTo>
                <a:close/>
                <a:moveTo>
                  <a:pt x="1439889" y="5264940"/>
                </a:moveTo>
                <a:lnTo>
                  <a:pt x="1449798" y="5264940"/>
                </a:lnTo>
                <a:lnTo>
                  <a:pt x="1453817" y="5268978"/>
                </a:lnTo>
                <a:lnTo>
                  <a:pt x="1453817" y="5278849"/>
                </a:lnTo>
                <a:lnTo>
                  <a:pt x="1449798" y="5282888"/>
                </a:lnTo>
                <a:lnTo>
                  <a:pt x="1439889" y="5282888"/>
                </a:lnTo>
                <a:lnTo>
                  <a:pt x="1435869" y="5278849"/>
                </a:lnTo>
                <a:lnTo>
                  <a:pt x="1435869" y="5268978"/>
                </a:lnTo>
                <a:close/>
                <a:moveTo>
                  <a:pt x="1200573" y="5264940"/>
                </a:moveTo>
                <a:lnTo>
                  <a:pt x="1210483" y="5264940"/>
                </a:lnTo>
                <a:lnTo>
                  <a:pt x="1214502" y="5268978"/>
                </a:lnTo>
                <a:lnTo>
                  <a:pt x="1214502" y="5278849"/>
                </a:lnTo>
                <a:lnTo>
                  <a:pt x="1210483" y="5282888"/>
                </a:lnTo>
                <a:lnTo>
                  <a:pt x="1200573" y="5282888"/>
                </a:lnTo>
                <a:lnTo>
                  <a:pt x="1196554" y="5278849"/>
                </a:lnTo>
                <a:lnTo>
                  <a:pt x="1196554" y="5268978"/>
                </a:lnTo>
                <a:close/>
                <a:moveTo>
                  <a:pt x="961260" y="5264940"/>
                </a:moveTo>
                <a:lnTo>
                  <a:pt x="971171" y="5264940"/>
                </a:lnTo>
                <a:lnTo>
                  <a:pt x="975189" y="5268978"/>
                </a:lnTo>
                <a:lnTo>
                  <a:pt x="975189" y="5278849"/>
                </a:lnTo>
                <a:lnTo>
                  <a:pt x="971171" y="5282888"/>
                </a:lnTo>
                <a:lnTo>
                  <a:pt x="961260" y="5282888"/>
                </a:lnTo>
                <a:lnTo>
                  <a:pt x="957241" y="5278849"/>
                </a:lnTo>
                <a:lnTo>
                  <a:pt x="957241" y="5268978"/>
                </a:lnTo>
                <a:close/>
                <a:moveTo>
                  <a:pt x="9572438" y="5264889"/>
                </a:moveTo>
                <a:lnTo>
                  <a:pt x="9582349" y="5264889"/>
                </a:lnTo>
                <a:lnTo>
                  <a:pt x="9586368" y="5268928"/>
                </a:lnTo>
                <a:lnTo>
                  <a:pt x="9586368" y="5278799"/>
                </a:lnTo>
                <a:lnTo>
                  <a:pt x="9582349" y="5282838"/>
                </a:lnTo>
                <a:lnTo>
                  <a:pt x="9572438" y="5282838"/>
                </a:lnTo>
                <a:lnTo>
                  <a:pt x="9568419" y="5278799"/>
                </a:lnTo>
                <a:lnTo>
                  <a:pt x="9568419" y="5268928"/>
                </a:lnTo>
                <a:close/>
                <a:moveTo>
                  <a:pt x="9333125" y="5264889"/>
                </a:moveTo>
                <a:lnTo>
                  <a:pt x="9343036" y="5264889"/>
                </a:lnTo>
                <a:lnTo>
                  <a:pt x="9347055" y="5268928"/>
                </a:lnTo>
                <a:lnTo>
                  <a:pt x="9347055" y="5278799"/>
                </a:lnTo>
                <a:lnTo>
                  <a:pt x="9343036" y="5282838"/>
                </a:lnTo>
                <a:lnTo>
                  <a:pt x="9333125" y="5282838"/>
                </a:lnTo>
                <a:lnTo>
                  <a:pt x="9329106" y="5278799"/>
                </a:lnTo>
                <a:lnTo>
                  <a:pt x="9329106" y="5268928"/>
                </a:lnTo>
                <a:close/>
                <a:moveTo>
                  <a:pt x="9093811" y="5264889"/>
                </a:moveTo>
                <a:lnTo>
                  <a:pt x="9103722" y="5264889"/>
                </a:lnTo>
                <a:lnTo>
                  <a:pt x="9107741" y="5268928"/>
                </a:lnTo>
                <a:lnTo>
                  <a:pt x="9107741" y="5278799"/>
                </a:lnTo>
                <a:lnTo>
                  <a:pt x="9103722" y="5282838"/>
                </a:lnTo>
                <a:lnTo>
                  <a:pt x="9093811" y="5282838"/>
                </a:lnTo>
                <a:lnTo>
                  <a:pt x="9089792" y="5278799"/>
                </a:lnTo>
                <a:lnTo>
                  <a:pt x="9089792" y="5268928"/>
                </a:lnTo>
                <a:close/>
                <a:moveTo>
                  <a:pt x="8854496" y="5264889"/>
                </a:moveTo>
                <a:lnTo>
                  <a:pt x="8864407" y="5264889"/>
                </a:lnTo>
                <a:lnTo>
                  <a:pt x="8868426" y="5268928"/>
                </a:lnTo>
                <a:lnTo>
                  <a:pt x="8868426" y="5278799"/>
                </a:lnTo>
                <a:lnTo>
                  <a:pt x="8864407" y="5282838"/>
                </a:lnTo>
                <a:lnTo>
                  <a:pt x="8854496" y="5282838"/>
                </a:lnTo>
                <a:lnTo>
                  <a:pt x="8850477" y="5278799"/>
                </a:lnTo>
                <a:lnTo>
                  <a:pt x="8850477" y="5268928"/>
                </a:lnTo>
                <a:close/>
                <a:moveTo>
                  <a:pt x="8615184" y="5264889"/>
                </a:moveTo>
                <a:lnTo>
                  <a:pt x="8625095" y="5264889"/>
                </a:lnTo>
                <a:lnTo>
                  <a:pt x="8629114" y="5268928"/>
                </a:lnTo>
                <a:lnTo>
                  <a:pt x="8629114" y="5278799"/>
                </a:lnTo>
                <a:lnTo>
                  <a:pt x="8625095" y="5282838"/>
                </a:lnTo>
                <a:lnTo>
                  <a:pt x="8615184" y="5282838"/>
                </a:lnTo>
                <a:lnTo>
                  <a:pt x="8611165" y="5278799"/>
                </a:lnTo>
                <a:lnTo>
                  <a:pt x="8611165" y="5268928"/>
                </a:lnTo>
                <a:close/>
                <a:moveTo>
                  <a:pt x="8375869" y="5264889"/>
                </a:moveTo>
                <a:lnTo>
                  <a:pt x="8385779" y="5264889"/>
                </a:lnTo>
                <a:lnTo>
                  <a:pt x="8389799" y="5268928"/>
                </a:lnTo>
                <a:lnTo>
                  <a:pt x="8389799" y="5278799"/>
                </a:lnTo>
                <a:lnTo>
                  <a:pt x="8385779" y="5282838"/>
                </a:lnTo>
                <a:lnTo>
                  <a:pt x="8375869" y="5282838"/>
                </a:lnTo>
                <a:lnTo>
                  <a:pt x="8371850" y="5278799"/>
                </a:lnTo>
                <a:lnTo>
                  <a:pt x="8371850" y="5268928"/>
                </a:lnTo>
                <a:close/>
                <a:moveTo>
                  <a:pt x="8136553" y="5264889"/>
                </a:moveTo>
                <a:lnTo>
                  <a:pt x="8146464" y="5264889"/>
                </a:lnTo>
                <a:lnTo>
                  <a:pt x="8150483" y="5268928"/>
                </a:lnTo>
                <a:lnTo>
                  <a:pt x="8150483" y="5278799"/>
                </a:lnTo>
                <a:lnTo>
                  <a:pt x="8146464" y="5282838"/>
                </a:lnTo>
                <a:lnTo>
                  <a:pt x="8136553" y="5282838"/>
                </a:lnTo>
                <a:lnTo>
                  <a:pt x="8132534" y="5278799"/>
                </a:lnTo>
                <a:lnTo>
                  <a:pt x="8132534" y="5268928"/>
                </a:lnTo>
                <a:close/>
                <a:moveTo>
                  <a:pt x="7897241" y="5264889"/>
                </a:moveTo>
                <a:lnTo>
                  <a:pt x="7907151" y="5264889"/>
                </a:lnTo>
                <a:lnTo>
                  <a:pt x="7911170" y="5268928"/>
                </a:lnTo>
                <a:lnTo>
                  <a:pt x="7911170" y="5278799"/>
                </a:lnTo>
                <a:lnTo>
                  <a:pt x="7907151" y="5282838"/>
                </a:lnTo>
                <a:lnTo>
                  <a:pt x="7897241" y="5282838"/>
                </a:lnTo>
                <a:lnTo>
                  <a:pt x="7893222" y="5278799"/>
                </a:lnTo>
                <a:lnTo>
                  <a:pt x="7893222" y="5268928"/>
                </a:lnTo>
                <a:close/>
                <a:moveTo>
                  <a:pt x="7657926" y="5264889"/>
                </a:moveTo>
                <a:lnTo>
                  <a:pt x="7667836" y="5264889"/>
                </a:lnTo>
                <a:lnTo>
                  <a:pt x="7671855" y="5268928"/>
                </a:lnTo>
                <a:lnTo>
                  <a:pt x="7671855" y="5278799"/>
                </a:lnTo>
                <a:lnTo>
                  <a:pt x="7667836" y="5282838"/>
                </a:lnTo>
                <a:lnTo>
                  <a:pt x="7657926" y="5282838"/>
                </a:lnTo>
                <a:lnTo>
                  <a:pt x="7653906" y="5278799"/>
                </a:lnTo>
                <a:lnTo>
                  <a:pt x="7653906" y="5268928"/>
                </a:lnTo>
                <a:close/>
                <a:moveTo>
                  <a:pt x="7418611" y="5264889"/>
                </a:moveTo>
                <a:lnTo>
                  <a:pt x="7428521" y="5264889"/>
                </a:lnTo>
                <a:lnTo>
                  <a:pt x="7432540" y="5268928"/>
                </a:lnTo>
                <a:lnTo>
                  <a:pt x="7432540" y="5278799"/>
                </a:lnTo>
                <a:lnTo>
                  <a:pt x="7428521" y="5282838"/>
                </a:lnTo>
                <a:lnTo>
                  <a:pt x="7418611" y="5282838"/>
                </a:lnTo>
                <a:lnTo>
                  <a:pt x="7414592" y="5278799"/>
                </a:lnTo>
                <a:lnTo>
                  <a:pt x="7414592" y="5268928"/>
                </a:lnTo>
                <a:close/>
                <a:moveTo>
                  <a:pt x="7179298" y="5264889"/>
                </a:moveTo>
                <a:lnTo>
                  <a:pt x="7189209" y="5264889"/>
                </a:lnTo>
                <a:lnTo>
                  <a:pt x="7193228" y="5268928"/>
                </a:lnTo>
                <a:lnTo>
                  <a:pt x="7193228" y="5278799"/>
                </a:lnTo>
                <a:lnTo>
                  <a:pt x="7189209" y="5282838"/>
                </a:lnTo>
                <a:lnTo>
                  <a:pt x="7179298" y="5282838"/>
                </a:lnTo>
                <a:lnTo>
                  <a:pt x="7175279" y="5278799"/>
                </a:lnTo>
                <a:lnTo>
                  <a:pt x="7175279" y="5268928"/>
                </a:lnTo>
                <a:close/>
                <a:moveTo>
                  <a:pt x="6939983" y="5264889"/>
                </a:moveTo>
                <a:lnTo>
                  <a:pt x="6949894" y="5264889"/>
                </a:lnTo>
                <a:lnTo>
                  <a:pt x="6953913" y="5268928"/>
                </a:lnTo>
                <a:lnTo>
                  <a:pt x="6953913" y="5278799"/>
                </a:lnTo>
                <a:lnTo>
                  <a:pt x="6949894" y="5282838"/>
                </a:lnTo>
                <a:lnTo>
                  <a:pt x="6939983" y="5282838"/>
                </a:lnTo>
                <a:lnTo>
                  <a:pt x="6935964" y="5278799"/>
                </a:lnTo>
                <a:lnTo>
                  <a:pt x="6935964" y="5268928"/>
                </a:lnTo>
                <a:close/>
                <a:moveTo>
                  <a:pt x="6700670" y="5264889"/>
                </a:moveTo>
                <a:lnTo>
                  <a:pt x="6710581" y="5264889"/>
                </a:lnTo>
                <a:lnTo>
                  <a:pt x="6714600" y="5268928"/>
                </a:lnTo>
                <a:lnTo>
                  <a:pt x="6714600" y="5278799"/>
                </a:lnTo>
                <a:lnTo>
                  <a:pt x="6710581" y="5282838"/>
                </a:lnTo>
                <a:lnTo>
                  <a:pt x="6700670" y="5282838"/>
                </a:lnTo>
                <a:lnTo>
                  <a:pt x="6696651" y="5278799"/>
                </a:lnTo>
                <a:lnTo>
                  <a:pt x="6696651" y="5268928"/>
                </a:lnTo>
                <a:close/>
                <a:moveTo>
                  <a:pt x="6461356" y="5264889"/>
                </a:moveTo>
                <a:lnTo>
                  <a:pt x="6471266" y="5264889"/>
                </a:lnTo>
                <a:lnTo>
                  <a:pt x="6475285" y="5268928"/>
                </a:lnTo>
                <a:lnTo>
                  <a:pt x="6475285" y="5278799"/>
                </a:lnTo>
                <a:lnTo>
                  <a:pt x="6471266" y="5282838"/>
                </a:lnTo>
                <a:lnTo>
                  <a:pt x="6461356" y="5282838"/>
                </a:lnTo>
                <a:lnTo>
                  <a:pt x="6457337" y="5278799"/>
                </a:lnTo>
                <a:lnTo>
                  <a:pt x="6457337" y="5268928"/>
                </a:lnTo>
                <a:close/>
                <a:moveTo>
                  <a:pt x="6222042" y="5264889"/>
                </a:moveTo>
                <a:lnTo>
                  <a:pt x="6231952" y="5264889"/>
                </a:lnTo>
                <a:lnTo>
                  <a:pt x="6235971" y="5268928"/>
                </a:lnTo>
                <a:lnTo>
                  <a:pt x="6235971" y="5278799"/>
                </a:lnTo>
                <a:lnTo>
                  <a:pt x="6231952" y="5282838"/>
                </a:lnTo>
                <a:lnTo>
                  <a:pt x="6222042" y="5282838"/>
                </a:lnTo>
                <a:lnTo>
                  <a:pt x="6218023" y="5278799"/>
                </a:lnTo>
                <a:lnTo>
                  <a:pt x="6218023" y="5268928"/>
                </a:lnTo>
                <a:close/>
                <a:moveTo>
                  <a:pt x="5982729" y="5264889"/>
                </a:moveTo>
                <a:lnTo>
                  <a:pt x="5992639" y="5264889"/>
                </a:lnTo>
                <a:lnTo>
                  <a:pt x="5996658" y="5268928"/>
                </a:lnTo>
                <a:lnTo>
                  <a:pt x="5996658" y="5278799"/>
                </a:lnTo>
                <a:lnTo>
                  <a:pt x="5992639" y="5282838"/>
                </a:lnTo>
                <a:lnTo>
                  <a:pt x="5982729" y="5282838"/>
                </a:lnTo>
                <a:lnTo>
                  <a:pt x="5978710" y="5278799"/>
                </a:lnTo>
                <a:lnTo>
                  <a:pt x="5978710" y="5268928"/>
                </a:lnTo>
                <a:close/>
                <a:moveTo>
                  <a:pt x="5743412" y="5264889"/>
                </a:moveTo>
                <a:lnTo>
                  <a:pt x="5753323" y="5264889"/>
                </a:lnTo>
                <a:lnTo>
                  <a:pt x="5757342" y="5268928"/>
                </a:lnTo>
                <a:lnTo>
                  <a:pt x="5757342" y="5278799"/>
                </a:lnTo>
                <a:lnTo>
                  <a:pt x="5753323" y="5282838"/>
                </a:lnTo>
                <a:lnTo>
                  <a:pt x="5743412" y="5282838"/>
                </a:lnTo>
                <a:lnTo>
                  <a:pt x="5739393" y="5278799"/>
                </a:lnTo>
                <a:lnTo>
                  <a:pt x="5739393" y="5268928"/>
                </a:lnTo>
                <a:close/>
                <a:moveTo>
                  <a:pt x="5504099" y="5264889"/>
                </a:moveTo>
                <a:lnTo>
                  <a:pt x="5514010" y="5264889"/>
                </a:lnTo>
                <a:lnTo>
                  <a:pt x="5518029" y="5268928"/>
                </a:lnTo>
                <a:lnTo>
                  <a:pt x="5518029" y="5278799"/>
                </a:lnTo>
                <a:lnTo>
                  <a:pt x="5514010" y="5282838"/>
                </a:lnTo>
                <a:lnTo>
                  <a:pt x="5504099" y="5282838"/>
                </a:lnTo>
                <a:lnTo>
                  <a:pt x="5500080" y="5278799"/>
                </a:lnTo>
                <a:lnTo>
                  <a:pt x="5500080" y="5268928"/>
                </a:lnTo>
                <a:close/>
                <a:moveTo>
                  <a:pt x="5264784" y="5264889"/>
                </a:moveTo>
                <a:lnTo>
                  <a:pt x="5274694" y="5264889"/>
                </a:lnTo>
                <a:lnTo>
                  <a:pt x="5278713" y="5268928"/>
                </a:lnTo>
                <a:lnTo>
                  <a:pt x="5278713" y="5278799"/>
                </a:lnTo>
                <a:lnTo>
                  <a:pt x="5274694" y="5282838"/>
                </a:lnTo>
                <a:lnTo>
                  <a:pt x="5264784" y="5282838"/>
                </a:lnTo>
                <a:lnTo>
                  <a:pt x="5260765" y="5278799"/>
                </a:lnTo>
                <a:lnTo>
                  <a:pt x="5260765" y="5268928"/>
                </a:lnTo>
                <a:close/>
                <a:moveTo>
                  <a:pt x="5025470" y="5264889"/>
                </a:moveTo>
                <a:lnTo>
                  <a:pt x="5035381" y="5264889"/>
                </a:lnTo>
                <a:lnTo>
                  <a:pt x="5039400" y="5268928"/>
                </a:lnTo>
                <a:lnTo>
                  <a:pt x="5039400" y="5278799"/>
                </a:lnTo>
                <a:lnTo>
                  <a:pt x="5035381" y="5282838"/>
                </a:lnTo>
                <a:lnTo>
                  <a:pt x="5025470" y="5282838"/>
                </a:lnTo>
                <a:lnTo>
                  <a:pt x="5021451" y="5278799"/>
                </a:lnTo>
                <a:lnTo>
                  <a:pt x="5021451" y="5268928"/>
                </a:lnTo>
                <a:close/>
                <a:moveTo>
                  <a:pt x="4786241" y="5264889"/>
                </a:moveTo>
                <a:lnTo>
                  <a:pt x="4796152" y="5264889"/>
                </a:lnTo>
                <a:lnTo>
                  <a:pt x="4800171" y="5268928"/>
                </a:lnTo>
                <a:lnTo>
                  <a:pt x="4800171" y="5278799"/>
                </a:lnTo>
                <a:lnTo>
                  <a:pt x="4796152" y="5282838"/>
                </a:lnTo>
                <a:lnTo>
                  <a:pt x="4786241" y="5282838"/>
                </a:lnTo>
                <a:lnTo>
                  <a:pt x="4782224" y="5278799"/>
                </a:lnTo>
                <a:lnTo>
                  <a:pt x="4782224" y="5268928"/>
                </a:lnTo>
                <a:close/>
                <a:moveTo>
                  <a:pt x="4546929" y="5264889"/>
                </a:moveTo>
                <a:lnTo>
                  <a:pt x="4556840" y="5264889"/>
                </a:lnTo>
                <a:lnTo>
                  <a:pt x="4560859" y="5268928"/>
                </a:lnTo>
                <a:lnTo>
                  <a:pt x="4560859" y="5278799"/>
                </a:lnTo>
                <a:lnTo>
                  <a:pt x="4556840" y="5282838"/>
                </a:lnTo>
                <a:lnTo>
                  <a:pt x="4546929" y="5282838"/>
                </a:lnTo>
                <a:lnTo>
                  <a:pt x="4542910" y="5278799"/>
                </a:lnTo>
                <a:lnTo>
                  <a:pt x="4542910" y="5268928"/>
                </a:lnTo>
                <a:close/>
                <a:moveTo>
                  <a:pt x="4307612" y="5264889"/>
                </a:moveTo>
                <a:lnTo>
                  <a:pt x="4317523" y="5264889"/>
                </a:lnTo>
                <a:lnTo>
                  <a:pt x="4321543" y="5268928"/>
                </a:lnTo>
                <a:lnTo>
                  <a:pt x="4321543" y="5278799"/>
                </a:lnTo>
                <a:lnTo>
                  <a:pt x="4317523" y="5282838"/>
                </a:lnTo>
                <a:lnTo>
                  <a:pt x="4307612" y="5282838"/>
                </a:lnTo>
                <a:lnTo>
                  <a:pt x="4303595" y="5278799"/>
                </a:lnTo>
                <a:lnTo>
                  <a:pt x="4303595" y="5268928"/>
                </a:lnTo>
                <a:close/>
                <a:moveTo>
                  <a:pt x="4068297" y="5264889"/>
                </a:moveTo>
                <a:lnTo>
                  <a:pt x="4078210" y="5264889"/>
                </a:lnTo>
                <a:lnTo>
                  <a:pt x="4082229" y="5268928"/>
                </a:lnTo>
                <a:lnTo>
                  <a:pt x="4082229" y="5278799"/>
                </a:lnTo>
                <a:lnTo>
                  <a:pt x="4078210" y="5282838"/>
                </a:lnTo>
                <a:lnTo>
                  <a:pt x="4068297" y="5282838"/>
                </a:lnTo>
                <a:lnTo>
                  <a:pt x="4064278" y="5278799"/>
                </a:lnTo>
                <a:lnTo>
                  <a:pt x="4064278" y="5268928"/>
                </a:lnTo>
                <a:close/>
                <a:moveTo>
                  <a:pt x="3828990" y="5264889"/>
                </a:moveTo>
                <a:lnTo>
                  <a:pt x="3838899" y="5264889"/>
                </a:lnTo>
                <a:lnTo>
                  <a:pt x="3842917" y="5268928"/>
                </a:lnTo>
                <a:lnTo>
                  <a:pt x="3842917" y="5278799"/>
                </a:lnTo>
                <a:lnTo>
                  <a:pt x="3838899" y="5282838"/>
                </a:lnTo>
                <a:lnTo>
                  <a:pt x="3828990" y="5282838"/>
                </a:lnTo>
                <a:lnTo>
                  <a:pt x="3824971" y="5278799"/>
                </a:lnTo>
                <a:lnTo>
                  <a:pt x="3824971" y="5268928"/>
                </a:lnTo>
                <a:close/>
                <a:moveTo>
                  <a:pt x="3589676" y="5264889"/>
                </a:moveTo>
                <a:lnTo>
                  <a:pt x="3599585" y="5264889"/>
                </a:lnTo>
                <a:lnTo>
                  <a:pt x="3603604" y="5268928"/>
                </a:lnTo>
                <a:lnTo>
                  <a:pt x="3603604" y="5278799"/>
                </a:lnTo>
                <a:lnTo>
                  <a:pt x="3599585" y="5282838"/>
                </a:lnTo>
                <a:lnTo>
                  <a:pt x="3589676" y="5282838"/>
                </a:lnTo>
                <a:lnTo>
                  <a:pt x="3585657" y="5278799"/>
                </a:lnTo>
                <a:lnTo>
                  <a:pt x="3585657" y="5268928"/>
                </a:lnTo>
                <a:close/>
                <a:moveTo>
                  <a:pt x="3350359" y="5264889"/>
                </a:moveTo>
                <a:lnTo>
                  <a:pt x="3360268" y="5264889"/>
                </a:lnTo>
                <a:lnTo>
                  <a:pt x="3364287" y="5268928"/>
                </a:lnTo>
                <a:lnTo>
                  <a:pt x="3364287" y="5278799"/>
                </a:lnTo>
                <a:lnTo>
                  <a:pt x="3360268" y="5282838"/>
                </a:lnTo>
                <a:lnTo>
                  <a:pt x="3350359" y="5282838"/>
                </a:lnTo>
                <a:lnTo>
                  <a:pt x="3346340" y="5278799"/>
                </a:lnTo>
                <a:lnTo>
                  <a:pt x="3346340" y="5268928"/>
                </a:lnTo>
                <a:close/>
                <a:moveTo>
                  <a:pt x="3111048" y="5264889"/>
                </a:moveTo>
                <a:lnTo>
                  <a:pt x="3120959" y="5264889"/>
                </a:lnTo>
                <a:lnTo>
                  <a:pt x="3124977" y="5268928"/>
                </a:lnTo>
                <a:lnTo>
                  <a:pt x="3124977" y="5278799"/>
                </a:lnTo>
                <a:lnTo>
                  <a:pt x="3120959" y="5282838"/>
                </a:lnTo>
                <a:lnTo>
                  <a:pt x="3111048" y="5282838"/>
                </a:lnTo>
                <a:lnTo>
                  <a:pt x="3107029" y="5278799"/>
                </a:lnTo>
                <a:lnTo>
                  <a:pt x="3107029" y="5268928"/>
                </a:lnTo>
                <a:close/>
                <a:moveTo>
                  <a:pt x="2871737" y="5264889"/>
                </a:moveTo>
                <a:lnTo>
                  <a:pt x="2881646" y="5264889"/>
                </a:lnTo>
                <a:lnTo>
                  <a:pt x="2885666" y="5268928"/>
                </a:lnTo>
                <a:lnTo>
                  <a:pt x="2885666" y="5278799"/>
                </a:lnTo>
                <a:lnTo>
                  <a:pt x="2881646" y="5282838"/>
                </a:lnTo>
                <a:lnTo>
                  <a:pt x="2871737" y="5282838"/>
                </a:lnTo>
                <a:lnTo>
                  <a:pt x="2867717" y="5278799"/>
                </a:lnTo>
                <a:lnTo>
                  <a:pt x="2867717" y="5268928"/>
                </a:lnTo>
                <a:close/>
                <a:moveTo>
                  <a:pt x="2632423" y="5264889"/>
                </a:moveTo>
                <a:lnTo>
                  <a:pt x="2642334" y="5264889"/>
                </a:lnTo>
                <a:lnTo>
                  <a:pt x="2646352" y="5268928"/>
                </a:lnTo>
                <a:lnTo>
                  <a:pt x="2646352" y="5278799"/>
                </a:lnTo>
                <a:lnTo>
                  <a:pt x="2642334" y="5282838"/>
                </a:lnTo>
                <a:lnTo>
                  <a:pt x="2632423" y="5282838"/>
                </a:lnTo>
                <a:lnTo>
                  <a:pt x="2628404" y="5278799"/>
                </a:lnTo>
                <a:lnTo>
                  <a:pt x="2628404" y="5268928"/>
                </a:lnTo>
                <a:close/>
                <a:moveTo>
                  <a:pt x="2393104" y="5264889"/>
                </a:moveTo>
                <a:lnTo>
                  <a:pt x="2403015" y="5264889"/>
                </a:lnTo>
                <a:lnTo>
                  <a:pt x="2407034" y="5268928"/>
                </a:lnTo>
                <a:lnTo>
                  <a:pt x="2407034" y="5278799"/>
                </a:lnTo>
                <a:lnTo>
                  <a:pt x="2403015" y="5282838"/>
                </a:lnTo>
                <a:lnTo>
                  <a:pt x="2393104" y="5282838"/>
                </a:lnTo>
                <a:lnTo>
                  <a:pt x="2389087" y="5278799"/>
                </a:lnTo>
                <a:lnTo>
                  <a:pt x="2389087" y="5268928"/>
                </a:lnTo>
                <a:close/>
                <a:moveTo>
                  <a:pt x="721961" y="5264889"/>
                </a:moveTo>
                <a:lnTo>
                  <a:pt x="731872" y="5264889"/>
                </a:lnTo>
                <a:lnTo>
                  <a:pt x="735891" y="5268928"/>
                </a:lnTo>
                <a:lnTo>
                  <a:pt x="735891" y="5278799"/>
                </a:lnTo>
                <a:lnTo>
                  <a:pt x="731872" y="5282838"/>
                </a:lnTo>
                <a:lnTo>
                  <a:pt x="721961" y="5282838"/>
                </a:lnTo>
                <a:lnTo>
                  <a:pt x="717943" y="5278799"/>
                </a:lnTo>
                <a:lnTo>
                  <a:pt x="717943" y="5268928"/>
                </a:lnTo>
                <a:close/>
                <a:moveTo>
                  <a:pt x="482649" y="5264889"/>
                </a:moveTo>
                <a:lnTo>
                  <a:pt x="492560" y="5264889"/>
                </a:lnTo>
                <a:lnTo>
                  <a:pt x="496579" y="5268928"/>
                </a:lnTo>
                <a:lnTo>
                  <a:pt x="496579" y="5278799"/>
                </a:lnTo>
                <a:lnTo>
                  <a:pt x="492560" y="5282838"/>
                </a:lnTo>
                <a:lnTo>
                  <a:pt x="482649" y="5282838"/>
                </a:lnTo>
                <a:lnTo>
                  <a:pt x="478630" y="5278799"/>
                </a:lnTo>
                <a:lnTo>
                  <a:pt x="478630" y="5268928"/>
                </a:lnTo>
                <a:close/>
                <a:moveTo>
                  <a:pt x="243336" y="5264889"/>
                </a:moveTo>
                <a:lnTo>
                  <a:pt x="253246" y="5264889"/>
                </a:lnTo>
                <a:lnTo>
                  <a:pt x="257265" y="5268928"/>
                </a:lnTo>
                <a:lnTo>
                  <a:pt x="257265" y="5278799"/>
                </a:lnTo>
                <a:lnTo>
                  <a:pt x="253246" y="5282838"/>
                </a:lnTo>
                <a:lnTo>
                  <a:pt x="243336" y="5282838"/>
                </a:lnTo>
                <a:lnTo>
                  <a:pt x="239317" y="5278799"/>
                </a:lnTo>
                <a:lnTo>
                  <a:pt x="239317" y="5268928"/>
                </a:lnTo>
                <a:close/>
                <a:moveTo>
                  <a:pt x="4022" y="5264889"/>
                </a:moveTo>
                <a:lnTo>
                  <a:pt x="13933" y="5264889"/>
                </a:lnTo>
                <a:lnTo>
                  <a:pt x="17952" y="5268928"/>
                </a:lnTo>
                <a:lnTo>
                  <a:pt x="17952" y="5278799"/>
                </a:lnTo>
                <a:lnTo>
                  <a:pt x="13933" y="5282838"/>
                </a:lnTo>
                <a:lnTo>
                  <a:pt x="4022" y="5282838"/>
                </a:lnTo>
                <a:lnTo>
                  <a:pt x="3" y="5278799"/>
                </a:lnTo>
                <a:lnTo>
                  <a:pt x="3" y="5268928"/>
                </a:lnTo>
                <a:close/>
                <a:moveTo>
                  <a:pt x="2157819" y="5025610"/>
                </a:moveTo>
                <a:lnTo>
                  <a:pt x="2167729" y="5025610"/>
                </a:lnTo>
                <a:lnTo>
                  <a:pt x="2171748" y="5029648"/>
                </a:lnTo>
                <a:lnTo>
                  <a:pt x="2171748" y="5039519"/>
                </a:lnTo>
                <a:lnTo>
                  <a:pt x="2167729" y="5043558"/>
                </a:lnTo>
                <a:lnTo>
                  <a:pt x="2157819" y="5043558"/>
                </a:lnTo>
                <a:lnTo>
                  <a:pt x="2153800" y="5039519"/>
                </a:lnTo>
                <a:lnTo>
                  <a:pt x="2153800" y="5029648"/>
                </a:lnTo>
                <a:close/>
                <a:moveTo>
                  <a:pt x="1918510" y="5025610"/>
                </a:moveTo>
                <a:lnTo>
                  <a:pt x="1928420" y="5025610"/>
                </a:lnTo>
                <a:lnTo>
                  <a:pt x="1932440" y="5029648"/>
                </a:lnTo>
                <a:lnTo>
                  <a:pt x="1932440" y="5039519"/>
                </a:lnTo>
                <a:lnTo>
                  <a:pt x="1928420" y="5043558"/>
                </a:lnTo>
                <a:lnTo>
                  <a:pt x="1918510" y="5043558"/>
                </a:lnTo>
                <a:lnTo>
                  <a:pt x="1914492" y="5039519"/>
                </a:lnTo>
                <a:lnTo>
                  <a:pt x="1914492" y="5029648"/>
                </a:lnTo>
                <a:close/>
                <a:moveTo>
                  <a:pt x="1679204" y="5025610"/>
                </a:moveTo>
                <a:lnTo>
                  <a:pt x="1689115" y="5025610"/>
                </a:lnTo>
                <a:lnTo>
                  <a:pt x="1693133" y="5029648"/>
                </a:lnTo>
                <a:lnTo>
                  <a:pt x="1693133" y="5039519"/>
                </a:lnTo>
                <a:lnTo>
                  <a:pt x="1689115" y="5043558"/>
                </a:lnTo>
                <a:lnTo>
                  <a:pt x="1679204" y="5043558"/>
                </a:lnTo>
                <a:lnTo>
                  <a:pt x="1675185" y="5039519"/>
                </a:lnTo>
                <a:lnTo>
                  <a:pt x="1675185" y="5029648"/>
                </a:lnTo>
                <a:close/>
                <a:moveTo>
                  <a:pt x="1439889" y="5025610"/>
                </a:moveTo>
                <a:lnTo>
                  <a:pt x="1449798" y="5025610"/>
                </a:lnTo>
                <a:lnTo>
                  <a:pt x="1453818" y="5029648"/>
                </a:lnTo>
                <a:lnTo>
                  <a:pt x="1453818" y="5039519"/>
                </a:lnTo>
                <a:lnTo>
                  <a:pt x="1449798" y="5043558"/>
                </a:lnTo>
                <a:lnTo>
                  <a:pt x="1439889" y="5043558"/>
                </a:lnTo>
                <a:lnTo>
                  <a:pt x="1435870" y="5039519"/>
                </a:lnTo>
                <a:lnTo>
                  <a:pt x="1435870" y="5029648"/>
                </a:lnTo>
                <a:close/>
                <a:moveTo>
                  <a:pt x="1200573" y="5025610"/>
                </a:moveTo>
                <a:lnTo>
                  <a:pt x="1210484" y="5025610"/>
                </a:lnTo>
                <a:lnTo>
                  <a:pt x="1214502" y="5029648"/>
                </a:lnTo>
                <a:lnTo>
                  <a:pt x="1214502" y="5039519"/>
                </a:lnTo>
                <a:lnTo>
                  <a:pt x="1210484" y="5043558"/>
                </a:lnTo>
                <a:lnTo>
                  <a:pt x="1200573" y="5043558"/>
                </a:lnTo>
                <a:lnTo>
                  <a:pt x="1196555" y="5039519"/>
                </a:lnTo>
                <a:lnTo>
                  <a:pt x="1196555" y="5029648"/>
                </a:lnTo>
                <a:close/>
                <a:moveTo>
                  <a:pt x="961261" y="5025610"/>
                </a:moveTo>
                <a:lnTo>
                  <a:pt x="971171" y="5025610"/>
                </a:lnTo>
                <a:lnTo>
                  <a:pt x="975190" y="5029648"/>
                </a:lnTo>
                <a:lnTo>
                  <a:pt x="975190" y="5039519"/>
                </a:lnTo>
                <a:lnTo>
                  <a:pt x="971171" y="5043558"/>
                </a:lnTo>
                <a:lnTo>
                  <a:pt x="961261" y="5043558"/>
                </a:lnTo>
                <a:lnTo>
                  <a:pt x="957242" y="5039519"/>
                </a:lnTo>
                <a:lnTo>
                  <a:pt x="957242" y="5029648"/>
                </a:lnTo>
                <a:close/>
                <a:moveTo>
                  <a:pt x="9572438" y="5025558"/>
                </a:moveTo>
                <a:lnTo>
                  <a:pt x="9582349" y="5025558"/>
                </a:lnTo>
                <a:lnTo>
                  <a:pt x="9586368" y="5029597"/>
                </a:lnTo>
                <a:lnTo>
                  <a:pt x="9586368" y="5039468"/>
                </a:lnTo>
                <a:lnTo>
                  <a:pt x="9582349" y="5043507"/>
                </a:lnTo>
                <a:lnTo>
                  <a:pt x="9572438" y="5043507"/>
                </a:lnTo>
                <a:lnTo>
                  <a:pt x="9568419" y="5039468"/>
                </a:lnTo>
                <a:lnTo>
                  <a:pt x="9568419" y="5029597"/>
                </a:lnTo>
                <a:close/>
                <a:moveTo>
                  <a:pt x="9333125" y="5025558"/>
                </a:moveTo>
                <a:lnTo>
                  <a:pt x="9343036" y="5025558"/>
                </a:lnTo>
                <a:lnTo>
                  <a:pt x="9347055" y="5029597"/>
                </a:lnTo>
                <a:lnTo>
                  <a:pt x="9347055" y="5039468"/>
                </a:lnTo>
                <a:lnTo>
                  <a:pt x="9343036" y="5043507"/>
                </a:lnTo>
                <a:lnTo>
                  <a:pt x="9333125" y="5043507"/>
                </a:lnTo>
                <a:lnTo>
                  <a:pt x="9329106" y="5039468"/>
                </a:lnTo>
                <a:lnTo>
                  <a:pt x="9329106" y="5029597"/>
                </a:lnTo>
                <a:close/>
                <a:moveTo>
                  <a:pt x="9093811" y="5025558"/>
                </a:moveTo>
                <a:lnTo>
                  <a:pt x="9103722" y="5025558"/>
                </a:lnTo>
                <a:lnTo>
                  <a:pt x="9107741" y="5029597"/>
                </a:lnTo>
                <a:lnTo>
                  <a:pt x="9107741" y="5039468"/>
                </a:lnTo>
                <a:lnTo>
                  <a:pt x="9103722" y="5043507"/>
                </a:lnTo>
                <a:lnTo>
                  <a:pt x="9093811" y="5043507"/>
                </a:lnTo>
                <a:lnTo>
                  <a:pt x="9089792" y="5039468"/>
                </a:lnTo>
                <a:lnTo>
                  <a:pt x="9089792" y="5029597"/>
                </a:lnTo>
                <a:close/>
                <a:moveTo>
                  <a:pt x="8854496" y="5025558"/>
                </a:moveTo>
                <a:lnTo>
                  <a:pt x="8864407" y="5025558"/>
                </a:lnTo>
                <a:lnTo>
                  <a:pt x="8868426" y="5029597"/>
                </a:lnTo>
                <a:lnTo>
                  <a:pt x="8868426" y="5039468"/>
                </a:lnTo>
                <a:lnTo>
                  <a:pt x="8864407" y="5043507"/>
                </a:lnTo>
                <a:lnTo>
                  <a:pt x="8854496" y="5043507"/>
                </a:lnTo>
                <a:lnTo>
                  <a:pt x="8850477" y="5039468"/>
                </a:lnTo>
                <a:lnTo>
                  <a:pt x="8850477" y="5029597"/>
                </a:lnTo>
                <a:close/>
                <a:moveTo>
                  <a:pt x="8615184" y="5025558"/>
                </a:moveTo>
                <a:lnTo>
                  <a:pt x="8625095" y="5025558"/>
                </a:lnTo>
                <a:lnTo>
                  <a:pt x="8629114" y="5029597"/>
                </a:lnTo>
                <a:lnTo>
                  <a:pt x="8629114" y="5039468"/>
                </a:lnTo>
                <a:lnTo>
                  <a:pt x="8625095" y="5043507"/>
                </a:lnTo>
                <a:lnTo>
                  <a:pt x="8615184" y="5043507"/>
                </a:lnTo>
                <a:lnTo>
                  <a:pt x="8611165" y="5039468"/>
                </a:lnTo>
                <a:lnTo>
                  <a:pt x="8611165" y="5029597"/>
                </a:lnTo>
                <a:close/>
                <a:moveTo>
                  <a:pt x="8375869" y="5025558"/>
                </a:moveTo>
                <a:lnTo>
                  <a:pt x="8385779" y="5025558"/>
                </a:lnTo>
                <a:lnTo>
                  <a:pt x="8389799" y="5029597"/>
                </a:lnTo>
                <a:lnTo>
                  <a:pt x="8389799" y="5039468"/>
                </a:lnTo>
                <a:lnTo>
                  <a:pt x="8385779" y="5043507"/>
                </a:lnTo>
                <a:lnTo>
                  <a:pt x="8375869" y="5043507"/>
                </a:lnTo>
                <a:lnTo>
                  <a:pt x="8371850" y="5039468"/>
                </a:lnTo>
                <a:lnTo>
                  <a:pt x="8371850" y="5029597"/>
                </a:lnTo>
                <a:close/>
                <a:moveTo>
                  <a:pt x="8136553" y="5025558"/>
                </a:moveTo>
                <a:lnTo>
                  <a:pt x="8146464" y="5025558"/>
                </a:lnTo>
                <a:lnTo>
                  <a:pt x="8150483" y="5029597"/>
                </a:lnTo>
                <a:lnTo>
                  <a:pt x="8150483" y="5039468"/>
                </a:lnTo>
                <a:lnTo>
                  <a:pt x="8146464" y="5043507"/>
                </a:lnTo>
                <a:lnTo>
                  <a:pt x="8136553" y="5043507"/>
                </a:lnTo>
                <a:lnTo>
                  <a:pt x="8132534" y="5039468"/>
                </a:lnTo>
                <a:lnTo>
                  <a:pt x="8132534" y="5029597"/>
                </a:lnTo>
                <a:close/>
                <a:moveTo>
                  <a:pt x="7897241" y="5025558"/>
                </a:moveTo>
                <a:lnTo>
                  <a:pt x="7907151" y="5025558"/>
                </a:lnTo>
                <a:lnTo>
                  <a:pt x="7911170" y="5029597"/>
                </a:lnTo>
                <a:lnTo>
                  <a:pt x="7911170" y="5039468"/>
                </a:lnTo>
                <a:lnTo>
                  <a:pt x="7907151" y="5043507"/>
                </a:lnTo>
                <a:lnTo>
                  <a:pt x="7897241" y="5043507"/>
                </a:lnTo>
                <a:lnTo>
                  <a:pt x="7893222" y="5039468"/>
                </a:lnTo>
                <a:lnTo>
                  <a:pt x="7893222" y="5029597"/>
                </a:lnTo>
                <a:close/>
                <a:moveTo>
                  <a:pt x="7657926" y="5025558"/>
                </a:moveTo>
                <a:lnTo>
                  <a:pt x="7667836" y="5025558"/>
                </a:lnTo>
                <a:lnTo>
                  <a:pt x="7671855" y="5029597"/>
                </a:lnTo>
                <a:lnTo>
                  <a:pt x="7671855" y="5039468"/>
                </a:lnTo>
                <a:lnTo>
                  <a:pt x="7667836" y="5043507"/>
                </a:lnTo>
                <a:lnTo>
                  <a:pt x="7657926" y="5043507"/>
                </a:lnTo>
                <a:lnTo>
                  <a:pt x="7653906" y="5039468"/>
                </a:lnTo>
                <a:lnTo>
                  <a:pt x="7653906" y="5029597"/>
                </a:lnTo>
                <a:close/>
                <a:moveTo>
                  <a:pt x="7418611" y="5025558"/>
                </a:moveTo>
                <a:lnTo>
                  <a:pt x="7428521" y="5025558"/>
                </a:lnTo>
                <a:lnTo>
                  <a:pt x="7432540" y="5029597"/>
                </a:lnTo>
                <a:lnTo>
                  <a:pt x="7432540" y="5039468"/>
                </a:lnTo>
                <a:lnTo>
                  <a:pt x="7428521" y="5043507"/>
                </a:lnTo>
                <a:lnTo>
                  <a:pt x="7418611" y="5043507"/>
                </a:lnTo>
                <a:lnTo>
                  <a:pt x="7414592" y="5039468"/>
                </a:lnTo>
                <a:lnTo>
                  <a:pt x="7414592" y="5029597"/>
                </a:lnTo>
                <a:close/>
                <a:moveTo>
                  <a:pt x="7179298" y="5025558"/>
                </a:moveTo>
                <a:lnTo>
                  <a:pt x="7189209" y="5025558"/>
                </a:lnTo>
                <a:lnTo>
                  <a:pt x="7193228" y="5029597"/>
                </a:lnTo>
                <a:lnTo>
                  <a:pt x="7193228" y="5039468"/>
                </a:lnTo>
                <a:lnTo>
                  <a:pt x="7189209" y="5043507"/>
                </a:lnTo>
                <a:lnTo>
                  <a:pt x="7179298" y="5043507"/>
                </a:lnTo>
                <a:lnTo>
                  <a:pt x="7175279" y="5039468"/>
                </a:lnTo>
                <a:lnTo>
                  <a:pt x="7175279" y="5029597"/>
                </a:lnTo>
                <a:close/>
                <a:moveTo>
                  <a:pt x="6939983" y="5025558"/>
                </a:moveTo>
                <a:lnTo>
                  <a:pt x="6949894" y="5025558"/>
                </a:lnTo>
                <a:lnTo>
                  <a:pt x="6953913" y="5029597"/>
                </a:lnTo>
                <a:lnTo>
                  <a:pt x="6953913" y="5039468"/>
                </a:lnTo>
                <a:lnTo>
                  <a:pt x="6949894" y="5043507"/>
                </a:lnTo>
                <a:lnTo>
                  <a:pt x="6939983" y="5043507"/>
                </a:lnTo>
                <a:lnTo>
                  <a:pt x="6935964" y="5039468"/>
                </a:lnTo>
                <a:lnTo>
                  <a:pt x="6935964" y="5029597"/>
                </a:lnTo>
                <a:close/>
                <a:moveTo>
                  <a:pt x="6700670" y="5025558"/>
                </a:moveTo>
                <a:lnTo>
                  <a:pt x="6710581" y="5025558"/>
                </a:lnTo>
                <a:lnTo>
                  <a:pt x="6714600" y="5029597"/>
                </a:lnTo>
                <a:lnTo>
                  <a:pt x="6714600" y="5039468"/>
                </a:lnTo>
                <a:lnTo>
                  <a:pt x="6710581" y="5043507"/>
                </a:lnTo>
                <a:lnTo>
                  <a:pt x="6700670" y="5043507"/>
                </a:lnTo>
                <a:lnTo>
                  <a:pt x="6696651" y="5039468"/>
                </a:lnTo>
                <a:lnTo>
                  <a:pt x="6696651" y="5029597"/>
                </a:lnTo>
                <a:close/>
                <a:moveTo>
                  <a:pt x="6461356" y="5025558"/>
                </a:moveTo>
                <a:lnTo>
                  <a:pt x="6471266" y="5025558"/>
                </a:lnTo>
                <a:lnTo>
                  <a:pt x="6475285" y="5029597"/>
                </a:lnTo>
                <a:lnTo>
                  <a:pt x="6475285" y="5039468"/>
                </a:lnTo>
                <a:lnTo>
                  <a:pt x="6471266" y="5043507"/>
                </a:lnTo>
                <a:lnTo>
                  <a:pt x="6461356" y="5043507"/>
                </a:lnTo>
                <a:lnTo>
                  <a:pt x="6457337" y="5039468"/>
                </a:lnTo>
                <a:lnTo>
                  <a:pt x="6457337" y="5029597"/>
                </a:lnTo>
                <a:close/>
                <a:moveTo>
                  <a:pt x="6222042" y="5025558"/>
                </a:moveTo>
                <a:lnTo>
                  <a:pt x="6231952" y="5025558"/>
                </a:lnTo>
                <a:lnTo>
                  <a:pt x="6235971" y="5029597"/>
                </a:lnTo>
                <a:lnTo>
                  <a:pt x="6235971" y="5039468"/>
                </a:lnTo>
                <a:lnTo>
                  <a:pt x="6231952" y="5043507"/>
                </a:lnTo>
                <a:lnTo>
                  <a:pt x="6222042" y="5043507"/>
                </a:lnTo>
                <a:lnTo>
                  <a:pt x="6218023" y="5039468"/>
                </a:lnTo>
                <a:lnTo>
                  <a:pt x="6218023" y="5029597"/>
                </a:lnTo>
                <a:close/>
                <a:moveTo>
                  <a:pt x="5982729" y="5025558"/>
                </a:moveTo>
                <a:lnTo>
                  <a:pt x="5992639" y="5025558"/>
                </a:lnTo>
                <a:lnTo>
                  <a:pt x="5996658" y="5029597"/>
                </a:lnTo>
                <a:lnTo>
                  <a:pt x="5996658" y="5039468"/>
                </a:lnTo>
                <a:lnTo>
                  <a:pt x="5992639" y="5043507"/>
                </a:lnTo>
                <a:lnTo>
                  <a:pt x="5982729" y="5043507"/>
                </a:lnTo>
                <a:lnTo>
                  <a:pt x="5978710" y="5039468"/>
                </a:lnTo>
                <a:lnTo>
                  <a:pt x="5978710" y="5029597"/>
                </a:lnTo>
                <a:close/>
                <a:moveTo>
                  <a:pt x="5743412" y="5025558"/>
                </a:moveTo>
                <a:lnTo>
                  <a:pt x="5753323" y="5025558"/>
                </a:lnTo>
                <a:lnTo>
                  <a:pt x="5757342" y="5029597"/>
                </a:lnTo>
                <a:lnTo>
                  <a:pt x="5757342" y="5039468"/>
                </a:lnTo>
                <a:lnTo>
                  <a:pt x="5753323" y="5043507"/>
                </a:lnTo>
                <a:lnTo>
                  <a:pt x="5743412" y="5043507"/>
                </a:lnTo>
                <a:lnTo>
                  <a:pt x="5739393" y="5039468"/>
                </a:lnTo>
                <a:lnTo>
                  <a:pt x="5739393" y="5029597"/>
                </a:lnTo>
                <a:close/>
                <a:moveTo>
                  <a:pt x="5504099" y="5025558"/>
                </a:moveTo>
                <a:lnTo>
                  <a:pt x="5514010" y="5025558"/>
                </a:lnTo>
                <a:lnTo>
                  <a:pt x="5518029" y="5029597"/>
                </a:lnTo>
                <a:lnTo>
                  <a:pt x="5518029" y="5039468"/>
                </a:lnTo>
                <a:lnTo>
                  <a:pt x="5514010" y="5043507"/>
                </a:lnTo>
                <a:lnTo>
                  <a:pt x="5504099" y="5043507"/>
                </a:lnTo>
                <a:lnTo>
                  <a:pt x="5500080" y="5039468"/>
                </a:lnTo>
                <a:lnTo>
                  <a:pt x="5500080" y="5029597"/>
                </a:lnTo>
                <a:close/>
                <a:moveTo>
                  <a:pt x="5264784" y="5025558"/>
                </a:moveTo>
                <a:lnTo>
                  <a:pt x="5274694" y="5025558"/>
                </a:lnTo>
                <a:lnTo>
                  <a:pt x="5278713" y="5029597"/>
                </a:lnTo>
                <a:lnTo>
                  <a:pt x="5278713" y="5039468"/>
                </a:lnTo>
                <a:lnTo>
                  <a:pt x="5274694" y="5043507"/>
                </a:lnTo>
                <a:lnTo>
                  <a:pt x="5264784" y="5043507"/>
                </a:lnTo>
                <a:lnTo>
                  <a:pt x="5260765" y="5039468"/>
                </a:lnTo>
                <a:lnTo>
                  <a:pt x="5260765" y="5029597"/>
                </a:lnTo>
                <a:close/>
                <a:moveTo>
                  <a:pt x="5025470" y="5025558"/>
                </a:moveTo>
                <a:lnTo>
                  <a:pt x="5035381" y="5025558"/>
                </a:lnTo>
                <a:lnTo>
                  <a:pt x="5039400" y="5029597"/>
                </a:lnTo>
                <a:lnTo>
                  <a:pt x="5039400" y="5039468"/>
                </a:lnTo>
                <a:lnTo>
                  <a:pt x="5035381" y="5043507"/>
                </a:lnTo>
                <a:lnTo>
                  <a:pt x="5025470" y="5043507"/>
                </a:lnTo>
                <a:lnTo>
                  <a:pt x="5021451" y="5039468"/>
                </a:lnTo>
                <a:lnTo>
                  <a:pt x="5021451" y="5029597"/>
                </a:lnTo>
                <a:close/>
                <a:moveTo>
                  <a:pt x="4786241" y="5025558"/>
                </a:moveTo>
                <a:lnTo>
                  <a:pt x="4796152" y="5025558"/>
                </a:lnTo>
                <a:lnTo>
                  <a:pt x="4800171" y="5029597"/>
                </a:lnTo>
                <a:lnTo>
                  <a:pt x="4800171" y="5039468"/>
                </a:lnTo>
                <a:lnTo>
                  <a:pt x="4796152" y="5043507"/>
                </a:lnTo>
                <a:lnTo>
                  <a:pt x="4786241" y="5043507"/>
                </a:lnTo>
                <a:lnTo>
                  <a:pt x="4782224" y="5039468"/>
                </a:lnTo>
                <a:lnTo>
                  <a:pt x="4782224" y="5029597"/>
                </a:lnTo>
                <a:close/>
                <a:moveTo>
                  <a:pt x="4546929" y="5025558"/>
                </a:moveTo>
                <a:lnTo>
                  <a:pt x="4556840" y="5025558"/>
                </a:lnTo>
                <a:lnTo>
                  <a:pt x="4560859" y="5029597"/>
                </a:lnTo>
                <a:lnTo>
                  <a:pt x="4560859" y="5039468"/>
                </a:lnTo>
                <a:lnTo>
                  <a:pt x="4556840" y="5043507"/>
                </a:lnTo>
                <a:lnTo>
                  <a:pt x="4546929" y="5043507"/>
                </a:lnTo>
                <a:lnTo>
                  <a:pt x="4542910" y="5039468"/>
                </a:lnTo>
                <a:lnTo>
                  <a:pt x="4542910" y="5029597"/>
                </a:lnTo>
                <a:close/>
                <a:moveTo>
                  <a:pt x="4307612" y="5025558"/>
                </a:moveTo>
                <a:lnTo>
                  <a:pt x="4317523" y="5025558"/>
                </a:lnTo>
                <a:lnTo>
                  <a:pt x="4321543" y="5029597"/>
                </a:lnTo>
                <a:lnTo>
                  <a:pt x="4321543" y="5039468"/>
                </a:lnTo>
                <a:lnTo>
                  <a:pt x="4317523" y="5043507"/>
                </a:lnTo>
                <a:lnTo>
                  <a:pt x="4307612" y="5043507"/>
                </a:lnTo>
                <a:lnTo>
                  <a:pt x="4303595" y="5039468"/>
                </a:lnTo>
                <a:lnTo>
                  <a:pt x="4303595" y="5029597"/>
                </a:lnTo>
                <a:close/>
                <a:moveTo>
                  <a:pt x="4068297" y="5025558"/>
                </a:moveTo>
                <a:lnTo>
                  <a:pt x="4078210" y="5025558"/>
                </a:lnTo>
                <a:lnTo>
                  <a:pt x="4082229" y="5029597"/>
                </a:lnTo>
                <a:lnTo>
                  <a:pt x="4082229" y="5039468"/>
                </a:lnTo>
                <a:lnTo>
                  <a:pt x="4078210" y="5043507"/>
                </a:lnTo>
                <a:lnTo>
                  <a:pt x="4068297" y="5043507"/>
                </a:lnTo>
                <a:lnTo>
                  <a:pt x="4064278" y="5039468"/>
                </a:lnTo>
                <a:lnTo>
                  <a:pt x="4064278" y="5029597"/>
                </a:lnTo>
                <a:close/>
                <a:moveTo>
                  <a:pt x="3828990" y="5025558"/>
                </a:moveTo>
                <a:lnTo>
                  <a:pt x="3838899" y="5025558"/>
                </a:lnTo>
                <a:lnTo>
                  <a:pt x="3842917" y="5029597"/>
                </a:lnTo>
                <a:lnTo>
                  <a:pt x="3842917" y="5039468"/>
                </a:lnTo>
                <a:lnTo>
                  <a:pt x="3838899" y="5043507"/>
                </a:lnTo>
                <a:lnTo>
                  <a:pt x="3828990" y="5043507"/>
                </a:lnTo>
                <a:lnTo>
                  <a:pt x="3824971" y="5039468"/>
                </a:lnTo>
                <a:lnTo>
                  <a:pt x="3824971" y="5029597"/>
                </a:lnTo>
                <a:close/>
                <a:moveTo>
                  <a:pt x="3589676" y="5025558"/>
                </a:moveTo>
                <a:lnTo>
                  <a:pt x="3599585" y="5025558"/>
                </a:lnTo>
                <a:lnTo>
                  <a:pt x="3603604" y="5029597"/>
                </a:lnTo>
                <a:lnTo>
                  <a:pt x="3603604" y="5039468"/>
                </a:lnTo>
                <a:lnTo>
                  <a:pt x="3599585" y="5043507"/>
                </a:lnTo>
                <a:lnTo>
                  <a:pt x="3589676" y="5043507"/>
                </a:lnTo>
                <a:lnTo>
                  <a:pt x="3585657" y="5039468"/>
                </a:lnTo>
                <a:lnTo>
                  <a:pt x="3585657" y="5029597"/>
                </a:lnTo>
                <a:close/>
                <a:moveTo>
                  <a:pt x="3350359" y="5025558"/>
                </a:moveTo>
                <a:lnTo>
                  <a:pt x="3360268" y="5025558"/>
                </a:lnTo>
                <a:lnTo>
                  <a:pt x="3364287" y="5029597"/>
                </a:lnTo>
                <a:lnTo>
                  <a:pt x="3364287" y="5039468"/>
                </a:lnTo>
                <a:lnTo>
                  <a:pt x="3360268" y="5043507"/>
                </a:lnTo>
                <a:lnTo>
                  <a:pt x="3350359" y="5043507"/>
                </a:lnTo>
                <a:lnTo>
                  <a:pt x="3346340" y="5039468"/>
                </a:lnTo>
                <a:lnTo>
                  <a:pt x="3346340" y="5029597"/>
                </a:lnTo>
                <a:close/>
                <a:moveTo>
                  <a:pt x="3111048" y="5025558"/>
                </a:moveTo>
                <a:lnTo>
                  <a:pt x="3120959" y="5025558"/>
                </a:lnTo>
                <a:lnTo>
                  <a:pt x="3124977" y="5029597"/>
                </a:lnTo>
                <a:lnTo>
                  <a:pt x="3124977" y="5039468"/>
                </a:lnTo>
                <a:lnTo>
                  <a:pt x="3120959" y="5043507"/>
                </a:lnTo>
                <a:lnTo>
                  <a:pt x="3111048" y="5043507"/>
                </a:lnTo>
                <a:lnTo>
                  <a:pt x="3107029" y="5039468"/>
                </a:lnTo>
                <a:lnTo>
                  <a:pt x="3107029" y="5029597"/>
                </a:lnTo>
                <a:close/>
                <a:moveTo>
                  <a:pt x="2871737" y="5025558"/>
                </a:moveTo>
                <a:lnTo>
                  <a:pt x="2881646" y="5025558"/>
                </a:lnTo>
                <a:lnTo>
                  <a:pt x="2885666" y="5029597"/>
                </a:lnTo>
                <a:lnTo>
                  <a:pt x="2885666" y="5039468"/>
                </a:lnTo>
                <a:lnTo>
                  <a:pt x="2881646" y="5043507"/>
                </a:lnTo>
                <a:lnTo>
                  <a:pt x="2871737" y="5043507"/>
                </a:lnTo>
                <a:lnTo>
                  <a:pt x="2867717" y="5039468"/>
                </a:lnTo>
                <a:lnTo>
                  <a:pt x="2867717" y="5029597"/>
                </a:lnTo>
                <a:close/>
                <a:moveTo>
                  <a:pt x="2632423" y="5025558"/>
                </a:moveTo>
                <a:lnTo>
                  <a:pt x="2642334" y="5025558"/>
                </a:lnTo>
                <a:lnTo>
                  <a:pt x="2646352" y="5029597"/>
                </a:lnTo>
                <a:lnTo>
                  <a:pt x="2646352" y="5039468"/>
                </a:lnTo>
                <a:lnTo>
                  <a:pt x="2642334" y="5043507"/>
                </a:lnTo>
                <a:lnTo>
                  <a:pt x="2632423" y="5043507"/>
                </a:lnTo>
                <a:lnTo>
                  <a:pt x="2628404" y="5039468"/>
                </a:lnTo>
                <a:lnTo>
                  <a:pt x="2628404" y="5029597"/>
                </a:lnTo>
                <a:close/>
                <a:moveTo>
                  <a:pt x="2393104" y="5025558"/>
                </a:moveTo>
                <a:lnTo>
                  <a:pt x="2403015" y="5025558"/>
                </a:lnTo>
                <a:lnTo>
                  <a:pt x="2407034" y="5029597"/>
                </a:lnTo>
                <a:lnTo>
                  <a:pt x="2407034" y="5039468"/>
                </a:lnTo>
                <a:lnTo>
                  <a:pt x="2403015" y="5043507"/>
                </a:lnTo>
                <a:lnTo>
                  <a:pt x="2393104" y="5043507"/>
                </a:lnTo>
                <a:lnTo>
                  <a:pt x="2389087" y="5039468"/>
                </a:lnTo>
                <a:lnTo>
                  <a:pt x="2389087" y="5029597"/>
                </a:lnTo>
                <a:close/>
                <a:moveTo>
                  <a:pt x="721962" y="5025558"/>
                </a:moveTo>
                <a:lnTo>
                  <a:pt x="731872" y="5025558"/>
                </a:lnTo>
                <a:lnTo>
                  <a:pt x="735891" y="5029597"/>
                </a:lnTo>
                <a:lnTo>
                  <a:pt x="735891" y="5039468"/>
                </a:lnTo>
                <a:lnTo>
                  <a:pt x="731872" y="5043507"/>
                </a:lnTo>
                <a:lnTo>
                  <a:pt x="721962" y="5043507"/>
                </a:lnTo>
                <a:lnTo>
                  <a:pt x="717944" y="5039468"/>
                </a:lnTo>
                <a:lnTo>
                  <a:pt x="717944" y="5029597"/>
                </a:lnTo>
                <a:close/>
                <a:moveTo>
                  <a:pt x="482650" y="5025558"/>
                </a:moveTo>
                <a:lnTo>
                  <a:pt x="492560" y="5025558"/>
                </a:lnTo>
                <a:lnTo>
                  <a:pt x="496580" y="5029597"/>
                </a:lnTo>
                <a:lnTo>
                  <a:pt x="496580" y="5039468"/>
                </a:lnTo>
                <a:lnTo>
                  <a:pt x="492560" y="5043507"/>
                </a:lnTo>
                <a:lnTo>
                  <a:pt x="482650" y="5043507"/>
                </a:lnTo>
                <a:lnTo>
                  <a:pt x="478631" y="5039468"/>
                </a:lnTo>
                <a:lnTo>
                  <a:pt x="478631" y="5029597"/>
                </a:lnTo>
                <a:close/>
                <a:moveTo>
                  <a:pt x="243336" y="5025558"/>
                </a:moveTo>
                <a:lnTo>
                  <a:pt x="253247" y="5025558"/>
                </a:lnTo>
                <a:lnTo>
                  <a:pt x="257266" y="5029597"/>
                </a:lnTo>
                <a:lnTo>
                  <a:pt x="257266" y="5039468"/>
                </a:lnTo>
                <a:lnTo>
                  <a:pt x="253247" y="5043507"/>
                </a:lnTo>
                <a:lnTo>
                  <a:pt x="243336" y="5043507"/>
                </a:lnTo>
                <a:lnTo>
                  <a:pt x="239317" y="5039468"/>
                </a:lnTo>
                <a:lnTo>
                  <a:pt x="239317" y="5029597"/>
                </a:lnTo>
                <a:close/>
                <a:moveTo>
                  <a:pt x="4024" y="5025558"/>
                </a:moveTo>
                <a:lnTo>
                  <a:pt x="13933" y="5025558"/>
                </a:lnTo>
                <a:lnTo>
                  <a:pt x="17952" y="5029597"/>
                </a:lnTo>
                <a:lnTo>
                  <a:pt x="17952" y="5039468"/>
                </a:lnTo>
                <a:lnTo>
                  <a:pt x="13933" y="5043507"/>
                </a:lnTo>
                <a:lnTo>
                  <a:pt x="4024" y="5043507"/>
                </a:lnTo>
                <a:lnTo>
                  <a:pt x="4" y="5039468"/>
                </a:lnTo>
                <a:lnTo>
                  <a:pt x="4" y="5029597"/>
                </a:lnTo>
                <a:close/>
                <a:moveTo>
                  <a:pt x="9572438" y="4786279"/>
                </a:moveTo>
                <a:lnTo>
                  <a:pt x="9582349" y="4786279"/>
                </a:lnTo>
                <a:lnTo>
                  <a:pt x="9586368" y="4790317"/>
                </a:lnTo>
                <a:lnTo>
                  <a:pt x="9586368" y="4800188"/>
                </a:lnTo>
                <a:lnTo>
                  <a:pt x="9582349" y="4804227"/>
                </a:lnTo>
                <a:lnTo>
                  <a:pt x="9572438" y="4804227"/>
                </a:lnTo>
                <a:lnTo>
                  <a:pt x="9568419" y="4800188"/>
                </a:lnTo>
                <a:lnTo>
                  <a:pt x="9568419" y="4790317"/>
                </a:lnTo>
                <a:close/>
                <a:moveTo>
                  <a:pt x="9333125" y="4786279"/>
                </a:moveTo>
                <a:lnTo>
                  <a:pt x="9343036" y="4786279"/>
                </a:lnTo>
                <a:lnTo>
                  <a:pt x="9347055" y="4790317"/>
                </a:lnTo>
                <a:lnTo>
                  <a:pt x="9347055" y="4800188"/>
                </a:lnTo>
                <a:lnTo>
                  <a:pt x="9343036" y="4804227"/>
                </a:lnTo>
                <a:lnTo>
                  <a:pt x="9333125" y="4804227"/>
                </a:lnTo>
                <a:lnTo>
                  <a:pt x="9329106" y="4800188"/>
                </a:lnTo>
                <a:lnTo>
                  <a:pt x="9329106" y="4790317"/>
                </a:lnTo>
                <a:close/>
                <a:moveTo>
                  <a:pt x="9093811" y="4786279"/>
                </a:moveTo>
                <a:lnTo>
                  <a:pt x="9103722" y="4786279"/>
                </a:lnTo>
                <a:lnTo>
                  <a:pt x="9107741" y="4790317"/>
                </a:lnTo>
                <a:lnTo>
                  <a:pt x="9107741" y="4800188"/>
                </a:lnTo>
                <a:lnTo>
                  <a:pt x="9103722" y="4804227"/>
                </a:lnTo>
                <a:lnTo>
                  <a:pt x="9093811" y="4804227"/>
                </a:lnTo>
                <a:lnTo>
                  <a:pt x="9089792" y="4800188"/>
                </a:lnTo>
                <a:lnTo>
                  <a:pt x="9089792" y="4790317"/>
                </a:lnTo>
                <a:close/>
                <a:moveTo>
                  <a:pt x="8854496" y="4786279"/>
                </a:moveTo>
                <a:lnTo>
                  <a:pt x="8864407" y="4786279"/>
                </a:lnTo>
                <a:lnTo>
                  <a:pt x="8868426" y="4790317"/>
                </a:lnTo>
                <a:lnTo>
                  <a:pt x="8868426" y="4800188"/>
                </a:lnTo>
                <a:lnTo>
                  <a:pt x="8864407" y="4804227"/>
                </a:lnTo>
                <a:lnTo>
                  <a:pt x="8854496" y="4804227"/>
                </a:lnTo>
                <a:lnTo>
                  <a:pt x="8850477" y="4800188"/>
                </a:lnTo>
                <a:lnTo>
                  <a:pt x="8850477" y="4790317"/>
                </a:lnTo>
                <a:close/>
                <a:moveTo>
                  <a:pt x="8615184" y="4786279"/>
                </a:moveTo>
                <a:lnTo>
                  <a:pt x="8625095" y="4786279"/>
                </a:lnTo>
                <a:lnTo>
                  <a:pt x="8629114" y="4790317"/>
                </a:lnTo>
                <a:lnTo>
                  <a:pt x="8629114" y="4800188"/>
                </a:lnTo>
                <a:lnTo>
                  <a:pt x="8625095" y="4804227"/>
                </a:lnTo>
                <a:lnTo>
                  <a:pt x="8615184" y="4804227"/>
                </a:lnTo>
                <a:lnTo>
                  <a:pt x="8611165" y="4800188"/>
                </a:lnTo>
                <a:lnTo>
                  <a:pt x="8611165" y="4790317"/>
                </a:lnTo>
                <a:close/>
                <a:moveTo>
                  <a:pt x="8375869" y="4786279"/>
                </a:moveTo>
                <a:lnTo>
                  <a:pt x="8385779" y="4786279"/>
                </a:lnTo>
                <a:lnTo>
                  <a:pt x="8389799" y="4790317"/>
                </a:lnTo>
                <a:lnTo>
                  <a:pt x="8389799" y="4800188"/>
                </a:lnTo>
                <a:lnTo>
                  <a:pt x="8385779" y="4804227"/>
                </a:lnTo>
                <a:lnTo>
                  <a:pt x="8375869" y="4804227"/>
                </a:lnTo>
                <a:lnTo>
                  <a:pt x="8371850" y="4800188"/>
                </a:lnTo>
                <a:lnTo>
                  <a:pt x="8371850" y="4790317"/>
                </a:lnTo>
                <a:close/>
                <a:moveTo>
                  <a:pt x="8136553" y="4786279"/>
                </a:moveTo>
                <a:lnTo>
                  <a:pt x="8146464" y="4786279"/>
                </a:lnTo>
                <a:lnTo>
                  <a:pt x="8150483" y="4790317"/>
                </a:lnTo>
                <a:lnTo>
                  <a:pt x="8150483" y="4800188"/>
                </a:lnTo>
                <a:lnTo>
                  <a:pt x="8146464" y="4804227"/>
                </a:lnTo>
                <a:lnTo>
                  <a:pt x="8136553" y="4804227"/>
                </a:lnTo>
                <a:lnTo>
                  <a:pt x="8132534" y="4800188"/>
                </a:lnTo>
                <a:lnTo>
                  <a:pt x="8132534" y="4790317"/>
                </a:lnTo>
                <a:close/>
                <a:moveTo>
                  <a:pt x="7897241" y="4786279"/>
                </a:moveTo>
                <a:lnTo>
                  <a:pt x="7907151" y="4786279"/>
                </a:lnTo>
                <a:lnTo>
                  <a:pt x="7911170" y="4790317"/>
                </a:lnTo>
                <a:lnTo>
                  <a:pt x="7911170" y="4800188"/>
                </a:lnTo>
                <a:lnTo>
                  <a:pt x="7907151" y="4804227"/>
                </a:lnTo>
                <a:lnTo>
                  <a:pt x="7897241" y="4804227"/>
                </a:lnTo>
                <a:lnTo>
                  <a:pt x="7893222" y="4800188"/>
                </a:lnTo>
                <a:lnTo>
                  <a:pt x="7893222" y="4790317"/>
                </a:lnTo>
                <a:close/>
                <a:moveTo>
                  <a:pt x="7657926" y="4786279"/>
                </a:moveTo>
                <a:lnTo>
                  <a:pt x="7667836" y="4786279"/>
                </a:lnTo>
                <a:lnTo>
                  <a:pt x="7671855" y="4790317"/>
                </a:lnTo>
                <a:lnTo>
                  <a:pt x="7671855" y="4800188"/>
                </a:lnTo>
                <a:lnTo>
                  <a:pt x="7667836" y="4804227"/>
                </a:lnTo>
                <a:lnTo>
                  <a:pt x="7657926" y="4804227"/>
                </a:lnTo>
                <a:lnTo>
                  <a:pt x="7653906" y="4800188"/>
                </a:lnTo>
                <a:lnTo>
                  <a:pt x="7653906" y="4790317"/>
                </a:lnTo>
                <a:close/>
                <a:moveTo>
                  <a:pt x="7418611" y="4786279"/>
                </a:moveTo>
                <a:lnTo>
                  <a:pt x="7428521" y="4786279"/>
                </a:lnTo>
                <a:lnTo>
                  <a:pt x="7432540" y="4790317"/>
                </a:lnTo>
                <a:lnTo>
                  <a:pt x="7432540" y="4800188"/>
                </a:lnTo>
                <a:lnTo>
                  <a:pt x="7428521" y="4804227"/>
                </a:lnTo>
                <a:lnTo>
                  <a:pt x="7418611" y="4804227"/>
                </a:lnTo>
                <a:lnTo>
                  <a:pt x="7414592" y="4800188"/>
                </a:lnTo>
                <a:lnTo>
                  <a:pt x="7414592" y="4790317"/>
                </a:lnTo>
                <a:close/>
                <a:moveTo>
                  <a:pt x="7179298" y="4786279"/>
                </a:moveTo>
                <a:lnTo>
                  <a:pt x="7189209" y="4786279"/>
                </a:lnTo>
                <a:lnTo>
                  <a:pt x="7193228" y="4790317"/>
                </a:lnTo>
                <a:lnTo>
                  <a:pt x="7193228" y="4800188"/>
                </a:lnTo>
                <a:lnTo>
                  <a:pt x="7189209" y="4804227"/>
                </a:lnTo>
                <a:lnTo>
                  <a:pt x="7179298" y="4804227"/>
                </a:lnTo>
                <a:lnTo>
                  <a:pt x="7175279" y="4800188"/>
                </a:lnTo>
                <a:lnTo>
                  <a:pt x="7175279" y="4790317"/>
                </a:lnTo>
                <a:close/>
                <a:moveTo>
                  <a:pt x="6939983" y="4786279"/>
                </a:moveTo>
                <a:lnTo>
                  <a:pt x="6949894" y="4786279"/>
                </a:lnTo>
                <a:lnTo>
                  <a:pt x="6953913" y="4790317"/>
                </a:lnTo>
                <a:lnTo>
                  <a:pt x="6953913" y="4800188"/>
                </a:lnTo>
                <a:lnTo>
                  <a:pt x="6949894" y="4804227"/>
                </a:lnTo>
                <a:lnTo>
                  <a:pt x="6939983" y="4804227"/>
                </a:lnTo>
                <a:lnTo>
                  <a:pt x="6935964" y="4800188"/>
                </a:lnTo>
                <a:lnTo>
                  <a:pt x="6935964" y="4790317"/>
                </a:lnTo>
                <a:close/>
                <a:moveTo>
                  <a:pt x="6700670" y="4786279"/>
                </a:moveTo>
                <a:lnTo>
                  <a:pt x="6710581" y="4786279"/>
                </a:lnTo>
                <a:lnTo>
                  <a:pt x="6714600" y="4790317"/>
                </a:lnTo>
                <a:lnTo>
                  <a:pt x="6714600" y="4800188"/>
                </a:lnTo>
                <a:lnTo>
                  <a:pt x="6710581" y="4804227"/>
                </a:lnTo>
                <a:lnTo>
                  <a:pt x="6700670" y="4804227"/>
                </a:lnTo>
                <a:lnTo>
                  <a:pt x="6696651" y="4800188"/>
                </a:lnTo>
                <a:lnTo>
                  <a:pt x="6696651" y="4790317"/>
                </a:lnTo>
                <a:close/>
                <a:moveTo>
                  <a:pt x="6461356" y="4786279"/>
                </a:moveTo>
                <a:lnTo>
                  <a:pt x="6471266" y="4786279"/>
                </a:lnTo>
                <a:lnTo>
                  <a:pt x="6475285" y="4790317"/>
                </a:lnTo>
                <a:lnTo>
                  <a:pt x="6475285" y="4800188"/>
                </a:lnTo>
                <a:lnTo>
                  <a:pt x="6471266" y="4804227"/>
                </a:lnTo>
                <a:lnTo>
                  <a:pt x="6461356" y="4804227"/>
                </a:lnTo>
                <a:lnTo>
                  <a:pt x="6457337" y="4800188"/>
                </a:lnTo>
                <a:lnTo>
                  <a:pt x="6457337" y="4790317"/>
                </a:lnTo>
                <a:close/>
                <a:moveTo>
                  <a:pt x="6222042" y="4786279"/>
                </a:moveTo>
                <a:lnTo>
                  <a:pt x="6231952" y="4786279"/>
                </a:lnTo>
                <a:lnTo>
                  <a:pt x="6235971" y="4790317"/>
                </a:lnTo>
                <a:lnTo>
                  <a:pt x="6235971" y="4800188"/>
                </a:lnTo>
                <a:lnTo>
                  <a:pt x="6231952" y="4804227"/>
                </a:lnTo>
                <a:lnTo>
                  <a:pt x="6222042" y="4804227"/>
                </a:lnTo>
                <a:lnTo>
                  <a:pt x="6218023" y="4800188"/>
                </a:lnTo>
                <a:lnTo>
                  <a:pt x="6218023" y="4790317"/>
                </a:lnTo>
                <a:close/>
                <a:moveTo>
                  <a:pt x="5982729" y="4786279"/>
                </a:moveTo>
                <a:lnTo>
                  <a:pt x="5992639" y="4786279"/>
                </a:lnTo>
                <a:lnTo>
                  <a:pt x="5996658" y="4790317"/>
                </a:lnTo>
                <a:lnTo>
                  <a:pt x="5996658" y="4800188"/>
                </a:lnTo>
                <a:lnTo>
                  <a:pt x="5992639" y="4804227"/>
                </a:lnTo>
                <a:lnTo>
                  <a:pt x="5982729" y="4804227"/>
                </a:lnTo>
                <a:lnTo>
                  <a:pt x="5978710" y="4800188"/>
                </a:lnTo>
                <a:lnTo>
                  <a:pt x="5978710" y="4790317"/>
                </a:lnTo>
                <a:close/>
                <a:moveTo>
                  <a:pt x="5743412" y="4786279"/>
                </a:moveTo>
                <a:lnTo>
                  <a:pt x="5753323" y="4786279"/>
                </a:lnTo>
                <a:lnTo>
                  <a:pt x="5757342" y="4790317"/>
                </a:lnTo>
                <a:lnTo>
                  <a:pt x="5757342" y="4800188"/>
                </a:lnTo>
                <a:lnTo>
                  <a:pt x="5753323" y="4804227"/>
                </a:lnTo>
                <a:lnTo>
                  <a:pt x="5743412" y="4804227"/>
                </a:lnTo>
                <a:lnTo>
                  <a:pt x="5739393" y="4800188"/>
                </a:lnTo>
                <a:lnTo>
                  <a:pt x="5739393" y="4790317"/>
                </a:lnTo>
                <a:close/>
                <a:moveTo>
                  <a:pt x="5504099" y="4786279"/>
                </a:moveTo>
                <a:lnTo>
                  <a:pt x="5514010" y="4786279"/>
                </a:lnTo>
                <a:lnTo>
                  <a:pt x="5518029" y="4790317"/>
                </a:lnTo>
                <a:lnTo>
                  <a:pt x="5518029" y="4800188"/>
                </a:lnTo>
                <a:lnTo>
                  <a:pt x="5514010" y="4804227"/>
                </a:lnTo>
                <a:lnTo>
                  <a:pt x="5504099" y="4804227"/>
                </a:lnTo>
                <a:lnTo>
                  <a:pt x="5500080" y="4800188"/>
                </a:lnTo>
                <a:lnTo>
                  <a:pt x="5500080" y="4790317"/>
                </a:lnTo>
                <a:close/>
                <a:moveTo>
                  <a:pt x="5264784" y="4786279"/>
                </a:moveTo>
                <a:lnTo>
                  <a:pt x="5274694" y="4786279"/>
                </a:lnTo>
                <a:lnTo>
                  <a:pt x="5278713" y="4790317"/>
                </a:lnTo>
                <a:lnTo>
                  <a:pt x="5278713" y="4800188"/>
                </a:lnTo>
                <a:lnTo>
                  <a:pt x="5274694" y="4804227"/>
                </a:lnTo>
                <a:lnTo>
                  <a:pt x="5264784" y="4804227"/>
                </a:lnTo>
                <a:lnTo>
                  <a:pt x="5260765" y="4800188"/>
                </a:lnTo>
                <a:lnTo>
                  <a:pt x="5260765" y="4790317"/>
                </a:lnTo>
                <a:close/>
                <a:moveTo>
                  <a:pt x="5025470" y="4786279"/>
                </a:moveTo>
                <a:lnTo>
                  <a:pt x="5035381" y="4786279"/>
                </a:lnTo>
                <a:lnTo>
                  <a:pt x="5039400" y="4790317"/>
                </a:lnTo>
                <a:lnTo>
                  <a:pt x="5039400" y="4800188"/>
                </a:lnTo>
                <a:lnTo>
                  <a:pt x="5035381" y="4804227"/>
                </a:lnTo>
                <a:lnTo>
                  <a:pt x="5025470" y="4804227"/>
                </a:lnTo>
                <a:lnTo>
                  <a:pt x="5021451" y="4800188"/>
                </a:lnTo>
                <a:lnTo>
                  <a:pt x="5021451" y="4790317"/>
                </a:lnTo>
                <a:close/>
                <a:moveTo>
                  <a:pt x="4786241" y="4786279"/>
                </a:moveTo>
                <a:lnTo>
                  <a:pt x="4796152" y="4786279"/>
                </a:lnTo>
                <a:lnTo>
                  <a:pt x="4800171" y="4790317"/>
                </a:lnTo>
                <a:lnTo>
                  <a:pt x="4800171" y="4800188"/>
                </a:lnTo>
                <a:lnTo>
                  <a:pt x="4796152" y="4804227"/>
                </a:lnTo>
                <a:lnTo>
                  <a:pt x="4786241" y="4804227"/>
                </a:lnTo>
                <a:lnTo>
                  <a:pt x="4782224" y="4800188"/>
                </a:lnTo>
                <a:lnTo>
                  <a:pt x="4782224" y="4790317"/>
                </a:lnTo>
                <a:close/>
                <a:moveTo>
                  <a:pt x="4546929" y="4786279"/>
                </a:moveTo>
                <a:lnTo>
                  <a:pt x="4556840" y="4786279"/>
                </a:lnTo>
                <a:lnTo>
                  <a:pt x="4560859" y="4790317"/>
                </a:lnTo>
                <a:lnTo>
                  <a:pt x="4560859" y="4800188"/>
                </a:lnTo>
                <a:lnTo>
                  <a:pt x="4556840" y="4804227"/>
                </a:lnTo>
                <a:lnTo>
                  <a:pt x="4546929" y="4804227"/>
                </a:lnTo>
                <a:lnTo>
                  <a:pt x="4542910" y="4800188"/>
                </a:lnTo>
                <a:lnTo>
                  <a:pt x="4542910" y="4790317"/>
                </a:lnTo>
                <a:close/>
                <a:moveTo>
                  <a:pt x="4307612" y="4786279"/>
                </a:moveTo>
                <a:lnTo>
                  <a:pt x="4317523" y="4786279"/>
                </a:lnTo>
                <a:lnTo>
                  <a:pt x="4321543" y="4790317"/>
                </a:lnTo>
                <a:lnTo>
                  <a:pt x="4321543" y="4800188"/>
                </a:lnTo>
                <a:lnTo>
                  <a:pt x="4317523" y="4804227"/>
                </a:lnTo>
                <a:lnTo>
                  <a:pt x="4307612" y="4804227"/>
                </a:lnTo>
                <a:lnTo>
                  <a:pt x="4303595" y="4800188"/>
                </a:lnTo>
                <a:lnTo>
                  <a:pt x="4303595" y="4790317"/>
                </a:lnTo>
                <a:close/>
                <a:moveTo>
                  <a:pt x="4068297" y="4786279"/>
                </a:moveTo>
                <a:lnTo>
                  <a:pt x="4078210" y="4786279"/>
                </a:lnTo>
                <a:lnTo>
                  <a:pt x="4082229" y="4790317"/>
                </a:lnTo>
                <a:lnTo>
                  <a:pt x="4082229" y="4800188"/>
                </a:lnTo>
                <a:lnTo>
                  <a:pt x="4078210" y="4804227"/>
                </a:lnTo>
                <a:lnTo>
                  <a:pt x="4068297" y="4804227"/>
                </a:lnTo>
                <a:lnTo>
                  <a:pt x="4064278" y="4800188"/>
                </a:lnTo>
                <a:lnTo>
                  <a:pt x="4064278" y="4790317"/>
                </a:lnTo>
                <a:close/>
                <a:moveTo>
                  <a:pt x="3828990" y="4786279"/>
                </a:moveTo>
                <a:lnTo>
                  <a:pt x="3838899" y="4786279"/>
                </a:lnTo>
                <a:lnTo>
                  <a:pt x="3842917" y="4790317"/>
                </a:lnTo>
                <a:lnTo>
                  <a:pt x="3842917" y="4800188"/>
                </a:lnTo>
                <a:lnTo>
                  <a:pt x="3838899" y="4804227"/>
                </a:lnTo>
                <a:lnTo>
                  <a:pt x="3828990" y="4804227"/>
                </a:lnTo>
                <a:lnTo>
                  <a:pt x="3824971" y="4800188"/>
                </a:lnTo>
                <a:lnTo>
                  <a:pt x="3824971" y="4790317"/>
                </a:lnTo>
                <a:close/>
                <a:moveTo>
                  <a:pt x="3589676" y="4786279"/>
                </a:moveTo>
                <a:lnTo>
                  <a:pt x="3599585" y="4786279"/>
                </a:lnTo>
                <a:lnTo>
                  <a:pt x="3603604" y="4790317"/>
                </a:lnTo>
                <a:lnTo>
                  <a:pt x="3603604" y="4800188"/>
                </a:lnTo>
                <a:lnTo>
                  <a:pt x="3599585" y="4804227"/>
                </a:lnTo>
                <a:lnTo>
                  <a:pt x="3589676" y="4804227"/>
                </a:lnTo>
                <a:lnTo>
                  <a:pt x="3585657" y="4800188"/>
                </a:lnTo>
                <a:lnTo>
                  <a:pt x="3585657" y="4790317"/>
                </a:lnTo>
                <a:close/>
                <a:moveTo>
                  <a:pt x="3350359" y="4786279"/>
                </a:moveTo>
                <a:lnTo>
                  <a:pt x="3360268" y="4786279"/>
                </a:lnTo>
                <a:lnTo>
                  <a:pt x="3364287" y="4790317"/>
                </a:lnTo>
                <a:lnTo>
                  <a:pt x="3364287" y="4800188"/>
                </a:lnTo>
                <a:lnTo>
                  <a:pt x="3360268" y="4804227"/>
                </a:lnTo>
                <a:lnTo>
                  <a:pt x="3350359" y="4804227"/>
                </a:lnTo>
                <a:lnTo>
                  <a:pt x="3346340" y="4800188"/>
                </a:lnTo>
                <a:lnTo>
                  <a:pt x="3346340" y="4790317"/>
                </a:lnTo>
                <a:close/>
                <a:moveTo>
                  <a:pt x="3111048" y="4786279"/>
                </a:moveTo>
                <a:lnTo>
                  <a:pt x="3120959" y="4786279"/>
                </a:lnTo>
                <a:lnTo>
                  <a:pt x="3124977" y="4790317"/>
                </a:lnTo>
                <a:lnTo>
                  <a:pt x="3124977" y="4800188"/>
                </a:lnTo>
                <a:lnTo>
                  <a:pt x="3120959" y="4804227"/>
                </a:lnTo>
                <a:lnTo>
                  <a:pt x="3111048" y="4804227"/>
                </a:lnTo>
                <a:lnTo>
                  <a:pt x="3107029" y="4800188"/>
                </a:lnTo>
                <a:lnTo>
                  <a:pt x="3107029" y="4790317"/>
                </a:lnTo>
                <a:close/>
                <a:moveTo>
                  <a:pt x="2871737" y="4786279"/>
                </a:moveTo>
                <a:lnTo>
                  <a:pt x="2881646" y="4786279"/>
                </a:lnTo>
                <a:lnTo>
                  <a:pt x="2885666" y="4790317"/>
                </a:lnTo>
                <a:lnTo>
                  <a:pt x="2885666" y="4800188"/>
                </a:lnTo>
                <a:lnTo>
                  <a:pt x="2881646" y="4804227"/>
                </a:lnTo>
                <a:lnTo>
                  <a:pt x="2871737" y="4804227"/>
                </a:lnTo>
                <a:lnTo>
                  <a:pt x="2867717" y="4800188"/>
                </a:lnTo>
                <a:lnTo>
                  <a:pt x="2867717" y="4790317"/>
                </a:lnTo>
                <a:close/>
                <a:moveTo>
                  <a:pt x="2632423" y="4786279"/>
                </a:moveTo>
                <a:lnTo>
                  <a:pt x="2642334" y="4786279"/>
                </a:lnTo>
                <a:lnTo>
                  <a:pt x="2646352" y="4790317"/>
                </a:lnTo>
                <a:lnTo>
                  <a:pt x="2646352" y="4800188"/>
                </a:lnTo>
                <a:lnTo>
                  <a:pt x="2642334" y="4804227"/>
                </a:lnTo>
                <a:lnTo>
                  <a:pt x="2632423" y="4804227"/>
                </a:lnTo>
                <a:lnTo>
                  <a:pt x="2628404" y="4800188"/>
                </a:lnTo>
                <a:lnTo>
                  <a:pt x="2628404" y="4790317"/>
                </a:lnTo>
                <a:close/>
                <a:moveTo>
                  <a:pt x="2393104" y="4786279"/>
                </a:moveTo>
                <a:lnTo>
                  <a:pt x="2403015" y="4786279"/>
                </a:lnTo>
                <a:lnTo>
                  <a:pt x="2407034" y="4790317"/>
                </a:lnTo>
                <a:lnTo>
                  <a:pt x="2407034" y="4800188"/>
                </a:lnTo>
                <a:lnTo>
                  <a:pt x="2403015" y="4804227"/>
                </a:lnTo>
                <a:lnTo>
                  <a:pt x="2393104" y="4804227"/>
                </a:lnTo>
                <a:lnTo>
                  <a:pt x="2389087" y="4800188"/>
                </a:lnTo>
                <a:lnTo>
                  <a:pt x="2389087" y="4790317"/>
                </a:lnTo>
                <a:close/>
                <a:moveTo>
                  <a:pt x="2157819" y="4786279"/>
                </a:moveTo>
                <a:lnTo>
                  <a:pt x="2167729" y="4786279"/>
                </a:lnTo>
                <a:lnTo>
                  <a:pt x="2171748" y="4790317"/>
                </a:lnTo>
                <a:lnTo>
                  <a:pt x="2171748" y="4800188"/>
                </a:lnTo>
                <a:lnTo>
                  <a:pt x="2167729" y="4804227"/>
                </a:lnTo>
                <a:lnTo>
                  <a:pt x="2157819" y="4804227"/>
                </a:lnTo>
                <a:lnTo>
                  <a:pt x="2153800" y="4800188"/>
                </a:lnTo>
                <a:lnTo>
                  <a:pt x="2153800" y="4790317"/>
                </a:lnTo>
                <a:close/>
                <a:moveTo>
                  <a:pt x="1918510" y="4786279"/>
                </a:moveTo>
                <a:lnTo>
                  <a:pt x="1928420" y="4786279"/>
                </a:lnTo>
                <a:lnTo>
                  <a:pt x="1932440" y="4790317"/>
                </a:lnTo>
                <a:lnTo>
                  <a:pt x="1932440" y="4800188"/>
                </a:lnTo>
                <a:lnTo>
                  <a:pt x="1928420" y="4804227"/>
                </a:lnTo>
                <a:lnTo>
                  <a:pt x="1918510" y="4804227"/>
                </a:lnTo>
                <a:lnTo>
                  <a:pt x="1914492" y="4800188"/>
                </a:lnTo>
                <a:lnTo>
                  <a:pt x="1914492" y="4790317"/>
                </a:lnTo>
                <a:close/>
                <a:moveTo>
                  <a:pt x="1679205" y="4786279"/>
                </a:moveTo>
                <a:lnTo>
                  <a:pt x="1689115" y="4786279"/>
                </a:lnTo>
                <a:lnTo>
                  <a:pt x="1693134" y="4790317"/>
                </a:lnTo>
                <a:lnTo>
                  <a:pt x="1693134" y="4800188"/>
                </a:lnTo>
                <a:lnTo>
                  <a:pt x="1689115" y="4804227"/>
                </a:lnTo>
                <a:lnTo>
                  <a:pt x="1679205" y="4804227"/>
                </a:lnTo>
                <a:lnTo>
                  <a:pt x="1675187" y="4800188"/>
                </a:lnTo>
                <a:lnTo>
                  <a:pt x="1675187" y="4790317"/>
                </a:lnTo>
                <a:close/>
                <a:moveTo>
                  <a:pt x="1439890" y="4786279"/>
                </a:moveTo>
                <a:lnTo>
                  <a:pt x="1449800" y="4786279"/>
                </a:lnTo>
                <a:lnTo>
                  <a:pt x="1453818" y="4790317"/>
                </a:lnTo>
                <a:lnTo>
                  <a:pt x="1453818" y="4800188"/>
                </a:lnTo>
                <a:lnTo>
                  <a:pt x="1449800" y="4804227"/>
                </a:lnTo>
                <a:lnTo>
                  <a:pt x="1439890" y="4804227"/>
                </a:lnTo>
                <a:lnTo>
                  <a:pt x="1435870" y="4800188"/>
                </a:lnTo>
                <a:lnTo>
                  <a:pt x="1435870" y="4790317"/>
                </a:lnTo>
                <a:close/>
                <a:moveTo>
                  <a:pt x="1200574" y="4786279"/>
                </a:moveTo>
                <a:lnTo>
                  <a:pt x="1210484" y="4786279"/>
                </a:lnTo>
                <a:lnTo>
                  <a:pt x="1214503" y="4790317"/>
                </a:lnTo>
                <a:lnTo>
                  <a:pt x="1214503" y="4800188"/>
                </a:lnTo>
                <a:lnTo>
                  <a:pt x="1210484" y="4804227"/>
                </a:lnTo>
                <a:lnTo>
                  <a:pt x="1200574" y="4804227"/>
                </a:lnTo>
                <a:lnTo>
                  <a:pt x="1196555" y="4800188"/>
                </a:lnTo>
                <a:lnTo>
                  <a:pt x="1196555" y="4790317"/>
                </a:lnTo>
                <a:close/>
                <a:moveTo>
                  <a:pt x="961262" y="4786279"/>
                </a:moveTo>
                <a:lnTo>
                  <a:pt x="971172" y="4786279"/>
                </a:lnTo>
                <a:lnTo>
                  <a:pt x="975190" y="4790317"/>
                </a:lnTo>
                <a:lnTo>
                  <a:pt x="975190" y="4800188"/>
                </a:lnTo>
                <a:lnTo>
                  <a:pt x="971172" y="4804227"/>
                </a:lnTo>
                <a:lnTo>
                  <a:pt x="961262" y="4804227"/>
                </a:lnTo>
                <a:lnTo>
                  <a:pt x="957242" y="4800188"/>
                </a:lnTo>
                <a:lnTo>
                  <a:pt x="957242" y="4790317"/>
                </a:lnTo>
                <a:close/>
                <a:moveTo>
                  <a:pt x="721963" y="4786279"/>
                </a:moveTo>
                <a:lnTo>
                  <a:pt x="731873" y="4786279"/>
                </a:lnTo>
                <a:lnTo>
                  <a:pt x="735892" y="4790317"/>
                </a:lnTo>
                <a:lnTo>
                  <a:pt x="735892" y="4800188"/>
                </a:lnTo>
                <a:lnTo>
                  <a:pt x="731873" y="4804227"/>
                </a:lnTo>
                <a:lnTo>
                  <a:pt x="721963" y="4804227"/>
                </a:lnTo>
                <a:lnTo>
                  <a:pt x="717944" y="4800188"/>
                </a:lnTo>
                <a:lnTo>
                  <a:pt x="717944" y="4790317"/>
                </a:lnTo>
                <a:close/>
                <a:moveTo>
                  <a:pt x="482651" y="4786279"/>
                </a:moveTo>
                <a:lnTo>
                  <a:pt x="492561" y="4786279"/>
                </a:lnTo>
                <a:lnTo>
                  <a:pt x="496580" y="4790317"/>
                </a:lnTo>
                <a:lnTo>
                  <a:pt x="496580" y="4800188"/>
                </a:lnTo>
                <a:lnTo>
                  <a:pt x="492561" y="4804227"/>
                </a:lnTo>
                <a:lnTo>
                  <a:pt x="482651" y="4804227"/>
                </a:lnTo>
                <a:lnTo>
                  <a:pt x="478632" y="4800188"/>
                </a:lnTo>
                <a:lnTo>
                  <a:pt x="478632" y="4790317"/>
                </a:lnTo>
                <a:close/>
                <a:moveTo>
                  <a:pt x="243338" y="4786279"/>
                </a:moveTo>
                <a:lnTo>
                  <a:pt x="253247" y="4786279"/>
                </a:lnTo>
                <a:lnTo>
                  <a:pt x="257266" y="4790317"/>
                </a:lnTo>
                <a:lnTo>
                  <a:pt x="257266" y="4800188"/>
                </a:lnTo>
                <a:lnTo>
                  <a:pt x="253247" y="4804227"/>
                </a:lnTo>
                <a:lnTo>
                  <a:pt x="243338" y="4804227"/>
                </a:lnTo>
                <a:lnTo>
                  <a:pt x="239318" y="4800188"/>
                </a:lnTo>
                <a:lnTo>
                  <a:pt x="239318" y="4790317"/>
                </a:lnTo>
                <a:close/>
                <a:moveTo>
                  <a:pt x="4024" y="4786279"/>
                </a:moveTo>
                <a:lnTo>
                  <a:pt x="13934" y="4786279"/>
                </a:lnTo>
                <a:lnTo>
                  <a:pt x="17954" y="4790317"/>
                </a:lnTo>
                <a:lnTo>
                  <a:pt x="17954" y="4800188"/>
                </a:lnTo>
                <a:lnTo>
                  <a:pt x="13934" y="4804227"/>
                </a:lnTo>
                <a:lnTo>
                  <a:pt x="4024" y="4804227"/>
                </a:lnTo>
                <a:lnTo>
                  <a:pt x="5" y="4800188"/>
                </a:lnTo>
                <a:lnTo>
                  <a:pt x="5" y="4790317"/>
                </a:lnTo>
                <a:close/>
                <a:moveTo>
                  <a:pt x="2157819" y="4546999"/>
                </a:moveTo>
                <a:lnTo>
                  <a:pt x="2167729" y="4546999"/>
                </a:lnTo>
                <a:lnTo>
                  <a:pt x="2171748" y="4551038"/>
                </a:lnTo>
                <a:lnTo>
                  <a:pt x="2171748" y="4560909"/>
                </a:lnTo>
                <a:lnTo>
                  <a:pt x="2167729" y="4564948"/>
                </a:lnTo>
                <a:lnTo>
                  <a:pt x="2157819" y="4564948"/>
                </a:lnTo>
                <a:lnTo>
                  <a:pt x="2153801" y="4560909"/>
                </a:lnTo>
                <a:lnTo>
                  <a:pt x="2153801" y="4551038"/>
                </a:lnTo>
                <a:close/>
                <a:moveTo>
                  <a:pt x="1918510" y="4546999"/>
                </a:moveTo>
                <a:lnTo>
                  <a:pt x="1928421" y="4546999"/>
                </a:lnTo>
                <a:lnTo>
                  <a:pt x="1932440" y="4551038"/>
                </a:lnTo>
                <a:lnTo>
                  <a:pt x="1932440" y="4560909"/>
                </a:lnTo>
                <a:lnTo>
                  <a:pt x="1928421" y="4564948"/>
                </a:lnTo>
                <a:lnTo>
                  <a:pt x="1918510" y="4564948"/>
                </a:lnTo>
                <a:lnTo>
                  <a:pt x="1914492" y="4560909"/>
                </a:lnTo>
                <a:lnTo>
                  <a:pt x="1914492" y="4551038"/>
                </a:lnTo>
                <a:close/>
                <a:moveTo>
                  <a:pt x="1679206" y="4546999"/>
                </a:moveTo>
                <a:lnTo>
                  <a:pt x="1689116" y="4546999"/>
                </a:lnTo>
                <a:lnTo>
                  <a:pt x="1693134" y="4551038"/>
                </a:lnTo>
                <a:lnTo>
                  <a:pt x="1693134" y="4560909"/>
                </a:lnTo>
                <a:lnTo>
                  <a:pt x="1689116" y="4564948"/>
                </a:lnTo>
                <a:lnTo>
                  <a:pt x="1679206" y="4564948"/>
                </a:lnTo>
                <a:lnTo>
                  <a:pt x="1675187" y="4560909"/>
                </a:lnTo>
                <a:lnTo>
                  <a:pt x="1675187" y="4551038"/>
                </a:lnTo>
                <a:close/>
                <a:moveTo>
                  <a:pt x="1439890" y="4546999"/>
                </a:moveTo>
                <a:lnTo>
                  <a:pt x="1449800" y="4546999"/>
                </a:lnTo>
                <a:lnTo>
                  <a:pt x="1453819" y="4551038"/>
                </a:lnTo>
                <a:lnTo>
                  <a:pt x="1453819" y="4560909"/>
                </a:lnTo>
                <a:lnTo>
                  <a:pt x="1449800" y="4564948"/>
                </a:lnTo>
                <a:lnTo>
                  <a:pt x="1439890" y="4564948"/>
                </a:lnTo>
                <a:lnTo>
                  <a:pt x="1435871" y="4560909"/>
                </a:lnTo>
                <a:lnTo>
                  <a:pt x="1435871" y="4551038"/>
                </a:lnTo>
                <a:close/>
                <a:moveTo>
                  <a:pt x="1200575" y="4546999"/>
                </a:moveTo>
                <a:lnTo>
                  <a:pt x="1210485" y="4546999"/>
                </a:lnTo>
                <a:lnTo>
                  <a:pt x="1214504" y="4551038"/>
                </a:lnTo>
                <a:lnTo>
                  <a:pt x="1214504" y="4560909"/>
                </a:lnTo>
                <a:lnTo>
                  <a:pt x="1210485" y="4564948"/>
                </a:lnTo>
                <a:lnTo>
                  <a:pt x="1200575" y="4564948"/>
                </a:lnTo>
                <a:lnTo>
                  <a:pt x="1196556" y="4560909"/>
                </a:lnTo>
                <a:lnTo>
                  <a:pt x="1196556" y="4551038"/>
                </a:lnTo>
                <a:close/>
                <a:moveTo>
                  <a:pt x="961262" y="4546999"/>
                </a:moveTo>
                <a:lnTo>
                  <a:pt x="971172" y="4546999"/>
                </a:lnTo>
                <a:lnTo>
                  <a:pt x="975191" y="4551038"/>
                </a:lnTo>
                <a:lnTo>
                  <a:pt x="975191" y="4560909"/>
                </a:lnTo>
                <a:lnTo>
                  <a:pt x="971172" y="4564948"/>
                </a:lnTo>
                <a:lnTo>
                  <a:pt x="961262" y="4564948"/>
                </a:lnTo>
                <a:lnTo>
                  <a:pt x="957243" y="4560909"/>
                </a:lnTo>
                <a:lnTo>
                  <a:pt x="957243" y="4551038"/>
                </a:lnTo>
                <a:close/>
                <a:moveTo>
                  <a:pt x="9572438" y="4546948"/>
                </a:moveTo>
                <a:lnTo>
                  <a:pt x="9582349" y="4546948"/>
                </a:lnTo>
                <a:lnTo>
                  <a:pt x="9586368" y="4550987"/>
                </a:lnTo>
                <a:lnTo>
                  <a:pt x="9586368" y="4560858"/>
                </a:lnTo>
                <a:lnTo>
                  <a:pt x="9582349" y="4564897"/>
                </a:lnTo>
                <a:lnTo>
                  <a:pt x="9572438" y="4564897"/>
                </a:lnTo>
                <a:lnTo>
                  <a:pt x="9568419" y="4560858"/>
                </a:lnTo>
                <a:lnTo>
                  <a:pt x="9568419" y="4550987"/>
                </a:lnTo>
                <a:close/>
                <a:moveTo>
                  <a:pt x="9333125" y="4546948"/>
                </a:moveTo>
                <a:lnTo>
                  <a:pt x="9343036" y="4546948"/>
                </a:lnTo>
                <a:lnTo>
                  <a:pt x="9347055" y="4550987"/>
                </a:lnTo>
                <a:lnTo>
                  <a:pt x="9347055" y="4560858"/>
                </a:lnTo>
                <a:lnTo>
                  <a:pt x="9343036" y="4564897"/>
                </a:lnTo>
                <a:lnTo>
                  <a:pt x="9333125" y="4564897"/>
                </a:lnTo>
                <a:lnTo>
                  <a:pt x="9329106" y="4560858"/>
                </a:lnTo>
                <a:lnTo>
                  <a:pt x="9329106" y="4550987"/>
                </a:lnTo>
                <a:close/>
                <a:moveTo>
                  <a:pt x="9093811" y="4546948"/>
                </a:moveTo>
                <a:lnTo>
                  <a:pt x="9103722" y="4546948"/>
                </a:lnTo>
                <a:lnTo>
                  <a:pt x="9107741" y="4550987"/>
                </a:lnTo>
                <a:lnTo>
                  <a:pt x="9107741" y="4560858"/>
                </a:lnTo>
                <a:lnTo>
                  <a:pt x="9103722" y="4564897"/>
                </a:lnTo>
                <a:lnTo>
                  <a:pt x="9093811" y="4564897"/>
                </a:lnTo>
                <a:lnTo>
                  <a:pt x="9089792" y="4560858"/>
                </a:lnTo>
                <a:lnTo>
                  <a:pt x="9089792" y="4550987"/>
                </a:lnTo>
                <a:close/>
                <a:moveTo>
                  <a:pt x="8854496" y="4546948"/>
                </a:moveTo>
                <a:lnTo>
                  <a:pt x="8864407" y="4546948"/>
                </a:lnTo>
                <a:lnTo>
                  <a:pt x="8868426" y="4550987"/>
                </a:lnTo>
                <a:lnTo>
                  <a:pt x="8868426" y="4560858"/>
                </a:lnTo>
                <a:lnTo>
                  <a:pt x="8864407" y="4564897"/>
                </a:lnTo>
                <a:lnTo>
                  <a:pt x="8854496" y="4564897"/>
                </a:lnTo>
                <a:lnTo>
                  <a:pt x="8850477" y="4560858"/>
                </a:lnTo>
                <a:lnTo>
                  <a:pt x="8850477" y="4550987"/>
                </a:lnTo>
                <a:close/>
                <a:moveTo>
                  <a:pt x="8615184" y="4546948"/>
                </a:moveTo>
                <a:lnTo>
                  <a:pt x="8625095" y="4546948"/>
                </a:lnTo>
                <a:lnTo>
                  <a:pt x="8629114" y="4550987"/>
                </a:lnTo>
                <a:lnTo>
                  <a:pt x="8629114" y="4560858"/>
                </a:lnTo>
                <a:lnTo>
                  <a:pt x="8625095" y="4564897"/>
                </a:lnTo>
                <a:lnTo>
                  <a:pt x="8615184" y="4564897"/>
                </a:lnTo>
                <a:lnTo>
                  <a:pt x="8611165" y="4560858"/>
                </a:lnTo>
                <a:lnTo>
                  <a:pt x="8611165" y="4550987"/>
                </a:lnTo>
                <a:close/>
                <a:moveTo>
                  <a:pt x="8375869" y="4546948"/>
                </a:moveTo>
                <a:lnTo>
                  <a:pt x="8385779" y="4546948"/>
                </a:lnTo>
                <a:lnTo>
                  <a:pt x="8389799" y="4550987"/>
                </a:lnTo>
                <a:lnTo>
                  <a:pt x="8389799" y="4560858"/>
                </a:lnTo>
                <a:lnTo>
                  <a:pt x="8385779" y="4564897"/>
                </a:lnTo>
                <a:lnTo>
                  <a:pt x="8375869" y="4564897"/>
                </a:lnTo>
                <a:lnTo>
                  <a:pt x="8371850" y="4560858"/>
                </a:lnTo>
                <a:lnTo>
                  <a:pt x="8371850" y="4550987"/>
                </a:lnTo>
                <a:close/>
                <a:moveTo>
                  <a:pt x="8136553" y="4546948"/>
                </a:moveTo>
                <a:lnTo>
                  <a:pt x="8146464" y="4546948"/>
                </a:lnTo>
                <a:lnTo>
                  <a:pt x="8150483" y="4550987"/>
                </a:lnTo>
                <a:lnTo>
                  <a:pt x="8150483" y="4560858"/>
                </a:lnTo>
                <a:lnTo>
                  <a:pt x="8146464" y="4564897"/>
                </a:lnTo>
                <a:lnTo>
                  <a:pt x="8136553" y="4564897"/>
                </a:lnTo>
                <a:lnTo>
                  <a:pt x="8132534" y="4560858"/>
                </a:lnTo>
                <a:lnTo>
                  <a:pt x="8132534" y="4550987"/>
                </a:lnTo>
                <a:close/>
                <a:moveTo>
                  <a:pt x="7897241" y="4546948"/>
                </a:moveTo>
                <a:lnTo>
                  <a:pt x="7907151" y="4546948"/>
                </a:lnTo>
                <a:lnTo>
                  <a:pt x="7911170" y="4550987"/>
                </a:lnTo>
                <a:lnTo>
                  <a:pt x="7911170" y="4560858"/>
                </a:lnTo>
                <a:lnTo>
                  <a:pt x="7907151" y="4564897"/>
                </a:lnTo>
                <a:lnTo>
                  <a:pt x="7897241" y="4564897"/>
                </a:lnTo>
                <a:lnTo>
                  <a:pt x="7893222" y="4560858"/>
                </a:lnTo>
                <a:lnTo>
                  <a:pt x="7893222" y="4550987"/>
                </a:lnTo>
                <a:close/>
                <a:moveTo>
                  <a:pt x="7657926" y="4546948"/>
                </a:moveTo>
                <a:lnTo>
                  <a:pt x="7667836" y="4546948"/>
                </a:lnTo>
                <a:lnTo>
                  <a:pt x="7671855" y="4550987"/>
                </a:lnTo>
                <a:lnTo>
                  <a:pt x="7671855" y="4560858"/>
                </a:lnTo>
                <a:lnTo>
                  <a:pt x="7667836" y="4564897"/>
                </a:lnTo>
                <a:lnTo>
                  <a:pt x="7657926" y="4564897"/>
                </a:lnTo>
                <a:lnTo>
                  <a:pt x="7653906" y="4560858"/>
                </a:lnTo>
                <a:lnTo>
                  <a:pt x="7653906" y="4550987"/>
                </a:lnTo>
                <a:close/>
                <a:moveTo>
                  <a:pt x="7418611" y="4546948"/>
                </a:moveTo>
                <a:lnTo>
                  <a:pt x="7428521" y="4546948"/>
                </a:lnTo>
                <a:lnTo>
                  <a:pt x="7432540" y="4550987"/>
                </a:lnTo>
                <a:lnTo>
                  <a:pt x="7432540" y="4560858"/>
                </a:lnTo>
                <a:lnTo>
                  <a:pt x="7428521" y="4564897"/>
                </a:lnTo>
                <a:lnTo>
                  <a:pt x="7418611" y="4564897"/>
                </a:lnTo>
                <a:lnTo>
                  <a:pt x="7414592" y="4560858"/>
                </a:lnTo>
                <a:lnTo>
                  <a:pt x="7414592" y="4550987"/>
                </a:lnTo>
                <a:close/>
                <a:moveTo>
                  <a:pt x="7179298" y="4546948"/>
                </a:moveTo>
                <a:lnTo>
                  <a:pt x="7189209" y="4546948"/>
                </a:lnTo>
                <a:lnTo>
                  <a:pt x="7193228" y="4550987"/>
                </a:lnTo>
                <a:lnTo>
                  <a:pt x="7193228" y="4560858"/>
                </a:lnTo>
                <a:lnTo>
                  <a:pt x="7189209" y="4564897"/>
                </a:lnTo>
                <a:lnTo>
                  <a:pt x="7179298" y="4564897"/>
                </a:lnTo>
                <a:lnTo>
                  <a:pt x="7175279" y="4560858"/>
                </a:lnTo>
                <a:lnTo>
                  <a:pt x="7175279" y="4550987"/>
                </a:lnTo>
                <a:close/>
                <a:moveTo>
                  <a:pt x="6939983" y="4546948"/>
                </a:moveTo>
                <a:lnTo>
                  <a:pt x="6949894" y="4546948"/>
                </a:lnTo>
                <a:lnTo>
                  <a:pt x="6953913" y="4550987"/>
                </a:lnTo>
                <a:lnTo>
                  <a:pt x="6953913" y="4560858"/>
                </a:lnTo>
                <a:lnTo>
                  <a:pt x="6949894" y="4564897"/>
                </a:lnTo>
                <a:lnTo>
                  <a:pt x="6939983" y="4564897"/>
                </a:lnTo>
                <a:lnTo>
                  <a:pt x="6935964" y="4560858"/>
                </a:lnTo>
                <a:lnTo>
                  <a:pt x="6935964" y="4550987"/>
                </a:lnTo>
                <a:close/>
                <a:moveTo>
                  <a:pt x="6700670" y="4546948"/>
                </a:moveTo>
                <a:lnTo>
                  <a:pt x="6710581" y="4546948"/>
                </a:lnTo>
                <a:lnTo>
                  <a:pt x="6714600" y="4550987"/>
                </a:lnTo>
                <a:lnTo>
                  <a:pt x="6714600" y="4560858"/>
                </a:lnTo>
                <a:lnTo>
                  <a:pt x="6710581" y="4564897"/>
                </a:lnTo>
                <a:lnTo>
                  <a:pt x="6700670" y="4564897"/>
                </a:lnTo>
                <a:lnTo>
                  <a:pt x="6696651" y="4560858"/>
                </a:lnTo>
                <a:lnTo>
                  <a:pt x="6696651" y="4550987"/>
                </a:lnTo>
                <a:close/>
                <a:moveTo>
                  <a:pt x="6461356" y="4546948"/>
                </a:moveTo>
                <a:lnTo>
                  <a:pt x="6471266" y="4546948"/>
                </a:lnTo>
                <a:lnTo>
                  <a:pt x="6475285" y="4550987"/>
                </a:lnTo>
                <a:lnTo>
                  <a:pt x="6475285" y="4560858"/>
                </a:lnTo>
                <a:lnTo>
                  <a:pt x="6471266" y="4564897"/>
                </a:lnTo>
                <a:lnTo>
                  <a:pt x="6461356" y="4564897"/>
                </a:lnTo>
                <a:lnTo>
                  <a:pt x="6457337" y="4560858"/>
                </a:lnTo>
                <a:lnTo>
                  <a:pt x="6457337" y="4550987"/>
                </a:lnTo>
                <a:close/>
                <a:moveTo>
                  <a:pt x="6222042" y="4546948"/>
                </a:moveTo>
                <a:lnTo>
                  <a:pt x="6231952" y="4546948"/>
                </a:lnTo>
                <a:lnTo>
                  <a:pt x="6235971" y="4550987"/>
                </a:lnTo>
                <a:lnTo>
                  <a:pt x="6235971" y="4560858"/>
                </a:lnTo>
                <a:lnTo>
                  <a:pt x="6231952" y="4564897"/>
                </a:lnTo>
                <a:lnTo>
                  <a:pt x="6222042" y="4564897"/>
                </a:lnTo>
                <a:lnTo>
                  <a:pt x="6218023" y="4560858"/>
                </a:lnTo>
                <a:lnTo>
                  <a:pt x="6218023" y="4550987"/>
                </a:lnTo>
                <a:close/>
                <a:moveTo>
                  <a:pt x="5982729" y="4546948"/>
                </a:moveTo>
                <a:lnTo>
                  <a:pt x="5992639" y="4546948"/>
                </a:lnTo>
                <a:lnTo>
                  <a:pt x="5996658" y="4550987"/>
                </a:lnTo>
                <a:lnTo>
                  <a:pt x="5996658" y="4560858"/>
                </a:lnTo>
                <a:lnTo>
                  <a:pt x="5992639" y="4564897"/>
                </a:lnTo>
                <a:lnTo>
                  <a:pt x="5982729" y="4564897"/>
                </a:lnTo>
                <a:lnTo>
                  <a:pt x="5978710" y="4560858"/>
                </a:lnTo>
                <a:lnTo>
                  <a:pt x="5978710" y="4550987"/>
                </a:lnTo>
                <a:close/>
                <a:moveTo>
                  <a:pt x="5743412" y="4546948"/>
                </a:moveTo>
                <a:lnTo>
                  <a:pt x="5753323" y="4546948"/>
                </a:lnTo>
                <a:lnTo>
                  <a:pt x="5757342" y="4550987"/>
                </a:lnTo>
                <a:lnTo>
                  <a:pt x="5757342" y="4560858"/>
                </a:lnTo>
                <a:lnTo>
                  <a:pt x="5753323" y="4564897"/>
                </a:lnTo>
                <a:lnTo>
                  <a:pt x="5743412" y="4564897"/>
                </a:lnTo>
                <a:lnTo>
                  <a:pt x="5739393" y="4560858"/>
                </a:lnTo>
                <a:lnTo>
                  <a:pt x="5739393" y="4550987"/>
                </a:lnTo>
                <a:close/>
                <a:moveTo>
                  <a:pt x="5504099" y="4546948"/>
                </a:moveTo>
                <a:lnTo>
                  <a:pt x="5514010" y="4546948"/>
                </a:lnTo>
                <a:lnTo>
                  <a:pt x="5518029" y="4550987"/>
                </a:lnTo>
                <a:lnTo>
                  <a:pt x="5518029" y="4560858"/>
                </a:lnTo>
                <a:lnTo>
                  <a:pt x="5514010" y="4564897"/>
                </a:lnTo>
                <a:lnTo>
                  <a:pt x="5504099" y="4564897"/>
                </a:lnTo>
                <a:lnTo>
                  <a:pt x="5500080" y="4560858"/>
                </a:lnTo>
                <a:lnTo>
                  <a:pt x="5500080" y="4550987"/>
                </a:lnTo>
                <a:close/>
                <a:moveTo>
                  <a:pt x="5264784" y="4546948"/>
                </a:moveTo>
                <a:lnTo>
                  <a:pt x="5274694" y="4546948"/>
                </a:lnTo>
                <a:lnTo>
                  <a:pt x="5278713" y="4550987"/>
                </a:lnTo>
                <a:lnTo>
                  <a:pt x="5278713" y="4560858"/>
                </a:lnTo>
                <a:lnTo>
                  <a:pt x="5274694" y="4564897"/>
                </a:lnTo>
                <a:lnTo>
                  <a:pt x="5264784" y="4564897"/>
                </a:lnTo>
                <a:lnTo>
                  <a:pt x="5260765" y="4560858"/>
                </a:lnTo>
                <a:lnTo>
                  <a:pt x="5260765" y="4550987"/>
                </a:lnTo>
                <a:close/>
                <a:moveTo>
                  <a:pt x="5025470" y="4546948"/>
                </a:moveTo>
                <a:lnTo>
                  <a:pt x="5035381" y="4546948"/>
                </a:lnTo>
                <a:lnTo>
                  <a:pt x="5039400" y="4550987"/>
                </a:lnTo>
                <a:lnTo>
                  <a:pt x="5039400" y="4560858"/>
                </a:lnTo>
                <a:lnTo>
                  <a:pt x="5035381" y="4564897"/>
                </a:lnTo>
                <a:lnTo>
                  <a:pt x="5025470" y="4564897"/>
                </a:lnTo>
                <a:lnTo>
                  <a:pt x="5021451" y="4560858"/>
                </a:lnTo>
                <a:lnTo>
                  <a:pt x="5021451" y="4550987"/>
                </a:lnTo>
                <a:close/>
                <a:moveTo>
                  <a:pt x="4786241" y="4546948"/>
                </a:moveTo>
                <a:lnTo>
                  <a:pt x="4796152" y="4546948"/>
                </a:lnTo>
                <a:lnTo>
                  <a:pt x="4800171" y="4550987"/>
                </a:lnTo>
                <a:lnTo>
                  <a:pt x="4800171" y="4560858"/>
                </a:lnTo>
                <a:lnTo>
                  <a:pt x="4796152" y="4564897"/>
                </a:lnTo>
                <a:lnTo>
                  <a:pt x="4786241" y="4564897"/>
                </a:lnTo>
                <a:lnTo>
                  <a:pt x="4782224" y="4560858"/>
                </a:lnTo>
                <a:lnTo>
                  <a:pt x="4782224" y="4550987"/>
                </a:lnTo>
                <a:close/>
                <a:moveTo>
                  <a:pt x="4546929" y="4546948"/>
                </a:moveTo>
                <a:lnTo>
                  <a:pt x="4556840" y="4546948"/>
                </a:lnTo>
                <a:lnTo>
                  <a:pt x="4560859" y="4550987"/>
                </a:lnTo>
                <a:lnTo>
                  <a:pt x="4560859" y="4560858"/>
                </a:lnTo>
                <a:lnTo>
                  <a:pt x="4556840" y="4564897"/>
                </a:lnTo>
                <a:lnTo>
                  <a:pt x="4546929" y="4564897"/>
                </a:lnTo>
                <a:lnTo>
                  <a:pt x="4542910" y="4560858"/>
                </a:lnTo>
                <a:lnTo>
                  <a:pt x="4542910" y="4550987"/>
                </a:lnTo>
                <a:close/>
                <a:moveTo>
                  <a:pt x="4307612" y="4546948"/>
                </a:moveTo>
                <a:lnTo>
                  <a:pt x="4317523" y="4546948"/>
                </a:lnTo>
                <a:lnTo>
                  <a:pt x="4321543" y="4550987"/>
                </a:lnTo>
                <a:lnTo>
                  <a:pt x="4321543" y="4560858"/>
                </a:lnTo>
                <a:lnTo>
                  <a:pt x="4317523" y="4564897"/>
                </a:lnTo>
                <a:lnTo>
                  <a:pt x="4307612" y="4564897"/>
                </a:lnTo>
                <a:lnTo>
                  <a:pt x="4303595" y="4560858"/>
                </a:lnTo>
                <a:lnTo>
                  <a:pt x="4303595" y="4550987"/>
                </a:lnTo>
                <a:close/>
                <a:moveTo>
                  <a:pt x="4068297" y="4546948"/>
                </a:moveTo>
                <a:lnTo>
                  <a:pt x="4078210" y="4546948"/>
                </a:lnTo>
                <a:lnTo>
                  <a:pt x="4082229" y="4550987"/>
                </a:lnTo>
                <a:lnTo>
                  <a:pt x="4082229" y="4560858"/>
                </a:lnTo>
                <a:lnTo>
                  <a:pt x="4078210" y="4564897"/>
                </a:lnTo>
                <a:lnTo>
                  <a:pt x="4068297" y="4564897"/>
                </a:lnTo>
                <a:lnTo>
                  <a:pt x="4064278" y="4560858"/>
                </a:lnTo>
                <a:lnTo>
                  <a:pt x="4064278" y="4550987"/>
                </a:lnTo>
                <a:close/>
                <a:moveTo>
                  <a:pt x="3828990" y="4546948"/>
                </a:moveTo>
                <a:lnTo>
                  <a:pt x="3838899" y="4546948"/>
                </a:lnTo>
                <a:lnTo>
                  <a:pt x="3842917" y="4550987"/>
                </a:lnTo>
                <a:lnTo>
                  <a:pt x="3842917" y="4560858"/>
                </a:lnTo>
                <a:lnTo>
                  <a:pt x="3838899" y="4564897"/>
                </a:lnTo>
                <a:lnTo>
                  <a:pt x="3828990" y="4564897"/>
                </a:lnTo>
                <a:lnTo>
                  <a:pt x="3824971" y="4560858"/>
                </a:lnTo>
                <a:lnTo>
                  <a:pt x="3824971" y="4550987"/>
                </a:lnTo>
                <a:close/>
                <a:moveTo>
                  <a:pt x="3589676" y="4546948"/>
                </a:moveTo>
                <a:lnTo>
                  <a:pt x="3599585" y="4546948"/>
                </a:lnTo>
                <a:lnTo>
                  <a:pt x="3603604" y="4550987"/>
                </a:lnTo>
                <a:lnTo>
                  <a:pt x="3603604" y="4560858"/>
                </a:lnTo>
                <a:lnTo>
                  <a:pt x="3599585" y="4564897"/>
                </a:lnTo>
                <a:lnTo>
                  <a:pt x="3589676" y="4564897"/>
                </a:lnTo>
                <a:lnTo>
                  <a:pt x="3585657" y="4560858"/>
                </a:lnTo>
                <a:lnTo>
                  <a:pt x="3585657" y="4550987"/>
                </a:lnTo>
                <a:close/>
                <a:moveTo>
                  <a:pt x="3350359" y="4546948"/>
                </a:moveTo>
                <a:lnTo>
                  <a:pt x="3360268" y="4546948"/>
                </a:lnTo>
                <a:lnTo>
                  <a:pt x="3364287" y="4550987"/>
                </a:lnTo>
                <a:lnTo>
                  <a:pt x="3364287" y="4560858"/>
                </a:lnTo>
                <a:lnTo>
                  <a:pt x="3360268" y="4564897"/>
                </a:lnTo>
                <a:lnTo>
                  <a:pt x="3350359" y="4564897"/>
                </a:lnTo>
                <a:lnTo>
                  <a:pt x="3346340" y="4560858"/>
                </a:lnTo>
                <a:lnTo>
                  <a:pt x="3346340" y="4550987"/>
                </a:lnTo>
                <a:close/>
                <a:moveTo>
                  <a:pt x="3111048" y="4546948"/>
                </a:moveTo>
                <a:lnTo>
                  <a:pt x="3120959" y="4546948"/>
                </a:lnTo>
                <a:lnTo>
                  <a:pt x="3124977" y="4550987"/>
                </a:lnTo>
                <a:lnTo>
                  <a:pt x="3124977" y="4560858"/>
                </a:lnTo>
                <a:lnTo>
                  <a:pt x="3120959" y="4564897"/>
                </a:lnTo>
                <a:lnTo>
                  <a:pt x="3111048" y="4564897"/>
                </a:lnTo>
                <a:lnTo>
                  <a:pt x="3107029" y="4560858"/>
                </a:lnTo>
                <a:lnTo>
                  <a:pt x="3107029" y="4550987"/>
                </a:lnTo>
                <a:close/>
                <a:moveTo>
                  <a:pt x="2871737" y="4546948"/>
                </a:moveTo>
                <a:lnTo>
                  <a:pt x="2881646" y="4546948"/>
                </a:lnTo>
                <a:lnTo>
                  <a:pt x="2885666" y="4550987"/>
                </a:lnTo>
                <a:lnTo>
                  <a:pt x="2885666" y="4560858"/>
                </a:lnTo>
                <a:lnTo>
                  <a:pt x="2881646" y="4564897"/>
                </a:lnTo>
                <a:lnTo>
                  <a:pt x="2871737" y="4564897"/>
                </a:lnTo>
                <a:lnTo>
                  <a:pt x="2867717" y="4560858"/>
                </a:lnTo>
                <a:lnTo>
                  <a:pt x="2867717" y="4550987"/>
                </a:lnTo>
                <a:close/>
                <a:moveTo>
                  <a:pt x="2632423" y="4546948"/>
                </a:moveTo>
                <a:lnTo>
                  <a:pt x="2642334" y="4546948"/>
                </a:lnTo>
                <a:lnTo>
                  <a:pt x="2646352" y="4550987"/>
                </a:lnTo>
                <a:lnTo>
                  <a:pt x="2646352" y="4560858"/>
                </a:lnTo>
                <a:lnTo>
                  <a:pt x="2642334" y="4564897"/>
                </a:lnTo>
                <a:lnTo>
                  <a:pt x="2632423" y="4564897"/>
                </a:lnTo>
                <a:lnTo>
                  <a:pt x="2628404" y="4560858"/>
                </a:lnTo>
                <a:lnTo>
                  <a:pt x="2628404" y="4550987"/>
                </a:lnTo>
                <a:close/>
                <a:moveTo>
                  <a:pt x="2393104" y="4546948"/>
                </a:moveTo>
                <a:lnTo>
                  <a:pt x="2403015" y="4546948"/>
                </a:lnTo>
                <a:lnTo>
                  <a:pt x="2407034" y="4550987"/>
                </a:lnTo>
                <a:lnTo>
                  <a:pt x="2407034" y="4560858"/>
                </a:lnTo>
                <a:lnTo>
                  <a:pt x="2403015" y="4564897"/>
                </a:lnTo>
                <a:lnTo>
                  <a:pt x="2393104" y="4564897"/>
                </a:lnTo>
                <a:lnTo>
                  <a:pt x="2389087" y="4560858"/>
                </a:lnTo>
                <a:lnTo>
                  <a:pt x="2389087" y="4550987"/>
                </a:lnTo>
                <a:close/>
                <a:moveTo>
                  <a:pt x="721964" y="4546948"/>
                </a:moveTo>
                <a:lnTo>
                  <a:pt x="731874" y="4546948"/>
                </a:lnTo>
                <a:lnTo>
                  <a:pt x="735893" y="4550987"/>
                </a:lnTo>
                <a:lnTo>
                  <a:pt x="735893" y="4560858"/>
                </a:lnTo>
                <a:lnTo>
                  <a:pt x="731874" y="4564897"/>
                </a:lnTo>
                <a:lnTo>
                  <a:pt x="721964" y="4564897"/>
                </a:lnTo>
                <a:lnTo>
                  <a:pt x="717945" y="4560858"/>
                </a:lnTo>
                <a:lnTo>
                  <a:pt x="717945" y="4550987"/>
                </a:lnTo>
                <a:close/>
                <a:moveTo>
                  <a:pt x="482651" y="4546948"/>
                </a:moveTo>
                <a:lnTo>
                  <a:pt x="492562" y="4546948"/>
                </a:lnTo>
                <a:lnTo>
                  <a:pt x="496581" y="4550987"/>
                </a:lnTo>
                <a:lnTo>
                  <a:pt x="496581" y="4560858"/>
                </a:lnTo>
                <a:lnTo>
                  <a:pt x="492562" y="4564897"/>
                </a:lnTo>
                <a:lnTo>
                  <a:pt x="482651" y="4564897"/>
                </a:lnTo>
                <a:lnTo>
                  <a:pt x="478632" y="4560858"/>
                </a:lnTo>
                <a:lnTo>
                  <a:pt x="478632" y="4550987"/>
                </a:lnTo>
                <a:close/>
                <a:moveTo>
                  <a:pt x="243338" y="4546948"/>
                </a:moveTo>
                <a:lnTo>
                  <a:pt x="253248" y="4546948"/>
                </a:lnTo>
                <a:lnTo>
                  <a:pt x="257267" y="4550987"/>
                </a:lnTo>
                <a:lnTo>
                  <a:pt x="257267" y="4560858"/>
                </a:lnTo>
                <a:lnTo>
                  <a:pt x="253248" y="4564897"/>
                </a:lnTo>
                <a:lnTo>
                  <a:pt x="243338" y="4564897"/>
                </a:lnTo>
                <a:lnTo>
                  <a:pt x="239319" y="4560858"/>
                </a:lnTo>
                <a:lnTo>
                  <a:pt x="239319" y="4550987"/>
                </a:lnTo>
                <a:close/>
                <a:moveTo>
                  <a:pt x="4025" y="4546948"/>
                </a:moveTo>
                <a:lnTo>
                  <a:pt x="13935" y="4546948"/>
                </a:lnTo>
                <a:lnTo>
                  <a:pt x="17954" y="4550987"/>
                </a:lnTo>
                <a:lnTo>
                  <a:pt x="17954" y="4560858"/>
                </a:lnTo>
                <a:lnTo>
                  <a:pt x="13935" y="4564897"/>
                </a:lnTo>
                <a:lnTo>
                  <a:pt x="4025" y="4564897"/>
                </a:lnTo>
                <a:lnTo>
                  <a:pt x="6" y="4560858"/>
                </a:lnTo>
                <a:lnTo>
                  <a:pt x="6" y="4550987"/>
                </a:lnTo>
                <a:close/>
                <a:moveTo>
                  <a:pt x="2157819" y="4307669"/>
                </a:moveTo>
                <a:lnTo>
                  <a:pt x="2167729" y="4307669"/>
                </a:lnTo>
                <a:lnTo>
                  <a:pt x="2171749" y="4311708"/>
                </a:lnTo>
                <a:lnTo>
                  <a:pt x="2171749" y="4321579"/>
                </a:lnTo>
                <a:lnTo>
                  <a:pt x="2167729" y="4325618"/>
                </a:lnTo>
                <a:lnTo>
                  <a:pt x="2157819" y="4325618"/>
                </a:lnTo>
                <a:lnTo>
                  <a:pt x="2153801" y="4321579"/>
                </a:lnTo>
                <a:lnTo>
                  <a:pt x="2153801" y="4311708"/>
                </a:lnTo>
                <a:close/>
                <a:moveTo>
                  <a:pt x="1918511" y="4307669"/>
                </a:moveTo>
                <a:lnTo>
                  <a:pt x="1928421" y="4307669"/>
                </a:lnTo>
                <a:lnTo>
                  <a:pt x="1932440" y="4311708"/>
                </a:lnTo>
                <a:lnTo>
                  <a:pt x="1932440" y="4321579"/>
                </a:lnTo>
                <a:lnTo>
                  <a:pt x="1928421" y="4325618"/>
                </a:lnTo>
                <a:lnTo>
                  <a:pt x="1918511" y="4325618"/>
                </a:lnTo>
                <a:lnTo>
                  <a:pt x="1914492" y="4321579"/>
                </a:lnTo>
                <a:lnTo>
                  <a:pt x="1914492" y="4311708"/>
                </a:lnTo>
                <a:close/>
                <a:moveTo>
                  <a:pt x="1679206" y="4307669"/>
                </a:moveTo>
                <a:lnTo>
                  <a:pt x="1689117" y="4307669"/>
                </a:lnTo>
                <a:lnTo>
                  <a:pt x="1693136" y="4311708"/>
                </a:lnTo>
                <a:lnTo>
                  <a:pt x="1693136" y="4321579"/>
                </a:lnTo>
                <a:lnTo>
                  <a:pt x="1689117" y="4325618"/>
                </a:lnTo>
                <a:lnTo>
                  <a:pt x="1679206" y="4325618"/>
                </a:lnTo>
                <a:lnTo>
                  <a:pt x="1675188" y="4321579"/>
                </a:lnTo>
                <a:lnTo>
                  <a:pt x="1675188" y="4311708"/>
                </a:lnTo>
                <a:close/>
                <a:moveTo>
                  <a:pt x="1439891" y="4307669"/>
                </a:moveTo>
                <a:lnTo>
                  <a:pt x="1449801" y="4307669"/>
                </a:lnTo>
                <a:lnTo>
                  <a:pt x="1453819" y="4311708"/>
                </a:lnTo>
                <a:lnTo>
                  <a:pt x="1453819" y="4321579"/>
                </a:lnTo>
                <a:lnTo>
                  <a:pt x="1449801" y="4325618"/>
                </a:lnTo>
                <a:lnTo>
                  <a:pt x="1439891" y="4325618"/>
                </a:lnTo>
                <a:lnTo>
                  <a:pt x="1435871" y="4321579"/>
                </a:lnTo>
                <a:lnTo>
                  <a:pt x="1435871" y="4311708"/>
                </a:lnTo>
                <a:close/>
                <a:moveTo>
                  <a:pt x="1200575" y="4307669"/>
                </a:moveTo>
                <a:lnTo>
                  <a:pt x="1210486" y="4307669"/>
                </a:lnTo>
                <a:lnTo>
                  <a:pt x="1214505" y="4311708"/>
                </a:lnTo>
                <a:lnTo>
                  <a:pt x="1214505" y="4321579"/>
                </a:lnTo>
                <a:lnTo>
                  <a:pt x="1210486" y="4325618"/>
                </a:lnTo>
                <a:lnTo>
                  <a:pt x="1200575" y="4325618"/>
                </a:lnTo>
                <a:lnTo>
                  <a:pt x="1196556" y="4321579"/>
                </a:lnTo>
                <a:lnTo>
                  <a:pt x="1196556" y="4311708"/>
                </a:lnTo>
                <a:close/>
                <a:moveTo>
                  <a:pt x="961263" y="4307669"/>
                </a:moveTo>
                <a:lnTo>
                  <a:pt x="971173" y="4307669"/>
                </a:lnTo>
                <a:lnTo>
                  <a:pt x="975191" y="4311708"/>
                </a:lnTo>
                <a:lnTo>
                  <a:pt x="975191" y="4321579"/>
                </a:lnTo>
                <a:lnTo>
                  <a:pt x="971173" y="4325618"/>
                </a:lnTo>
                <a:lnTo>
                  <a:pt x="961263" y="4325618"/>
                </a:lnTo>
                <a:lnTo>
                  <a:pt x="957244" y="4321579"/>
                </a:lnTo>
                <a:lnTo>
                  <a:pt x="957244" y="4311708"/>
                </a:lnTo>
                <a:close/>
                <a:moveTo>
                  <a:pt x="9572438" y="4307617"/>
                </a:moveTo>
                <a:lnTo>
                  <a:pt x="9582349" y="4307617"/>
                </a:lnTo>
                <a:lnTo>
                  <a:pt x="9586368" y="4311656"/>
                </a:lnTo>
                <a:lnTo>
                  <a:pt x="9586368" y="4321527"/>
                </a:lnTo>
                <a:lnTo>
                  <a:pt x="9582349" y="4325566"/>
                </a:lnTo>
                <a:lnTo>
                  <a:pt x="9572438" y="4325566"/>
                </a:lnTo>
                <a:lnTo>
                  <a:pt x="9568419" y="4321527"/>
                </a:lnTo>
                <a:lnTo>
                  <a:pt x="9568419" y="4311656"/>
                </a:lnTo>
                <a:close/>
                <a:moveTo>
                  <a:pt x="9333125" y="4307617"/>
                </a:moveTo>
                <a:lnTo>
                  <a:pt x="9343036" y="4307617"/>
                </a:lnTo>
                <a:lnTo>
                  <a:pt x="9347055" y="4311656"/>
                </a:lnTo>
                <a:lnTo>
                  <a:pt x="9347055" y="4321527"/>
                </a:lnTo>
                <a:lnTo>
                  <a:pt x="9343036" y="4325566"/>
                </a:lnTo>
                <a:lnTo>
                  <a:pt x="9333125" y="4325566"/>
                </a:lnTo>
                <a:lnTo>
                  <a:pt x="9329106" y="4321527"/>
                </a:lnTo>
                <a:lnTo>
                  <a:pt x="9329106" y="4311656"/>
                </a:lnTo>
                <a:close/>
                <a:moveTo>
                  <a:pt x="9093811" y="4307617"/>
                </a:moveTo>
                <a:lnTo>
                  <a:pt x="9103722" y="4307617"/>
                </a:lnTo>
                <a:lnTo>
                  <a:pt x="9107741" y="4311656"/>
                </a:lnTo>
                <a:lnTo>
                  <a:pt x="9107741" y="4321527"/>
                </a:lnTo>
                <a:lnTo>
                  <a:pt x="9103722" y="4325566"/>
                </a:lnTo>
                <a:lnTo>
                  <a:pt x="9093811" y="4325566"/>
                </a:lnTo>
                <a:lnTo>
                  <a:pt x="9089792" y="4321527"/>
                </a:lnTo>
                <a:lnTo>
                  <a:pt x="9089792" y="4311656"/>
                </a:lnTo>
                <a:close/>
                <a:moveTo>
                  <a:pt x="8854496" y="4307617"/>
                </a:moveTo>
                <a:lnTo>
                  <a:pt x="8864407" y="4307617"/>
                </a:lnTo>
                <a:lnTo>
                  <a:pt x="8868426" y="4311656"/>
                </a:lnTo>
                <a:lnTo>
                  <a:pt x="8868426" y="4321527"/>
                </a:lnTo>
                <a:lnTo>
                  <a:pt x="8864407" y="4325566"/>
                </a:lnTo>
                <a:lnTo>
                  <a:pt x="8854496" y="4325566"/>
                </a:lnTo>
                <a:lnTo>
                  <a:pt x="8850477" y="4321527"/>
                </a:lnTo>
                <a:lnTo>
                  <a:pt x="8850477" y="4311656"/>
                </a:lnTo>
                <a:close/>
                <a:moveTo>
                  <a:pt x="8615184" y="4307617"/>
                </a:moveTo>
                <a:lnTo>
                  <a:pt x="8625095" y="4307617"/>
                </a:lnTo>
                <a:lnTo>
                  <a:pt x="8629114" y="4311656"/>
                </a:lnTo>
                <a:lnTo>
                  <a:pt x="8629114" y="4321527"/>
                </a:lnTo>
                <a:lnTo>
                  <a:pt x="8625095" y="4325566"/>
                </a:lnTo>
                <a:lnTo>
                  <a:pt x="8615184" y="4325566"/>
                </a:lnTo>
                <a:lnTo>
                  <a:pt x="8611165" y="4321527"/>
                </a:lnTo>
                <a:lnTo>
                  <a:pt x="8611165" y="4311656"/>
                </a:lnTo>
                <a:close/>
                <a:moveTo>
                  <a:pt x="8375869" y="4307617"/>
                </a:moveTo>
                <a:lnTo>
                  <a:pt x="8385779" y="4307617"/>
                </a:lnTo>
                <a:lnTo>
                  <a:pt x="8389799" y="4311656"/>
                </a:lnTo>
                <a:lnTo>
                  <a:pt x="8389799" y="4321527"/>
                </a:lnTo>
                <a:lnTo>
                  <a:pt x="8385779" y="4325566"/>
                </a:lnTo>
                <a:lnTo>
                  <a:pt x="8375869" y="4325566"/>
                </a:lnTo>
                <a:lnTo>
                  <a:pt x="8371850" y="4321527"/>
                </a:lnTo>
                <a:lnTo>
                  <a:pt x="8371850" y="4311656"/>
                </a:lnTo>
                <a:close/>
                <a:moveTo>
                  <a:pt x="8136553" y="4307617"/>
                </a:moveTo>
                <a:lnTo>
                  <a:pt x="8146464" y="4307617"/>
                </a:lnTo>
                <a:lnTo>
                  <a:pt x="8150483" y="4311656"/>
                </a:lnTo>
                <a:lnTo>
                  <a:pt x="8150483" y="4321527"/>
                </a:lnTo>
                <a:lnTo>
                  <a:pt x="8146464" y="4325566"/>
                </a:lnTo>
                <a:lnTo>
                  <a:pt x="8136553" y="4325566"/>
                </a:lnTo>
                <a:lnTo>
                  <a:pt x="8132534" y="4321527"/>
                </a:lnTo>
                <a:lnTo>
                  <a:pt x="8132534" y="4311656"/>
                </a:lnTo>
                <a:close/>
                <a:moveTo>
                  <a:pt x="7897241" y="4307617"/>
                </a:moveTo>
                <a:lnTo>
                  <a:pt x="7907151" y="4307617"/>
                </a:lnTo>
                <a:lnTo>
                  <a:pt x="7911170" y="4311656"/>
                </a:lnTo>
                <a:lnTo>
                  <a:pt x="7911170" y="4321527"/>
                </a:lnTo>
                <a:lnTo>
                  <a:pt x="7907151" y="4325566"/>
                </a:lnTo>
                <a:lnTo>
                  <a:pt x="7897241" y="4325566"/>
                </a:lnTo>
                <a:lnTo>
                  <a:pt x="7893222" y="4321527"/>
                </a:lnTo>
                <a:lnTo>
                  <a:pt x="7893222" y="4311656"/>
                </a:lnTo>
                <a:close/>
                <a:moveTo>
                  <a:pt x="7657926" y="4307617"/>
                </a:moveTo>
                <a:lnTo>
                  <a:pt x="7667836" y="4307617"/>
                </a:lnTo>
                <a:lnTo>
                  <a:pt x="7671855" y="4311656"/>
                </a:lnTo>
                <a:lnTo>
                  <a:pt x="7671855" y="4321527"/>
                </a:lnTo>
                <a:lnTo>
                  <a:pt x="7667836" y="4325566"/>
                </a:lnTo>
                <a:lnTo>
                  <a:pt x="7657926" y="4325566"/>
                </a:lnTo>
                <a:lnTo>
                  <a:pt x="7653906" y="4321527"/>
                </a:lnTo>
                <a:lnTo>
                  <a:pt x="7653906" y="4311656"/>
                </a:lnTo>
                <a:close/>
                <a:moveTo>
                  <a:pt x="7418611" y="4307617"/>
                </a:moveTo>
                <a:lnTo>
                  <a:pt x="7428521" y="4307617"/>
                </a:lnTo>
                <a:lnTo>
                  <a:pt x="7432540" y="4311656"/>
                </a:lnTo>
                <a:lnTo>
                  <a:pt x="7432540" y="4321527"/>
                </a:lnTo>
                <a:lnTo>
                  <a:pt x="7428521" y="4325566"/>
                </a:lnTo>
                <a:lnTo>
                  <a:pt x="7418611" y="4325566"/>
                </a:lnTo>
                <a:lnTo>
                  <a:pt x="7414592" y="4321527"/>
                </a:lnTo>
                <a:lnTo>
                  <a:pt x="7414592" y="4311656"/>
                </a:lnTo>
                <a:close/>
                <a:moveTo>
                  <a:pt x="7179298" y="4307617"/>
                </a:moveTo>
                <a:lnTo>
                  <a:pt x="7189209" y="4307617"/>
                </a:lnTo>
                <a:lnTo>
                  <a:pt x="7193228" y="4311656"/>
                </a:lnTo>
                <a:lnTo>
                  <a:pt x="7193228" y="4321527"/>
                </a:lnTo>
                <a:lnTo>
                  <a:pt x="7189209" y="4325566"/>
                </a:lnTo>
                <a:lnTo>
                  <a:pt x="7179298" y="4325566"/>
                </a:lnTo>
                <a:lnTo>
                  <a:pt x="7175279" y="4321527"/>
                </a:lnTo>
                <a:lnTo>
                  <a:pt x="7175279" y="4311656"/>
                </a:lnTo>
                <a:close/>
                <a:moveTo>
                  <a:pt x="6939983" y="4307617"/>
                </a:moveTo>
                <a:lnTo>
                  <a:pt x="6949894" y="4307617"/>
                </a:lnTo>
                <a:lnTo>
                  <a:pt x="6953913" y="4311656"/>
                </a:lnTo>
                <a:lnTo>
                  <a:pt x="6953913" y="4321527"/>
                </a:lnTo>
                <a:lnTo>
                  <a:pt x="6949894" y="4325566"/>
                </a:lnTo>
                <a:lnTo>
                  <a:pt x="6939983" y="4325566"/>
                </a:lnTo>
                <a:lnTo>
                  <a:pt x="6935964" y="4321527"/>
                </a:lnTo>
                <a:lnTo>
                  <a:pt x="6935964" y="4311656"/>
                </a:lnTo>
                <a:close/>
                <a:moveTo>
                  <a:pt x="6700670" y="4307617"/>
                </a:moveTo>
                <a:lnTo>
                  <a:pt x="6710581" y="4307617"/>
                </a:lnTo>
                <a:lnTo>
                  <a:pt x="6714600" y="4311656"/>
                </a:lnTo>
                <a:lnTo>
                  <a:pt x="6714600" y="4321527"/>
                </a:lnTo>
                <a:lnTo>
                  <a:pt x="6710581" y="4325566"/>
                </a:lnTo>
                <a:lnTo>
                  <a:pt x="6700670" y="4325566"/>
                </a:lnTo>
                <a:lnTo>
                  <a:pt x="6696651" y="4321527"/>
                </a:lnTo>
                <a:lnTo>
                  <a:pt x="6696651" y="4311656"/>
                </a:lnTo>
                <a:close/>
                <a:moveTo>
                  <a:pt x="6461356" y="4307617"/>
                </a:moveTo>
                <a:lnTo>
                  <a:pt x="6471266" y="4307617"/>
                </a:lnTo>
                <a:lnTo>
                  <a:pt x="6475285" y="4311656"/>
                </a:lnTo>
                <a:lnTo>
                  <a:pt x="6475285" y="4321527"/>
                </a:lnTo>
                <a:lnTo>
                  <a:pt x="6471266" y="4325566"/>
                </a:lnTo>
                <a:lnTo>
                  <a:pt x="6461356" y="4325566"/>
                </a:lnTo>
                <a:lnTo>
                  <a:pt x="6457337" y="4321527"/>
                </a:lnTo>
                <a:lnTo>
                  <a:pt x="6457337" y="4311656"/>
                </a:lnTo>
                <a:close/>
                <a:moveTo>
                  <a:pt x="6222042" y="4307617"/>
                </a:moveTo>
                <a:lnTo>
                  <a:pt x="6231952" y="4307617"/>
                </a:lnTo>
                <a:lnTo>
                  <a:pt x="6235971" y="4311656"/>
                </a:lnTo>
                <a:lnTo>
                  <a:pt x="6235971" y="4321527"/>
                </a:lnTo>
                <a:lnTo>
                  <a:pt x="6231952" y="4325566"/>
                </a:lnTo>
                <a:lnTo>
                  <a:pt x="6222042" y="4325566"/>
                </a:lnTo>
                <a:lnTo>
                  <a:pt x="6218023" y="4321527"/>
                </a:lnTo>
                <a:lnTo>
                  <a:pt x="6218023" y="4311656"/>
                </a:lnTo>
                <a:close/>
                <a:moveTo>
                  <a:pt x="5982729" y="4307617"/>
                </a:moveTo>
                <a:lnTo>
                  <a:pt x="5992639" y="4307617"/>
                </a:lnTo>
                <a:lnTo>
                  <a:pt x="5996658" y="4311656"/>
                </a:lnTo>
                <a:lnTo>
                  <a:pt x="5996658" y="4321527"/>
                </a:lnTo>
                <a:lnTo>
                  <a:pt x="5992639" y="4325566"/>
                </a:lnTo>
                <a:lnTo>
                  <a:pt x="5982729" y="4325566"/>
                </a:lnTo>
                <a:lnTo>
                  <a:pt x="5978710" y="4321527"/>
                </a:lnTo>
                <a:lnTo>
                  <a:pt x="5978710" y="4311656"/>
                </a:lnTo>
                <a:close/>
                <a:moveTo>
                  <a:pt x="5743412" y="4307617"/>
                </a:moveTo>
                <a:lnTo>
                  <a:pt x="5753323" y="4307617"/>
                </a:lnTo>
                <a:lnTo>
                  <a:pt x="5757342" y="4311656"/>
                </a:lnTo>
                <a:lnTo>
                  <a:pt x="5757342" y="4321527"/>
                </a:lnTo>
                <a:lnTo>
                  <a:pt x="5753323" y="4325566"/>
                </a:lnTo>
                <a:lnTo>
                  <a:pt x="5743412" y="4325566"/>
                </a:lnTo>
                <a:lnTo>
                  <a:pt x="5739393" y="4321527"/>
                </a:lnTo>
                <a:lnTo>
                  <a:pt x="5739393" y="4311656"/>
                </a:lnTo>
                <a:close/>
                <a:moveTo>
                  <a:pt x="5504099" y="4307617"/>
                </a:moveTo>
                <a:lnTo>
                  <a:pt x="5514010" y="4307617"/>
                </a:lnTo>
                <a:lnTo>
                  <a:pt x="5518029" y="4311656"/>
                </a:lnTo>
                <a:lnTo>
                  <a:pt x="5518029" y="4321527"/>
                </a:lnTo>
                <a:lnTo>
                  <a:pt x="5514010" y="4325566"/>
                </a:lnTo>
                <a:lnTo>
                  <a:pt x="5504099" y="4325566"/>
                </a:lnTo>
                <a:lnTo>
                  <a:pt x="5500080" y="4321527"/>
                </a:lnTo>
                <a:lnTo>
                  <a:pt x="5500080" y="4311656"/>
                </a:lnTo>
                <a:close/>
                <a:moveTo>
                  <a:pt x="5264784" y="4307617"/>
                </a:moveTo>
                <a:lnTo>
                  <a:pt x="5274694" y="4307617"/>
                </a:lnTo>
                <a:lnTo>
                  <a:pt x="5278713" y="4311656"/>
                </a:lnTo>
                <a:lnTo>
                  <a:pt x="5278713" y="4321527"/>
                </a:lnTo>
                <a:lnTo>
                  <a:pt x="5274694" y="4325566"/>
                </a:lnTo>
                <a:lnTo>
                  <a:pt x="5264784" y="4325566"/>
                </a:lnTo>
                <a:lnTo>
                  <a:pt x="5260765" y="4321527"/>
                </a:lnTo>
                <a:lnTo>
                  <a:pt x="5260765" y="4311656"/>
                </a:lnTo>
                <a:close/>
                <a:moveTo>
                  <a:pt x="5025470" y="4307617"/>
                </a:moveTo>
                <a:lnTo>
                  <a:pt x="5035381" y="4307617"/>
                </a:lnTo>
                <a:lnTo>
                  <a:pt x="5039400" y="4311656"/>
                </a:lnTo>
                <a:lnTo>
                  <a:pt x="5039400" y="4321527"/>
                </a:lnTo>
                <a:lnTo>
                  <a:pt x="5035381" y="4325566"/>
                </a:lnTo>
                <a:lnTo>
                  <a:pt x="5025470" y="4325566"/>
                </a:lnTo>
                <a:lnTo>
                  <a:pt x="5021451" y="4321527"/>
                </a:lnTo>
                <a:lnTo>
                  <a:pt x="5021451" y="4311656"/>
                </a:lnTo>
                <a:close/>
                <a:moveTo>
                  <a:pt x="4786241" y="4307617"/>
                </a:moveTo>
                <a:lnTo>
                  <a:pt x="4796152" y="4307617"/>
                </a:lnTo>
                <a:lnTo>
                  <a:pt x="4800171" y="4311656"/>
                </a:lnTo>
                <a:lnTo>
                  <a:pt x="4800171" y="4321527"/>
                </a:lnTo>
                <a:lnTo>
                  <a:pt x="4796152" y="4325566"/>
                </a:lnTo>
                <a:lnTo>
                  <a:pt x="4786241" y="4325566"/>
                </a:lnTo>
                <a:lnTo>
                  <a:pt x="4782224" y="4321527"/>
                </a:lnTo>
                <a:lnTo>
                  <a:pt x="4782224" y="4311656"/>
                </a:lnTo>
                <a:close/>
                <a:moveTo>
                  <a:pt x="4546929" y="4307617"/>
                </a:moveTo>
                <a:lnTo>
                  <a:pt x="4556840" y="4307617"/>
                </a:lnTo>
                <a:lnTo>
                  <a:pt x="4560859" y="4311656"/>
                </a:lnTo>
                <a:lnTo>
                  <a:pt x="4560859" y="4321527"/>
                </a:lnTo>
                <a:lnTo>
                  <a:pt x="4556840" y="4325566"/>
                </a:lnTo>
                <a:lnTo>
                  <a:pt x="4546929" y="4325566"/>
                </a:lnTo>
                <a:lnTo>
                  <a:pt x="4542910" y="4321527"/>
                </a:lnTo>
                <a:lnTo>
                  <a:pt x="4542910" y="4311656"/>
                </a:lnTo>
                <a:close/>
                <a:moveTo>
                  <a:pt x="4307612" y="4307617"/>
                </a:moveTo>
                <a:lnTo>
                  <a:pt x="4317523" y="4307617"/>
                </a:lnTo>
                <a:lnTo>
                  <a:pt x="4321543" y="4311656"/>
                </a:lnTo>
                <a:lnTo>
                  <a:pt x="4321543" y="4321527"/>
                </a:lnTo>
                <a:lnTo>
                  <a:pt x="4317523" y="4325566"/>
                </a:lnTo>
                <a:lnTo>
                  <a:pt x="4307612" y="4325566"/>
                </a:lnTo>
                <a:lnTo>
                  <a:pt x="4303595" y="4321527"/>
                </a:lnTo>
                <a:lnTo>
                  <a:pt x="4303595" y="4311656"/>
                </a:lnTo>
                <a:close/>
                <a:moveTo>
                  <a:pt x="4068297" y="4307617"/>
                </a:moveTo>
                <a:lnTo>
                  <a:pt x="4078210" y="4307617"/>
                </a:lnTo>
                <a:lnTo>
                  <a:pt x="4082229" y="4311656"/>
                </a:lnTo>
                <a:lnTo>
                  <a:pt x="4082229" y="4321527"/>
                </a:lnTo>
                <a:lnTo>
                  <a:pt x="4078210" y="4325566"/>
                </a:lnTo>
                <a:lnTo>
                  <a:pt x="4068297" y="4325566"/>
                </a:lnTo>
                <a:lnTo>
                  <a:pt x="4064278" y="4321527"/>
                </a:lnTo>
                <a:lnTo>
                  <a:pt x="4064278" y="4311656"/>
                </a:lnTo>
                <a:close/>
                <a:moveTo>
                  <a:pt x="3828990" y="4307617"/>
                </a:moveTo>
                <a:lnTo>
                  <a:pt x="3838899" y="4307617"/>
                </a:lnTo>
                <a:lnTo>
                  <a:pt x="3842917" y="4311656"/>
                </a:lnTo>
                <a:lnTo>
                  <a:pt x="3842917" y="4321527"/>
                </a:lnTo>
                <a:lnTo>
                  <a:pt x="3838899" y="4325566"/>
                </a:lnTo>
                <a:lnTo>
                  <a:pt x="3828990" y="4325566"/>
                </a:lnTo>
                <a:lnTo>
                  <a:pt x="3824971" y="4321527"/>
                </a:lnTo>
                <a:lnTo>
                  <a:pt x="3824971" y="4311656"/>
                </a:lnTo>
                <a:close/>
                <a:moveTo>
                  <a:pt x="3589676" y="4307617"/>
                </a:moveTo>
                <a:lnTo>
                  <a:pt x="3599585" y="4307617"/>
                </a:lnTo>
                <a:lnTo>
                  <a:pt x="3603604" y="4311656"/>
                </a:lnTo>
                <a:lnTo>
                  <a:pt x="3603604" y="4321527"/>
                </a:lnTo>
                <a:lnTo>
                  <a:pt x="3599585" y="4325566"/>
                </a:lnTo>
                <a:lnTo>
                  <a:pt x="3589676" y="4325566"/>
                </a:lnTo>
                <a:lnTo>
                  <a:pt x="3585657" y="4321527"/>
                </a:lnTo>
                <a:lnTo>
                  <a:pt x="3585657" y="4311656"/>
                </a:lnTo>
                <a:close/>
                <a:moveTo>
                  <a:pt x="3350359" y="4307617"/>
                </a:moveTo>
                <a:lnTo>
                  <a:pt x="3360268" y="4307617"/>
                </a:lnTo>
                <a:lnTo>
                  <a:pt x="3364287" y="4311656"/>
                </a:lnTo>
                <a:lnTo>
                  <a:pt x="3364287" y="4321527"/>
                </a:lnTo>
                <a:lnTo>
                  <a:pt x="3360268" y="4325566"/>
                </a:lnTo>
                <a:lnTo>
                  <a:pt x="3350359" y="4325566"/>
                </a:lnTo>
                <a:lnTo>
                  <a:pt x="3346340" y="4321527"/>
                </a:lnTo>
                <a:lnTo>
                  <a:pt x="3346340" y="4311656"/>
                </a:lnTo>
                <a:close/>
                <a:moveTo>
                  <a:pt x="3111048" y="4307617"/>
                </a:moveTo>
                <a:lnTo>
                  <a:pt x="3120959" y="4307617"/>
                </a:lnTo>
                <a:lnTo>
                  <a:pt x="3124977" y="4311656"/>
                </a:lnTo>
                <a:lnTo>
                  <a:pt x="3124977" y="4321527"/>
                </a:lnTo>
                <a:lnTo>
                  <a:pt x="3120959" y="4325566"/>
                </a:lnTo>
                <a:lnTo>
                  <a:pt x="3111048" y="4325566"/>
                </a:lnTo>
                <a:lnTo>
                  <a:pt x="3107029" y="4321527"/>
                </a:lnTo>
                <a:lnTo>
                  <a:pt x="3107029" y="4311656"/>
                </a:lnTo>
                <a:close/>
                <a:moveTo>
                  <a:pt x="2871737" y="4307617"/>
                </a:moveTo>
                <a:lnTo>
                  <a:pt x="2881646" y="4307617"/>
                </a:lnTo>
                <a:lnTo>
                  <a:pt x="2885666" y="4311656"/>
                </a:lnTo>
                <a:lnTo>
                  <a:pt x="2885666" y="4321527"/>
                </a:lnTo>
                <a:lnTo>
                  <a:pt x="2881646" y="4325566"/>
                </a:lnTo>
                <a:lnTo>
                  <a:pt x="2871737" y="4325566"/>
                </a:lnTo>
                <a:lnTo>
                  <a:pt x="2867717" y="4321527"/>
                </a:lnTo>
                <a:lnTo>
                  <a:pt x="2867717" y="4311656"/>
                </a:lnTo>
                <a:close/>
                <a:moveTo>
                  <a:pt x="2632423" y="4307617"/>
                </a:moveTo>
                <a:lnTo>
                  <a:pt x="2642334" y="4307617"/>
                </a:lnTo>
                <a:lnTo>
                  <a:pt x="2646352" y="4311656"/>
                </a:lnTo>
                <a:lnTo>
                  <a:pt x="2646352" y="4321527"/>
                </a:lnTo>
                <a:lnTo>
                  <a:pt x="2642334" y="4325566"/>
                </a:lnTo>
                <a:lnTo>
                  <a:pt x="2632423" y="4325566"/>
                </a:lnTo>
                <a:lnTo>
                  <a:pt x="2628404" y="4321527"/>
                </a:lnTo>
                <a:lnTo>
                  <a:pt x="2628404" y="4311656"/>
                </a:lnTo>
                <a:close/>
                <a:moveTo>
                  <a:pt x="2393104" y="4307617"/>
                </a:moveTo>
                <a:lnTo>
                  <a:pt x="2403015" y="4307617"/>
                </a:lnTo>
                <a:lnTo>
                  <a:pt x="2407034" y="4311656"/>
                </a:lnTo>
                <a:lnTo>
                  <a:pt x="2407034" y="4321527"/>
                </a:lnTo>
                <a:lnTo>
                  <a:pt x="2403015" y="4325566"/>
                </a:lnTo>
                <a:lnTo>
                  <a:pt x="2393104" y="4325566"/>
                </a:lnTo>
                <a:lnTo>
                  <a:pt x="2389087" y="4321527"/>
                </a:lnTo>
                <a:lnTo>
                  <a:pt x="2389087" y="4311656"/>
                </a:lnTo>
                <a:close/>
                <a:moveTo>
                  <a:pt x="721965" y="4307617"/>
                </a:moveTo>
                <a:lnTo>
                  <a:pt x="731874" y="4307617"/>
                </a:lnTo>
                <a:lnTo>
                  <a:pt x="735893" y="4311656"/>
                </a:lnTo>
                <a:lnTo>
                  <a:pt x="735893" y="4321527"/>
                </a:lnTo>
                <a:lnTo>
                  <a:pt x="731874" y="4325566"/>
                </a:lnTo>
                <a:lnTo>
                  <a:pt x="721965" y="4325566"/>
                </a:lnTo>
                <a:lnTo>
                  <a:pt x="717945" y="4321527"/>
                </a:lnTo>
                <a:lnTo>
                  <a:pt x="717945" y="4311656"/>
                </a:lnTo>
                <a:close/>
                <a:moveTo>
                  <a:pt x="482652" y="4307617"/>
                </a:moveTo>
                <a:lnTo>
                  <a:pt x="492562" y="4307617"/>
                </a:lnTo>
                <a:lnTo>
                  <a:pt x="496581" y="4311656"/>
                </a:lnTo>
                <a:lnTo>
                  <a:pt x="496581" y="4321527"/>
                </a:lnTo>
                <a:lnTo>
                  <a:pt x="492562" y="4325566"/>
                </a:lnTo>
                <a:lnTo>
                  <a:pt x="482652" y="4325566"/>
                </a:lnTo>
                <a:lnTo>
                  <a:pt x="478633" y="4321527"/>
                </a:lnTo>
                <a:lnTo>
                  <a:pt x="478633" y="4311656"/>
                </a:lnTo>
                <a:close/>
                <a:moveTo>
                  <a:pt x="243339" y="4307617"/>
                </a:moveTo>
                <a:lnTo>
                  <a:pt x="253249" y="4307617"/>
                </a:lnTo>
                <a:lnTo>
                  <a:pt x="257268" y="4311656"/>
                </a:lnTo>
                <a:lnTo>
                  <a:pt x="257268" y="4321527"/>
                </a:lnTo>
                <a:lnTo>
                  <a:pt x="253249" y="4325566"/>
                </a:lnTo>
                <a:lnTo>
                  <a:pt x="243339" y="4325566"/>
                </a:lnTo>
                <a:lnTo>
                  <a:pt x="239320" y="4321527"/>
                </a:lnTo>
                <a:lnTo>
                  <a:pt x="239320" y="4311656"/>
                </a:lnTo>
                <a:close/>
                <a:moveTo>
                  <a:pt x="4025" y="4307617"/>
                </a:moveTo>
                <a:lnTo>
                  <a:pt x="13936" y="4307617"/>
                </a:lnTo>
                <a:lnTo>
                  <a:pt x="17955" y="4311656"/>
                </a:lnTo>
                <a:lnTo>
                  <a:pt x="17955" y="4321527"/>
                </a:lnTo>
                <a:lnTo>
                  <a:pt x="13936" y="4325566"/>
                </a:lnTo>
                <a:lnTo>
                  <a:pt x="4025" y="4325566"/>
                </a:lnTo>
                <a:lnTo>
                  <a:pt x="7" y="4321527"/>
                </a:lnTo>
                <a:lnTo>
                  <a:pt x="7" y="4311656"/>
                </a:lnTo>
                <a:close/>
                <a:moveTo>
                  <a:pt x="9572438" y="4068339"/>
                </a:moveTo>
                <a:lnTo>
                  <a:pt x="9582349" y="4068339"/>
                </a:lnTo>
                <a:lnTo>
                  <a:pt x="9586368" y="4072377"/>
                </a:lnTo>
                <a:lnTo>
                  <a:pt x="9586368" y="4082248"/>
                </a:lnTo>
                <a:lnTo>
                  <a:pt x="9582349" y="4086287"/>
                </a:lnTo>
                <a:lnTo>
                  <a:pt x="9572438" y="4086287"/>
                </a:lnTo>
                <a:lnTo>
                  <a:pt x="9568419" y="4082248"/>
                </a:lnTo>
                <a:lnTo>
                  <a:pt x="9568419" y="4072377"/>
                </a:lnTo>
                <a:close/>
                <a:moveTo>
                  <a:pt x="9333125" y="4068339"/>
                </a:moveTo>
                <a:lnTo>
                  <a:pt x="9343036" y="4068339"/>
                </a:lnTo>
                <a:lnTo>
                  <a:pt x="9347055" y="4072377"/>
                </a:lnTo>
                <a:lnTo>
                  <a:pt x="9347055" y="4082248"/>
                </a:lnTo>
                <a:lnTo>
                  <a:pt x="9343036" y="4086287"/>
                </a:lnTo>
                <a:lnTo>
                  <a:pt x="9333125" y="4086287"/>
                </a:lnTo>
                <a:lnTo>
                  <a:pt x="9329106" y="4082248"/>
                </a:lnTo>
                <a:lnTo>
                  <a:pt x="9329106" y="4072377"/>
                </a:lnTo>
                <a:close/>
                <a:moveTo>
                  <a:pt x="9093811" y="4068339"/>
                </a:moveTo>
                <a:lnTo>
                  <a:pt x="9103722" y="4068339"/>
                </a:lnTo>
                <a:lnTo>
                  <a:pt x="9107741" y="4072377"/>
                </a:lnTo>
                <a:lnTo>
                  <a:pt x="9107741" y="4082248"/>
                </a:lnTo>
                <a:lnTo>
                  <a:pt x="9103722" y="4086287"/>
                </a:lnTo>
                <a:lnTo>
                  <a:pt x="9093811" y="4086287"/>
                </a:lnTo>
                <a:lnTo>
                  <a:pt x="9089792" y="4082248"/>
                </a:lnTo>
                <a:lnTo>
                  <a:pt x="9089792" y="4072377"/>
                </a:lnTo>
                <a:close/>
                <a:moveTo>
                  <a:pt x="8854496" y="4068339"/>
                </a:moveTo>
                <a:lnTo>
                  <a:pt x="8864407" y="4068339"/>
                </a:lnTo>
                <a:lnTo>
                  <a:pt x="8868426" y="4072377"/>
                </a:lnTo>
                <a:lnTo>
                  <a:pt x="8868426" y="4082248"/>
                </a:lnTo>
                <a:lnTo>
                  <a:pt x="8864407" y="4086287"/>
                </a:lnTo>
                <a:lnTo>
                  <a:pt x="8854496" y="4086287"/>
                </a:lnTo>
                <a:lnTo>
                  <a:pt x="8850477" y="4082248"/>
                </a:lnTo>
                <a:lnTo>
                  <a:pt x="8850477" y="4072377"/>
                </a:lnTo>
                <a:close/>
                <a:moveTo>
                  <a:pt x="8615184" y="4068339"/>
                </a:moveTo>
                <a:lnTo>
                  <a:pt x="8625095" y="4068339"/>
                </a:lnTo>
                <a:lnTo>
                  <a:pt x="8629114" y="4072377"/>
                </a:lnTo>
                <a:lnTo>
                  <a:pt x="8629114" y="4082248"/>
                </a:lnTo>
                <a:lnTo>
                  <a:pt x="8625095" y="4086287"/>
                </a:lnTo>
                <a:lnTo>
                  <a:pt x="8615184" y="4086287"/>
                </a:lnTo>
                <a:lnTo>
                  <a:pt x="8611165" y="4082248"/>
                </a:lnTo>
                <a:lnTo>
                  <a:pt x="8611165" y="4072377"/>
                </a:lnTo>
                <a:close/>
                <a:moveTo>
                  <a:pt x="8375869" y="4068339"/>
                </a:moveTo>
                <a:lnTo>
                  <a:pt x="8385779" y="4068339"/>
                </a:lnTo>
                <a:lnTo>
                  <a:pt x="8389799" y="4072377"/>
                </a:lnTo>
                <a:lnTo>
                  <a:pt x="8389799" y="4082248"/>
                </a:lnTo>
                <a:lnTo>
                  <a:pt x="8385779" y="4086287"/>
                </a:lnTo>
                <a:lnTo>
                  <a:pt x="8375869" y="4086287"/>
                </a:lnTo>
                <a:lnTo>
                  <a:pt x="8371850" y="4082248"/>
                </a:lnTo>
                <a:lnTo>
                  <a:pt x="8371850" y="4072377"/>
                </a:lnTo>
                <a:close/>
                <a:moveTo>
                  <a:pt x="8136553" y="4068339"/>
                </a:moveTo>
                <a:lnTo>
                  <a:pt x="8146464" y="4068339"/>
                </a:lnTo>
                <a:lnTo>
                  <a:pt x="8150483" y="4072377"/>
                </a:lnTo>
                <a:lnTo>
                  <a:pt x="8150483" y="4082248"/>
                </a:lnTo>
                <a:lnTo>
                  <a:pt x="8146464" y="4086287"/>
                </a:lnTo>
                <a:lnTo>
                  <a:pt x="8136553" y="4086287"/>
                </a:lnTo>
                <a:lnTo>
                  <a:pt x="8132534" y="4082248"/>
                </a:lnTo>
                <a:lnTo>
                  <a:pt x="8132534" y="4072377"/>
                </a:lnTo>
                <a:close/>
                <a:moveTo>
                  <a:pt x="7897241" y="4068339"/>
                </a:moveTo>
                <a:lnTo>
                  <a:pt x="7907151" y="4068339"/>
                </a:lnTo>
                <a:lnTo>
                  <a:pt x="7911170" y="4072377"/>
                </a:lnTo>
                <a:lnTo>
                  <a:pt x="7911170" y="4082248"/>
                </a:lnTo>
                <a:lnTo>
                  <a:pt x="7907151" y="4086287"/>
                </a:lnTo>
                <a:lnTo>
                  <a:pt x="7897241" y="4086287"/>
                </a:lnTo>
                <a:lnTo>
                  <a:pt x="7893222" y="4082248"/>
                </a:lnTo>
                <a:lnTo>
                  <a:pt x="7893222" y="4072377"/>
                </a:lnTo>
                <a:close/>
                <a:moveTo>
                  <a:pt x="7657926" y="4068339"/>
                </a:moveTo>
                <a:lnTo>
                  <a:pt x="7667836" y="4068339"/>
                </a:lnTo>
                <a:lnTo>
                  <a:pt x="7671855" y="4072377"/>
                </a:lnTo>
                <a:lnTo>
                  <a:pt x="7671855" y="4082248"/>
                </a:lnTo>
                <a:lnTo>
                  <a:pt x="7667836" y="4086287"/>
                </a:lnTo>
                <a:lnTo>
                  <a:pt x="7657926" y="4086287"/>
                </a:lnTo>
                <a:lnTo>
                  <a:pt x="7653906" y="4082248"/>
                </a:lnTo>
                <a:lnTo>
                  <a:pt x="7653906" y="4072377"/>
                </a:lnTo>
                <a:close/>
                <a:moveTo>
                  <a:pt x="7418611" y="4068339"/>
                </a:moveTo>
                <a:lnTo>
                  <a:pt x="7428521" y="4068339"/>
                </a:lnTo>
                <a:lnTo>
                  <a:pt x="7432540" y="4072377"/>
                </a:lnTo>
                <a:lnTo>
                  <a:pt x="7432540" y="4082248"/>
                </a:lnTo>
                <a:lnTo>
                  <a:pt x="7428521" y="4086287"/>
                </a:lnTo>
                <a:lnTo>
                  <a:pt x="7418611" y="4086287"/>
                </a:lnTo>
                <a:lnTo>
                  <a:pt x="7414592" y="4082248"/>
                </a:lnTo>
                <a:lnTo>
                  <a:pt x="7414592" y="4072377"/>
                </a:lnTo>
                <a:close/>
                <a:moveTo>
                  <a:pt x="7179298" y="4068339"/>
                </a:moveTo>
                <a:lnTo>
                  <a:pt x="7189209" y="4068339"/>
                </a:lnTo>
                <a:lnTo>
                  <a:pt x="7193228" y="4072377"/>
                </a:lnTo>
                <a:lnTo>
                  <a:pt x="7193228" y="4082248"/>
                </a:lnTo>
                <a:lnTo>
                  <a:pt x="7189209" y="4086287"/>
                </a:lnTo>
                <a:lnTo>
                  <a:pt x="7179298" y="4086287"/>
                </a:lnTo>
                <a:lnTo>
                  <a:pt x="7175279" y="4082248"/>
                </a:lnTo>
                <a:lnTo>
                  <a:pt x="7175279" y="4072377"/>
                </a:lnTo>
                <a:close/>
                <a:moveTo>
                  <a:pt x="6939983" y="4068339"/>
                </a:moveTo>
                <a:lnTo>
                  <a:pt x="6949894" y="4068339"/>
                </a:lnTo>
                <a:lnTo>
                  <a:pt x="6953913" y="4072377"/>
                </a:lnTo>
                <a:lnTo>
                  <a:pt x="6953913" y="4082248"/>
                </a:lnTo>
                <a:lnTo>
                  <a:pt x="6949894" y="4086287"/>
                </a:lnTo>
                <a:lnTo>
                  <a:pt x="6939983" y="4086287"/>
                </a:lnTo>
                <a:lnTo>
                  <a:pt x="6935964" y="4082248"/>
                </a:lnTo>
                <a:lnTo>
                  <a:pt x="6935964" y="4072377"/>
                </a:lnTo>
                <a:close/>
                <a:moveTo>
                  <a:pt x="6700670" y="4068339"/>
                </a:moveTo>
                <a:lnTo>
                  <a:pt x="6710581" y="4068339"/>
                </a:lnTo>
                <a:lnTo>
                  <a:pt x="6714600" y="4072377"/>
                </a:lnTo>
                <a:lnTo>
                  <a:pt x="6714600" y="4082248"/>
                </a:lnTo>
                <a:lnTo>
                  <a:pt x="6710581" y="4086287"/>
                </a:lnTo>
                <a:lnTo>
                  <a:pt x="6700670" y="4086287"/>
                </a:lnTo>
                <a:lnTo>
                  <a:pt x="6696651" y="4082248"/>
                </a:lnTo>
                <a:lnTo>
                  <a:pt x="6696651" y="4072377"/>
                </a:lnTo>
                <a:close/>
                <a:moveTo>
                  <a:pt x="6461356" y="4068339"/>
                </a:moveTo>
                <a:lnTo>
                  <a:pt x="6471266" y="4068339"/>
                </a:lnTo>
                <a:lnTo>
                  <a:pt x="6475285" y="4072377"/>
                </a:lnTo>
                <a:lnTo>
                  <a:pt x="6475285" y="4082248"/>
                </a:lnTo>
                <a:lnTo>
                  <a:pt x="6471266" y="4086287"/>
                </a:lnTo>
                <a:lnTo>
                  <a:pt x="6461356" y="4086287"/>
                </a:lnTo>
                <a:lnTo>
                  <a:pt x="6457337" y="4082248"/>
                </a:lnTo>
                <a:lnTo>
                  <a:pt x="6457337" y="4072377"/>
                </a:lnTo>
                <a:close/>
                <a:moveTo>
                  <a:pt x="6222042" y="4068339"/>
                </a:moveTo>
                <a:lnTo>
                  <a:pt x="6231952" y="4068339"/>
                </a:lnTo>
                <a:lnTo>
                  <a:pt x="6235971" y="4072377"/>
                </a:lnTo>
                <a:lnTo>
                  <a:pt x="6235971" y="4082248"/>
                </a:lnTo>
                <a:lnTo>
                  <a:pt x="6231952" y="4086287"/>
                </a:lnTo>
                <a:lnTo>
                  <a:pt x="6222042" y="4086287"/>
                </a:lnTo>
                <a:lnTo>
                  <a:pt x="6218023" y="4082248"/>
                </a:lnTo>
                <a:lnTo>
                  <a:pt x="6218023" y="4072377"/>
                </a:lnTo>
                <a:close/>
                <a:moveTo>
                  <a:pt x="5982729" y="4068339"/>
                </a:moveTo>
                <a:lnTo>
                  <a:pt x="5992639" y="4068339"/>
                </a:lnTo>
                <a:lnTo>
                  <a:pt x="5996658" y="4072377"/>
                </a:lnTo>
                <a:lnTo>
                  <a:pt x="5996658" y="4082248"/>
                </a:lnTo>
                <a:lnTo>
                  <a:pt x="5992639" y="4086287"/>
                </a:lnTo>
                <a:lnTo>
                  <a:pt x="5982729" y="4086287"/>
                </a:lnTo>
                <a:lnTo>
                  <a:pt x="5978710" y="4082248"/>
                </a:lnTo>
                <a:lnTo>
                  <a:pt x="5978710" y="4072377"/>
                </a:lnTo>
                <a:close/>
                <a:moveTo>
                  <a:pt x="5743412" y="4068339"/>
                </a:moveTo>
                <a:lnTo>
                  <a:pt x="5753323" y="4068339"/>
                </a:lnTo>
                <a:lnTo>
                  <a:pt x="5757342" y="4072377"/>
                </a:lnTo>
                <a:lnTo>
                  <a:pt x="5757342" y="4082248"/>
                </a:lnTo>
                <a:lnTo>
                  <a:pt x="5753323" y="4086287"/>
                </a:lnTo>
                <a:lnTo>
                  <a:pt x="5743412" y="4086287"/>
                </a:lnTo>
                <a:lnTo>
                  <a:pt x="5739393" y="4082248"/>
                </a:lnTo>
                <a:lnTo>
                  <a:pt x="5739393" y="4072377"/>
                </a:lnTo>
                <a:close/>
                <a:moveTo>
                  <a:pt x="5504099" y="4068339"/>
                </a:moveTo>
                <a:lnTo>
                  <a:pt x="5514010" y="4068339"/>
                </a:lnTo>
                <a:lnTo>
                  <a:pt x="5518029" y="4072377"/>
                </a:lnTo>
                <a:lnTo>
                  <a:pt x="5518029" y="4082248"/>
                </a:lnTo>
                <a:lnTo>
                  <a:pt x="5514010" y="4086287"/>
                </a:lnTo>
                <a:lnTo>
                  <a:pt x="5504099" y="4086287"/>
                </a:lnTo>
                <a:lnTo>
                  <a:pt x="5500080" y="4082248"/>
                </a:lnTo>
                <a:lnTo>
                  <a:pt x="5500080" y="4072377"/>
                </a:lnTo>
                <a:close/>
                <a:moveTo>
                  <a:pt x="5264784" y="4068339"/>
                </a:moveTo>
                <a:lnTo>
                  <a:pt x="5274694" y="4068339"/>
                </a:lnTo>
                <a:lnTo>
                  <a:pt x="5278713" y="4072377"/>
                </a:lnTo>
                <a:lnTo>
                  <a:pt x="5278713" y="4082248"/>
                </a:lnTo>
                <a:lnTo>
                  <a:pt x="5274694" y="4086287"/>
                </a:lnTo>
                <a:lnTo>
                  <a:pt x="5264784" y="4086287"/>
                </a:lnTo>
                <a:lnTo>
                  <a:pt x="5260765" y="4082248"/>
                </a:lnTo>
                <a:lnTo>
                  <a:pt x="5260765" y="4072377"/>
                </a:lnTo>
                <a:close/>
                <a:moveTo>
                  <a:pt x="5025470" y="4068339"/>
                </a:moveTo>
                <a:lnTo>
                  <a:pt x="5035381" y="4068339"/>
                </a:lnTo>
                <a:lnTo>
                  <a:pt x="5039400" y="4072377"/>
                </a:lnTo>
                <a:lnTo>
                  <a:pt x="5039400" y="4082248"/>
                </a:lnTo>
                <a:lnTo>
                  <a:pt x="5035381" y="4086287"/>
                </a:lnTo>
                <a:lnTo>
                  <a:pt x="5025470" y="4086287"/>
                </a:lnTo>
                <a:lnTo>
                  <a:pt x="5021451" y="4082248"/>
                </a:lnTo>
                <a:lnTo>
                  <a:pt x="5021451" y="4072377"/>
                </a:lnTo>
                <a:close/>
                <a:moveTo>
                  <a:pt x="4786241" y="4068339"/>
                </a:moveTo>
                <a:lnTo>
                  <a:pt x="4796152" y="4068339"/>
                </a:lnTo>
                <a:lnTo>
                  <a:pt x="4800171" y="4072377"/>
                </a:lnTo>
                <a:lnTo>
                  <a:pt x="4800171" y="4082248"/>
                </a:lnTo>
                <a:lnTo>
                  <a:pt x="4796152" y="4086287"/>
                </a:lnTo>
                <a:lnTo>
                  <a:pt x="4786241" y="4086287"/>
                </a:lnTo>
                <a:lnTo>
                  <a:pt x="4782224" y="4082248"/>
                </a:lnTo>
                <a:lnTo>
                  <a:pt x="4782224" y="4072377"/>
                </a:lnTo>
                <a:close/>
                <a:moveTo>
                  <a:pt x="4546929" y="4068339"/>
                </a:moveTo>
                <a:lnTo>
                  <a:pt x="4556840" y="4068339"/>
                </a:lnTo>
                <a:lnTo>
                  <a:pt x="4560859" y="4072377"/>
                </a:lnTo>
                <a:lnTo>
                  <a:pt x="4560859" y="4082248"/>
                </a:lnTo>
                <a:lnTo>
                  <a:pt x="4556840" y="4086287"/>
                </a:lnTo>
                <a:lnTo>
                  <a:pt x="4546929" y="4086287"/>
                </a:lnTo>
                <a:lnTo>
                  <a:pt x="4542910" y="4082248"/>
                </a:lnTo>
                <a:lnTo>
                  <a:pt x="4542910" y="4072377"/>
                </a:lnTo>
                <a:close/>
                <a:moveTo>
                  <a:pt x="4307612" y="4068339"/>
                </a:moveTo>
                <a:lnTo>
                  <a:pt x="4317523" y="4068339"/>
                </a:lnTo>
                <a:lnTo>
                  <a:pt x="4321543" y="4072377"/>
                </a:lnTo>
                <a:lnTo>
                  <a:pt x="4321543" y="4082248"/>
                </a:lnTo>
                <a:lnTo>
                  <a:pt x="4317523" y="4086287"/>
                </a:lnTo>
                <a:lnTo>
                  <a:pt x="4307612" y="4086287"/>
                </a:lnTo>
                <a:lnTo>
                  <a:pt x="4303595" y="4082248"/>
                </a:lnTo>
                <a:lnTo>
                  <a:pt x="4303595" y="4072377"/>
                </a:lnTo>
                <a:close/>
                <a:moveTo>
                  <a:pt x="4068297" y="4068339"/>
                </a:moveTo>
                <a:lnTo>
                  <a:pt x="4078210" y="4068339"/>
                </a:lnTo>
                <a:lnTo>
                  <a:pt x="4082229" y="4072377"/>
                </a:lnTo>
                <a:lnTo>
                  <a:pt x="4082229" y="4082248"/>
                </a:lnTo>
                <a:lnTo>
                  <a:pt x="4078210" y="4086287"/>
                </a:lnTo>
                <a:lnTo>
                  <a:pt x="4068297" y="4086287"/>
                </a:lnTo>
                <a:lnTo>
                  <a:pt x="4064278" y="4082248"/>
                </a:lnTo>
                <a:lnTo>
                  <a:pt x="4064278" y="4072377"/>
                </a:lnTo>
                <a:close/>
                <a:moveTo>
                  <a:pt x="3828990" y="4068339"/>
                </a:moveTo>
                <a:lnTo>
                  <a:pt x="3838899" y="4068339"/>
                </a:lnTo>
                <a:lnTo>
                  <a:pt x="3842917" y="4072377"/>
                </a:lnTo>
                <a:lnTo>
                  <a:pt x="3842917" y="4082248"/>
                </a:lnTo>
                <a:lnTo>
                  <a:pt x="3838899" y="4086287"/>
                </a:lnTo>
                <a:lnTo>
                  <a:pt x="3828990" y="4086287"/>
                </a:lnTo>
                <a:lnTo>
                  <a:pt x="3824971" y="4082248"/>
                </a:lnTo>
                <a:lnTo>
                  <a:pt x="3824971" y="4072377"/>
                </a:lnTo>
                <a:close/>
                <a:moveTo>
                  <a:pt x="3589676" y="4068339"/>
                </a:moveTo>
                <a:lnTo>
                  <a:pt x="3599585" y="4068339"/>
                </a:lnTo>
                <a:lnTo>
                  <a:pt x="3603604" y="4072377"/>
                </a:lnTo>
                <a:lnTo>
                  <a:pt x="3603604" y="4082248"/>
                </a:lnTo>
                <a:lnTo>
                  <a:pt x="3599585" y="4086287"/>
                </a:lnTo>
                <a:lnTo>
                  <a:pt x="3589676" y="4086287"/>
                </a:lnTo>
                <a:lnTo>
                  <a:pt x="3585657" y="4082248"/>
                </a:lnTo>
                <a:lnTo>
                  <a:pt x="3585657" y="4072377"/>
                </a:lnTo>
                <a:close/>
                <a:moveTo>
                  <a:pt x="3350359" y="4068339"/>
                </a:moveTo>
                <a:lnTo>
                  <a:pt x="3360268" y="4068339"/>
                </a:lnTo>
                <a:lnTo>
                  <a:pt x="3364287" y="4072377"/>
                </a:lnTo>
                <a:lnTo>
                  <a:pt x="3364287" y="4082248"/>
                </a:lnTo>
                <a:lnTo>
                  <a:pt x="3360268" y="4086287"/>
                </a:lnTo>
                <a:lnTo>
                  <a:pt x="3350359" y="4086287"/>
                </a:lnTo>
                <a:lnTo>
                  <a:pt x="3346340" y="4082248"/>
                </a:lnTo>
                <a:lnTo>
                  <a:pt x="3346340" y="4072377"/>
                </a:lnTo>
                <a:close/>
                <a:moveTo>
                  <a:pt x="3111048" y="4068339"/>
                </a:moveTo>
                <a:lnTo>
                  <a:pt x="3120959" y="4068339"/>
                </a:lnTo>
                <a:lnTo>
                  <a:pt x="3124977" y="4072377"/>
                </a:lnTo>
                <a:lnTo>
                  <a:pt x="3124977" y="4082248"/>
                </a:lnTo>
                <a:lnTo>
                  <a:pt x="3120959" y="4086287"/>
                </a:lnTo>
                <a:lnTo>
                  <a:pt x="3111048" y="4086287"/>
                </a:lnTo>
                <a:lnTo>
                  <a:pt x="3107029" y="4082248"/>
                </a:lnTo>
                <a:lnTo>
                  <a:pt x="3107029" y="4072377"/>
                </a:lnTo>
                <a:close/>
                <a:moveTo>
                  <a:pt x="2871737" y="4068339"/>
                </a:moveTo>
                <a:lnTo>
                  <a:pt x="2881646" y="4068339"/>
                </a:lnTo>
                <a:lnTo>
                  <a:pt x="2885666" y="4072377"/>
                </a:lnTo>
                <a:lnTo>
                  <a:pt x="2885666" y="4082248"/>
                </a:lnTo>
                <a:lnTo>
                  <a:pt x="2881646" y="4086287"/>
                </a:lnTo>
                <a:lnTo>
                  <a:pt x="2871737" y="4086287"/>
                </a:lnTo>
                <a:lnTo>
                  <a:pt x="2867717" y="4082248"/>
                </a:lnTo>
                <a:lnTo>
                  <a:pt x="2867717" y="4072377"/>
                </a:lnTo>
                <a:close/>
                <a:moveTo>
                  <a:pt x="2632423" y="4068339"/>
                </a:moveTo>
                <a:lnTo>
                  <a:pt x="2642334" y="4068339"/>
                </a:lnTo>
                <a:lnTo>
                  <a:pt x="2646352" y="4072377"/>
                </a:lnTo>
                <a:lnTo>
                  <a:pt x="2646352" y="4082248"/>
                </a:lnTo>
                <a:lnTo>
                  <a:pt x="2642334" y="4086287"/>
                </a:lnTo>
                <a:lnTo>
                  <a:pt x="2632423" y="4086287"/>
                </a:lnTo>
                <a:lnTo>
                  <a:pt x="2628404" y="4082248"/>
                </a:lnTo>
                <a:lnTo>
                  <a:pt x="2628404" y="4072377"/>
                </a:lnTo>
                <a:close/>
                <a:moveTo>
                  <a:pt x="2393104" y="4068339"/>
                </a:moveTo>
                <a:lnTo>
                  <a:pt x="2403015" y="4068339"/>
                </a:lnTo>
                <a:lnTo>
                  <a:pt x="2407034" y="4072377"/>
                </a:lnTo>
                <a:lnTo>
                  <a:pt x="2407034" y="4082248"/>
                </a:lnTo>
                <a:lnTo>
                  <a:pt x="2403015" y="4086287"/>
                </a:lnTo>
                <a:lnTo>
                  <a:pt x="2393104" y="4086287"/>
                </a:lnTo>
                <a:lnTo>
                  <a:pt x="2389087" y="4082248"/>
                </a:lnTo>
                <a:lnTo>
                  <a:pt x="2389087" y="4072377"/>
                </a:lnTo>
                <a:close/>
                <a:moveTo>
                  <a:pt x="2157819" y="4068339"/>
                </a:moveTo>
                <a:lnTo>
                  <a:pt x="2167729" y="4068339"/>
                </a:lnTo>
                <a:lnTo>
                  <a:pt x="2171749" y="4072377"/>
                </a:lnTo>
                <a:lnTo>
                  <a:pt x="2171749" y="4082248"/>
                </a:lnTo>
                <a:lnTo>
                  <a:pt x="2167729" y="4086287"/>
                </a:lnTo>
                <a:lnTo>
                  <a:pt x="2157819" y="4086287"/>
                </a:lnTo>
                <a:lnTo>
                  <a:pt x="2153801" y="4082248"/>
                </a:lnTo>
                <a:lnTo>
                  <a:pt x="2153801" y="4072377"/>
                </a:lnTo>
                <a:close/>
                <a:moveTo>
                  <a:pt x="1918511" y="4068339"/>
                </a:moveTo>
                <a:lnTo>
                  <a:pt x="1928421" y="4068339"/>
                </a:lnTo>
                <a:lnTo>
                  <a:pt x="1932440" y="4072377"/>
                </a:lnTo>
                <a:lnTo>
                  <a:pt x="1932440" y="4082248"/>
                </a:lnTo>
                <a:lnTo>
                  <a:pt x="1928421" y="4086287"/>
                </a:lnTo>
                <a:lnTo>
                  <a:pt x="1918511" y="4086287"/>
                </a:lnTo>
                <a:lnTo>
                  <a:pt x="1914492" y="4082248"/>
                </a:lnTo>
                <a:lnTo>
                  <a:pt x="1914492" y="4072377"/>
                </a:lnTo>
                <a:close/>
                <a:moveTo>
                  <a:pt x="1679207" y="4068339"/>
                </a:moveTo>
                <a:lnTo>
                  <a:pt x="1689117" y="4068339"/>
                </a:lnTo>
                <a:lnTo>
                  <a:pt x="1693137" y="4072377"/>
                </a:lnTo>
                <a:lnTo>
                  <a:pt x="1693137" y="4082248"/>
                </a:lnTo>
                <a:lnTo>
                  <a:pt x="1689117" y="4086287"/>
                </a:lnTo>
                <a:lnTo>
                  <a:pt x="1679207" y="4086287"/>
                </a:lnTo>
                <a:lnTo>
                  <a:pt x="1675189" y="4082248"/>
                </a:lnTo>
                <a:lnTo>
                  <a:pt x="1675189" y="4072377"/>
                </a:lnTo>
                <a:close/>
                <a:moveTo>
                  <a:pt x="1439891" y="4068339"/>
                </a:moveTo>
                <a:lnTo>
                  <a:pt x="1449802" y="4068339"/>
                </a:lnTo>
                <a:lnTo>
                  <a:pt x="1453820" y="4072377"/>
                </a:lnTo>
                <a:lnTo>
                  <a:pt x="1453820" y="4082248"/>
                </a:lnTo>
                <a:lnTo>
                  <a:pt x="1449802" y="4086287"/>
                </a:lnTo>
                <a:lnTo>
                  <a:pt x="1439891" y="4086287"/>
                </a:lnTo>
                <a:lnTo>
                  <a:pt x="1435873" y="4082248"/>
                </a:lnTo>
                <a:lnTo>
                  <a:pt x="1435873" y="4072377"/>
                </a:lnTo>
                <a:close/>
                <a:moveTo>
                  <a:pt x="1200576" y="4068339"/>
                </a:moveTo>
                <a:lnTo>
                  <a:pt x="1210486" y="4068339"/>
                </a:lnTo>
                <a:lnTo>
                  <a:pt x="1214505" y="4072377"/>
                </a:lnTo>
                <a:lnTo>
                  <a:pt x="1214505" y="4082248"/>
                </a:lnTo>
                <a:lnTo>
                  <a:pt x="1210486" y="4086287"/>
                </a:lnTo>
                <a:lnTo>
                  <a:pt x="1200576" y="4086287"/>
                </a:lnTo>
                <a:lnTo>
                  <a:pt x="1196558" y="4082248"/>
                </a:lnTo>
                <a:lnTo>
                  <a:pt x="1196558" y="4072377"/>
                </a:lnTo>
                <a:close/>
                <a:moveTo>
                  <a:pt x="961263" y="4068339"/>
                </a:moveTo>
                <a:lnTo>
                  <a:pt x="971174" y="4068339"/>
                </a:lnTo>
                <a:lnTo>
                  <a:pt x="975192" y="4072377"/>
                </a:lnTo>
                <a:lnTo>
                  <a:pt x="975192" y="4082248"/>
                </a:lnTo>
                <a:lnTo>
                  <a:pt x="971174" y="4086287"/>
                </a:lnTo>
                <a:lnTo>
                  <a:pt x="961263" y="4086287"/>
                </a:lnTo>
                <a:lnTo>
                  <a:pt x="957244" y="4082248"/>
                </a:lnTo>
                <a:lnTo>
                  <a:pt x="957244" y="4072377"/>
                </a:lnTo>
                <a:close/>
                <a:moveTo>
                  <a:pt x="721965" y="4068339"/>
                </a:moveTo>
                <a:lnTo>
                  <a:pt x="731876" y="4068339"/>
                </a:lnTo>
                <a:lnTo>
                  <a:pt x="735894" y="4072377"/>
                </a:lnTo>
                <a:lnTo>
                  <a:pt x="735894" y="4082248"/>
                </a:lnTo>
                <a:lnTo>
                  <a:pt x="731876" y="4086287"/>
                </a:lnTo>
                <a:lnTo>
                  <a:pt x="721965" y="4086287"/>
                </a:lnTo>
                <a:lnTo>
                  <a:pt x="717946" y="4082248"/>
                </a:lnTo>
                <a:lnTo>
                  <a:pt x="717946" y="4072377"/>
                </a:lnTo>
                <a:close/>
                <a:moveTo>
                  <a:pt x="482653" y="4068339"/>
                </a:moveTo>
                <a:lnTo>
                  <a:pt x="492563" y="4068339"/>
                </a:lnTo>
                <a:lnTo>
                  <a:pt x="496583" y="4072377"/>
                </a:lnTo>
                <a:lnTo>
                  <a:pt x="496583" y="4082248"/>
                </a:lnTo>
                <a:lnTo>
                  <a:pt x="492563" y="4086287"/>
                </a:lnTo>
                <a:lnTo>
                  <a:pt x="482653" y="4086287"/>
                </a:lnTo>
                <a:lnTo>
                  <a:pt x="478634" y="4082248"/>
                </a:lnTo>
                <a:lnTo>
                  <a:pt x="478634" y="4072377"/>
                </a:lnTo>
                <a:close/>
                <a:moveTo>
                  <a:pt x="243339" y="4068339"/>
                </a:moveTo>
                <a:lnTo>
                  <a:pt x="253250" y="4068339"/>
                </a:lnTo>
                <a:lnTo>
                  <a:pt x="257269" y="4072377"/>
                </a:lnTo>
                <a:lnTo>
                  <a:pt x="257269" y="4082248"/>
                </a:lnTo>
                <a:lnTo>
                  <a:pt x="253250" y="4086287"/>
                </a:lnTo>
                <a:lnTo>
                  <a:pt x="243339" y="4086287"/>
                </a:lnTo>
                <a:lnTo>
                  <a:pt x="239320" y="4082248"/>
                </a:lnTo>
                <a:lnTo>
                  <a:pt x="239320" y="4072377"/>
                </a:lnTo>
                <a:close/>
                <a:moveTo>
                  <a:pt x="4026" y="4068339"/>
                </a:moveTo>
                <a:lnTo>
                  <a:pt x="13936" y="4068339"/>
                </a:lnTo>
                <a:lnTo>
                  <a:pt x="17956" y="4072377"/>
                </a:lnTo>
                <a:lnTo>
                  <a:pt x="17956" y="4082248"/>
                </a:lnTo>
                <a:lnTo>
                  <a:pt x="13936" y="4086287"/>
                </a:lnTo>
                <a:lnTo>
                  <a:pt x="4026" y="4086287"/>
                </a:lnTo>
                <a:lnTo>
                  <a:pt x="7" y="4082248"/>
                </a:lnTo>
                <a:lnTo>
                  <a:pt x="7" y="4072377"/>
                </a:lnTo>
                <a:close/>
                <a:moveTo>
                  <a:pt x="2157820" y="3829058"/>
                </a:moveTo>
                <a:lnTo>
                  <a:pt x="2167731" y="3829058"/>
                </a:lnTo>
                <a:lnTo>
                  <a:pt x="2171749" y="3833097"/>
                </a:lnTo>
                <a:lnTo>
                  <a:pt x="2171749" y="3842968"/>
                </a:lnTo>
                <a:lnTo>
                  <a:pt x="2167731" y="3847007"/>
                </a:lnTo>
                <a:lnTo>
                  <a:pt x="2157820" y="3847007"/>
                </a:lnTo>
                <a:lnTo>
                  <a:pt x="2153801" y="3842968"/>
                </a:lnTo>
                <a:lnTo>
                  <a:pt x="2153801" y="3833097"/>
                </a:lnTo>
                <a:close/>
                <a:moveTo>
                  <a:pt x="1918511" y="3829058"/>
                </a:moveTo>
                <a:lnTo>
                  <a:pt x="1928421" y="3829058"/>
                </a:lnTo>
                <a:lnTo>
                  <a:pt x="1932440" y="3833097"/>
                </a:lnTo>
                <a:lnTo>
                  <a:pt x="1932440" y="3842968"/>
                </a:lnTo>
                <a:lnTo>
                  <a:pt x="1928421" y="3847007"/>
                </a:lnTo>
                <a:lnTo>
                  <a:pt x="1918511" y="3847007"/>
                </a:lnTo>
                <a:lnTo>
                  <a:pt x="1914493" y="3842968"/>
                </a:lnTo>
                <a:lnTo>
                  <a:pt x="1914493" y="3833097"/>
                </a:lnTo>
                <a:close/>
                <a:moveTo>
                  <a:pt x="1679209" y="3829058"/>
                </a:moveTo>
                <a:lnTo>
                  <a:pt x="1689118" y="3829058"/>
                </a:lnTo>
                <a:lnTo>
                  <a:pt x="1693137" y="3833097"/>
                </a:lnTo>
                <a:lnTo>
                  <a:pt x="1693137" y="3842968"/>
                </a:lnTo>
                <a:lnTo>
                  <a:pt x="1689118" y="3847007"/>
                </a:lnTo>
                <a:lnTo>
                  <a:pt x="1679209" y="3847007"/>
                </a:lnTo>
                <a:lnTo>
                  <a:pt x="1675189" y="3842968"/>
                </a:lnTo>
                <a:lnTo>
                  <a:pt x="1675189" y="3833097"/>
                </a:lnTo>
                <a:close/>
                <a:moveTo>
                  <a:pt x="1439892" y="3829058"/>
                </a:moveTo>
                <a:lnTo>
                  <a:pt x="1449802" y="3829058"/>
                </a:lnTo>
                <a:lnTo>
                  <a:pt x="1453820" y="3833097"/>
                </a:lnTo>
                <a:lnTo>
                  <a:pt x="1453820" y="3842968"/>
                </a:lnTo>
                <a:lnTo>
                  <a:pt x="1449802" y="3847007"/>
                </a:lnTo>
                <a:lnTo>
                  <a:pt x="1439892" y="3847007"/>
                </a:lnTo>
                <a:lnTo>
                  <a:pt x="1435874" y="3842968"/>
                </a:lnTo>
                <a:lnTo>
                  <a:pt x="1435874" y="3833097"/>
                </a:lnTo>
                <a:close/>
                <a:moveTo>
                  <a:pt x="1200577" y="3829058"/>
                </a:moveTo>
                <a:lnTo>
                  <a:pt x="1210487" y="3829058"/>
                </a:lnTo>
                <a:lnTo>
                  <a:pt x="1214506" y="3833097"/>
                </a:lnTo>
                <a:lnTo>
                  <a:pt x="1214506" y="3842968"/>
                </a:lnTo>
                <a:lnTo>
                  <a:pt x="1210487" y="3847007"/>
                </a:lnTo>
                <a:lnTo>
                  <a:pt x="1200577" y="3847007"/>
                </a:lnTo>
                <a:lnTo>
                  <a:pt x="1196558" y="3842968"/>
                </a:lnTo>
                <a:lnTo>
                  <a:pt x="1196558" y="3833097"/>
                </a:lnTo>
                <a:close/>
                <a:moveTo>
                  <a:pt x="961264" y="3829058"/>
                </a:moveTo>
                <a:lnTo>
                  <a:pt x="971174" y="3829058"/>
                </a:lnTo>
                <a:lnTo>
                  <a:pt x="975193" y="3833097"/>
                </a:lnTo>
                <a:lnTo>
                  <a:pt x="975193" y="3842968"/>
                </a:lnTo>
                <a:lnTo>
                  <a:pt x="971174" y="3847007"/>
                </a:lnTo>
                <a:lnTo>
                  <a:pt x="961264" y="3847007"/>
                </a:lnTo>
                <a:lnTo>
                  <a:pt x="957245" y="3842968"/>
                </a:lnTo>
                <a:lnTo>
                  <a:pt x="957245" y="3833097"/>
                </a:lnTo>
                <a:close/>
                <a:moveTo>
                  <a:pt x="9572438" y="3829008"/>
                </a:moveTo>
                <a:lnTo>
                  <a:pt x="9582349" y="3829008"/>
                </a:lnTo>
                <a:lnTo>
                  <a:pt x="9586368" y="3833046"/>
                </a:lnTo>
                <a:lnTo>
                  <a:pt x="9586368" y="3842917"/>
                </a:lnTo>
                <a:lnTo>
                  <a:pt x="9582349" y="3846956"/>
                </a:lnTo>
                <a:lnTo>
                  <a:pt x="9572438" y="3846956"/>
                </a:lnTo>
                <a:lnTo>
                  <a:pt x="9568419" y="3842917"/>
                </a:lnTo>
                <a:lnTo>
                  <a:pt x="9568419" y="3833046"/>
                </a:lnTo>
                <a:close/>
                <a:moveTo>
                  <a:pt x="9333125" y="3829008"/>
                </a:moveTo>
                <a:lnTo>
                  <a:pt x="9343036" y="3829008"/>
                </a:lnTo>
                <a:lnTo>
                  <a:pt x="9347055" y="3833046"/>
                </a:lnTo>
                <a:lnTo>
                  <a:pt x="9347055" y="3842917"/>
                </a:lnTo>
                <a:lnTo>
                  <a:pt x="9343036" y="3846956"/>
                </a:lnTo>
                <a:lnTo>
                  <a:pt x="9333125" y="3846956"/>
                </a:lnTo>
                <a:lnTo>
                  <a:pt x="9329106" y="3842917"/>
                </a:lnTo>
                <a:lnTo>
                  <a:pt x="9329106" y="3833046"/>
                </a:lnTo>
                <a:close/>
                <a:moveTo>
                  <a:pt x="9093811" y="3829008"/>
                </a:moveTo>
                <a:lnTo>
                  <a:pt x="9103722" y="3829008"/>
                </a:lnTo>
                <a:lnTo>
                  <a:pt x="9107741" y="3833046"/>
                </a:lnTo>
                <a:lnTo>
                  <a:pt x="9107741" y="3842917"/>
                </a:lnTo>
                <a:lnTo>
                  <a:pt x="9103722" y="3846956"/>
                </a:lnTo>
                <a:lnTo>
                  <a:pt x="9093811" y="3846956"/>
                </a:lnTo>
                <a:lnTo>
                  <a:pt x="9089792" y="3842917"/>
                </a:lnTo>
                <a:lnTo>
                  <a:pt x="9089792" y="3833046"/>
                </a:lnTo>
                <a:close/>
                <a:moveTo>
                  <a:pt x="8854496" y="3829008"/>
                </a:moveTo>
                <a:lnTo>
                  <a:pt x="8864407" y="3829008"/>
                </a:lnTo>
                <a:lnTo>
                  <a:pt x="8868426" y="3833046"/>
                </a:lnTo>
                <a:lnTo>
                  <a:pt x="8868426" y="3842917"/>
                </a:lnTo>
                <a:lnTo>
                  <a:pt x="8864407" y="3846956"/>
                </a:lnTo>
                <a:lnTo>
                  <a:pt x="8854496" y="3846956"/>
                </a:lnTo>
                <a:lnTo>
                  <a:pt x="8850477" y="3842917"/>
                </a:lnTo>
                <a:lnTo>
                  <a:pt x="8850477" y="3833046"/>
                </a:lnTo>
                <a:close/>
                <a:moveTo>
                  <a:pt x="8615184" y="3829008"/>
                </a:moveTo>
                <a:lnTo>
                  <a:pt x="8625095" y="3829008"/>
                </a:lnTo>
                <a:lnTo>
                  <a:pt x="8629114" y="3833046"/>
                </a:lnTo>
                <a:lnTo>
                  <a:pt x="8629114" y="3842917"/>
                </a:lnTo>
                <a:lnTo>
                  <a:pt x="8625095" y="3846956"/>
                </a:lnTo>
                <a:lnTo>
                  <a:pt x="8615184" y="3846956"/>
                </a:lnTo>
                <a:lnTo>
                  <a:pt x="8611165" y="3842917"/>
                </a:lnTo>
                <a:lnTo>
                  <a:pt x="8611165" y="3833046"/>
                </a:lnTo>
                <a:close/>
                <a:moveTo>
                  <a:pt x="8375869" y="3829008"/>
                </a:moveTo>
                <a:lnTo>
                  <a:pt x="8385779" y="3829008"/>
                </a:lnTo>
                <a:lnTo>
                  <a:pt x="8389799" y="3833046"/>
                </a:lnTo>
                <a:lnTo>
                  <a:pt x="8389799" y="3842917"/>
                </a:lnTo>
                <a:lnTo>
                  <a:pt x="8385779" y="3846956"/>
                </a:lnTo>
                <a:lnTo>
                  <a:pt x="8375869" y="3846956"/>
                </a:lnTo>
                <a:lnTo>
                  <a:pt x="8371850" y="3842917"/>
                </a:lnTo>
                <a:lnTo>
                  <a:pt x="8371850" y="3833046"/>
                </a:lnTo>
                <a:close/>
                <a:moveTo>
                  <a:pt x="8136553" y="3829008"/>
                </a:moveTo>
                <a:lnTo>
                  <a:pt x="8146464" y="3829008"/>
                </a:lnTo>
                <a:lnTo>
                  <a:pt x="8150483" y="3833046"/>
                </a:lnTo>
                <a:lnTo>
                  <a:pt x="8150483" y="3842917"/>
                </a:lnTo>
                <a:lnTo>
                  <a:pt x="8146464" y="3846956"/>
                </a:lnTo>
                <a:lnTo>
                  <a:pt x="8136553" y="3846956"/>
                </a:lnTo>
                <a:lnTo>
                  <a:pt x="8132534" y="3842917"/>
                </a:lnTo>
                <a:lnTo>
                  <a:pt x="8132534" y="3833046"/>
                </a:lnTo>
                <a:close/>
                <a:moveTo>
                  <a:pt x="7897241" y="3829008"/>
                </a:moveTo>
                <a:lnTo>
                  <a:pt x="7907151" y="3829008"/>
                </a:lnTo>
                <a:lnTo>
                  <a:pt x="7911170" y="3833046"/>
                </a:lnTo>
                <a:lnTo>
                  <a:pt x="7911170" y="3842917"/>
                </a:lnTo>
                <a:lnTo>
                  <a:pt x="7907151" y="3846956"/>
                </a:lnTo>
                <a:lnTo>
                  <a:pt x="7897241" y="3846956"/>
                </a:lnTo>
                <a:lnTo>
                  <a:pt x="7893222" y="3842917"/>
                </a:lnTo>
                <a:lnTo>
                  <a:pt x="7893222" y="3833046"/>
                </a:lnTo>
                <a:close/>
                <a:moveTo>
                  <a:pt x="7657926" y="3829008"/>
                </a:moveTo>
                <a:lnTo>
                  <a:pt x="7667836" y="3829008"/>
                </a:lnTo>
                <a:lnTo>
                  <a:pt x="7671855" y="3833046"/>
                </a:lnTo>
                <a:lnTo>
                  <a:pt x="7671855" y="3842917"/>
                </a:lnTo>
                <a:lnTo>
                  <a:pt x="7667836" y="3846956"/>
                </a:lnTo>
                <a:lnTo>
                  <a:pt x="7657926" y="3846956"/>
                </a:lnTo>
                <a:lnTo>
                  <a:pt x="7653906" y="3842917"/>
                </a:lnTo>
                <a:lnTo>
                  <a:pt x="7653906" y="3833046"/>
                </a:lnTo>
                <a:close/>
                <a:moveTo>
                  <a:pt x="7418611" y="3829008"/>
                </a:moveTo>
                <a:lnTo>
                  <a:pt x="7428521" y="3829008"/>
                </a:lnTo>
                <a:lnTo>
                  <a:pt x="7432540" y="3833046"/>
                </a:lnTo>
                <a:lnTo>
                  <a:pt x="7432540" y="3842917"/>
                </a:lnTo>
                <a:lnTo>
                  <a:pt x="7428521" y="3846956"/>
                </a:lnTo>
                <a:lnTo>
                  <a:pt x="7418611" y="3846956"/>
                </a:lnTo>
                <a:lnTo>
                  <a:pt x="7414592" y="3842917"/>
                </a:lnTo>
                <a:lnTo>
                  <a:pt x="7414592" y="3833046"/>
                </a:lnTo>
                <a:close/>
                <a:moveTo>
                  <a:pt x="7179298" y="3829008"/>
                </a:moveTo>
                <a:lnTo>
                  <a:pt x="7189209" y="3829008"/>
                </a:lnTo>
                <a:lnTo>
                  <a:pt x="7193228" y="3833046"/>
                </a:lnTo>
                <a:lnTo>
                  <a:pt x="7193228" y="3842917"/>
                </a:lnTo>
                <a:lnTo>
                  <a:pt x="7189209" y="3846956"/>
                </a:lnTo>
                <a:lnTo>
                  <a:pt x="7179298" y="3846956"/>
                </a:lnTo>
                <a:lnTo>
                  <a:pt x="7175279" y="3842917"/>
                </a:lnTo>
                <a:lnTo>
                  <a:pt x="7175279" y="3833046"/>
                </a:lnTo>
                <a:close/>
                <a:moveTo>
                  <a:pt x="6939983" y="3829008"/>
                </a:moveTo>
                <a:lnTo>
                  <a:pt x="6949894" y="3829008"/>
                </a:lnTo>
                <a:lnTo>
                  <a:pt x="6953913" y="3833046"/>
                </a:lnTo>
                <a:lnTo>
                  <a:pt x="6953913" y="3842917"/>
                </a:lnTo>
                <a:lnTo>
                  <a:pt x="6949894" y="3846956"/>
                </a:lnTo>
                <a:lnTo>
                  <a:pt x="6939983" y="3846956"/>
                </a:lnTo>
                <a:lnTo>
                  <a:pt x="6935964" y="3842917"/>
                </a:lnTo>
                <a:lnTo>
                  <a:pt x="6935964" y="3833046"/>
                </a:lnTo>
                <a:close/>
                <a:moveTo>
                  <a:pt x="6700670" y="3829008"/>
                </a:moveTo>
                <a:lnTo>
                  <a:pt x="6710581" y="3829008"/>
                </a:lnTo>
                <a:lnTo>
                  <a:pt x="6714600" y="3833046"/>
                </a:lnTo>
                <a:lnTo>
                  <a:pt x="6714600" y="3842917"/>
                </a:lnTo>
                <a:lnTo>
                  <a:pt x="6710581" y="3846956"/>
                </a:lnTo>
                <a:lnTo>
                  <a:pt x="6700670" y="3846956"/>
                </a:lnTo>
                <a:lnTo>
                  <a:pt x="6696651" y="3842917"/>
                </a:lnTo>
                <a:lnTo>
                  <a:pt x="6696651" y="3833046"/>
                </a:lnTo>
                <a:close/>
                <a:moveTo>
                  <a:pt x="6461356" y="3829008"/>
                </a:moveTo>
                <a:lnTo>
                  <a:pt x="6471266" y="3829008"/>
                </a:lnTo>
                <a:lnTo>
                  <a:pt x="6475285" y="3833046"/>
                </a:lnTo>
                <a:lnTo>
                  <a:pt x="6475285" y="3842917"/>
                </a:lnTo>
                <a:lnTo>
                  <a:pt x="6471266" y="3846956"/>
                </a:lnTo>
                <a:lnTo>
                  <a:pt x="6461356" y="3846956"/>
                </a:lnTo>
                <a:lnTo>
                  <a:pt x="6457337" y="3842917"/>
                </a:lnTo>
                <a:lnTo>
                  <a:pt x="6457337" y="3833046"/>
                </a:lnTo>
                <a:close/>
                <a:moveTo>
                  <a:pt x="6222042" y="3829008"/>
                </a:moveTo>
                <a:lnTo>
                  <a:pt x="6231952" y="3829008"/>
                </a:lnTo>
                <a:lnTo>
                  <a:pt x="6235971" y="3833046"/>
                </a:lnTo>
                <a:lnTo>
                  <a:pt x="6235971" y="3842917"/>
                </a:lnTo>
                <a:lnTo>
                  <a:pt x="6231952" y="3846956"/>
                </a:lnTo>
                <a:lnTo>
                  <a:pt x="6222042" y="3846956"/>
                </a:lnTo>
                <a:lnTo>
                  <a:pt x="6218023" y="3842917"/>
                </a:lnTo>
                <a:lnTo>
                  <a:pt x="6218023" y="3833046"/>
                </a:lnTo>
                <a:close/>
                <a:moveTo>
                  <a:pt x="5982729" y="3829008"/>
                </a:moveTo>
                <a:lnTo>
                  <a:pt x="5992639" y="3829008"/>
                </a:lnTo>
                <a:lnTo>
                  <a:pt x="5996658" y="3833046"/>
                </a:lnTo>
                <a:lnTo>
                  <a:pt x="5996658" y="3842917"/>
                </a:lnTo>
                <a:lnTo>
                  <a:pt x="5992639" y="3846956"/>
                </a:lnTo>
                <a:lnTo>
                  <a:pt x="5982729" y="3846956"/>
                </a:lnTo>
                <a:lnTo>
                  <a:pt x="5978710" y="3842917"/>
                </a:lnTo>
                <a:lnTo>
                  <a:pt x="5978710" y="3833046"/>
                </a:lnTo>
                <a:close/>
                <a:moveTo>
                  <a:pt x="5743412" y="3829008"/>
                </a:moveTo>
                <a:lnTo>
                  <a:pt x="5753323" y="3829008"/>
                </a:lnTo>
                <a:lnTo>
                  <a:pt x="5757342" y="3833046"/>
                </a:lnTo>
                <a:lnTo>
                  <a:pt x="5757342" y="3842917"/>
                </a:lnTo>
                <a:lnTo>
                  <a:pt x="5753323" y="3846956"/>
                </a:lnTo>
                <a:lnTo>
                  <a:pt x="5743412" y="3846956"/>
                </a:lnTo>
                <a:lnTo>
                  <a:pt x="5739393" y="3842917"/>
                </a:lnTo>
                <a:lnTo>
                  <a:pt x="5739393" y="3833046"/>
                </a:lnTo>
                <a:close/>
                <a:moveTo>
                  <a:pt x="5504099" y="3829008"/>
                </a:moveTo>
                <a:lnTo>
                  <a:pt x="5514010" y="3829008"/>
                </a:lnTo>
                <a:lnTo>
                  <a:pt x="5518029" y="3833046"/>
                </a:lnTo>
                <a:lnTo>
                  <a:pt x="5518029" y="3842917"/>
                </a:lnTo>
                <a:lnTo>
                  <a:pt x="5514010" y="3846956"/>
                </a:lnTo>
                <a:lnTo>
                  <a:pt x="5504099" y="3846956"/>
                </a:lnTo>
                <a:lnTo>
                  <a:pt x="5500080" y="3842917"/>
                </a:lnTo>
                <a:lnTo>
                  <a:pt x="5500080" y="3833046"/>
                </a:lnTo>
                <a:close/>
                <a:moveTo>
                  <a:pt x="5264784" y="3829008"/>
                </a:moveTo>
                <a:lnTo>
                  <a:pt x="5274694" y="3829008"/>
                </a:lnTo>
                <a:lnTo>
                  <a:pt x="5278713" y="3833046"/>
                </a:lnTo>
                <a:lnTo>
                  <a:pt x="5278713" y="3842917"/>
                </a:lnTo>
                <a:lnTo>
                  <a:pt x="5274694" y="3846956"/>
                </a:lnTo>
                <a:lnTo>
                  <a:pt x="5264784" y="3846956"/>
                </a:lnTo>
                <a:lnTo>
                  <a:pt x="5260765" y="3842917"/>
                </a:lnTo>
                <a:lnTo>
                  <a:pt x="5260765" y="3833046"/>
                </a:lnTo>
                <a:close/>
                <a:moveTo>
                  <a:pt x="5025470" y="3829008"/>
                </a:moveTo>
                <a:lnTo>
                  <a:pt x="5035381" y="3829008"/>
                </a:lnTo>
                <a:lnTo>
                  <a:pt x="5039400" y="3833046"/>
                </a:lnTo>
                <a:lnTo>
                  <a:pt x="5039400" y="3842917"/>
                </a:lnTo>
                <a:lnTo>
                  <a:pt x="5035381" y="3846956"/>
                </a:lnTo>
                <a:lnTo>
                  <a:pt x="5025470" y="3846956"/>
                </a:lnTo>
                <a:lnTo>
                  <a:pt x="5021451" y="3842917"/>
                </a:lnTo>
                <a:lnTo>
                  <a:pt x="5021451" y="3833046"/>
                </a:lnTo>
                <a:close/>
                <a:moveTo>
                  <a:pt x="4786241" y="3829008"/>
                </a:moveTo>
                <a:lnTo>
                  <a:pt x="4796152" y="3829008"/>
                </a:lnTo>
                <a:lnTo>
                  <a:pt x="4800171" y="3833046"/>
                </a:lnTo>
                <a:lnTo>
                  <a:pt x="4800171" y="3842917"/>
                </a:lnTo>
                <a:lnTo>
                  <a:pt x="4796152" y="3846956"/>
                </a:lnTo>
                <a:lnTo>
                  <a:pt x="4786241" y="3846956"/>
                </a:lnTo>
                <a:lnTo>
                  <a:pt x="4782224" y="3842917"/>
                </a:lnTo>
                <a:lnTo>
                  <a:pt x="4782224" y="3833046"/>
                </a:lnTo>
                <a:close/>
                <a:moveTo>
                  <a:pt x="4546929" y="3829008"/>
                </a:moveTo>
                <a:lnTo>
                  <a:pt x="4556840" y="3829008"/>
                </a:lnTo>
                <a:lnTo>
                  <a:pt x="4560859" y="3833046"/>
                </a:lnTo>
                <a:lnTo>
                  <a:pt x="4560859" y="3842917"/>
                </a:lnTo>
                <a:lnTo>
                  <a:pt x="4556840" y="3846956"/>
                </a:lnTo>
                <a:lnTo>
                  <a:pt x="4546929" y="3846956"/>
                </a:lnTo>
                <a:lnTo>
                  <a:pt x="4542910" y="3842917"/>
                </a:lnTo>
                <a:lnTo>
                  <a:pt x="4542910" y="3833046"/>
                </a:lnTo>
                <a:close/>
                <a:moveTo>
                  <a:pt x="4307612" y="3829008"/>
                </a:moveTo>
                <a:lnTo>
                  <a:pt x="4317523" y="3829008"/>
                </a:lnTo>
                <a:lnTo>
                  <a:pt x="4321543" y="3833046"/>
                </a:lnTo>
                <a:lnTo>
                  <a:pt x="4321543" y="3842917"/>
                </a:lnTo>
                <a:lnTo>
                  <a:pt x="4317523" y="3846956"/>
                </a:lnTo>
                <a:lnTo>
                  <a:pt x="4307612" y="3846956"/>
                </a:lnTo>
                <a:lnTo>
                  <a:pt x="4303595" y="3842917"/>
                </a:lnTo>
                <a:lnTo>
                  <a:pt x="4303595" y="3833046"/>
                </a:lnTo>
                <a:close/>
                <a:moveTo>
                  <a:pt x="4068297" y="3829008"/>
                </a:moveTo>
                <a:lnTo>
                  <a:pt x="4078210" y="3829008"/>
                </a:lnTo>
                <a:lnTo>
                  <a:pt x="4082229" y="3833046"/>
                </a:lnTo>
                <a:lnTo>
                  <a:pt x="4082229" y="3842917"/>
                </a:lnTo>
                <a:lnTo>
                  <a:pt x="4078210" y="3846956"/>
                </a:lnTo>
                <a:lnTo>
                  <a:pt x="4068297" y="3846956"/>
                </a:lnTo>
                <a:lnTo>
                  <a:pt x="4064278" y="3842917"/>
                </a:lnTo>
                <a:lnTo>
                  <a:pt x="4064278" y="3833046"/>
                </a:lnTo>
                <a:close/>
                <a:moveTo>
                  <a:pt x="3828990" y="3829008"/>
                </a:moveTo>
                <a:lnTo>
                  <a:pt x="3838899" y="3829008"/>
                </a:lnTo>
                <a:lnTo>
                  <a:pt x="3842917" y="3833046"/>
                </a:lnTo>
                <a:lnTo>
                  <a:pt x="3842917" y="3842917"/>
                </a:lnTo>
                <a:lnTo>
                  <a:pt x="3838899" y="3846956"/>
                </a:lnTo>
                <a:lnTo>
                  <a:pt x="3828990" y="3846956"/>
                </a:lnTo>
                <a:lnTo>
                  <a:pt x="3824971" y="3842917"/>
                </a:lnTo>
                <a:lnTo>
                  <a:pt x="3824971" y="3833046"/>
                </a:lnTo>
                <a:close/>
                <a:moveTo>
                  <a:pt x="3589676" y="3829008"/>
                </a:moveTo>
                <a:lnTo>
                  <a:pt x="3599585" y="3829008"/>
                </a:lnTo>
                <a:lnTo>
                  <a:pt x="3603604" y="3833046"/>
                </a:lnTo>
                <a:lnTo>
                  <a:pt x="3603604" y="3842917"/>
                </a:lnTo>
                <a:lnTo>
                  <a:pt x="3599585" y="3846956"/>
                </a:lnTo>
                <a:lnTo>
                  <a:pt x="3589676" y="3846956"/>
                </a:lnTo>
                <a:lnTo>
                  <a:pt x="3585657" y="3842917"/>
                </a:lnTo>
                <a:lnTo>
                  <a:pt x="3585657" y="3833046"/>
                </a:lnTo>
                <a:close/>
                <a:moveTo>
                  <a:pt x="3350359" y="3829008"/>
                </a:moveTo>
                <a:lnTo>
                  <a:pt x="3360268" y="3829008"/>
                </a:lnTo>
                <a:lnTo>
                  <a:pt x="3364287" y="3833046"/>
                </a:lnTo>
                <a:lnTo>
                  <a:pt x="3364287" y="3842917"/>
                </a:lnTo>
                <a:lnTo>
                  <a:pt x="3360268" y="3846956"/>
                </a:lnTo>
                <a:lnTo>
                  <a:pt x="3350359" y="3846956"/>
                </a:lnTo>
                <a:lnTo>
                  <a:pt x="3346340" y="3842917"/>
                </a:lnTo>
                <a:lnTo>
                  <a:pt x="3346340" y="3833046"/>
                </a:lnTo>
                <a:close/>
                <a:moveTo>
                  <a:pt x="3111048" y="3829008"/>
                </a:moveTo>
                <a:lnTo>
                  <a:pt x="3120959" y="3829008"/>
                </a:lnTo>
                <a:lnTo>
                  <a:pt x="3124977" y="3833046"/>
                </a:lnTo>
                <a:lnTo>
                  <a:pt x="3124977" y="3842917"/>
                </a:lnTo>
                <a:lnTo>
                  <a:pt x="3120959" y="3846956"/>
                </a:lnTo>
                <a:lnTo>
                  <a:pt x="3111048" y="3846956"/>
                </a:lnTo>
                <a:lnTo>
                  <a:pt x="3107029" y="3842917"/>
                </a:lnTo>
                <a:lnTo>
                  <a:pt x="3107029" y="3833046"/>
                </a:lnTo>
                <a:close/>
                <a:moveTo>
                  <a:pt x="2871737" y="3829008"/>
                </a:moveTo>
                <a:lnTo>
                  <a:pt x="2881646" y="3829008"/>
                </a:lnTo>
                <a:lnTo>
                  <a:pt x="2885666" y="3833046"/>
                </a:lnTo>
                <a:lnTo>
                  <a:pt x="2885666" y="3842917"/>
                </a:lnTo>
                <a:lnTo>
                  <a:pt x="2881646" y="3846956"/>
                </a:lnTo>
                <a:lnTo>
                  <a:pt x="2871737" y="3846956"/>
                </a:lnTo>
                <a:lnTo>
                  <a:pt x="2867717" y="3842917"/>
                </a:lnTo>
                <a:lnTo>
                  <a:pt x="2867717" y="3833046"/>
                </a:lnTo>
                <a:close/>
                <a:moveTo>
                  <a:pt x="2632423" y="3829008"/>
                </a:moveTo>
                <a:lnTo>
                  <a:pt x="2642334" y="3829008"/>
                </a:lnTo>
                <a:lnTo>
                  <a:pt x="2646352" y="3833046"/>
                </a:lnTo>
                <a:lnTo>
                  <a:pt x="2646352" y="3842917"/>
                </a:lnTo>
                <a:lnTo>
                  <a:pt x="2642334" y="3846956"/>
                </a:lnTo>
                <a:lnTo>
                  <a:pt x="2632423" y="3846956"/>
                </a:lnTo>
                <a:lnTo>
                  <a:pt x="2628404" y="3842917"/>
                </a:lnTo>
                <a:lnTo>
                  <a:pt x="2628404" y="3833046"/>
                </a:lnTo>
                <a:close/>
                <a:moveTo>
                  <a:pt x="2393104" y="3829008"/>
                </a:moveTo>
                <a:lnTo>
                  <a:pt x="2403015" y="3829008"/>
                </a:lnTo>
                <a:lnTo>
                  <a:pt x="2407034" y="3833046"/>
                </a:lnTo>
                <a:lnTo>
                  <a:pt x="2407034" y="3842917"/>
                </a:lnTo>
                <a:lnTo>
                  <a:pt x="2403015" y="3846956"/>
                </a:lnTo>
                <a:lnTo>
                  <a:pt x="2393104" y="3846956"/>
                </a:lnTo>
                <a:lnTo>
                  <a:pt x="2389087" y="3842917"/>
                </a:lnTo>
                <a:lnTo>
                  <a:pt x="2389087" y="3833046"/>
                </a:lnTo>
                <a:close/>
                <a:moveTo>
                  <a:pt x="721966" y="3829008"/>
                </a:moveTo>
                <a:lnTo>
                  <a:pt x="731876" y="3829008"/>
                </a:lnTo>
                <a:lnTo>
                  <a:pt x="735895" y="3833046"/>
                </a:lnTo>
                <a:lnTo>
                  <a:pt x="735895" y="3842917"/>
                </a:lnTo>
                <a:lnTo>
                  <a:pt x="731876" y="3846956"/>
                </a:lnTo>
                <a:lnTo>
                  <a:pt x="721966" y="3846956"/>
                </a:lnTo>
                <a:lnTo>
                  <a:pt x="717947" y="3842917"/>
                </a:lnTo>
                <a:lnTo>
                  <a:pt x="717947" y="3833046"/>
                </a:lnTo>
                <a:close/>
                <a:moveTo>
                  <a:pt x="482654" y="3829008"/>
                </a:moveTo>
                <a:lnTo>
                  <a:pt x="492564" y="3829008"/>
                </a:lnTo>
                <a:lnTo>
                  <a:pt x="496583" y="3833046"/>
                </a:lnTo>
                <a:lnTo>
                  <a:pt x="496583" y="3842917"/>
                </a:lnTo>
                <a:lnTo>
                  <a:pt x="492564" y="3846956"/>
                </a:lnTo>
                <a:lnTo>
                  <a:pt x="482654" y="3846956"/>
                </a:lnTo>
                <a:lnTo>
                  <a:pt x="478635" y="3842917"/>
                </a:lnTo>
                <a:lnTo>
                  <a:pt x="478635" y="3833046"/>
                </a:lnTo>
                <a:close/>
                <a:moveTo>
                  <a:pt x="243340" y="3829008"/>
                </a:moveTo>
                <a:lnTo>
                  <a:pt x="253250" y="3829008"/>
                </a:lnTo>
                <a:lnTo>
                  <a:pt x="257269" y="3833046"/>
                </a:lnTo>
                <a:lnTo>
                  <a:pt x="257269" y="3842917"/>
                </a:lnTo>
                <a:lnTo>
                  <a:pt x="253250" y="3846956"/>
                </a:lnTo>
                <a:lnTo>
                  <a:pt x="243340" y="3846956"/>
                </a:lnTo>
                <a:lnTo>
                  <a:pt x="239321" y="3842917"/>
                </a:lnTo>
                <a:lnTo>
                  <a:pt x="239321" y="3833046"/>
                </a:lnTo>
                <a:close/>
                <a:moveTo>
                  <a:pt x="4027" y="3829008"/>
                </a:moveTo>
                <a:lnTo>
                  <a:pt x="13937" y="3829008"/>
                </a:lnTo>
                <a:lnTo>
                  <a:pt x="17956" y="3833046"/>
                </a:lnTo>
                <a:lnTo>
                  <a:pt x="17956" y="3842917"/>
                </a:lnTo>
                <a:lnTo>
                  <a:pt x="13937" y="3846956"/>
                </a:lnTo>
                <a:lnTo>
                  <a:pt x="4027" y="3846956"/>
                </a:lnTo>
                <a:lnTo>
                  <a:pt x="8" y="3842917"/>
                </a:lnTo>
                <a:lnTo>
                  <a:pt x="8" y="3833046"/>
                </a:lnTo>
                <a:close/>
                <a:moveTo>
                  <a:pt x="2157820" y="3589728"/>
                </a:moveTo>
                <a:lnTo>
                  <a:pt x="2167731" y="3589728"/>
                </a:lnTo>
                <a:lnTo>
                  <a:pt x="2171749" y="3593767"/>
                </a:lnTo>
                <a:lnTo>
                  <a:pt x="2171749" y="3603637"/>
                </a:lnTo>
                <a:lnTo>
                  <a:pt x="2167731" y="3607676"/>
                </a:lnTo>
                <a:lnTo>
                  <a:pt x="2157820" y="3607676"/>
                </a:lnTo>
                <a:lnTo>
                  <a:pt x="2153801" y="3603637"/>
                </a:lnTo>
                <a:lnTo>
                  <a:pt x="2153801" y="3593767"/>
                </a:lnTo>
                <a:close/>
                <a:moveTo>
                  <a:pt x="1918511" y="3589728"/>
                </a:moveTo>
                <a:lnTo>
                  <a:pt x="1928421" y="3589728"/>
                </a:lnTo>
                <a:lnTo>
                  <a:pt x="1932441" y="3593767"/>
                </a:lnTo>
                <a:lnTo>
                  <a:pt x="1932441" y="3603637"/>
                </a:lnTo>
                <a:lnTo>
                  <a:pt x="1928421" y="3607676"/>
                </a:lnTo>
                <a:lnTo>
                  <a:pt x="1918511" y="3607676"/>
                </a:lnTo>
                <a:lnTo>
                  <a:pt x="1914493" y="3603637"/>
                </a:lnTo>
                <a:lnTo>
                  <a:pt x="1914493" y="3593767"/>
                </a:lnTo>
                <a:close/>
                <a:moveTo>
                  <a:pt x="1679209" y="3589728"/>
                </a:moveTo>
                <a:lnTo>
                  <a:pt x="1689118" y="3589728"/>
                </a:lnTo>
                <a:lnTo>
                  <a:pt x="1693138" y="3593767"/>
                </a:lnTo>
                <a:lnTo>
                  <a:pt x="1693138" y="3603637"/>
                </a:lnTo>
                <a:lnTo>
                  <a:pt x="1689118" y="3607676"/>
                </a:lnTo>
                <a:lnTo>
                  <a:pt x="1679209" y="3607676"/>
                </a:lnTo>
                <a:lnTo>
                  <a:pt x="1675190" y="3603637"/>
                </a:lnTo>
                <a:lnTo>
                  <a:pt x="1675190" y="3593767"/>
                </a:lnTo>
                <a:close/>
                <a:moveTo>
                  <a:pt x="1439892" y="3589728"/>
                </a:moveTo>
                <a:lnTo>
                  <a:pt x="1449803" y="3589728"/>
                </a:lnTo>
                <a:lnTo>
                  <a:pt x="1453822" y="3593767"/>
                </a:lnTo>
                <a:lnTo>
                  <a:pt x="1453822" y="3603637"/>
                </a:lnTo>
                <a:lnTo>
                  <a:pt x="1449803" y="3607676"/>
                </a:lnTo>
                <a:lnTo>
                  <a:pt x="1439892" y="3607676"/>
                </a:lnTo>
                <a:lnTo>
                  <a:pt x="1435874" y="3603637"/>
                </a:lnTo>
                <a:lnTo>
                  <a:pt x="1435874" y="3593767"/>
                </a:lnTo>
                <a:close/>
                <a:moveTo>
                  <a:pt x="1200577" y="3589728"/>
                </a:moveTo>
                <a:lnTo>
                  <a:pt x="1210488" y="3589728"/>
                </a:lnTo>
                <a:lnTo>
                  <a:pt x="1214506" y="3593767"/>
                </a:lnTo>
                <a:lnTo>
                  <a:pt x="1214506" y="3603637"/>
                </a:lnTo>
                <a:lnTo>
                  <a:pt x="1210488" y="3607676"/>
                </a:lnTo>
                <a:lnTo>
                  <a:pt x="1200577" y="3607676"/>
                </a:lnTo>
                <a:lnTo>
                  <a:pt x="1196559" y="3603637"/>
                </a:lnTo>
                <a:lnTo>
                  <a:pt x="1196559" y="3593767"/>
                </a:lnTo>
                <a:close/>
                <a:moveTo>
                  <a:pt x="961265" y="3589728"/>
                </a:moveTo>
                <a:lnTo>
                  <a:pt x="971175" y="3589728"/>
                </a:lnTo>
                <a:lnTo>
                  <a:pt x="975193" y="3593767"/>
                </a:lnTo>
                <a:lnTo>
                  <a:pt x="975193" y="3603637"/>
                </a:lnTo>
                <a:lnTo>
                  <a:pt x="971175" y="3607676"/>
                </a:lnTo>
                <a:lnTo>
                  <a:pt x="961265" y="3607676"/>
                </a:lnTo>
                <a:lnTo>
                  <a:pt x="957246" y="3603637"/>
                </a:lnTo>
                <a:lnTo>
                  <a:pt x="957246" y="3593767"/>
                </a:lnTo>
                <a:close/>
                <a:moveTo>
                  <a:pt x="9572438" y="3589677"/>
                </a:moveTo>
                <a:lnTo>
                  <a:pt x="9582349" y="3589677"/>
                </a:lnTo>
                <a:lnTo>
                  <a:pt x="9586368" y="3593716"/>
                </a:lnTo>
                <a:lnTo>
                  <a:pt x="9586368" y="3603586"/>
                </a:lnTo>
                <a:lnTo>
                  <a:pt x="9582349" y="3607625"/>
                </a:lnTo>
                <a:lnTo>
                  <a:pt x="9572438" y="3607625"/>
                </a:lnTo>
                <a:lnTo>
                  <a:pt x="9568419" y="3603586"/>
                </a:lnTo>
                <a:lnTo>
                  <a:pt x="9568419" y="3593716"/>
                </a:lnTo>
                <a:close/>
                <a:moveTo>
                  <a:pt x="9333125" y="3589677"/>
                </a:moveTo>
                <a:lnTo>
                  <a:pt x="9343036" y="3589677"/>
                </a:lnTo>
                <a:lnTo>
                  <a:pt x="9347055" y="3593716"/>
                </a:lnTo>
                <a:lnTo>
                  <a:pt x="9347055" y="3603586"/>
                </a:lnTo>
                <a:lnTo>
                  <a:pt x="9343036" y="3607625"/>
                </a:lnTo>
                <a:lnTo>
                  <a:pt x="9333125" y="3607625"/>
                </a:lnTo>
                <a:lnTo>
                  <a:pt x="9329106" y="3603586"/>
                </a:lnTo>
                <a:lnTo>
                  <a:pt x="9329106" y="3593716"/>
                </a:lnTo>
                <a:close/>
                <a:moveTo>
                  <a:pt x="9093811" y="3589677"/>
                </a:moveTo>
                <a:lnTo>
                  <a:pt x="9103722" y="3589677"/>
                </a:lnTo>
                <a:lnTo>
                  <a:pt x="9107741" y="3593716"/>
                </a:lnTo>
                <a:lnTo>
                  <a:pt x="9107741" y="3603586"/>
                </a:lnTo>
                <a:lnTo>
                  <a:pt x="9103722" y="3607625"/>
                </a:lnTo>
                <a:lnTo>
                  <a:pt x="9093811" y="3607625"/>
                </a:lnTo>
                <a:lnTo>
                  <a:pt x="9089792" y="3603586"/>
                </a:lnTo>
                <a:lnTo>
                  <a:pt x="9089792" y="3593716"/>
                </a:lnTo>
                <a:close/>
                <a:moveTo>
                  <a:pt x="8854496" y="3589677"/>
                </a:moveTo>
                <a:lnTo>
                  <a:pt x="8864407" y="3589677"/>
                </a:lnTo>
                <a:lnTo>
                  <a:pt x="8868426" y="3593716"/>
                </a:lnTo>
                <a:lnTo>
                  <a:pt x="8868426" y="3603586"/>
                </a:lnTo>
                <a:lnTo>
                  <a:pt x="8864407" y="3607625"/>
                </a:lnTo>
                <a:lnTo>
                  <a:pt x="8854496" y="3607625"/>
                </a:lnTo>
                <a:lnTo>
                  <a:pt x="8850477" y="3603586"/>
                </a:lnTo>
                <a:lnTo>
                  <a:pt x="8850477" y="3593716"/>
                </a:lnTo>
                <a:close/>
                <a:moveTo>
                  <a:pt x="8615184" y="3589677"/>
                </a:moveTo>
                <a:lnTo>
                  <a:pt x="8625095" y="3589677"/>
                </a:lnTo>
                <a:lnTo>
                  <a:pt x="8629114" y="3593716"/>
                </a:lnTo>
                <a:lnTo>
                  <a:pt x="8629114" y="3603586"/>
                </a:lnTo>
                <a:lnTo>
                  <a:pt x="8625095" y="3607625"/>
                </a:lnTo>
                <a:lnTo>
                  <a:pt x="8615184" y="3607625"/>
                </a:lnTo>
                <a:lnTo>
                  <a:pt x="8611165" y="3603586"/>
                </a:lnTo>
                <a:lnTo>
                  <a:pt x="8611165" y="3593716"/>
                </a:lnTo>
                <a:close/>
                <a:moveTo>
                  <a:pt x="8375869" y="3589677"/>
                </a:moveTo>
                <a:lnTo>
                  <a:pt x="8385779" y="3589677"/>
                </a:lnTo>
                <a:lnTo>
                  <a:pt x="8389799" y="3593716"/>
                </a:lnTo>
                <a:lnTo>
                  <a:pt x="8389799" y="3603586"/>
                </a:lnTo>
                <a:lnTo>
                  <a:pt x="8385779" y="3607625"/>
                </a:lnTo>
                <a:lnTo>
                  <a:pt x="8375869" y="3607625"/>
                </a:lnTo>
                <a:lnTo>
                  <a:pt x="8371850" y="3603586"/>
                </a:lnTo>
                <a:lnTo>
                  <a:pt x="8371850" y="3593716"/>
                </a:lnTo>
                <a:close/>
                <a:moveTo>
                  <a:pt x="8136553" y="3589677"/>
                </a:moveTo>
                <a:lnTo>
                  <a:pt x="8146464" y="3589677"/>
                </a:lnTo>
                <a:lnTo>
                  <a:pt x="8150483" y="3593716"/>
                </a:lnTo>
                <a:lnTo>
                  <a:pt x="8150483" y="3603586"/>
                </a:lnTo>
                <a:lnTo>
                  <a:pt x="8146464" y="3607625"/>
                </a:lnTo>
                <a:lnTo>
                  <a:pt x="8136553" y="3607625"/>
                </a:lnTo>
                <a:lnTo>
                  <a:pt x="8132534" y="3603586"/>
                </a:lnTo>
                <a:lnTo>
                  <a:pt x="8132534" y="3593716"/>
                </a:lnTo>
                <a:close/>
                <a:moveTo>
                  <a:pt x="7897241" y="3589677"/>
                </a:moveTo>
                <a:lnTo>
                  <a:pt x="7907151" y="3589677"/>
                </a:lnTo>
                <a:lnTo>
                  <a:pt x="7911170" y="3593716"/>
                </a:lnTo>
                <a:lnTo>
                  <a:pt x="7911170" y="3603586"/>
                </a:lnTo>
                <a:lnTo>
                  <a:pt x="7907151" y="3607625"/>
                </a:lnTo>
                <a:lnTo>
                  <a:pt x="7897241" y="3607625"/>
                </a:lnTo>
                <a:lnTo>
                  <a:pt x="7893222" y="3603586"/>
                </a:lnTo>
                <a:lnTo>
                  <a:pt x="7893222" y="3593716"/>
                </a:lnTo>
                <a:close/>
                <a:moveTo>
                  <a:pt x="7657926" y="3589677"/>
                </a:moveTo>
                <a:lnTo>
                  <a:pt x="7667836" y="3589677"/>
                </a:lnTo>
                <a:lnTo>
                  <a:pt x="7671855" y="3593716"/>
                </a:lnTo>
                <a:lnTo>
                  <a:pt x="7671855" y="3603586"/>
                </a:lnTo>
                <a:lnTo>
                  <a:pt x="7667836" y="3607625"/>
                </a:lnTo>
                <a:lnTo>
                  <a:pt x="7657926" y="3607625"/>
                </a:lnTo>
                <a:lnTo>
                  <a:pt x="7653906" y="3603586"/>
                </a:lnTo>
                <a:lnTo>
                  <a:pt x="7653906" y="3593716"/>
                </a:lnTo>
                <a:close/>
                <a:moveTo>
                  <a:pt x="7418611" y="3589677"/>
                </a:moveTo>
                <a:lnTo>
                  <a:pt x="7428521" y="3589677"/>
                </a:lnTo>
                <a:lnTo>
                  <a:pt x="7432540" y="3593716"/>
                </a:lnTo>
                <a:lnTo>
                  <a:pt x="7432540" y="3603586"/>
                </a:lnTo>
                <a:lnTo>
                  <a:pt x="7428521" y="3607625"/>
                </a:lnTo>
                <a:lnTo>
                  <a:pt x="7418611" y="3607625"/>
                </a:lnTo>
                <a:lnTo>
                  <a:pt x="7414592" y="3603586"/>
                </a:lnTo>
                <a:lnTo>
                  <a:pt x="7414592" y="3593716"/>
                </a:lnTo>
                <a:close/>
                <a:moveTo>
                  <a:pt x="7179298" y="3589677"/>
                </a:moveTo>
                <a:lnTo>
                  <a:pt x="7189209" y="3589677"/>
                </a:lnTo>
                <a:lnTo>
                  <a:pt x="7193228" y="3593716"/>
                </a:lnTo>
                <a:lnTo>
                  <a:pt x="7193228" y="3603586"/>
                </a:lnTo>
                <a:lnTo>
                  <a:pt x="7189209" y="3607625"/>
                </a:lnTo>
                <a:lnTo>
                  <a:pt x="7179298" y="3607625"/>
                </a:lnTo>
                <a:lnTo>
                  <a:pt x="7175279" y="3603586"/>
                </a:lnTo>
                <a:lnTo>
                  <a:pt x="7175279" y="3593716"/>
                </a:lnTo>
                <a:close/>
                <a:moveTo>
                  <a:pt x="6939983" y="3589677"/>
                </a:moveTo>
                <a:lnTo>
                  <a:pt x="6949894" y="3589677"/>
                </a:lnTo>
                <a:lnTo>
                  <a:pt x="6953913" y="3593716"/>
                </a:lnTo>
                <a:lnTo>
                  <a:pt x="6953913" y="3603586"/>
                </a:lnTo>
                <a:lnTo>
                  <a:pt x="6949894" y="3607625"/>
                </a:lnTo>
                <a:lnTo>
                  <a:pt x="6939983" y="3607625"/>
                </a:lnTo>
                <a:lnTo>
                  <a:pt x="6935964" y="3603586"/>
                </a:lnTo>
                <a:lnTo>
                  <a:pt x="6935964" y="3593716"/>
                </a:lnTo>
                <a:close/>
                <a:moveTo>
                  <a:pt x="6700670" y="3589677"/>
                </a:moveTo>
                <a:lnTo>
                  <a:pt x="6710581" y="3589677"/>
                </a:lnTo>
                <a:lnTo>
                  <a:pt x="6714600" y="3593716"/>
                </a:lnTo>
                <a:lnTo>
                  <a:pt x="6714600" y="3603586"/>
                </a:lnTo>
                <a:lnTo>
                  <a:pt x="6710581" y="3607625"/>
                </a:lnTo>
                <a:lnTo>
                  <a:pt x="6700670" y="3607625"/>
                </a:lnTo>
                <a:lnTo>
                  <a:pt x="6696651" y="3603586"/>
                </a:lnTo>
                <a:lnTo>
                  <a:pt x="6696651" y="3593716"/>
                </a:lnTo>
                <a:close/>
                <a:moveTo>
                  <a:pt x="6461356" y="3589677"/>
                </a:moveTo>
                <a:lnTo>
                  <a:pt x="6471266" y="3589677"/>
                </a:lnTo>
                <a:lnTo>
                  <a:pt x="6475285" y="3593716"/>
                </a:lnTo>
                <a:lnTo>
                  <a:pt x="6475285" y="3603586"/>
                </a:lnTo>
                <a:lnTo>
                  <a:pt x="6471266" y="3607625"/>
                </a:lnTo>
                <a:lnTo>
                  <a:pt x="6461356" y="3607625"/>
                </a:lnTo>
                <a:lnTo>
                  <a:pt x="6457337" y="3603586"/>
                </a:lnTo>
                <a:lnTo>
                  <a:pt x="6457337" y="3593716"/>
                </a:lnTo>
                <a:close/>
                <a:moveTo>
                  <a:pt x="6222042" y="3589677"/>
                </a:moveTo>
                <a:lnTo>
                  <a:pt x="6231952" y="3589677"/>
                </a:lnTo>
                <a:lnTo>
                  <a:pt x="6235971" y="3593716"/>
                </a:lnTo>
                <a:lnTo>
                  <a:pt x="6235971" y="3603586"/>
                </a:lnTo>
                <a:lnTo>
                  <a:pt x="6231952" y="3607625"/>
                </a:lnTo>
                <a:lnTo>
                  <a:pt x="6222042" y="3607625"/>
                </a:lnTo>
                <a:lnTo>
                  <a:pt x="6218023" y="3603586"/>
                </a:lnTo>
                <a:lnTo>
                  <a:pt x="6218023" y="3593716"/>
                </a:lnTo>
                <a:close/>
                <a:moveTo>
                  <a:pt x="5982729" y="3589677"/>
                </a:moveTo>
                <a:lnTo>
                  <a:pt x="5992639" y="3589677"/>
                </a:lnTo>
                <a:lnTo>
                  <a:pt x="5996658" y="3593716"/>
                </a:lnTo>
                <a:lnTo>
                  <a:pt x="5996658" y="3603586"/>
                </a:lnTo>
                <a:lnTo>
                  <a:pt x="5992639" y="3607625"/>
                </a:lnTo>
                <a:lnTo>
                  <a:pt x="5982729" y="3607625"/>
                </a:lnTo>
                <a:lnTo>
                  <a:pt x="5978710" y="3603586"/>
                </a:lnTo>
                <a:lnTo>
                  <a:pt x="5978710" y="3593716"/>
                </a:lnTo>
                <a:close/>
                <a:moveTo>
                  <a:pt x="5743412" y="3589677"/>
                </a:moveTo>
                <a:lnTo>
                  <a:pt x="5753323" y="3589677"/>
                </a:lnTo>
                <a:lnTo>
                  <a:pt x="5757342" y="3593716"/>
                </a:lnTo>
                <a:lnTo>
                  <a:pt x="5757342" y="3603586"/>
                </a:lnTo>
                <a:lnTo>
                  <a:pt x="5753323" y="3607625"/>
                </a:lnTo>
                <a:lnTo>
                  <a:pt x="5743412" y="3607625"/>
                </a:lnTo>
                <a:lnTo>
                  <a:pt x="5739393" y="3603586"/>
                </a:lnTo>
                <a:lnTo>
                  <a:pt x="5739393" y="3593716"/>
                </a:lnTo>
                <a:close/>
                <a:moveTo>
                  <a:pt x="5504099" y="3589677"/>
                </a:moveTo>
                <a:lnTo>
                  <a:pt x="5514010" y="3589677"/>
                </a:lnTo>
                <a:lnTo>
                  <a:pt x="5518029" y="3593716"/>
                </a:lnTo>
                <a:lnTo>
                  <a:pt x="5518029" y="3603586"/>
                </a:lnTo>
                <a:lnTo>
                  <a:pt x="5514010" y="3607625"/>
                </a:lnTo>
                <a:lnTo>
                  <a:pt x="5504099" y="3607625"/>
                </a:lnTo>
                <a:lnTo>
                  <a:pt x="5500080" y="3603586"/>
                </a:lnTo>
                <a:lnTo>
                  <a:pt x="5500080" y="3593716"/>
                </a:lnTo>
                <a:close/>
                <a:moveTo>
                  <a:pt x="5264784" y="3589677"/>
                </a:moveTo>
                <a:lnTo>
                  <a:pt x="5274694" y="3589677"/>
                </a:lnTo>
                <a:lnTo>
                  <a:pt x="5278713" y="3593716"/>
                </a:lnTo>
                <a:lnTo>
                  <a:pt x="5278713" y="3603586"/>
                </a:lnTo>
                <a:lnTo>
                  <a:pt x="5274694" y="3607625"/>
                </a:lnTo>
                <a:lnTo>
                  <a:pt x="5264784" y="3607625"/>
                </a:lnTo>
                <a:lnTo>
                  <a:pt x="5260765" y="3603586"/>
                </a:lnTo>
                <a:lnTo>
                  <a:pt x="5260765" y="3593716"/>
                </a:lnTo>
                <a:close/>
                <a:moveTo>
                  <a:pt x="5025470" y="3589677"/>
                </a:moveTo>
                <a:lnTo>
                  <a:pt x="5035381" y="3589677"/>
                </a:lnTo>
                <a:lnTo>
                  <a:pt x="5039400" y="3593716"/>
                </a:lnTo>
                <a:lnTo>
                  <a:pt x="5039400" y="3603586"/>
                </a:lnTo>
                <a:lnTo>
                  <a:pt x="5035381" y="3607625"/>
                </a:lnTo>
                <a:lnTo>
                  <a:pt x="5025470" y="3607625"/>
                </a:lnTo>
                <a:lnTo>
                  <a:pt x="5021451" y="3603586"/>
                </a:lnTo>
                <a:lnTo>
                  <a:pt x="5021451" y="3593716"/>
                </a:lnTo>
                <a:close/>
                <a:moveTo>
                  <a:pt x="4786241" y="3589677"/>
                </a:moveTo>
                <a:lnTo>
                  <a:pt x="4796152" y="3589677"/>
                </a:lnTo>
                <a:lnTo>
                  <a:pt x="4800171" y="3593716"/>
                </a:lnTo>
                <a:lnTo>
                  <a:pt x="4800171" y="3603586"/>
                </a:lnTo>
                <a:lnTo>
                  <a:pt x="4796152" y="3607625"/>
                </a:lnTo>
                <a:lnTo>
                  <a:pt x="4786241" y="3607625"/>
                </a:lnTo>
                <a:lnTo>
                  <a:pt x="4782224" y="3603586"/>
                </a:lnTo>
                <a:lnTo>
                  <a:pt x="4782224" y="3593716"/>
                </a:lnTo>
                <a:close/>
                <a:moveTo>
                  <a:pt x="4546929" y="3589677"/>
                </a:moveTo>
                <a:lnTo>
                  <a:pt x="4556840" y="3589677"/>
                </a:lnTo>
                <a:lnTo>
                  <a:pt x="4560859" y="3593716"/>
                </a:lnTo>
                <a:lnTo>
                  <a:pt x="4560859" y="3603586"/>
                </a:lnTo>
                <a:lnTo>
                  <a:pt x="4556840" y="3607625"/>
                </a:lnTo>
                <a:lnTo>
                  <a:pt x="4546929" y="3607625"/>
                </a:lnTo>
                <a:lnTo>
                  <a:pt x="4542910" y="3603586"/>
                </a:lnTo>
                <a:lnTo>
                  <a:pt x="4542910" y="3593716"/>
                </a:lnTo>
                <a:close/>
                <a:moveTo>
                  <a:pt x="4307612" y="3589677"/>
                </a:moveTo>
                <a:lnTo>
                  <a:pt x="4317523" y="3589677"/>
                </a:lnTo>
                <a:lnTo>
                  <a:pt x="4321543" y="3593716"/>
                </a:lnTo>
                <a:lnTo>
                  <a:pt x="4321543" y="3603586"/>
                </a:lnTo>
                <a:lnTo>
                  <a:pt x="4317523" y="3607625"/>
                </a:lnTo>
                <a:lnTo>
                  <a:pt x="4307612" y="3607625"/>
                </a:lnTo>
                <a:lnTo>
                  <a:pt x="4303595" y="3603586"/>
                </a:lnTo>
                <a:lnTo>
                  <a:pt x="4303595" y="3593716"/>
                </a:lnTo>
                <a:close/>
                <a:moveTo>
                  <a:pt x="4068297" y="3589677"/>
                </a:moveTo>
                <a:lnTo>
                  <a:pt x="4078210" y="3589677"/>
                </a:lnTo>
                <a:lnTo>
                  <a:pt x="4082229" y="3593716"/>
                </a:lnTo>
                <a:lnTo>
                  <a:pt x="4082229" y="3603586"/>
                </a:lnTo>
                <a:lnTo>
                  <a:pt x="4078210" y="3607625"/>
                </a:lnTo>
                <a:lnTo>
                  <a:pt x="4068297" y="3607625"/>
                </a:lnTo>
                <a:lnTo>
                  <a:pt x="4064278" y="3603586"/>
                </a:lnTo>
                <a:lnTo>
                  <a:pt x="4064278" y="3593716"/>
                </a:lnTo>
                <a:close/>
                <a:moveTo>
                  <a:pt x="3828990" y="3589677"/>
                </a:moveTo>
                <a:lnTo>
                  <a:pt x="3838899" y="3589677"/>
                </a:lnTo>
                <a:lnTo>
                  <a:pt x="3842917" y="3593716"/>
                </a:lnTo>
                <a:lnTo>
                  <a:pt x="3842917" y="3603586"/>
                </a:lnTo>
                <a:lnTo>
                  <a:pt x="3838899" y="3607625"/>
                </a:lnTo>
                <a:lnTo>
                  <a:pt x="3828990" y="3607625"/>
                </a:lnTo>
                <a:lnTo>
                  <a:pt x="3824971" y="3603586"/>
                </a:lnTo>
                <a:lnTo>
                  <a:pt x="3824971" y="3593716"/>
                </a:lnTo>
                <a:close/>
                <a:moveTo>
                  <a:pt x="3589676" y="3589677"/>
                </a:moveTo>
                <a:lnTo>
                  <a:pt x="3599585" y="3589677"/>
                </a:lnTo>
                <a:lnTo>
                  <a:pt x="3603604" y="3593716"/>
                </a:lnTo>
                <a:lnTo>
                  <a:pt x="3603604" y="3603586"/>
                </a:lnTo>
                <a:lnTo>
                  <a:pt x="3599585" y="3607625"/>
                </a:lnTo>
                <a:lnTo>
                  <a:pt x="3589676" y="3607625"/>
                </a:lnTo>
                <a:lnTo>
                  <a:pt x="3585657" y="3603586"/>
                </a:lnTo>
                <a:lnTo>
                  <a:pt x="3585657" y="3593716"/>
                </a:lnTo>
                <a:close/>
                <a:moveTo>
                  <a:pt x="3350359" y="3589677"/>
                </a:moveTo>
                <a:lnTo>
                  <a:pt x="3360268" y="3589677"/>
                </a:lnTo>
                <a:lnTo>
                  <a:pt x="3364287" y="3593716"/>
                </a:lnTo>
                <a:lnTo>
                  <a:pt x="3364287" y="3603586"/>
                </a:lnTo>
                <a:lnTo>
                  <a:pt x="3360268" y="3607625"/>
                </a:lnTo>
                <a:lnTo>
                  <a:pt x="3350359" y="3607625"/>
                </a:lnTo>
                <a:lnTo>
                  <a:pt x="3346340" y="3603586"/>
                </a:lnTo>
                <a:lnTo>
                  <a:pt x="3346340" y="3593716"/>
                </a:lnTo>
                <a:close/>
                <a:moveTo>
                  <a:pt x="3111048" y="3589677"/>
                </a:moveTo>
                <a:lnTo>
                  <a:pt x="3120959" y="3589677"/>
                </a:lnTo>
                <a:lnTo>
                  <a:pt x="3124977" y="3593716"/>
                </a:lnTo>
                <a:lnTo>
                  <a:pt x="3124977" y="3603586"/>
                </a:lnTo>
                <a:lnTo>
                  <a:pt x="3120959" y="3607625"/>
                </a:lnTo>
                <a:lnTo>
                  <a:pt x="3111048" y="3607625"/>
                </a:lnTo>
                <a:lnTo>
                  <a:pt x="3107029" y="3603586"/>
                </a:lnTo>
                <a:lnTo>
                  <a:pt x="3107029" y="3593716"/>
                </a:lnTo>
                <a:close/>
                <a:moveTo>
                  <a:pt x="2871737" y="3589677"/>
                </a:moveTo>
                <a:lnTo>
                  <a:pt x="2881646" y="3589677"/>
                </a:lnTo>
                <a:lnTo>
                  <a:pt x="2885666" y="3593716"/>
                </a:lnTo>
                <a:lnTo>
                  <a:pt x="2885666" y="3603586"/>
                </a:lnTo>
                <a:lnTo>
                  <a:pt x="2881646" y="3607625"/>
                </a:lnTo>
                <a:lnTo>
                  <a:pt x="2871737" y="3607625"/>
                </a:lnTo>
                <a:lnTo>
                  <a:pt x="2867717" y="3603586"/>
                </a:lnTo>
                <a:lnTo>
                  <a:pt x="2867717" y="3593716"/>
                </a:lnTo>
                <a:close/>
                <a:moveTo>
                  <a:pt x="2632423" y="3589677"/>
                </a:moveTo>
                <a:lnTo>
                  <a:pt x="2642334" y="3589677"/>
                </a:lnTo>
                <a:lnTo>
                  <a:pt x="2646352" y="3593716"/>
                </a:lnTo>
                <a:lnTo>
                  <a:pt x="2646352" y="3603586"/>
                </a:lnTo>
                <a:lnTo>
                  <a:pt x="2642334" y="3607625"/>
                </a:lnTo>
                <a:lnTo>
                  <a:pt x="2632423" y="3607625"/>
                </a:lnTo>
                <a:lnTo>
                  <a:pt x="2628404" y="3603586"/>
                </a:lnTo>
                <a:lnTo>
                  <a:pt x="2628404" y="3593716"/>
                </a:lnTo>
                <a:close/>
                <a:moveTo>
                  <a:pt x="2393104" y="3589677"/>
                </a:moveTo>
                <a:lnTo>
                  <a:pt x="2403015" y="3589677"/>
                </a:lnTo>
                <a:lnTo>
                  <a:pt x="2407034" y="3593716"/>
                </a:lnTo>
                <a:lnTo>
                  <a:pt x="2407034" y="3603586"/>
                </a:lnTo>
                <a:lnTo>
                  <a:pt x="2403015" y="3607625"/>
                </a:lnTo>
                <a:lnTo>
                  <a:pt x="2393104" y="3607625"/>
                </a:lnTo>
                <a:lnTo>
                  <a:pt x="2389087" y="3603586"/>
                </a:lnTo>
                <a:lnTo>
                  <a:pt x="2389087" y="3593716"/>
                </a:lnTo>
                <a:close/>
                <a:moveTo>
                  <a:pt x="721966" y="3589677"/>
                </a:moveTo>
                <a:lnTo>
                  <a:pt x="731877" y="3589677"/>
                </a:lnTo>
                <a:lnTo>
                  <a:pt x="735896" y="3593716"/>
                </a:lnTo>
                <a:lnTo>
                  <a:pt x="735896" y="3603586"/>
                </a:lnTo>
                <a:lnTo>
                  <a:pt x="731877" y="3607625"/>
                </a:lnTo>
                <a:lnTo>
                  <a:pt x="721966" y="3607625"/>
                </a:lnTo>
                <a:lnTo>
                  <a:pt x="717948" y="3603586"/>
                </a:lnTo>
                <a:lnTo>
                  <a:pt x="717948" y="3593716"/>
                </a:lnTo>
                <a:close/>
                <a:moveTo>
                  <a:pt x="482654" y="3589677"/>
                </a:moveTo>
                <a:lnTo>
                  <a:pt x="492565" y="3589677"/>
                </a:lnTo>
                <a:lnTo>
                  <a:pt x="496584" y="3593716"/>
                </a:lnTo>
                <a:lnTo>
                  <a:pt x="496584" y="3603586"/>
                </a:lnTo>
                <a:lnTo>
                  <a:pt x="492565" y="3607625"/>
                </a:lnTo>
                <a:lnTo>
                  <a:pt x="482654" y="3607625"/>
                </a:lnTo>
                <a:lnTo>
                  <a:pt x="478635" y="3603586"/>
                </a:lnTo>
                <a:lnTo>
                  <a:pt x="478635" y="3593716"/>
                </a:lnTo>
                <a:close/>
                <a:moveTo>
                  <a:pt x="243341" y="3589677"/>
                </a:moveTo>
                <a:lnTo>
                  <a:pt x="253251" y="3589677"/>
                </a:lnTo>
                <a:lnTo>
                  <a:pt x="257270" y="3593716"/>
                </a:lnTo>
                <a:lnTo>
                  <a:pt x="257270" y="3603586"/>
                </a:lnTo>
                <a:lnTo>
                  <a:pt x="253251" y="3607625"/>
                </a:lnTo>
                <a:lnTo>
                  <a:pt x="243341" y="3607625"/>
                </a:lnTo>
                <a:lnTo>
                  <a:pt x="239321" y="3603586"/>
                </a:lnTo>
                <a:lnTo>
                  <a:pt x="239321" y="3593716"/>
                </a:lnTo>
                <a:close/>
                <a:moveTo>
                  <a:pt x="4027" y="3589677"/>
                </a:moveTo>
                <a:lnTo>
                  <a:pt x="13938" y="3589677"/>
                </a:lnTo>
                <a:lnTo>
                  <a:pt x="17957" y="3593716"/>
                </a:lnTo>
                <a:lnTo>
                  <a:pt x="17957" y="3603586"/>
                </a:lnTo>
                <a:lnTo>
                  <a:pt x="13938" y="3607625"/>
                </a:lnTo>
                <a:lnTo>
                  <a:pt x="4027" y="3607625"/>
                </a:lnTo>
                <a:lnTo>
                  <a:pt x="8" y="3603586"/>
                </a:lnTo>
                <a:lnTo>
                  <a:pt x="8" y="3593716"/>
                </a:lnTo>
                <a:close/>
                <a:moveTo>
                  <a:pt x="9572438" y="3350398"/>
                </a:moveTo>
                <a:lnTo>
                  <a:pt x="9582349" y="3350398"/>
                </a:lnTo>
                <a:lnTo>
                  <a:pt x="9586368" y="3354436"/>
                </a:lnTo>
                <a:lnTo>
                  <a:pt x="9586368" y="3364306"/>
                </a:lnTo>
                <a:lnTo>
                  <a:pt x="9582349" y="3368345"/>
                </a:lnTo>
                <a:lnTo>
                  <a:pt x="9572438" y="3368345"/>
                </a:lnTo>
                <a:lnTo>
                  <a:pt x="9568419" y="3364306"/>
                </a:lnTo>
                <a:lnTo>
                  <a:pt x="9568419" y="3354436"/>
                </a:lnTo>
                <a:close/>
                <a:moveTo>
                  <a:pt x="9333125" y="3350398"/>
                </a:moveTo>
                <a:lnTo>
                  <a:pt x="9343036" y="3350398"/>
                </a:lnTo>
                <a:lnTo>
                  <a:pt x="9347055" y="3354436"/>
                </a:lnTo>
                <a:lnTo>
                  <a:pt x="9347055" y="3364306"/>
                </a:lnTo>
                <a:lnTo>
                  <a:pt x="9343036" y="3368345"/>
                </a:lnTo>
                <a:lnTo>
                  <a:pt x="9333125" y="3368345"/>
                </a:lnTo>
                <a:lnTo>
                  <a:pt x="9329106" y="3364306"/>
                </a:lnTo>
                <a:lnTo>
                  <a:pt x="9329106" y="3354436"/>
                </a:lnTo>
                <a:close/>
                <a:moveTo>
                  <a:pt x="9093811" y="3350398"/>
                </a:moveTo>
                <a:lnTo>
                  <a:pt x="9103722" y="3350398"/>
                </a:lnTo>
                <a:lnTo>
                  <a:pt x="9107741" y="3354436"/>
                </a:lnTo>
                <a:lnTo>
                  <a:pt x="9107741" y="3364306"/>
                </a:lnTo>
                <a:lnTo>
                  <a:pt x="9103722" y="3368345"/>
                </a:lnTo>
                <a:lnTo>
                  <a:pt x="9093811" y="3368345"/>
                </a:lnTo>
                <a:lnTo>
                  <a:pt x="9089792" y="3364306"/>
                </a:lnTo>
                <a:lnTo>
                  <a:pt x="9089792" y="3354436"/>
                </a:lnTo>
                <a:close/>
                <a:moveTo>
                  <a:pt x="8854496" y="3350398"/>
                </a:moveTo>
                <a:lnTo>
                  <a:pt x="8864407" y="3350398"/>
                </a:lnTo>
                <a:lnTo>
                  <a:pt x="8868426" y="3354436"/>
                </a:lnTo>
                <a:lnTo>
                  <a:pt x="8868426" y="3364306"/>
                </a:lnTo>
                <a:lnTo>
                  <a:pt x="8864407" y="3368345"/>
                </a:lnTo>
                <a:lnTo>
                  <a:pt x="8854496" y="3368345"/>
                </a:lnTo>
                <a:lnTo>
                  <a:pt x="8850477" y="3364306"/>
                </a:lnTo>
                <a:lnTo>
                  <a:pt x="8850477" y="3354436"/>
                </a:lnTo>
                <a:close/>
                <a:moveTo>
                  <a:pt x="8615184" y="3350398"/>
                </a:moveTo>
                <a:lnTo>
                  <a:pt x="8625095" y="3350398"/>
                </a:lnTo>
                <a:lnTo>
                  <a:pt x="8629114" y="3354436"/>
                </a:lnTo>
                <a:lnTo>
                  <a:pt x="8629114" y="3364306"/>
                </a:lnTo>
                <a:lnTo>
                  <a:pt x="8625095" y="3368345"/>
                </a:lnTo>
                <a:lnTo>
                  <a:pt x="8615184" y="3368345"/>
                </a:lnTo>
                <a:lnTo>
                  <a:pt x="8611165" y="3364306"/>
                </a:lnTo>
                <a:lnTo>
                  <a:pt x="8611165" y="3354436"/>
                </a:lnTo>
                <a:close/>
                <a:moveTo>
                  <a:pt x="8375869" y="3350398"/>
                </a:moveTo>
                <a:lnTo>
                  <a:pt x="8385779" y="3350398"/>
                </a:lnTo>
                <a:lnTo>
                  <a:pt x="8389799" y="3354436"/>
                </a:lnTo>
                <a:lnTo>
                  <a:pt x="8389799" y="3364306"/>
                </a:lnTo>
                <a:lnTo>
                  <a:pt x="8385779" y="3368345"/>
                </a:lnTo>
                <a:lnTo>
                  <a:pt x="8375869" y="3368345"/>
                </a:lnTo>
                <a:lnTo>
                  <a:pt x="8371850" y="3364306"/>
                </a:lnTo>
                <a:lnTo>
                  <a:pt x="8371850" y="3354436"/>
                </a:lnTo>
                <a:close/>
                <a:moveTo>
                  <a:pt x="8136553" y="3350398"/>
                </a:moveTo>
                <a:lnTo>
                  <a:pt x="8146464" y="3350398"/>
                </a:lnTo>
                <a:lnTo>
                  <a:pt x="8150483" y="3354436"/>
                </a:lnTo>
                <a:lnTo>
                  <a:pt x="8150483" y="3364306"/>
                </a:lnTo>
                <a:lnTo>
                  <a:pt x="8146464" y="3368345"/>
                </a:lnTo>
                <a:lnTo>
                  <a:pt x="8136553" y="3368345"/>
                </a:lnTo>
                <a:lnTo>
                  <a:pt x="8132534" y="3364306"/>
                </a:lnTo>
                <a:lnTo>
                  <a:pt x="8132534" y="3354436"/>
                </a:lnTo>
                <a:close/>
                <a:moveTo>
                  <a:pt x="7897241" y="3350398"/>
                </a:moveTo>
                <a:lnTo>
                  <a:pt x="7907151" y="3350398"/>
                </a:lnTo>
                <a:lnTo>
                  <a:pt x="7911170" y="3354436"/>
                </a:lnTo>
                <a:lnTo>
                  <a:pt x="7911170" y="3364306"/>
                </a:lnTo>
                <a:lnTo>
                  <a:pt x="7907151" y="3368345"/>
                </a:lnTo>
                <a:lnTo>
                  <a:pt x="7897241" y="3368345"/>
                </a:lnTo>
                <a:lnTo>
                  <a:pt x="7893222" y="3364306"/>
                </a:lnTo>
                <a:lnTo>
                  <a:pt x="7893222" y="3354436"/>
                </a:lnTo>
                <a:close/>
                <a:moveTo>
                  <a:pt x="7657926" y="3350398"/>
                </a:moveTo>
                <a:lnTo>
                  <a:pt x="7667836" y="3350398"/>
                </a:lnTo>
                <a:lnTo>
                  <a:pt x="7671855" y="3354436"/>
                </a:lnTo>
                <a:lnTo>
                  <a:pt x="7671855" y="3364306"/>
                </a:lnTo>
                <a:lnTo>
                  <a:pt x="7667836" y="3368345"/>
                </a:lnTo>
                <a:lnTo>
                  <a:pt x="7657926" y="3368345"/>
                </a:lnTo>
                <a:lnTo>
                  <a:pt x="7653906" y="3364306"/>
                </a:lnTo>
                <a:lnTo>
                  <a:pt x="7653906" y="3354436"/>
                </a:lnTo>
                <a:close/>
                <a:moveTo>
                  <a:pt x="7418611" y="3350398"/>
                </a:moveTo>
                <a:lnTo>
                  <a:pt x="7428521" y="3350398"/>
                </a:lnTo>
                <a:lnTo>
                  <a:pt x="7432540" y="3354436"/>
                </a:lnTo>
                <a:lnTo>
                  <a:pt x="7432540" y="3364306"/>
                </a:lnTo>
                <a:lnTo>
                  <a:pt x="7428521" y="3368345"/>
                </a:lnTo>
                <a:lnTo>
                  <a:pt x="7418611" y="3368345"/>
                </a:lnTo>
                <a:lnTo>
                  <a:pt x="7414592" y="3364306"/>
                </a:lnTo>
                <a:lnTo>
                  <a:pt x="7414592" y="3354436"/>
                </a:lnTo>
                <a:close/>
                <a:moveTo>
                  <a:pt x="7179298" y="3350398"/>
                </a:moveTo>
                <a:lnTo>
                  <a:pt x="7189209" y="3350398"/>
                </a:lnTo>
                <a:lnTo>
                  <a:pt x="7193228" y="3354436"/>
                </a:lnTo>
                <a:lnTo>
                  <a:pt x="7193228" y="3364306"/>
                </a:lnTo>
                <a:lnTo>
                  <a:pt x="7189209" y="3368345"/>
                </a:lnTo>
                <a:lnTo>
                  <a:pt x="7179298" y="3368345"/>
                </a:lnTo>
                <a:lnTo>
                  <a:pt x="7175279" y="3364306"/>
                </a:lnTo>
                <a:lnTo>
                  <a:pt x="7175279" y="3354436"/>
                </a:lnTo>
                <a:close/>
                <a:moveTo>
                  <a:pt x="6939983" y="3350398"/>
                </a:moveTo>
                <a:lnTo>
                  <a:pt x="6949894" y="3350398"/>
                </a:lnTo>
                <a:lnTo>
                  <a:pt x="6953913" y="3354436"/>
                </a:lnTo>
                <a:lnTo>
                  <a:pt x="6953913" y="3364306"/>
                </a:lnTo>
                <a:lnTo>
                  <a:pt x="6949894" y="3368345"/>
                </a:lnTo>
                <a:lnTo>
                  <a:pt x="6939983" y="3368345"/>
                </a:lnTo>
                <a:lnTo>
                  <a:pt x="6935964" y="3364306"/>
                </a:lnTo>
                <a:lnTo>
                  <a:pt x="6935964" y="3354436"/>
                </a:lnTo>
                <a:close/>
                <a:moveTo>
                  <a:pt x="6700670" y="3350398"/>
                </a:moveTo>
                <a:lnTo>
                  <a:pt x="6710581" y="3350398"/>
                </a:lnTo>
                <a:lnTo>
                  <a:pt x="6714600" y="3354436"/>
                </a:lnTo>
                <a:lnTo>
                  <a:pt x="6714600" y="3364306"/>
                </a:lnTo>
                <a:lnTo>
                  <a:pt x="6710581" y="3368345"/>
                </a:lnTo>
                <a:lnTo>
                  <a:pt x="6700670" y="3368345"/>
                </a:lnTo>
                <a:lnTo>
                  <a:pt x="6696651" y="3364306"/>
                </a:lnTo>
                <a:lnTo>
                  <a:pt x="6696651" y="3354436"/>
                </a:lnTo>
                <a:close/>
                <a:moveTo>
                  <a:pt x="6461356" y="3350398"/>
                </a:moveTo>
                <a:lnTo>
                  <a:pt x="6471266" y="3350398"/>
                </a:lnTo>
                <a:lnTo>
                  <a:pt x="6475285" y="3354436"/>
                </a:lnTo>
                <a:lnTo>
                  <a:pt x="6475285" y="3364306"/>
                </a:lnTo>
                <a:lnTo>
                  <a:pt x="6471266" y="3368345"/>
                </a:lnTo>
                <a:lnTo>
                  <a:pt x="6461356" y="3368345"/>
                </a:lnTo>
                <a:lnTo>
                  <a:pt x="6457337" y="3364306"/>
                </a:lnTo>
                <a:lnTo>
                  <a:pt x="6457337" y="3354436"/>
                </a:lnTo>
                <a:close/>
                <a:moveTo>
                  <a:pt x="6222042" y="3350398"/>
                </a:moveTo>
                <a:lnTo>
                  <a:pt x="6231952" y="3350398"/>
                </a:lnTo>
                <a:lnTo>
                  <a:pt x="6235971" y="3354436"/>
                </a:lnTo>
                <a:lnTo>
                  <a:pt x="6235971" y="3364306"/>
                </a:lnTo>
                <a:lnTo>
                  <a:pt x="6231952" y="3368345"/>
                </a:lnTo>
                <a:lnTo>
                  <a:pt x="6222042" y="3368345"/>
                </a:lnTo>
                <a:lnTo>
                  <a:pt x="6218023" y="3364306"/>
                </a:lnTo>
                <a:lnTo>
                  <a:pt x="6218023" y="3354436"/>
                </a:lnTo>
                <a:close/>
                <a:moveTo>
                  <a:pt x="5982729" y="3350398"/>
                </a:moveTo>
                <a:lnTo>
                  <a:pt x="5992639" y="3350398"/>
                </a:lnTo>
                <a:lnTo>
                  <a:pt x="5996658" y="3354436"/>
                </a:lnTo>
                <a:lnTo>
                  <a:pt x="5996658" y="3364306"/>
                </a:lnTo>
                <a:lnTo>
                  <a:pt x="5992639" y="3368345"/>
                </a:lnTo>
                <a:lnTo>
                  <a:pt x="5982729" y="3368345"/>
                </a:lnTo>
                <a:lnTo>
                  <a:pt x="5978710" y="3364306"/>
                </a:lnTo>
                <a:lnTo>
                  <a:pt x="5978710" y="3354436"/>
                </a:lnTo>
                <a:close/>
                <a:moveTo>
                  <a:pt x="5743412" y="3350398"/>
                </a:moveTo>
                <a:lnTo>
                  <a:pt x="5753323" y="3350398"/>
                </a:lnTo>
                <a:lnTo>
                  <a:pt x="5757342" y="3354436"/>
                </a:lnTo>
                <a:lnTo>
                  <a:pt x="5757342" y="3364306"/>
                </a:lnTo>
                <a:lnTo>
                  <a:pt x="5753323" y="3368345"/>
                </a:lnTo>
                <a:lnTo>
                  <a:pt x="5743412" y="3368345"/>
                </a:lnTo>
                <a:lnTo>
                  <a:pt x="5739393" y="3364306"/>
                </a:lnTo>
                <a:lnTo>
                  <a:pt x="5739393" y="3354436"/>
                </a:lnTo>
                <a:close/>
                <a:moveTo>
                  <a:pt x="5504099" y="3350398"/>
                </a:moveTo>
                <a:lnTo>
                  <a:pt x="5514010" y="3350398"/>
                </a:lnTo>
                <a:lnTo>
                  <a:pt x="5518029" y="3354436"/>
                </a:lnTo>
                <a:lnTo>
                  <a:pt x="5518029" y="3364306"/>
                </a:lnTo>
                <a:lnTo>
                  <a:pt x="5514010" y="3368345"/>
                </a:lnTo>
                <a:lnTo>
                  <a:pt x="5504099" y="3368345"/>
                </a:lnTo>
                <a:lnTo>
                  <a:pt x="5500080" y="3364306"/>
                </a:lnTo>
                <a:lnTo>
                  <a:pt x="5500080" y="3354436"/>
                </a:lnTo>
                <a:close/>
                <a:moveTo>
                  <a:pt x="5264784" y="3350398"/>
                </a:moveTo>
                <a:lnTo>
                  <a:pt x="5274694" y="3350398"/>
                </a:lnTo>
                <a:lnTo>
                  <a:pt x="5278713" y="3354436"/>
                </a:lnTo>
                <a:lnTo>
                  <a:pt x="5278713" y="3364306"/>
                </a:lnTo>
                <a:lnTo>
                  <a:pt x="5274694" y="3368345"/>
                </a:lnTo>
                <a:lnTo>
                  <a:pt x="5264784" y="3368345"/>
                </a:lnTo>
                <a:lnTo>
                  <a:pt x="5260765" y="3364306"/>
                </a:lnTo>
                <a:lnTo>
                  <a:pt x="5260765" y="3354436"/>
                </a:lnTo>
                <a:close/>
                <a:moveTo>
                  <a:pt x="5025470" y="3350398"/>
                </a:moveTo>
                <a:lnTo>
                  <a:pt x="5035381" y="3350398"/>
                </a:lnTo>
                <a:lnTo>
                  <a:pt x="5039400" y="3354436"/>
                </a:lnTo>
                <a:lnTo>
                  <a:pt x="5039400" y="3364306"/>
                </a:lnTo>
                <a:lnTo>
                  <a:pt x="5035381" y="3368345"/>
                </a:lnTo>
                <a:lnTo>
                  <a:pt x="5025470" y="3368345"/>
                </a:lnTo>
                <a:lnTo>
                  <a:pt x="5021451" y="3364306"/>
                </a:lnTo>
                <a:lnTo>
                  <a:pt x="5021451" y="3354436"/>
                </a:lnTo>
                <a:close/>
                <a:moveTo>
                  <a:pt x="4786241" y="3350398"/>
                </a:moveTo>
                <a:lnTo>
                  <a:pt x="4796152" y="3350398"/>
                </a:lnTo>
                <a:lnTo>
                  <a:pt x="4800171" y="3354436"/>
                </a:lnTo>
                <a:lnTo>
                  <a:pt x="4800171" y="3364306"/>
                </a:lnTo>
                <a:lnTo>
                  <a:pt x="4796152" y="3368345"/>
                </a:lnTo>
                <a:lnTo>
                  <a:pt x="4786241" y="3368345"/>
                </a:lnTo>
                <a:lnTo>
                  <a:pt x="4782224" y="3364306"/>
                </a:lnTo>
                <a:lnTo>
                  <a:pt x="4782224" y="3354436"/>
                </a:lnTo>
                <a:close/>
                <a:moveTo>
                  <a:pt x="4546929" y="3350398"/>
                </a:moveTo>
                <a:lnTo>
                  <a:pt x="4556840" y="3350398"/>
                </a:lnTo>
                <a:lnTo>
                  <a:pt x="4560859" y="3354436"/>
                </a:lnTo>
                <a:lnTo>
                  <a:pt x="4560859" y="3364306"/>
                </a:lnTo>
                <a:lnTo>
                  <a:pt x="4556840" y="3368345"/>
                </a:lnTo>
                <a:lnTo>
                  <a:pt x="4546929" y="3368345"/>
                </a:lnTo>
                <a:lnTo>
                  <a:pt x="4542910" y="3364306"/>
                </a:lnTo>
                <a:lnTo>
                  <a:pt x="4542910" y="3354436"/>
                </a:lnTo>
                <a:close/>
                <a:moveTo>
                  <a:pt x="4307612" y="3350398"/>
                </a:moveTo>
                <a:lnTo>
                  <a:pt x="4317523" y="3350398"/>
                </a:lnTo>
                <a:lnTo>
                  <a:pt x="4321543" y="3354436"/>
                </a:lnTo>
                <a:lnTo>
                  <a:pt x="4321543" y="3364306"/>
                </a:lnTo>
                <a:lnTo>
                  <a:pt x="4317523" y="3368345"/>
                </a:lnTo>
                <a:lnTo>
                  <a:pt x="4307612" y="3368345"/>
                </a:lnTo>
                <a:lnTo>
                  <a:pt x="4303595" y="3364306"/>
                </a:lnTo>
                <a:lnTo>
                  <a:pt x="4303595" y="3354436"/>
                </a:lnTo>
                <a:close/>
                <a:moveTo>
                  <a:pt x="4068297" y="3350398"/>
                </a:moveTo>
                <a:lnTo>
                  <a:pt x="4078210" y="3350398"/>
                </a:lnTo>
                <a:lnTo>
                  <a:pt x="4082229" y="3354436"/>
                </a:lnTo>
                <a:lnTo>
                  <a:pt x="4082229" y="3364306"/>
                </a:lnTo>
                <a:lnTo>
                  <a:pt x="4078210" y="3368345"/>
                </a:lnTo>
                <a:lnTo>
                  <a:pt x="4068297" y="3368345"/>
                </a:lnTo>
                <a:lnTo>
                  <a:pt x="4064278" y="3364306"/>
                </a:lnTo>
                <a:lnTo>
                  <a:pt x="4064278" y="3354436"/>
                </a:lnTo>
                <a:close/>
                <a:moveTo>
                  <a:pt x="3828990" y="3350398"/>
                </a:moveTo>
                <a:lnTo>
                  <a:pt x="3838899" y="3350398"/>
                </a:lnTo>
                <a:lnTo>
                  <a:pt x="3842917" y="3354436"/>
                </a:lnTo>
                <a:lnTo>
                  <a:pt x="3842917" y="3364306"/>
                </a:lnTo>
                <a:lnTo>
                  <a:pt x="3838899" y="3368345"/>
                </a:lnTo>
                <a:lnTo>
                  <a:pt x="3828990" y="3368345"/>
                </a:lnTo>
                <a:lnTo>
                  <a:pt x="3824971" y="3364306"/>
                </a:lnTo>
                <a:lnTo>
                  <a:pt x="3824971" y="3354436"/>
                </a:lnTo>
                <a:close/>
                <a:moveTo>
                  <a:pt x="3589676" y="3350398"/>
                </a:moveTo>
                <a:lnTo>
                  <a:pt x="3599585" y="3350398"/>
                </a:lnTo>
                <a:lnTo>
                  <a:pt x="3603604" y="3354436"/>
                </a:lnTo>
                <a:lnTo>
                  <a:pt x="3603604" y="3364306"/>
                </a:lnTo>
                <a:lnTo>
                  <a:pt x="3599585" y="3368345"/>
                </a:lnTo>
                <a:lnTo>
                  <a:pt x="3589676" y="3368345"/>
                </a:lnTo>
                <a:lnTo>
                  <a:pt x="3585657" y="3364306"/>
                </a:lnTo>
                <a:lnTo>
                  <a:pt x="3585657" y="3354436"/>
                </a:lnTo>
                <a:close/>
                <a:moveTo>
                  <a:pt x="3350359" y="3350398"/>
                </a:moveTo>
                <a:lnTo>
                  <a:pt x="3360268" y="3350398"/>
                </a:lnTo>
                <a:lnTo>
                  <a:pt x="3364287" y="3354436"/>
                </a:lnTo>
                <a:lnTo>
                  <a:pt x="3364287" y="3364306"/>
                </a:lnTo>
                <a:lnTo>
                  <a:pt x="3360268" y="3368345"/>
                </a:lnTo>
                <a:lnTo>
                  <a:pt x="3350359" y="3368345"/>
                </a:lnTo>
                <a:lnTo>
                  <a:pt x="3346340" y="3364306"/>
                </a:lnTo>
                <a:lnTo>
                  <a:pt x="3346340" y="3354436"/>
                </a:lnTo>
                <a:close/>
                <a:moveTo>
                  <a:pt x="3111048" y="3350398"/>
                </a:moveTo>
                <a:lnTo>
                  <a:pt x="3120959" y="3350398"/>
                </a:lnTo>
                <a:lnTo>
                  <a:pt x="3124977" y="3354436"/>
                </a:lnTo>
                <a:lnTo>
                  <a:pt x="3124977" y="3364306"/>
                </a:lnTo>
                <a:lnTo>
                  <a:pt x="3120959" y="3368345"/>
                </a:lnTo>
                <a:lnTo>
                  <a:pt x="3111048" y="3368345"/>
                </a:lnTo>
                <a:lnTo>
                  <a:pt x="3107029" y="3364306"/>
                </a:lnTo>
                <a:lnTo>
                  <a:pt x="3107029" y="3354436"/>
                </a:lnTo>
                <a:close/>
                <a:moveTo>
                  <a:pt x="2871737" y="3350398"/>
                </a:moveTo>
                <a:lnTo>
                  <a:pt x="2881646" y="3350398"/>
                </a:lnTo>
                <a:lnTo>
                  <a:pt x="2885666" y="3354436"/>
                </a:lnTo>
                <a:lnTo>
                  <a:pt x="2885666" y="3364306"/>
                </a:lnTo>
                <a:lnTo>
                  <a:pt x="2881646" y="3368345"/>
                </a:lnTo>
                <a:lnTo>
                  <a:pt x="2871737" y="3368345"/>
                </a:lnTo>
                <a:lnTo>
                  <a:pt x="2867717" y="3364306"/>
                </a:lnTo>
                <a:lnTo>
                  <a:pt x="2867717" y="3354436"/>
                </a:lnTo>
                <a:close/>
                <a:moveTo>
                  <a:pt x="2632423" y="3350398"/>
                </a:moveTo>
                <a:lnTo>
                  <a:pt x="2642334" y="3350398"/>
                </a:lnTo>
                <a:lnTo>
                  <a:pt x="2646352" y="3354436"/>
                </a:lnTo>
                <a:lnTo>
                  <a:pt x="2646352" y="3364306"/>
                </a:lnTo>
                <a:lnTo>
                  <a:pt x="2642334" y="3368345"/>
                </a:lnTo>
                <a:lnTo>
                  <a:pt x="2632423" y="3368345"/>
                </a:lnTo>
                <a:lnTo>
                  <a:pt x="2628404" y="3364306"/>
                </a:lnTo>
                <a:lnTo>
                  <a:pt x="2628404" y="3354436"/>
                </a:lnTo>
                <a:close/>
                <a:moveTo>
                  <a:pt x="2393104" y="3350398"/>
                </a:moveTo>
                <a:lnTo>
                  <a:pt x="2403015" y="3350398"/>
                </a:lnTo>
                <a:lnTo>
                  <a:pt x="2407034" y="3354436"/>
                </a:lnTo>
                <a:lnTo>
                  <a:pt x="2407034" y="3364306"/>
                </a:lnTo>
                <a:lnTo>
                  <a:pt x="2403015" y="3368345"/>
                </a:lnTo>
                <a:lnTo>
                  <a:pt x="2393104" y="3368345"/>
                </a:lnTo>
                <a:lnTo>
                  <a:pt x="2389087" y="3364306"/>
                </a:lnTo>
                <a:lnTo>
                  <a:pt x="2389087" y="3354436"/>
                </a:lnTo>
                <a:close/>
                <a:moveTo>
                  <a:pt x="2157820" y="3350398"/>
                </a:moveTo>
                <a:lnTo>
                  <a:pt x="2167731" y="3350398"/>
                </a:lnTo>
                <a:lnTo>
                  <a:pt x="2171749" y="3354436"/>
                </a:lnTo>
                <a:lnTo>
                  <a:pt x="2171749" y="3364306"/>
                </a:lnTo>
                <a:lnTo>
                  <a:pt x="2167731" y="3368345"/>
                </a:lnTo>
                <a:lnTo>
                  <a:pt x="2157820" y="3368345"/>
                </a:lnTo>
                <a:lnTo>
                  <a:pt x="2153802" y="3364306"/>
                </a:lnTo>
                <a:lnTo>
                  <a:pt x="2153802" y="3354436"/>
                </a:lnTo>
                <a:close/>
                <a:moveTo>
                  <a:pt x="1918511" y="3350398"/>
                </a:moveTo>
                <a:lnTo>
                  <a:pt x="1928422" y="3350398"/>
                </a:lnTo>
                <a:lnTo>
                  <a:pt x="1932441" y="3354436"/>
                </a:lnTo>
                <a:lnTo>
                  <a:pt x="1932441" y="3364306"/>
                </a:lnTo>
                <a:lnTo>
                  <a:pt x="1928422" y="3368345"/>
                </a:lnTo>
                <a:lnTo>
                  <a:pt x="1918511" y="3368345"/>
                </a:lnTo>
                <a:lnTo>
                  <a:pt x="1914493" y="3364306"/>
                </a:lnTo>
                <a:lnTo>
                  <a:pt x="1914493" y="3354436"/>
                </a:lnTo>
                <a:close/>
                <a:moveTo>
                  <a:pt x="1679210" y="3350398"/>
                </a:moveTo>
                <a:lnTo>
                  <a:pt x="1689120" y="3350398"/>
                </a:lnTo>
                <a:lnTo>
                  <a:pt x="1693138" y="3354436"/>
                </a:lnTo>
                <a:lnTo>
                  <a:pt x="1693138" y="3364306"/>
                </a:lnTo>
                <a:lnTo>
                  <a:pt x="1689120" y="3368345"/>
                </a:lnTo>
                <a:lnTo>
                  <a:pt x="1679210" y="3368345"/>
                </a:lnTo>
                <a:lnTo>
                  <a:pt x="1675191" y="3364306"/>
                </a:lnTo>
                <a:lnTo>
                  <a:pt x="1675191" y="3354436"/>
                </a:lnTo>
                <a:close/>
                <a:moveTo>
                  <a:pt x="1439893" y="3350398"/>
                </a:moveTo>
                <a:lnTo>
                  <a:pt x="1449803" y="3350398"/>
                </a:lnTo>
                <a:lnTo>
                  <a:pt x="1453823" y="3354436"/>
                </a:lnTo>
                <a:lnTo>
                  <a:pt x="1453823" y="3364306"/>
                </a:lnTo>
                <a:lnTo>
                  <a:pt x="1449803" y="3368345"/>
                </a:lnTo>
                <a:lnTo>
                  <a:pt x="1439893" y="3368345"/>
                </a:lnTo>
                <a:lnTo>
                  <a:pt x="1435875" y="3364306"/>
                </a:lnTo>
                <a:lnTo>
                  <a:pt x="1435875" y="3354436"/>
                </a:lnTo>
                <a:close/>
                <a:moveTo>
                  <a:pt x="1200578" y="3350398"/>
                </a:moveTo>
                <a:lnTo>
                  <a:pt x="1210488" y="3350398"/>
                </a:lnTo>
                <a:lnTo>
                  <a:pt x="1214507" y="3354436"/>
                </a:lnTo>
                <a:lnTo>
                  <a:pt x="1214507" y="3364306"/>
                </a:lnTo>
                <a:lnTo>
                  <a:pt x="1210488" y="3368345"/>
                </a:lnTo>
                <a:lnTo>
                  <a:pt x="1200578" y="3368345"/>
                </a:lnTo>
                <a:lnTo>
                  <a:pt x="1196559" y="3364306"/>
                </a:lnTo>
                <a:lnTo>
                  <a:pt x="1196559" y="3354436"/>
                </a:lnTo>
                <a:close/>
                <a:moveTo>
                  <a:pt x="961265" y="3350398"/>
                </a:moveTo>
                <a:lnTo>
                  <a:pt x="971176" y="3350398"/>
                </a:lnTo>
                <a:lnTo>
                  <a:pt x="975194" y="3354436"/>
                </a:lnTo>
                <a:lnTo>
                  <a:pt x="975194" y="3364306"/>
                </a:lnTo>
                <a:lnTo>
                  <a:pt x="971176" y="3368345"/>
                </a:lnTo>
                <a:lnTo>
                  <a:pt x="961265" y="3368345"/>
                </a:lnTo>
                <a:lnTo>
                  <a:pt x="957246" y="3364306"/>
                </a:lnTo>
                <a:lnTo>
                  <a:pt x="957246" y="3354436"/>
                </a:lnTo>
                <a:close/>
                <a:moveTo>
                  <a:pt x="721967" y="3350398"/>
                </a:moveTo>
                <a:lnTo>
                  <a:pt x="731877" y="3350398"/>
                </a:lnTo>
                <a:lnTo>
                  <a:pt x="735896" y="3354436"/>
                </a:lnTo>
                <a:lnTo>
                  <a:pt x="735896" y="3364306"/>
                </a:lnTo>
                <a:lnTo>
                  <a:pt x="731877" y="3368345"/>
                </a:lnTo>
                <a:lnTo>
                  <a:pt x="721967" y="3368345"/>
                </a:lnTo>
                <a:lnTo>
                  <a:pt x="717949" y="3364306"/>
                </a:lnTo>
                <a:lnTo>
                  <a:pt x="717949" y="3354436"/>
                </a:lnTo>
                <a:close/>
                <a:moveTo>
                  <a:pt x="482655" y="3350398"/>
                </a:moveTo>
                <a:lnTo>
                  <a:pt x="492565" y="3350398"/>
                </a:lnTo>
                <a:lnTo>
                  <a:pt x="496584" y="3354436"/>
                </a:lnTo>
                <a:lnTo>
                  <a:pt x="496584" y="3364306"/>
                </a:lnTo>
                <a:lnTo>
                  <a:pt x="492565" y="3368345"/>
                </a:lnTo>
                <a:lnTo>
                  <a:pt x="482655" y="3368345"/>
                </a:lnTo>
                <a:lnTo>
                  <a:pt x="478636" y="3364306"/>
                </a:lnTo>
                <a:lnTo>
                  <a:pt x="478636" y="3354436"/>
                </a:lnTo>
                <a:close/>
                <a:moveTo>
                  <a:pt x="243341" y="3350398"/>
                </a:moveTo>
                <a:lnTo>
                  <a:pt x="253252" y="3350398"/>
                </a:lnTo>
                <a:lnTo>
                  <a:pt x="257271" y="3354436"/>
                </a:lnTo>
                <a:lnTo>
                  <a:pt x="257271" y="3364306"/>
                </a:lnTo>
                <a:lnTo>
                  <a:pt x="253252" y="3368345"/>
                </a:lnTo>
                <a:lnTo>
                  <a:pt x="243341" y="3368345"/>
                </a:lnTo>
                <a:lnTo>
                  <a:pt x="239322" y="3364306"/>
                </a:lnTo>
                <a:lnTo>
                  <a:pt x="239322" y="3354436"/>
                </a:lnTo>
                <a:close/>
                <a:moveTo>
                  <a:pt x="4029" y="3350398"/>
                </a:moveTo>
                <a:lnTo>
                  <a:pt x="13938" y="3350398"/>
                </a:lnTo>
                <a:lnTo>
                  <a:pt x="17957" y="3354436"/>
                </a:lnTo>
                <a:lnTo>
                  <a:pt x="17957" y="3364306"/>
                </a:lnTo>
                <a:lnTo>
                  <a:pt x="13938" y="3368345"/>
                </a:lnTo>
                <a:lnTo>
                  <a:pt x="4029" y="3368345"/>
                </a:lnTo>
                <a:lnTo>
                  <a:pt x="9" y="3364306"/>
                </a:lnTo>
                <a:lnTo>
                  <a:pt x="9" y="3354436"/>
                </a:lnTo>
                <a:close/>
                <a:moveTo>
                  <a:pt x="2157820" y="3111118"/>
                </a:moveTo>
                <a:lnTo>
                  <a:pt x="2167731" y="3111118"/>
                </a:lnTo>
                <a:lnTo>
                  <a:pt x="2171750" y="3115157"/>
                </a:lnTo>
                <a:lnTo>
                  <a:pt x="2171750" y="3125027"/>
                </a:lnTo>
                <a:lnTo>
                  <a:pt x="2167731" y="3129066"/>
                </a:lnTo>
                <a:lnTo>
                  <a:pt x="2157820" y="3129066"/>
                </a:lnTo>
                <a:lnTo>
                  <a:pt x="2153802" y="3125027"/>
                </a:lnTo>
                <a:lnTo>
                  <a:pt x="2153802" y="3115157"/>
                </a:lnTo>
                <a:close/>
                <a:moveTo>
                  <a:pt x="1918513" y="3111118"/>
                </a:moveTo>
                <a:lnTo>
                  <a:pt x="1928422" y="3111118"/>
                </a:lnTo>
                <a:lnTo>
                  <a:pt x="1932441" y="3115157"/>
                </a:lnTo>
                <a:lnTo>
                  <a:pt x="1932441" y="3125027"/>
                </a:lnTo>
                <a:lnTo>
                  <a:pt x="1928422" y="3129066"/>
                </a:lnTo>
                <a:lnTo>
                  <a:pt x="1918513" y="3129066"/>
                </a:lnTo>
                <a:lnTo>
                  <a:pt x="1914493" y="3125027"/>
                </a:lnTo>
                <a:lnTo>
                  <a:pt x="1914493" y="3115157"/>
                </a:lnTo>
                <a:close/>
                <a:moveTo>
                  <a:pt x="1679211" y="3111118"/>
                </a:moveTo>
                <a:lnTo>
                  <a:pt x="1689121" y="3111118"/>
                </a:lnTo>
                <a:lnTo>
                  <a:pt x="1693139" y="3115157"/>
                </a:lnTo>
                <a:lnTo>
                  <a:pt x="1693139" y="3125027"/>
                </a:lnTo>
                <a:lnTo>
                  <a:pt x="1689121" y="3129066"/>
                </a:lnTo>
                <a:lnTo>
                  <a:pt x="1679211" y="3129066"/>
                </a:lnTo>
                <a:lnTo>
                  <a:pt x="1675191" y="3125027"/>
                </a:lnTo>
                <a:lnTo>
                  <a:pt x="1675191" y="3115157"/>
                </a:lnTo>
                <a:close/>
                <a:moveTo>
                  <a:pt x="1439895" y="3111118"/>
                </a:moveTo>
                <a:lnTo>
                  <a:pt x="1449805" y="3111118"/>
                </a:lnTo>
                <a:lnTo>
                  <a:pt x="1453823" y="3115157"/>
                </a:lnTo>
                <a:lnTo>
                  <a:pt x="1453823" y="3125027"/>
                </a:lnTo>
                <a:lnTo>
                  <a:pt x="1449805" y="3129066"/>
                </a:lnTo>
                <a:lnTo>
                  <a:pt x="1439895" y="3129066"/>
                </a:lnTo>
                <a:lnTo>
                  <a:pt x="1435875" y="3125027"/>
                </a:lnTo>
                <a:lnTo>
                  <a:pt x="1435875" y="3115157"/>
                </a:lnTo>
                <a:close/>
                <a:moveTo>
                  <a:pt x="1200578" y="3111118"/>
                </a:moveTo>
                <a:lnTo>
                  <a:pt x="1210489" y="3111118"/>
                </a:lnTo>
                <a:lnTo>
                  <a:pt x="1214507" y="3115157"/>
                </a:lnTo>
                <a:lnTo>
                  <a:pt x="1214507" y="3125027"/>
                </a:lnTo>
                <a:lnTo>
                  <a:pt x="1210489" y="3129066"/>
                </a:lnTo>
                <a:lnTo>
                  <a:pt x="1200578" y="3129066"/>
                </a:lnTo>
                <a:lnTo>
                  <a:pt x="1196560" y="3125027"/>
                </a:lnTo>
                <a:lnTo>
                  <a:pt x="1196560" y="3115157"/>
                </a:lnTo>
                <a:close/>
                <a:moveTo>
                  <a:pt x="961266" y="3111118"/>
                </a:moveTo>
                <a:lnTo>
                  <a:pt x="971176" y="3111118"/>
                </a:lnTo>
                <a:lnTo>
                  <a:pt x="975195" y="3115157"/>
                </a:lnTo>
                <a:lnTo>
                  <a:pt x="975195" y="3125027"/>
                </a:lnTo>
                <a:lnTo>
                  <a:pt x="971176" y="3129066"/>
                </a:lnTo>
                <a:lnTo>
                  <a:pt x="961266" y="3129066"/>
                </a:lnTo>
                <a:lnTo>
                  <a:pt x="957247" y="3125027"/>
                </a:lnTo>
                <a:lnTo>
                  <a:pt x="957247" y="3115157"/>
                </a:lnTo>
                <a:close/>
                <a:moveTo>
                  <a:pt x="9572438" y="3111067"/>
                </a:moveTo>
                <a:lnTo>
                  <a:pt x="9582349" y="3111067"/>
                </a:lnTo>
                <a:lnTo>
                  <a:pt x="9586368" y="3115105"/>
                </a:lnTo>
                <a:lnTo>
                  <a:pt x="9586368" y="3124976"/>
                </a:lnTo>
                <a:lnTo>
                  <a:pt x="9582349" y="3129015"/>
                </a:lnTo>
                <a:lnTo>
                  <a:pt x="9572438" y="3129015"/>
                </a:lnTo>
                <a:lnTo>
                  <a:pt x="9568419" y="3124976"/>
                </a:lnTo>
                <a:lnTo>
                  <a:pt x="9568419" y="3115105"/>
                </a:lnTo>
                <a:close/>
                <a:moveTo>
                  <a:pt x="9333125" y="3111067"/>
                </a:moveTo>
                <a:lnTo>
                  <a:pt x="9343036" y="3111067"/>
                </a:lnTo>
                <a:lnTo>
                  <a:pt x="9347055" y="3115105"/>
                </a:lnTo>
                <a:lnTo>
                  <a:pt x="9347055" y="3124976"/>
                </a:lnTo>
                <a:lnTo>
                  <a:pt x="9343036" y="3129015"/>
                </a:lnTo>
                <a:lnTo>
                  <a:pt x="9333125" y="3129015"/>
                </a:lnTo>
                <a:lnTo>
                  <a:pt x="9329106" y="3124976"/>
                </a:lnTo>
                <a:lnTo>
                  <a:pt x="9329106" y="3115105"/>
                </a:lnTo>
                <a:close/>
                <a:moveTo>
                  <a:pt x="9093811" y="3111067"/>
                </a:moveTo>
                <a:lnTo>
                  <a:pt x="9103722" y="3111067"/>
                </a:lnTo>
                <a:lnTo>
                  <a:pt x="9107741" y="3115105"/>
                </a:lnTo>
                <a:lnTo>
                  <a:pt x="9107741" y="3124976"/>
                </a:lnTo>
                <a:lnTo>
                  <a:pt x="9103722" y="3129015"/>
                </a:lnTo>
                <a:lnTo>
                  <a:pt x="9093811" y="3129015"/>
                </a:lnTo>
                <a:lnTo>
                  <a:pt x="9089792" y="3124976"/>
                </a:lnTo>
                <a:lnTo>
                  <a:pt x="9089792" y="3115105"/>
                </a:lnTo>
                <a:close/>
                <a:moveTo>
                  <a:pt x="8854496" y="3111067"/>
                </a:moveTo>
                <a:lnTo>
                  <a:pt x="8864407" y="3111067"/>
                </a:lnTo>
                <a:lnTo>
                  <a:pt x="8868426" y="3115105"/>
                </a:lnTo>
                <a:lnTo>
                  <a:pt x="8868426" y="3124976"/>
                </a:lnTo>
                <a:lnTo>
                  <a:pt x="8864407" y="3129015"/>
                </a:lnTo>
                <a:lnTo>
                  <a:pt x="8854496" y="3129015"/>
                </a:lnTo>
                <a:lnTo>
                  <a:pt x="8850477" y="3124976"/>
                </a:lnTo>
                <a:lnTo>
                  <a:pt x="8850477" y="3115105"/>
                </a:lnTo>
                <a:close/>
                <a:moveTo>
                  <a:pt x="8615184" y="3111067"/>
                </a:moveTo>
                <a:lnTo>
                  <a:pt x="8625095" y="3111067"/>
                </a:lnTo>
                <a:lnTo>
                  <a:pt x="8629114" y="3115105"/>
                </a:lnTo>
                <a:lnTo>
                  <a:pt x="8629114" y="3124976"/>
                </a:lnTo>
                <a:lnTo>
                  <a:pt x="8625095" y="3129015"/>
                </a:lnTo>
                <a:lnTo>
                  <a:pt x="8615184" y="3129015"/>
                </a:lnTo>
                <a:lnTo>
                  <a:pt x="8611165" y="3124976"/>
                </a:lnTo>
                <a:lnTo>
                  <a:pt x="8611165" y="3115105"/>
                </a:lnTo>
                <a:close/>
                <a:moveTo>
                  <a:pt x="8375869" y="3111067"/>
                </a:moveTo>
                <a:lnTo>
                  <a:pt x="8385779" y="3111067"/>
                </a:lnTo>
                <a:lnTo>
                  <a:pt x="8389799" y="3115105"/>
                </a:lnTo>
                <a:lnTo>
                  <a:pt x="8389799" y="3124976"/>
                </a:lnTo>
                <a:lnTo>
                  <a:pt x="8385779" y="3129015"/>
                </a:lnTo>
                <a:lnTo>
                  <a:pt x="8375869" y="3129015"/>
                </a:lnTo>
                <a:lnTo>
                  <a:pt x="8371850" y="3124976"/>
                </a:lnTo>
                <a:lnTo>
                  <a:pt x="8371850" y="3115105"/>
                </a:lnTo>
                <a:close/>
                <a:moveTo>
                  <a:pt x="8136553" y="3111067"/>
                </a:moveTo>
                <a:lnTo>
                  <a:pt x="8146464" y="3111067"/>
                </a:lnTo>
                <a:lnTo>
                  <a:pt x="8150483" y="3115105"/>
                </a:lnTo>
                <a:lnTo>
                  <a:pt x="8150483" y="3124976"/>
                </a:lnTo>
                <a:lnTo>
                  <a:pt x="8146464" y="3129015"/>
                </a:lnTo>
                <a:lnTo>
                  <a:pt x="8136553" y="3129015"/>
                </a:lnTo>
                <a:lnTo>
                  <a:pt x="8132534" y="3124976"/>
                </a:lnTo>
                <a:lnTo>
                  <a:pt x="8132534" y="3115105"/>
                </a:lnTo>
                <a:close/>
                <a:moveTo>
                  <a:pt x="7897241" y="3111067"/>
                </a:moveTo>
                <a:lnTo>
                  <a:pt x="7907151" y="3111067"/>
                </a:lnTo>
                <a:lnTo>
                  <a:pt x="7911170" y="3115105"/>
                </a:lnTo>
                <a:lnTo>
                  <a:pt x="7911170" y="3124976"/>
                </a:lnTo>
                <a:lnTo>
                  <a:pt x="7907151" y="3129015"/>
                </a:lnTo>
                <a:lnTo>
                  <a:pt x="7897241" y="3129015"/>
                </a:lnTo>
                <a:lnTo>
                  <a:pt x="7893222" y="3124976"/>
                </a:lnTo>
                <a:lnTo>
                  <a:pt x="7893222" y="3115105"/>
                </a:lnTo>
                <a:close/>
                <a:moveTo>
                  <a:pt x="7657926" y="3111067"/>
                </a:moveTo>
                <a:lnTo>
                  <a:pt x="7667836" y="3111067"/>
                </a:lnTo>
                <a:lnTo>
                  <a:pt x="7671855" y="3115105"/>
                </a:lnTo>
                <a:lnTo>
                  <a:pt x="7671855" y="3124976"/>
                </a:lnTo>
                <a:lnTo>
                  <a:pt x="7667836" y="3129015"/>
                </a:lnTo>
                <a:lnTo>
                  <a:pt x="7657926" y="3129015"/>
                </a:lnTo>
                <a:lnTo>
                  <a:pt x="7653906" y="3124976"/>
                </a:lnTo>
                <a:lnTo>
                  <a:pt x="7653906" y="3115105"/>
                </a:lnTo>
                <a:close/>
                <a:moveTo>
                  <a:pt x="7418611" y="3111067"/>
                </a:moveTo>
                <a:lnTo>
                  <a:pt x="7428521" y="3111067"/>
                </a:lnTo>
                <a:lnTo>
                  <a:pt x="7432540" y="3115105"/>
                </a:lnTo>
                <a:lnTo>
                  <a:pt x="7432540" y="3124976"/>
                </a:lnTo>
                <a:lnTo>
                  <a:pt x="7428521" y="3129015"/>
                </a:lnTo>
                <a:lnTo>
                  <a:pt x="7418611" y="3129015"/>
                </a:lnTo>
                <a:lnTo>
                  <a:pt x="7414592" y="3124976"/>
                </a:lnTo>
                <a:lnTo>
                  <a:pt x="7414592" y="3115105"/>
                </a:lnTo>
                <a:close/>
                <a:moveTo>
                  <a:pt x="7179298" y="3111067"/>
                </a:moveTo>
                <a:lnTo>
                  <a:pt x="7189209" y="3111067"/>
                </a:lnTo>
                <a:lnTo>
                  <a:pt x="7193228" y="3115105"/>
                </a:lnTo>
                <a:lnTo>
                  <a:pt x="7193228" y="3124976"/>
                </a:lnTo>
                <a:lnTo>
                  <a:pt x="7189209" y="3129015"/>
                </a:lnTo>
                <a:lnTo>
                  <a:pt x="7179298" y="3129015"/>
                </a:lnTo>
                <a:lnTo>
                  <a:pt x="7175279" y="3124976"/>
                </a:lnTo>
                <a:lnTo>
                  <a:pt x="7175279" y="3115105"/>
                </a:lnTo>
                <a:close/>
                <a:moveTo>
                  <a:pt x="6939983" y="3111067"/>
                </a:moveTo>
                <a:lnTo>
                  <a:pt x="6949894" y="3111067"/>
                </a:lnTo>
                <a:lnTo>
                  <a:pt x="6953913" y="3115105"/>
                </a:lnTo>
                <a:lnTo>
                  <a:pt x="6953913" y="3124976"/>
                </a:lnTo>
                <a:lnTo>
                  <a:pt x="6949894" y="3129015"/>
                </a:lnTo>
                <a:lnTo>
                  <a:pt x="6939983" y="3129015"/>
                </a:lnTo>
                <a:lnTo>
                  <a:pt x="6935964" y="3124976"/>
                </a:lnTo>
                <a:lnTo>
                  <a:pt x="6935964" y="3115105"/>
                </a:lnTo>
                <a:close/>
                <a:moveTo>
                  <a:pt x="6700670" y="3111067"/>
                </a:moveTo>
                <a:lnTo>
                  <a:pt x="6710581" y="3111067"/>
                </a:lnTo>
                <a:lnTo>
                  <a:pt x="6714600" y="3115105"/>
                </a:lnTo>
                <a:lnTo>
                  <a:pt x="6714600" y="3124976"/>
                </a:lnTo>
                <a:lnTo>
                  <a:pt x="6710581" y="3129015"/>
                </a:lnTo>
                <a:lnTo>
                  <a:pt x="6700670" y="3129015"/>
                </a:lnTo>
                <a:lnTo>
                  <a:pt x="6696651" y="3124976"/>
                </a:lnTo>
                <a:lnTo>
                  <a:pt x="6696651" y="3115105"/>
                </a:lnTo>
                <a:close/>
                <a:moveTo>
                  <a:pt x="6461356" y="3111067"/>
                </a:moveTo>
                <a:lnTo>
                  <a:pt x="6471266" y="3111067"/>
                </a:lnTo>
                <a:lnTo>
                  <a:pt x="6475285" y="3115105"/>
                </a:lnTo>
                <a:lnTo>
                  <a:pt x="6475285" y="3124976"/>
                </a:lnTo>
                <a:lnTo>
                  <a:pt x="6471266" y="3129015"/>
                </a:lnTo>
                <a:lnTo>
                  <a:pt x="6461356" y="3129015"/>
                </a:lnTo>
                <a:lnTo>
                  <a:pt x="6457337" y="3124976"/>
                </a:lnTo>
                <a:lnTo>
                  <a:pt x="6457337" y="3115105"/>
                </a:lnTo>
                <a:close/>
                <a:moveTo>
                  <a:pt x="6222042" y="3111067"/>
                </a:moveTo>
                <a:lnTo>
                  <a:pt x="6231952" y="3111067"/>
                </a:lnTo>
                <a:lnTo>
                  <a:pt x="6235971" y="3115105"/>
                </a:lnTo>
                <a:lnTo>
                  <a:pt x="6235971" y="3124976"/>
                </a:lnTo>
                <a:lnTo>
                  <a:pt x="6231952" y="3129015"/>
                </a:lnTo>
                <a:lnTo>
                  <a:pt x="6222042" y="3129015"/>
                </a:lnTo>
                <a:lnTo>
                  <a:pt x="6218023" y="3124976"/>
                </a:lnTo>
                <a:lnTo>
                  <a:pt x="6218023" y="3115105"/>
                </a:lnTo>
                <a:close/>
                <a:moveTo>
                  <a:pt x="5982729" y="3111067"/>
                </a:moveTo>
                <a:lnTo>
                  <a:pt x="5992639" y="3111067"/>
                </a:lnTo>
                <a:lnTo>
                  <a:pt x="5996658" y="3115105"/>
                </a:lnTo>
                <a:lnTo>
                  <a:pt x="5996658" y="3124976"/>
                </a:lnTo>
                <a:lnTo>
                  <a:pt x="5992639" y="3129015"/>
                </a:lnTo>
                <a:lnTo>
                  <a:pt x="5982729" y="3129015"/>
                </a:lnTo>
                <a:lnTo>
                  <a:pt x="5978710" y="3124976"/>
                </a:lnTo>
                <a:lnTo>
                  <a:pt x="5978710" y="3115105"/>
                </a:lnTo>
                <a:close/>
                <a:moveTo>
                  <a:pt x="5743412" y="3111067"/>
                </a:moveTo>
                <a:lnTo>
                  <a:pt x="5753323" y="3111067"/>
                </a:lnTo>
                <a:lnTo>
                  <a:pt x="5757342" y="3115105"/>
                </a:lnTo>
                <a:lnTo>
                  <a:pt x="5757342" y="3124976"/>
                </a:lnTo>
                <a:lnTo>
                  <a:pt x="5753323" y="3129015"/>
                </a:lnTo>
                <a:lnTo>
                  <a:pt x="5743412" y="3129015"/>
                </a:lnTo>
                <a:lnTo>
                  <a:pt x="5739393" y="3124976"/>
                </a:lnTo>
                <a:lnTo>
                  <a:pt x="5739393" y="3115105"/>
                </a:lnTo>
                <a:close/>
                <a:moveTo>
                  <a:pt x="5504099" y="3111067"/>
                </a:moveTo>
                <a:lnTo>
                  <a:pt x="5514010" y="3111067"/>
                </a:lnTo>
                <a:lnTo>
                  <a:pt x="5518029" y="3115105"/>
                </a:lnTo>
                <a:lnTo>
                  <a:pt x="5518029" y="3124976"/>
                </a:lnTo>
                <a:lnTo>
                  <a:pt x="5514010" y="3129015"/>
                </a:lnTo>
                <a:lnTo>
                  <a:pt x="5504099" y="3129015"/>
                </a:lnTo>
                <a:lnTo>
                  <a:pt x="5500080" y="3124976"/>
                </a:lnTo>
                <a:lnTo>
                  <a:pt x="5500080" y="3115105"/>
                </a:lnTo>
                <a:close/>
                <a:moveTo>
                  <a:pt x="5264784" y="3111067"/>
                </a:moveTo>
                <a:lnTo>
                  <a:pt x="5274694" y="3111067"/>
                </a:lnTo>
                <a:lnTo>
                  <a:pt x="5278713" y="3115105"/>
                </a:lnTo>
                <a:lnTo>
                  <a:pt x="5278713" y="3124976"/>
                </a:lnTo>
                <a:lnTo>
                  <a:pt x="5274694" y="3129015"/>
                </a:lnTo>
                <a:lnTo>
                  <a:pt x="5264784" y="3129015"/>
                </a:lnTo>
                <a:lnTo>
                  <a:pt x="5260765" y="3124976"/>
                </a:lnTo>
                <a:lnTo>
                  <a:pt x="5260765" y="3115105"/>
                </a:lnTo>
                <a:close/>
                <a:moveTo>
                  <a:pt x="5025470" y="3111067"/>
                </a:moveTo>
                <a:lnTo>
                  <a:pt x="5035381" y="3111067"/>
                </a:lnTo>
                <a:lnTo>
                  <a:pt x="5039400" y="3115105"/>
                </a:lnTo>
                <a:lnTo>
                  <a:pt x="5039400" y="3124976"/>
                </a:lnTo>
                <a:lnTo>
                  <a:pt x="5035381" y="3129015"/>
                </a:lnTo>
                <a:lnTo>
                  <a:pt x="5025470" y="3129015"/>
                </a:lnTo>
                <a:lnTo>
                  <a:pt x="5021451" y="3124976"/>
                </a:lnTo>
                <a:lnTo>
                  <a:pt x="5021451" y="3115105"/>
                </a:lnTo>
                <a:close/>
                <a:moveTo>
                  <a:pt x="4786241" y="3111067"/>
                </a:moveTo>
                <a:lnTo>
                  <a:pt x="4796152" y="3111067"/>
                </a:lnTo>
                <a:lnTo>
                  <a:pt x="4800171" y="3115105"/>
                </a:lnTo>
                <a:lnTo>
                  <a:pt x="4800171" y="3124976"/>
                </a:lnTo>
                <a:lnTo>
                  <a:pt x="4796152" y="3129015"/>
                </a:lnTo>
                <a:lnTo>
                  <a:pt x="4786241" y="3129015"/>
                </a:lnTo>
                <a:lnTo>
                  <a:pt x="4782224" y="3124976"/>
                </a:lnTo>
                <a:lnTo>
                  <a:pt x="4782224" y="3115105"/>
                </a:lnTo>
                <a:close/>
                <a:moveTo>
                  <a:pt x="4546929" y="3111067"/>
                </a:moveTo>
                <a:lnTo>
                  <a:pt x="4556840" y="3111067"/>
                </a:lnTo>
                <a:lnTo>
                  <a:pt x="4560859" y="3115105"/>
                </a:lnTo>
                <a:lnTo>
                  <a:pt x="4560859" y="3124976"/>
                </a:lnTo>
                <a:lnTo>
                  <a:pt x="4556840" y="3129015"/>
                </a:lnTo>
                <a:lnTo>
                  <a:pt x="4546929" y="3129015"/>
                </a:lnTo>
                <a:lnTo>
                  <a:pt x="4542910" y="3124976"/>
                </a:lnTo>
                <a:lnTo>
                  <a:pt x="4542910" y="3115105"/>
                </a:lnTo>
                <a:close/>
                <a:moveTo>
                  <a:pt x="4307612" y="3111067"/>
                </a:moveTo>
                <a:lnTo>
                  <a:pt x="4317523" y="3111067"/>
                </a:lnTo>
                <a:lnTo>
                  <a:pt x="4321543" y="3115105"/>
                </a:lnTo>
                <a:lnTo>
                  <a:pt x="4321543" y="3124976"/>
                </a:lnTo>
                <a:lnTo>
                  <a:pt x="4317523" y="3129015"/>
                </a:lnTo>
                <a:lnTo>
                  <a:pt x="4307612" y="3129015"/>
                </a:lnTo>
                <a:lnTo>
                  <a:pt x="4303595" y="3124976"/>
                </a:lnTo>
                <a:lnTo>
                  <a:pt x="4303595" y="3115105"/>
                </a:lnTo>
                <a:close/>
                <a:moveTo>
                  <a:pt x="4068297" y="3111067"/>
                </a:moveTo>
                <a:lnTo>
                  <a:pt x="4078210" y="3111067"/>
                </a:lnTo>
                <a:lnTo>
                  <a:pt x="4082229" y="3115105"/>
                </a:lnTo>
                <a:lnTo>
                  <a:pt x="4082229" y="3124976"/>
                </a:lnTo>
                <a:lnTo>
                  <a:pt x="4078210" y="3129015"/>
                </a:lnTo>
                <a:lnTo>
                  <a:pt x="4068297" y="3129015"/>
                </a:lnTo>
                <a:lnTo>
                  <a:pt x="4064278" y="3124976"/>
                </a:lnTo>
                <a:lnTo>
                  <a:pt x="4064278" y="3115105"/>
                </a:lnTo>
                <a:close/>
                <a:moveTo>
                  <a:pt x="3828990" y="3111067"/>
                </a:moveTo>
                <a:lnTo>
                  <a:pt x="3838899" y="3111067"/>
                </a:lnTo>
                <a:lnTo>
                  <a:pt x="3842917" y="3115105"/>
                </a:lnTo>
                <a:lnTo>
                  <a:pt x="3842917" y="3124976"/>
                </a:lnTo>
                <a:lnTo>
                  <a:pt x="3838899" y="3129015"/>
                </a:lnTo>
                <a:lnTo>
                  <a:pt x="3828990" y="3129015"/>
                </a:lnTo>
                <a:lnTo>
                  <a:pt x="3824971" y="3124976"/>
                </a:lnTo>
                <a:lnTo>
                  <a:pt x="3824971" y="3115105"/>
                </a:lnTo>
                <a:close/>
                <a:moveTo>
                  <a:pt x="3589676" y="3111067"/>
                </a:moveTo>
                <a:lnTo>
                  <a:pt x="3599585" y="3111067"/>
                </a:lnTo>
                <a:lnTo>
                  <a:pt x="3603604" y="3115105"/>
                </a:lnTo>
                <a:lnTo>
                  <a:pt x="3603604" y="3124976"/>
                </a:lnTo>
                <a:lnTo>
                  <a:pt x="3599585" y="3129015"/>
                </a:lnTo>
                <a:lnTo>
                  <a:pt x="3589676" y="3129015"/>
                </a:lnTo>
                <a:lnTo>
                  <a:pt x="3585657" y="3124976"/>
                </a:lnTo>
                <a:lnTo>
                  <a:pt x="3585657" y="3115105"/>
                </a:lnTo>
                <a:close/>
                <a:moveTo>
                  <a:pt x="3350359" y="3111067"/>
                </a:moveTo>
                <a:lnTo>
                  <a:pt x="3360268" y="3111067"/>
                </a:lnTo>
                <a:lnTo>
                  <a:pt x="3364287" y="3115105"/>
                </a:lnTo>
                <a:lnTo>
                  <a:pt x="3364287" y="3124976"/>
                </a:lnTo>
                <a:lnTo>
                  <a:pt x="3360268" y="3129015"/>
                </a:lnTo>
                <a:lnTo>
                  <a:pt x="3350359" y="3129015"/>
                </a:lnTo>
                <a:lnTo>
                  <a:pt x="3346340" y="3124976"/>
                </a:lnTo>
                <a:lnTo>
                  <a:pt x="3346340" y="3115105"/>
                </a:lnTo>
                <a:close/>
                <a:moveTo>
                  <a:pt x="3111048" y="3111067"/>
                </a:moveTo>
                <a:lnTo>
                  <a:pt x="3120959" y="3111067"/>
                </a:lnTo>
                <a:lnTo>
                  <a:pt x="3124977" y="3115105"/>
                </a:lnTo>
                <a:lnTo>
                  <a:pt x="3124977" y="3124976"/>
                </a:lnTo>
                <a:lnTo>
                  <a:pt x="3120959" y="3129015"/>
                </a:lnTo>
                <a:lnTo>
                  <a:pt x="3111048" y="3129015"/>
                </a:lnTo>
                <a:lnTo>
                  <a:pt x="3107029" y="3124976"/>
                </a:lnTo>
                <a:lnTo>
                  <a:pt x="3107029" y="3115105"/>
                </a:lnTo>
                <a:close/>
                <a:moveTo>
                  <a:pt x="2871737" y="3111067"/>
                </a:moveTo>
                <a:lnTo>
                  <a:pt x="2881646" y="3111067"/>
                </a:lnTo>
                <a:lnTo>
                  <a:pt x="2885666" y="3115105"/>
                </a:lnTo>
                <a:lnTo>
                  <a:pt x="2885666" y="3124976"/>
                </a:lnTo>
                <a:lnTo>
                  <a:pt x="2881646" y="3129015"/>
                </a:lnTo>
                <a:lnTo>
                  <a:pt x="2871737" y="3129015"/>
                </a:lnTo>
                <a:lnTo>
                  <a:pt x="2867717" y="3124976"/>
                </a:lnTo>
                <a:lnTo>
                  <a:pt x="2867717" y="3115105"/>
                </a:lnTo>
                <a:close/>
                <a:moveTo>
                  <a:pt x="2632423" y="3111067"/>
                </a:moveTo>
                <a:lnTo>
                  <a:pt x="2642334" y="3111067"/>
                </a:lnTo>
                <a:lnTo>
                  <a:pt x="2646352" y="3115105"/>
                </a:lnTo>
                <a:lnTo>
                  <a:pt x="2646352" y="3124976"/>
                </a:lnTo>
                <a:lnTo>
                  <a:pt x="2642334" y="3129015"/>
                </a:lnTo>
                <a:lnTo>
                  <a:pt x="2632423" y="3129015"/>
                </a:lnTo>
                <a:lnTo>
                  <a:pt x="2628404" y="3124976"/>
                </a:lnTo>
                <a:lnTo>
                  <a:pt x="2628404" y="3115105"/>
                </a:lnTo>
                <a:close/>
                <a:moveTo>
                  <a:pt x="2393104" y="3111067"/>
                </a:moveTo>
                <a:lnTo>
                  <a:pt x="2403015" y="3111067"/>
                </a:lnTo>
                <a:lnTo>
                  <a:pt x="2407034" y="3115105"/>
                </a:lnTo>
                <a:lnTo>
                  <a:pt x="2407034" y="3124976"/>
                </a:lnTo>
                <a:lnTo>
                  <a:pt x="2403015" y="3129015"/>
                </a:lnTo>
                <a:lnTo>
                  <a:pt x="2393104" y="3129015"/>
                </a:lnTo>
                <a:lnTo>
                  <a:pt x="2389087" y="3124976"/>
                </a:lnTo>
                <a:lnTo>
                  <a:pt x="2389087" y="3115105"/>
                </a:lnTo>
                <a:close/>
                <a:moveTo>
                  <a:pt x="721968" y="3111067"/>
                </a:moveTo>
                <a:lnTo>
                  <a:pt x="731878" y="3111067"/>
                </a:lnTo>
                <a:lnTo>
                  <a:pt x="735897" y="3115105"/>
                </a:lnTo>
                <a:lnTo>
                  <a:pt x="735897" y="3124976"/>
                </a:lnTo>
                <a:lnTo>
                  <a:pt x="731878" y="3129015"/>
                </a:lnTo>
                <a:lnTo>
                  <a:pt x="721968" y="3129015"/>
                </a:lnTo>
                <a:lnTo>
                  <a:pt x="717949" y="3124976"/>
                </a:lnTo>
                <a:lnTo>
                  <a:pt x="717949" y="3115105"/>
                </a:lnTo>
                <a:close/>
                <a:moveTo>
                  <a:pt x="482656" y="3111067"/>
                </a:moveTo>
                <a:lnTo>
                  <a:pt x="492566" y="3111067"/>
                </a:lnTo>
                <a:lnTo>
                  <a:pt x="496585" y="3115105"/>
                </a:lnTo>
                <a:lnTo>
                  <a:pt x="496585" y="3124976"/>
                </a:lnTo>
                <a:lnTo>
                  <a:pt x="492566" y="3129015"/>
                </a:lnTo>
                <a:lnTo>
                  <a:pt x="482656" y="3129015"/>
                </a:lnTo>
                <a:lnTo>
                  <a:pt x="478637" y="3124976"/>
                </a:lnTo>
                <a:lnTo>
                  <a:pt x="478637" y="3115105"/>
                </a:lnTo>
                <a:close/>
                <a:moveTo>
                  <a:pt x="243342" y="3111067"/>
                </a:moveTo>
                <a:lnTo>
                  <a:pt x="253252" y="3111067"/>
                </a:lnTo>
                <a:lnTo>
                  <a:pt x="257271" y="3115105"/>
                </a:lnTo>
                <a:lnTo>
                  <a:pt x="257271" y="3124976"/>
                </a:lnTo>
                <a:lnTo>
                  <a:pt x="253252" y="3129015"/>
                </a:lnTo>
                <a:lnTo>
                  <a:pt x="243342" y="3129015"/>
                </a:lnTo>
                <a:lnTo>
                  <a:pt x="239323" y="3124976"/>
                </a:lnTo>
                <a:lnTo>
                  <a:pt x="239323" y="3115105"/>
                </a:lnTo>
                <a:close/>
                <a:moveTo>
                  <a:pt x="4029" y="3111067"/>
                </a:moveTo>
                <a:lnTo>
                  <a:pt x="13939" y="3111067"/>
                </a:lnTo>
                <a:lnTo>
                  <a:pt x="17959" y="3115105"/>
                </a:lnTo>
                <a:lnTo>
                  <a:pt x="17959" y="3124976"/>
                </a:lnTo>
                <a:lnTo>
                  <a:pt x="13939" y="3129015"/>
                </a:lnTo>
                <a:lnTo>
                  <a:pt x="4029" y="3129015"/>
                </a:lnTo>
                <a:lnTo>
                  <a:pt x="10" y="3124976"/>
                </a:lnTo>
                <a:lnTo>
                  <a:pt x="10" y="3115105"/>
                </a:lnTo>
                <a:close/>
                <a:moveTo>
                  <a:pt x="2157820" y="2871788"/>
                </a:moveTo>
                <a:lnTo>
                  <a:pt x="2167732" y="2871788"/>
                </a:lnTo>
                <a:lnTo>
                  <a:pt x="2171750" y="2875826"/>
                </a:lnTo>
                <a:lnTo>
                  <a:pt x="2171750" y="2885696"/>
                </a:lnTo>
                <a:lnTo>
                  <a:pt x="2167732" y="2889735"/>
                </a:lnTo>
                <a:lnTo>
                  <a:pt x="2157820" y="2889735"/>
                </a:lnTo>
                <a:lnTo>
                  <a:pt x="2153802" y="2885696"/>
                </a:lnTo>
                <a:lnTo>
                  <a:pt x="2153802" y="2875826"/>
                </a:lnTo>
                <a:close/>
                <a:moveTo>
                  <a:pt x="1918513" y="2871788"/>
                </a:moveTo>
                <a:lnTo>
                  <a:pt x="1928422" y="2871788"/>
                </a:lnTo>
                <a:lnTo>
                  <a:pt x="1932441" y="2875826"/>
                </a:lnTo>
                <a:lnTo>
                  <a:pt x="1932441" y="2885696"/>
                </a:lnTo>
                <a:lnTo>
                  <a:pt x="1928422" y="2889735"/>
                </a:lnTo>
                <a:lnTo>
                  <a:pt x="1918513" y="2889735"/>
                </a:lnTo>
                <a:lnTo>
                  <a:pt x="1914493" y="2885696"/>
                </a:lnTo>
                <a:lnTo>
                  <a:pt x="1914493" y="2875826"/>
                </a:lnTo>
                <a:close/>
                <a:moveTo>
                  <a:pt x="1679211" y="2871788"/>
                </a:moveTo>
                <a:lnTo>
                  <a:pt x="1689121" y="2871788"/>
                </a:lnTo>
                <a:lnTo>
                  <a:pt x="1693141" y="2875826"/>
                </a:lnTo>
                <a:lnTo>
                  <a:pt x="1693141" y="2885696"/>
                </a:lnTo>
                <a:lnTo>
                  <a:pt x="1689121" y="2889735"/>
                </a:lnTo>
                <a:lnTo>
                  <a:pt x="1679211" y="2889735"/>
                </a:lnTo>
                <a:lnTo>
                  <a:pt x="1675193" y="2885696"/>
                </a:lnTo>
                <a:lnTo>
                  <a:pt x="1675193" y="2875826"/>
                </a:lnTo>
                <a:close/>
                <a:moveTo>
                  <a:pt x="1439895" y="2871788"/>
                </a:moveTo>
                <a:lnTo>
                  <a:pt x="1449805" y="2871788"/>
                </a:lnTo>
                <a:lnTo>
                  <a:pt x="1453824" y="2875826"/>
                </a:lnTo>
                <a:lnTo>
                  <a:pt x="1453824" y="2885696"/>
                </a:lnTo>
                <a:lnTo>
                  <a:pt x="1449805" y="2889735"/>
                </a:lnTo>
                <a:lnTo>
                  <a:pt x="1439895" y="2889735"/>
                </a:lnTo>
                <a:lnTo>
                  <a:pt x="1435876" y="2885696"/>
                </a:lnTo>
                <a:lnTo>
                  <a:pt x="1435876" y="2875826"/>
                </a:lnTo>
                <a:close/>
                <a:moveTo>
                  <a:pt x="1200579" y="2871788"/>
                </a:moveTo>
                <a:lnTo>
                  <a:pt x="1210489" y="2871788"/>
                </a:lnTo>
                <a:lnTo>
                  <a:pt x="1214509" y="2875826"/>
                </a:lnTo>
                <a:lnTo>
                  <a:pt x="1214509" y="2885696"/>
                </a:lnTo>
                <a:lnTo>
                  <a:pt x="1210489" y="2889735"/>
                </a:lnTo>
                <a:lnTo>
                  <a:pt x="1200579" y="2889735"/>
                </a:lnTo>
                <a:lnTo>
                  <a:pt x="1196560" y="2885696"/>
                </a:lnTo>
                <a:lnTo>
                  <a:pt x="1196560" y="2875826"/>
                </a:lnTo>
                <a:close/>
                <a:moveTo>
                  <a:pt x="961267" y="2871788"/>
                </a:moveTo>
                <a:lnTo>
                  <a:pt x="971177" y="2871788"/>
                </a:lnTo>
                <a:lnTo>
                  <a:pt x="975195" y="2875826"/>
                </a:lnTo>
                <a:lnTo>
                  <a:pt x="975195" y="2885696"/>
                </a:lnTo>
                <a:lnTo>
                  <a:pt x="971177" y="2889735"/>
                </a:lnTo>
                <a:lnTo>
                  <a:pt x="961267" y="2889735"/>
                </a:lnTo>
                <a:lnTo>
                  <a:pt x="957247" y="2885696"/>
                </a:lnTo>
                <a:lnTo>
                  <a:pt x="957247" y="2875826"/>
                </a:lnTo>
                <a:close/>
                <a:moveTo>
                  <a:pt x="9572438" y="2871736"/>
                </a:moveTo>
                <a:lnTo>
                  <a:pt x="9582349" y="2871736"/>
                </a:lnTo>
                <a:lnTo>
                  <a:pt x="9586368" y="2875775"/>
                </a:lnTo>
                <a:lnTo>
                  <a:pt x="9586368" y="2885645"/>
                </a:lnTo>
                <a:lnTo>
                  <a:pt x="9582349" y="2889684"/>
                </a:lnTo>
                <a:lnTo>
                  <a:pt x="9572438" y="2889684"/>
                </a:lnTo>
                <a:lnTo>
                  <a:pt x="9568419" y="2885645"/>
                </a:lnTo>
                <a:lnTo>
                  <a:pt x="9568419" y="2875775"/>
                </a:lnTo>
                <a:close/>
                <a:moveTo>
                  <a:pt x="9333125" y="2871736"/>
                </a:moveTo>
                <a:lnTo>
                  <a:pt x="9343036" y="2871736"/>
                </a:lnTo>
                <a:lnTo>
                  <a:pt x="9347055" y="2875775"/>
                </a:lnTo>
                <a:lnTo>
                  <a:pt x="9347055" y="2885645"/>
                </a:lnTo>
                <a:lnTo>
                  <a:pt x="9343036" y="2889684"/>
                </a:lnTo>
                <a:lnTo>
                  <a:pt x="9333125" y="2889684"/>
                </a:lnTo>
                <a:lnTo>
                  <a:pt x="9329106" y="2885645"/>
                </a:lnTo>
                <a:lnTo>
                  <a:pt x="9329106" y="2875775"/>
                </a:lnTo>
                <a:close/>
                <a:moveTo>
                  <a:pt x="9093811" y="2871736"/>
                </a:moveTo>
                <a:lnTo>
                  <a:pt x="9103722" y="2871736"/>
                </a:lnTo>
                <a:lnTo>
                  <a:pt x="9107741" y="2875775"/>
                </a:lnTo>
                <a:lnTo>
                  <a:pt x="9107741" y="2885645"/>
                </a:lnTo>
                <a:lnTo>
                  <a:pt x="9103722" y="2889684"/>
                </a:lnTo>
                <a:lnTo>
                  <a:pt x="9093811" y="2889684"/>
                </a:lnTo>
                <a:lnTo>
                  <a:pt x="9089792" y="2885645"/>
                </a:lnTo>
                <a:lnTo>
                  <a:pt x="9089792" y="2875775"/>
                </a:lnTo>
                <a:close/>
                <a:moveTo>
                  <a:pt x="8854496" y="2871736"/>
                </a:moveTo>
                <a:lnTo>
                  <a:pt x="8864407" y="2871736"/>
                </a:lnTo>
                <a:lnTo>
                  <a:pt x="8868426" y="2875775"/>
                </a:lnTo>
                <a:lnTo>
                  <a:pt x="8868426" y="2885645"/>
                </a:lnTo>
                <a:lnTo>
                  <a:pt x="8864407" y="2889684"/>
                </a:lnTo>
                <a:lnTo>
                  <a:pt x="8854496" y="2889684"/>
                </a:lnTo>
                <a:lnTo>
                  <a:pt x="8850477" y="2885645"/>
                </a:lnTo>
                <a:lnTo>
                  <a:pt x="8850477" y="2875775"/>
                </a:lnTo>
                <a:close/>
                <a:moveTo>
                  <a:pt x="8615184" y="2871736"/>
                </a:moveTo>
                <a:lnTo>
                  <a:pt x="8625095" y="2871736"/>
                </a:lnTo>
                <a:lnTo>
                  <a:pt x="8629114" y="2875775"/>
                </a:lnTo>
                <a:lnTo>
                  <a:pt x="8629114" y="2885645"/>
                </a:lnTo>
                <a:lnTo>
                  <a:pt x="8625095" y="2889684"/>
                </a:lnTo>
                <a:lnTo>
                  <a:pt x="8615184" y="2889684"/>
                </a:lnTo>
                <a:lnTo>
                  <a:pt x="8611165" y="2885645"/>
                </a:lnTo>
                <a:lnTo>
                  <a:pt x="8611165" y="2875775"/>
                </a:lnTo>
                <a:close/>
                <a:moveTo>
                  <a:pt x="8375869" y="2871736"/>
                </a:moveTo>
                <a:lnTo>
                  <a:pt x="8385779" y="2871736"/>
                </a:lnTo>
                <a:lnTo>
                  <a:pt x="8389799" y="2875775"/>
                </a:lnTo>
                <a:lnTo>
                  <a:pt x="8389799" y="2885645"/>
                </a:lnTo>
                <a:lnTo>
                  <a:pt x="8385779" y="2889684"/>
                </a:lnTo>
                <a:lnTo>
                  <a:pt x="8375869" y="2889684"/>
                </a:lnTo>
                <a:lnTo>
                  <a:pt x="8371850" y="2885645"/>
                </a:lnTo>
                <a:lnTo>
                  <a:pt x="8371850" y="2875775"/>
                </a:lnTo>
                <a:close/>
                <a:moveTo>
                  <a:pt x="8136553" y="2871736"/>
                </a:moveTo>
                <a:lnTo>
                  <a:pt x="8146464" y="2871736"/>
                </a:lnTo>
                <a:lnTo>
                  <a:pt x="8150483" y="2875775"/>
                </a:lnTo>
                <a:lnTo>
                  <a:pt x="8150483" y="2885645"/>
                </a:lnTo>
                <a:lnTo>
                  <a:pt x="8146464" y="2889684"/>
                </a:lnTo>
                <a:lnTo>
                  <a:pt x="8136553" y="2889684"/>
                </a:lnTo>
                <a:lnTo>
                  <a:pt x="8132534" y="2885645"/>
                </a:lnTo>
                <a:lnTo>
                  <a:pt x="8132534" y="2875775"/>
                </a:lnTo>
                <a:close/>
                <a:moveTo>
                  <a:pt x="7897241" y="2871736"/>
                </a:moveTo>
                <a:lnTo>
                  <a:pt x="7907151" y="2871736"/>
                </a:lnTo>
                <a:lnTo>
                  <a:pt x="7911170" y="2875775"/>
                </a:lnTo>
                <a:lnTo>
                  <a:pt x="7911170" y="2885645"/>
                </a:lnTo>
                <a:lnTo>
                  <a:pt x="7907151" y="2889684"/>
                </a:lnTo>
                <a:lnTo>
                  <a:pt x="7897241" y="2889684"/>
                </a:lnTo>
                <a:lnTo>
                  <a:pt x="7893222" y="2885645"/>
                </a:lnTo>
                <a:lnTo>
                  <a:pt x="7893222" y="2875775"/>
                </a:lnTo>
                <a:close/>
                <a:moveTo>
                  <a:pt x="7657926" y="2871736"/>
                </a:moveTo>
                <a:lnTo>
                  <a:pt x="7667836" y="2871736"/>
                </a:lnTo>
                <a:lnTo>
                  <a:pt x="7671855" y="2875775"/>
                </a:lnTo>
                <a:lnTo>
                  <a:pt x="7671855" y="2885645"/>
                </a:lnTo>
                <a:lnTo>
                  <a:pt x="7667836" y="2889684"/>
                </a:lnTo>
                <a:lnTo>
                  <a:pt x="7657926" y="2889684"/>
                </a:lnTo>
                <a:lnTo>
                  <a:pt x="7653906" y="2885645"/>
                </a:lnTo>
                <a:lnTo>
                  <a:pt x="7653906" y="2875775"/>
                </a:lnTo>
                <a:close/>
                <a:moveTo>
                  <a:pt x="7418611" y="2871736"/>
                </a:moveTo>
                <a:lnTo>
                  <a:pt x="7428521" y="2871736"/>
                </a:lnTo>
                <a:lnTo>
                  <a:pt x="7432540" y="2875775"/>
                </a:lnTo>
                <a:lnTo>
                  <a:pt x="7432540" y="2885645"/>
                </a:lnTo>
                <a:lnTo>
                  <a:pt x="7428521" y="2889684"/>
                </a:lnTo>
                <a:lnTo>
                  <a:pt x="7418611" y="2889684"/>
                </a:lnTo>
                <a:lnTo>
                  <a:pt x="7414592" y="2885645"/>
                </a:lnTo>
                <a:lnTo>
                  <a:pt x="7414592" y="2875775"/>
                </a:lnTo>
                <a:close/>
                <a:moveTo>
                  <a:pt x="7179298" y="2871736"/>
                </a:moveTo>
                <a:lnTo>
                  <a:pt x="7189209" y="2871736"/>
                </a:lnTo>
                <a:lnTo>
                  <a:pt x="7193228" y="2875775"/>
                </a:lnTo>
                <a:lnTo>
                  <a:pt x="7193228" y="2885645"/>
                </a:lnTo>
                <a:lnTo>
                  <a:pt x="7189209" y="2889684"/>
                </a:lnTo>
                <a:lnTo>
                  <a:pt x="7179298" y="2889684"/>
                </a:lnTo>
                <a:lnTo>
                  <a:pt x="7175279" y="2885645"/>
                </a:lnTo>
                <a:lnTo>
                  <a:pt x="7175279" y="2875775"/>
                </a:lnTo>
                <a:close/>
                <a:moveTo>
                  <a:pt x="6939983" y="2871736"/>
                </a:moveTo>
                <a:lnTo>
                  <a:pt x="6949894" y="2871736"/>
                </a:lnTo>
                <a:lnTo>
                  <a:pt x="6953913" y="2875775"/>
                </a:lnTo>
                <a:lnTo>
                  <a:pt x="6953913" y="2885645"/>
                </a:lnTo>
                <a:lnTo>
                  <a:pt x="6949894" y="2889684"/>
                </a:lnTo>
                <a:lnTo>
                  <a:pt x="6939983" y="2889684"/>
                </a:lnTo>
                <a:lnTo>
                  <a:pt x="6935964" y="2885645"/>
                </a:lnTo>
                <a:lnTo>
                  <a:pt x="6935964" y="2875775"/>
                </a:lnTo>
                <a:close/>
                <a:moveTo>
                  <a:pt x="6700670" y="2871736"/>
                </a:moveTo>
                <a:lnTo>
                  <a:pt x="6710581" y="2871736"/>
                </a:lnTo>
                <a:lnTo>
                  <a:pt x="6714600" y="2875775"/>
                </a:lnTo>
                <a:lnTo>
                  <a:pt x="6714600" y="2885645"/>
                </a:lnTo>
                <a:lnTo>
                  <a:pt x="6710581" y="2889684"/>
                </a:lnTo>
                <a:lnTo>
                  <a:pt x="6700670" y="2889684"/>
                </a:lnTo>
                <a:lnTo>
                  <a:pt x="6696651" y="2885645"/>
                </a:lnTo>
                <a:lnTo>
                  <a:pt x="6696651" y="2875775"/>
                </a:lnTo>
                <a:close/>
                <a:moveTo>
                  <a:pt x="6461356" y="2871736"/>
                </a:moveTo>
                <a:lnTo>
                  <a:pt x="6471266" y="2871736"/>
                </a:lnTo>
                <a:lnTo>
                  <a:pt x="6475285" y="2875775"/>
                </a:lnTo>
                <a:lnTo>
                  <a:pt x="6475285" y="2885645"/>
                </a:lnTo>
                <a:lnTo>
                  <a:pt x="6471266" y="2889684"/>
                </a:lnTo>
                <a:lnTo>
                  <a:pt x="6461356" y="2889684"/>
                </a:lnTo>
                <a:lnTo>
                  <a:pt x="6457337" y="2885645"/>
                </a:lnTo>
                <a:lnTo>
                  <a:pt x="6457337" y="2875775"/>
                </a:lnTo>
                <a:close/>
                <a:moveTo>
                  <a:pt x="6222042" y="2871736"/>
                </a:moveTo>
                <a:lnTo>
                  <a:pt x="6231952" y="2871736"/>
                </a:lnTo>
                <a:lnTo>
                  <a:pt x="6235971" y="2875775"/>
                </a:lnTo>
                <a:lnTo>
                  <a:pt x="6235971" y="2885645"/>
                </a:lnTo>
                <a:lnTo>
                  <a:pt x="6231952" y="2889684"/>
                </a:lnTo>
                <a:lnTo>
                  <a:pt x="6222042" y="2889684"/>
                </a:lnTo>
                <a:lnTo>
                  <a:pt x="6218023" y="2885645"/>
                </a:lnTo>
                <a:lnTo>
                  <a:pt x="6218023" y="2875775"/>
                </a:lnTo>
                <a:close/>
                <a:moveTo>
                  <a:pt x="5982729" y="2871736"/>
                </a:moveTo>
                <a:lnTo>
                  <a:pt x="5992639" y="2871736"/>
                </a:lnTo>
                <a:lnTo>
                  <a:pt x="5996658" y="2875775"/>
                </a:lnTo>
                <a:lnTo>
                  <a:pt x="5996658" y="2885645"/>
                </a:lnTo>
                <a:lnTo>
                  <a:pt x="5992639" y="2889684"/>
                </a:lnTo>
                <a:lnTo>
                  <a:pt x="5982729" y="2889684"/>
                </a:lnTo>
                <a:lnTo>
                  <a:pt x="5978710" y="2885645"/>
                </a:lnTo>
                <a:lnTo>
                  <a:pt x="5978710" y="2875775"/>
                </a:lnTo>
                <a:close/>
                <a:moveTo>
                  <a:pt x="5743412" y="2871736"/>
                </a:moveTo>
                <a:lnTo>
                  <a:pt x="5753323" y="2871736"/>
                </a:lnTo>
                <a:lnTo>
                  <a:pt x="5757342" y="2875775"/>
                </a:lnTo>
                <a:lnTo>
                  <a:pt x="5757342" y="2885645"/>
                </a:lnTo>
                <a:lnTo>
                  <a:pt x="5753323" y="2889684"/>
                </a:lnTo>
                <a:lnTo>
                  <a:pt x="5743412" y="2889684"/>
                </a:lnTo>
                <a:lnTo>
                  <a:pt x="5739393" y="2885645"/>
                </a:lnTo>
                <a:lnTo>
                  <a:pt x="5739393" y="2875775"/>
                </a:lnTo>
                <a:close/>
                <a:moveTo>
                  <a:pt x="5504099" y="2871736"/>
                </a:moveTo>
                <a:lnTo>
                  <a:pt x="5514010" y="2871736"/>
                </a:lnTo>
                <a:lnTo>
                  <a:pt x="5518029" y="2875775"/>
                </a:lnTo>
                <a:lnTo>
                  <a:pt x="5518029" y="2885645"/>
                </a:lnTo>
                <a:lnTo>
                  <a:pt x="5514010" y="2889684"/>
                </a:lnTo>
                <a:lnTo>
                  <a:pt x="5504099" y="2889684"/>
                </a:lnTo>
                <a:lnTo>
                  <a:pt x="5500080" y="2885645"/>
                </a:lnTo>
                <a:lnTo>
                  <a:pt x="5500080" y="2875775"/>
                </a:lnTo>
                <a:close/>
                <a:moveTo>
                  <a:pt x="5264784" y="2871736"/>
                </a:moveTo>
                <a:lnTo>
                  <a:pt x="5274694" y="2871736"/>
                </a:lnTo>
                <a:lnTo>
                  <a:pt x="5278713" y="2875775"/>
                </a:lnTo>
                <a:lnTo>
                  <a:pt x="5278713" y="2885645"/>
                </a:lnTo>
                <a:lnTo>
                  <a:pt x="5274694" y="2889684"/>
                </a:lnTo>
                <a:lnTo>
                  <a:pt x="5264784" y="2889684"/>
                </a:lnTo>
                <a:lnTo>
                  <a:pt x="5260765" y="2885645"/>
                </a:lnTo>
                <a:lnTo>
                  <a:pt x="5260765" y="2875775"/>
                </a:lnTo>
                <a:close/>
                <a:moveTo>
                  <a:pt x="5025470" y="2871736"/>
                </a:moveTo>
                <a:lnTo>
                  <a:pt x="5035381" y="2871736"/>
                </a:lnTo>
                <a:lnTo>
                  <a:pt x="5039400" y="2875775"/>
                </a:lnTo>
                <a:lnTo>
                  <a:pt x="5039400" y="2885645"/>
                </a:lnTo>
                <a:lnTo>
                  <a:pt x="5035381" y="2889684"/>
                </a:lnTo>
                <a:lnTo>
                  <a:pt x="5025470" y="2889684"/>
                </a:lnTo>
                <a:lnTo>
                  <a:pt x="5021451" y="2885645"/>
                </a:lnTo>
                <a:lnTo>
                  <a:pt x="5021451" y="2875775"/>
                </a:lnTo>
                <a:close/>
                <a:moveTo>
                  <a:pt x="4786241" y="2871736"/>
                </a:moveTo>
                <a:lnTo>
                  <a:pt x="4796152" y="2871736"/>
                </a:lnTo>
                <a:lnTo>
                  <a:pt x="4800171" y="2875775"/>
                </a:lnTo>
                <a:lnTo>
                  <a:pt x="4800171" y="2885645"/>
                </a:lnTo>
                <a:lnTo>
                  <a:pt x="4796152" y="2889684"/>
                </a:lnTo>
                <a:lnTo>
                  <a:pt x="4786241" y="2889684"/>
                </a:lnTo>
                <a:lnTo>
                  <a:pt x="4782224" y="2885645"/>
                </a:lnTo>
                <a:lnTo>
                  <a:pt x="4782224" y="2875775"/>
                </a:lnTo>
                <a:close/>
                <a:moveTo>
                  <a:pt x="4546929" y="2871736"/>
                </a:moveTo>
                <a:lnTo>
                  <a:pt x="4556840" y="2871736"/>
                </a:lnTo>
                <a:lnTo>
                  <a:pt x="4560859" y="2875775"/>
                </a:lnTo>
                <a:lnTo>
                  <a:pt x="4560859" y="2885645"/>
                </a:lnTo>
                <a:lnTo>
                  <a:pt x="4556840" y="2889684"/>
                </a:lnTo>
                <a:lnTo>
                  <a:pt x="4546929" y="2889684"/>
                </a:lnTo>
                <a:lnTo>
                  <a:pt x="4542910" y="2885645"/>
                </a:lnTo>
                <a:lnTo>
                  <a:pt x="4542910" y="2875775"/>
                </a:lnTo>
                <a:close/>
                <a:moveTo>
                  <a:pt x="4307612" y="2871736"/>
                </a:moveTo>
                <a:lnTo>
                  <a:pt x="4317523" y="2871736"/>
                </a:lnTo>
                <a:lnTo>
                  <a:pt x="4321543" y="2875775"/>
                </a:lnTo>
                <a:lnTo>
                  <a:pt x="4321543" y="2885645"/>
                </a:lnTo>
                <a:lnTo>
                  <a:pt x="4317523" y="2889684"/>
                </a:lnTo>
                <a:lnTo>
                  <a:pt x="4307612" y="2889684"/>
                </a:lnTo>
                <a:lnTo>
                  <a:pt x="4303595" y="2885645"/>
                </a:lnTo>
                <a:lnTo>
                  <a:pt x="4303595" y="2875775"/>
                </a:lnTo>
                <a:close/>
                <a:moveTo>
                  <a:pt x="4068297" y="2871736"/>
                </a:moveTo>
                <a:lnTo>
                  <a:pt x="4078210" y="2871736"/>
                </a:lnTo>
                <a:lnTo>
                  <a:pt x="4082229" y="2875775"/>
                </a:lnTo>
                <a:lnTo>
                  <a:pt x="4082229" y="2885645"/>
                </a:lnTo>
                <a:lnTo>
                  <a:pt x="4078210" y="2889684"/>
                </a:lnTo>
                <a:lnTo>
                  <a:pt x="4068297" y="2889684"/>
                </a:lnTo>
                <a:lnTo>
                  <a:pt x="4064278" y="2885645"/>
                </a:lnTo>
                <a:lnTo>
                  <a:pt x="4064278" y="2875775"/>
                </a:lnTo>
                <a:close/>
                <a:moveTo>
                  <a:pt x="3828990" y="2871736"/>
                </a:moveTo>
                <a:lnTo>
                  <a:pt x="3838899" y="2871736"/>
                </a:lnTo>
                <a:lnTo>
                  <a:pt x="3842917" y="2875775"/>
                </a:lnTo>
                <a:lnTo>
                  <a:pt x="3842917" y="2885645"/>
                </a:lnTo>
                <a:lnTo>
                  <a:pt x="3838899" y="2889684"/>
                </a:lnTo>
                <a:lnTo>
                  <a:pt x="3828990" y="2889684"/>
                </a:lnTo>
                <a:lnTo>
                  <a:pt x="3824971" y="2885645"/>
                </a:lnTo>
                <a:lnTo>
                  <a:pt x="3824971" y="2875775"/>
                </a:lnTo>
                <a:close/>
                <a:moveTo>
                  <a:pt x="3589676" y="2871736"/>
                </a:moveTo>
                <a:lnTo>
                  <a:pt x="3599585" y="2871736"/>
                </a:lnTo>
                <a:lnTo>
                  <a:pt x="3603604" y="2875775"/>
                </a:lnTo>
                <a:lnTo>
                  <a:pt x="3603604" y="2885645"/>
                </a:lnTo>
                <a:lnTo>
                  <a:pt x="3599585" y="2889684"/>
                </a:lnTo>
                <a:lnTo>
                  <a:pt x="3589676" y="2889684"/>
                </a:lnTo>
                <a:lnTo>
                  <a:pt x="3585657" y="2885645"/>
                </a:lnTo>
                <a:lnTo>
                  <a:pt x="3585657" y="2875775"/>
                </a:lnTo>
                <a:close/>
                <a:moveTo>
                  <a:pt x="3350359" y="2871736"/>
                </a:moveTo>
                <a:lnTo>
                  <a:pt x="3360268" y="2871736"/>
                </a:lnTo>
                <a:lnTo>
                  <a:pt x="3364287" y="2875775"/>
                </a:lnTo>
                <a:lnTo>
                  <a:pt x="3364287" y="2885645"/>
                </a:lnTo>
                <a:lnTo>
                  <a:pt x="3360268" y="2889684"/>
                </a:lnTo>
                <a:lnTo>
                  <a:pt x="3350359" y="2889684"/>
                </a:lnTo>
                <a:lnTo>
                  <a:pt x="3346340" y="2885645"/>
                </a:lnTo>
                <a:lnTo>
                  <a:pt x="3346340" y="2875775"/>
                </a:lnTo>
                <a:close/>
                <a:moveTo>
                  <a:pt x="3111048" y="2871736"/>
                </a:moveTo>
                <a:lnTo>
                  <a:pt x="3120959" y="2871736"/>
                </a:lnTo>
                <a:lnTo>
                  <a:pt x="3124977" y="2875775"/>
                </a:lnTo>
                <a:lnTo>
                  <a:pt x="3124977" y="2885645"/>
                </a:lnTo>
                <a:lnTo>
                  <a:pt x="3120959" y="2889684"/>
                </a:lnTo>
                <a:lnTo>
                  <a:pt x="3111048" y="2889684"/>
                </a:lnTo>
                <a:lnTo>
                  <a:pt x="3107029" y="2885645"/>
                </a:lnTo>
                <a:lnTo>
                  <a:pt x="3107029" y="2875775"/>
                </a:lnTo>
                <a:close/>
                <a:moveTo>
                  <a:pt x="2871737" y="2871736"/>
                </a:moveTo>
                <a:lnTo>
                  <a:pt x="2881646" y="2871736"/>
                </a:lnTo>
                <a:lnTo>
                  <a:pt x="2885666" y="2875775"/>
                </a:lnTo>
                <a:lnTo>
                  <a:pt x="2885666" y="2885645"/>
                </a:lnTo>
                <a:lnTo>
                  <a:pt x="2881646" y="2889684"/>
                </a:lnTo>
                <a:lnTo>
                  <a:pt x="2871737" y="2889684"/>
                </a:lnTo>
                <a:lnTo>
                  <a:pt x="2867717" y="2885645"/>
                </a:lnTo>
                <a:lnTo>
                  <a:pt x="2867717" y="2875775"/>
                </a:lnTo>
                <a:close/>
                <a:moveTo>
                  <a:pt x="2632423" y="2871736"/>
                </a:moveTo>
                <a:lnTo>
                  <a:pt x="2642334" y="2871736"/>
                </a:lnTo>
                <a:lnTo>
                  <a:pt x="2646352" y="2875775"/>
                </a:lnTo>
                <a:lnTo>
                  <a:pt x="2646352" y="2885645"/>
                </a:lnTo>
                <a:lnTo>
                  <a:pt x="2642334" y="2889684"/>
                </a:lnTo>
                <a:lnTo>
                  <a:pt x="2632423" y="2889684"/>
                </a:lnTo>
                <a:lnTo>
                  <a:pt x="2628404" y="2885645"/>
                </a:lnTo>
                <a:lnTo>
                  <a:pt x="2628404" y="2875775"/>
                </a:lnTo>
                <a:close/>
                <a:moveTo>
                  <a:pt x="2393104" y="2871736"/>
                </a:moveTo>
                <a:lnTo>
                  <a:pt x="2403015" y="2871736"/>
                </a:lnTo>
                <a:lnTo>
                  <a:pt x="2407034" y="2875775"/>
                </a:lnTo>
                <a:lnTo>
                  <a:pt x="2407034" y="2885645"/>
                </a:lnTo>
                <a:lnTo>
                  <a:pt x="2403015" y="2889684"/>
                </a:lnTo>
                <a:lnTo>
                  <a:pt x="2393104" y="2889684"/>
                </a:lnTo>
                <a:lnTo>
                  <a:pt x="2389087" y="2885645"/>
                </a:lnTo>
                <a:lnTo>
                  <a:pt x="2389087" y="2875775"/>
                </a:lnTo>
                <a:close/>
                <a:moveTo>
                  <a:pt x="721969" y="2871736"/>
                </a:moveTo>
                <a:lnTo>
                  <a:pt x="731879" y="2871736"/>
                </a:lnTo>
                <a:lnTo>
                  <a:pt x="735898" y="2875775"/>
                </a:lnTo>
                <a:lnTo>
                  <a:pt x="735898" y="2885645"/>
                </a:lnTo>
                <a:lnTo>
                  <a:pt x="731879" y="2889684"/>
                </a:lnTo>
                <a:lnTo>
                  <a:pt x="721969" y="2889684"/>
                </a:lnTo>
                <a:lnTo>
                  <a:pt x="717950" y="2885645"/>
                </a:lnTo>
                <a:lnTo>
                  <a:pt x="717950" y="2875775"/>
                </a:lnTo>
                <a:close/>
                <a:moveTo>
                  <a:pt x="482656" y="2871736"/>
                </a:moveTo>
                <a:lnTo>
                  <a:pt x="492567" y="2871736"/>
                </a:lnTo>
                <a:lnTo>
                  <a:pt x="496586" y="2875775"/>
                </a:lnTo>
                <a:lnTo>
                  <a:pt x="496586" y="2885645"/>
                </a:lnTo>
                <a:lnTo>
                  <a:pt x="492567" y="2889684"/>
                </a:lnTo>
                <a:lnTo>
                  <a:pt x="482656" y="2889684"/>
                </a:lnTo>
                <a:lnTo>
                  <a:pt x="478637" y="2885645"/>
                </a:lnTo>
                <a:lnTo>
                  <a:pt x="478637" y="2875775"/>
                </a:lnTo>
                <a:close/>
                <a:moveTo>
                  <a:pt x="243343" y="2871736"/>
                </a:moveTo>
                <a:lnTo>
                  <a:pt x="253253" y="2871736"/>
                </a:lnTo>
                <a:lnTo>
                  <a:pt x="257272" y="2875775"/>
                </a:lnTo>
                <a:lnTo>
                  <a:pt x="257272" y="2885645"/>
                </a:lnTo>
                <a:lnTo>
                  <a:pt x="253253" y="2889684"/>
                </a:lnTo>
                <a:lnTo>
                  <a:pt x="243343" y="2889684"/>
                </a:lnTo>
                <a:lnTo>
                  <a:pt x="239324" y="2885645"/>
                </a:lnTo>
                <a:lnTo>
                  <a:pt x="239324" y="2875775"/>
                </a:lnTo>
                <a:close/>
                <a:moveTo>
                  <a:pt x="4030" y="2871736"/>
                </a:moveTo>
                <a:lnTo>
                  <a:pt x="13940" y="2871736"/>
                </a:lnTo>
                <a:lnTo>
                  <a:pt x="17959" y="2875775"/>
                </a:lnTo>
                <a:lnTo>
                  <a:pt x="17959" y="2885645"/>
                </a:lnTo>
                <a:lnTo>
                  <a:pt x="13940" y="2889684"/>
                </a:lnTo>
                <a:lnTo>
                  <a:pt x="4030" y="2889684"/>
                </a:lnTo>
                <a:lnTo>
                  <a:pt x="11" y="2885645"/>
                </a:lnTo>
                <a:lnTo>
                  <a:pt x="11" y="2875775"/>
                </a:lnTo>
                <a:close/>
                <a:moveTo>
                  <a:pt x="9572438" y="2632457"/>
                </a:moveTo>
                <a:lnTo>
                  <a:pt x="9582349" y="2632457"/>
                </a:lnTo>
                <a:lnTo>
                  <a:pt x="9586368" y="2636496"/>
                </a:lnTo>
                <a:lnTo>
                  <a:pt x="9586368" y="2646366"/>
                </a:lnTo>
                <a:lnTo>
                  <a:pt x="9582349" y="2650405"/>
                </a:lnTo>
                <a:lnTo>
                  <a:pt x="9572438" y="2650405"/>
                </a:lnTo>
                <a:lnTo>
                  <a:pt x="9568419" y="2646366"/>
                </a:lnTo>
                <a:lnTo>
                  <a:pt x="9568419" y="2636496"/>
                </a:lnTo>
                <a:close/>
                <a:moveTo>
                  <a:pt x="9333125" y="2632457"/>
                </a:moveTo>
                <a:lnTo>
                  <a:pt x="9343036" y="2632457"/>
                </a:lnTo>
                <a:lnTo>
                  <a:pt x="9347055" y="2636496"/>
                </a:lnTo>
                <a:lnTo>
                  <a:pt x="9347055" y="2646366"/>
                </a:lnTo>
                <a:lnTo>
                  <a:pt x="9343036" y="2650405"/>
                </a:lnTo>
                <a:lnTo>
                  <a:pt x="9333125" y="2650405"/>
                </a:lnTo>
                <a:lnTo>
                  <a:pt x="9329106" y="2646366"/>
                </a:lnTo>
                <a:lnTo>
                  <a:pt x="9329106" y="2636496"/>
                </a:lnTo>
                <a:close/>
                <a:moveTo>
                  <a:pt x="9093811" y="2632457"/>
                </a:moveTo>
                <a:lnTo>
                  <a:pt x="9103722" y="2632457"/>
                </a:lnTo>
                <a:lnTo>
                  <a:pt x="9107741" y="2636496"/>
                </a:lnTo>
                <a:lnTo>
                  <a:pt x="9107741" y="2646366"/>
                </a:lnTo>
                <a:lnTo>
                  <a:pt x="9103722" y="2650405"/>
                </a:lnTo>
                <a:lnTo>
                  <a:pt x="9093811" y="2650405"/>
                </a:lnTo>
                <a:lnTo>
                  <a:pt x="9089792" y="2646366"/>
                </a:lnTo>
                <a:lnTo>
                  <a:pt x="9089792" y="2636496"/>
                </a:lnTo>
                <a:close/>
                <a:moveTo>
                  <a:pt x="8854496" y="2632457"/>
                </a:moveTo>
                <a:lnTo>
                  <a:pt x="8864407" y="2632457"/>
                </a:lnTo>
                <a:lnTo>
                  <a:pt x="8868426" y="2636496"/>
                </a:lnTo>
                <a:lnTo>
                  <a:pt x="8868426" y="2646366"/>
                </a:lnTo>
                <a:lnTo>
                  <a:pt x="8864407" y="2650405"/>
                </a:lnTo>
                <a:lnTo>
                  <a:pt x="8854496" y="2650405"/>
                </a:lnTo>
                <a:lnTo>
                  <a:pt x="8850477" y="2646366"/>
                </a:lnTo>
                <a:lnTo>
                  <a:pt x="8850477" y="2636496"/>
                </a:lnTo>
                <a:close/>
                <a:moveTo>
                  <a:pt x="8615184" y="2632457"/>
                </a:moveTo>
                <a:lnTo>
                  <a:pt x="8625095" y="2632457"/>
                </a:lnTo>
                <a:lnTo>
                  <a:pt x="8629114" y="2636496"/>
                </a:lnTo>
                <a:lnTo>
                  <a:pt x="8629114" y="2646366"/>
                </a:lnTo>
                <a:lnTo>
                  <a:pt x="8625095" y="2650405"/>
                </a:lnTo>
                <a:lnTo>
                  <a:pt x="8615184" y="2650405"/>
                </a:lnTo>
                <a:lnTo>
                  <a:pt x="8611165" y="2646366"/>
                </a:lnTo>
                <a:lnTo>
                  <a:pt x="8611165" y="2636496"/>
                </a:lnTo>
                <a:close/>
                <a:moveTo>
                  <a:pt x="8375869" y="2632457"/>
                </a:moveTo>
                <a:lnTo>
                  <a:pt x="8385779" y="2632457"/>
                </a:lnTo>
                <a:lnTo>
                  <a:pt x="8389799" y="2636496"/>
                </a:lnTo>
                <a:lnTo>
                  <a:pt x="8389799" y="2646366"/>
                </a:lnTo>
                <a:lnTo>
                  <a:pt x="8385779" y="2650405"/>
                </a:lnTo>
                <a:lnTo>
                  <a:pt x="8375869" y="2650405"/>
                </a:lnTo>
                <a:lnTo>
                  <a:pt x="8371850" y="2646366"/>
                </a:lnTo>
                <a:lnTo>
                  <a:pt x="8371850" y="2636496"/>
                </a:lnTo>
                <a:close/>
                <a:moveTo>
                  <a:pt x="8136553" y="2632457"/>
                </a:moveTo>
                <a:lnTo>
                  <a:pt x="8146464" y="2632457"/>
                </a:lnTo>
                <a:lnTo>
                  <a:pt x="8150483" y="2636496"/>
                </a:lnTo>
                <a:lnTo>
                  <a:pt x="8150483" y="2646366"/>
                </a:lnTo>
                <a:lnTo>
                  <a:pt x="8146464" y="2650405"/>
                </a:lnTo>
                <a:lnTo>
                  <a:pt x="8136553" y="2650405"/>
                </a:lnTo>
                <a:lnTo>
                  <a:pt x="8132534" y="2646366"/>
                </a:lnTo>
                <a:lnTo>
                  <a:pt x="8132534" y="2636496"/>
                </a:lnTo>
                <a:close/>
                <a:moveTo>
                  <a:pt x="7897241" y="2632457"/>
                </a:moveTo>
                <a:lnTo>
                  <a:pt x="7907151" y="2632457"/>
                </a:lnTo>
                <a:lnTo>
                  <a:pt x="7911170" y="2636496"/>
                </a:lnTo>
                <a:lnTo>
                  <a:pt x="7911170" y="2646366"/>
                </a:lnTo>
                <a:lnTo>
                  <a:pt x="7907151" y="2650405"/>
                </a:lnTo>
                <a:lnTo>
                  <a:pt x="7897241" y="2650405"/>
                </a:lnTo>
                <a:lnTo>
                  <a:pt x="7893222" y="2646366"/>
                </a:lnTo>
                <a:lnTo>
                  <a:pt x="7893222" y="2636496"/>
                </a:lnTo>
                <a:close/>
                <a:moveTo>
                  <a:pt x="7657926" y="2632457"/>
                </a:moveTo>
                <a:lnTo>
                  <a:pt x="7667836" y="2632457"/>
                </a:lnTo>
                <a:lnTo>
                  <a:pt x="7671855" y="2636496"/>
                </a:lnTo>
                <a:lnTo>
                  <a:pt x="7671855" y="2646366"/>
                </a:lnTo>
                <a:lnTo>
                  <a:pt x="7667836" y="2650405"/>
                </a:lnTo>
                <a:lnTo>
                  <a:pt x="7657926" y="2650405"/>
                </a:lnTo>
                <a:lnTo>
                  <a:pt x="7653906" y="2646366"/>
                </a:lnTo>
                <a:lnTo>
                  <a:pt x="7653906" y="2636496"/>
                </a:lnTo>
                <a:close/>
                <a:moveTo>
                  <a:pt x="7418611" y="2632457"/>
                </a:moveTo>
                <a:lnTo>
                  <a:pt x="7428521" y="2632457"/>
                </a:lnTo>
                <a:lnTo>
                  <a:pt x="7432540" y="2636496"/>
                </a:lnTo>
                <a:lnTo>
                  <a:pt x="7432540" y="2646366"/>
                </a:lnTo>
                <a:lnTo>
                  <a:pt x="7428521" y="2650405"/>
                </a:lnTo>
                <a:lnTo>
                  <a:pt x="7418611" y="2650405"/>
                </a:lnTo>
                <a:lnTo>
                  <a:pt x="7414592" y="2646366"/>
                </a:lnTo>
                <a:lnTo>
                  <a:pt x="7414592" y="2636496"/>
                </a:lnTo>
                <a:close/>
                <a:moveTo>
                  <a:pt x="7179298" y="2632457"/>
                </a:moveTo>
                <a:lnTo>
                  <a:pt x="7189209" y="2632457"/>
                </a:lnTo>
                <a:lnTo>
                  <a:pt x="7193228" y="2636496"/>
                </a:lnTo>
                <a:lnTo>
                  <a:pt x="7193228" y="2646366"/>
                </a:lnTo>
                <a:lnTo>
                  <a:pt x="7189209" y="2650405"/>
                </a:lnTo>
                <a:lnTo>
                  <a:pt x="7179298" y="2650405"/>
                </a:lnTo>
                <a:lnTo>
                  <a:pt x="7175279" y="2646366"/>
                </a:lnTo>
                <a:lnTo>
                  <a:pt x="7175279" y="2636496"/>
                </a:lnTo>
                <a:close/>
                <a:moveTo>
                  <a:pt x="6939983" y="2632457"/>
                </a:moveTo>
                <a:lnTo>
                  <a:pt x="6949894" y="2632457"/>
                </a:lnTo>
                <a:lnTo>
                  <a:pt x="6953913" y="2636496"/>
                </a:lnTo>
                <a:lnTo>
                  <a:pt x="6953913" y="2646366"/>
                </a:lnTo>
                <a:lnTo>
                  <a:pt x="6949894" y="2650405"/>
                </a:lnTo>
                <a:lnTo>
                  <a:pt x="6939983" y="2650405"/>
                </a:lnTo>
                <a:lnTo>
                  <a:pt x="6935964" y="2646366"/>
                </a:lnTo>
                <a:lnTo>
                  <a:pt x="6935964" y="2636496"/>
                </a:lnTo>
                <a:close/>
                <a:moveTo>
                  <a:pt x="6700670" y="2632457"/>
                </a:moveTo>
                <a:lnTo>
                  <a:pt x="6710581" y="2632457"/>
                </a:lnTo>
                <a:lnTo>
                  <a:pt x="6714600" y="2636496"/>
                </a:lnTo>
                <a:lnTo>
                  <a:pt x="6714600" y="2646366"/>
                </a:lnTo>
                <a:lnTo>
                  <a:pt x="6710581" y="2650405"/>
                </a:lnTo>
                <a:lnTo>
                  <a:pt x="6700670" y="2650405"/>
                </a:lnTo>
                <a:lnTo>
                  <a:pt x="6696651" y="2646366"/>
                </a:lnTo>
                <a:lnTo>
                  <a:pt x="6696651" y="2636496"/>
                </a:lnTo>
                <a:close/>
                <a:moveTo>
                  <a:pt x="6461356" y="2632457"/>
                </a:moveTo>
                <a:lnTo>
                  <a:pt x="6471266" y="2632457"/>
                </a:lnTo>
                <a:lnTo>
                  <a:pt x="6475285" y="2636496"/>
                </a:lnTo>
                <a:lnTo>
                  <a:pt x="6475285" y="2646366"/>
                </a:lnTo>
                <a:lnTo>
                  <a:pt x="6471266" y="2650405"/>
                </a:lnTo>
                <a:lnTo>
                  <a:pt x="6461356" y="2650405"/>
                </a:lnTo>
                <a:lnTo>
                  <a:pt x="6457337" y="2646366"/>
                </a:lnTo>
                <a:lnTo>
                  <a:pt x="6457337" y="2636496"/>
                </a:lnTo>
                <a:close/>
                <a:moveTo>
                  <a:pt x="6222042" y="2632457"/>
                </a:moveTo>
                <a:lnTo>
                  <a:pt x="6231952" y="2632457"/>
                </a:lnTo>
                <a:lnTo>
                  <a:pt x="6235971" y="2636496"/>
                </a:lnTo>
                <a:lnTo>
                  <a:pt x="6235971" y="2646366"/>
                </a:lnTo>
                <a:lnTo>
                  <a:pt x="6231952" y="2650405"/>
                </a:lnTo>
                <a:lnTo>
                  <a:pt x="6222042" y="2650405"/>
                </a:lnTo>
                <a:lnTo>
                  <a:pt x="6218023" y="2646366"/>
                </a:lnTo>
                <a:lnTo>
                  <a:pt x="6218023" y="2636496"/>
                </a:lnTo>
                <a:close/>
                <a:moveTo>
                  <a:pt x="5982729" y="2632457"/>
                </a:moveTo>
                <a:lnTo>
                  <a:pt x="5992639" y="2632457"/>
                </a:lnTo>
                <a:lnTo>
                  <a:pt x="5996658" y="2636496"/>
                </a:lnTo>
                <a:lnTo>
                  <a:pt x="5996658" y="2646366"/>
                </a:lnTo>
                <a:lnTo>
                  <a:pt x="5992639" y="2650405"/>
                </a:lnTo>
                <a:lnTo>
                  <a:pt x="5982729" y="2650405"/>
                </a:lnTo>
                <a:lnTo>
                  <a:pt x="5978710" y="2646366"/>
                </a:lnTo>
                <a:lnTo>
                  <a:pt x="5978710" y="2636496"/>
                </a:lnTo>
                <a:close/>
                <a:moveTo>
                  <a:pt x="5743412" y="2632457"/>
                </a:moveTo>
                <a:lnTo>
                  <a:pt x="5753323" y="2632457"/>
                </a:lnTo>
                <a:lnTo>
                  <a:pt x="5757342" y="2636496"/>
                </a:lnTo>
                <a:lnTo>
                  <a:pt x="5757342" y="2646366"/>
                </a:lnTo>
                <a:lnTo>
                  <a:pt x="5753323" y="2650405"/>
                </a:lnTo>
                <a:lnTo>
                  <a:pt x="5743412" y="2650405"/>
                </a:lnTo>
                <a:lnTo>
                  <a:pt x="5739393" y="2646366"/>
                </a:lnTo>
                <a:lnTo>
                  <a:pt x="5739393" y="2636496"/>
                </a:lnTo>
                <a:close/>
                <a:moveTo>
                  <a:pt x="5504099" y="2632457"/>
                </a:moveTo>
                <a:lnTo>
                  <a:pt x="5514010" y="2632457"/>
                </a:lnTo>
                <a:lnTo>
                  <a:pt x="5518029" y="2636496"/>
                </a:lnTo>
                <a:lnTo>
                  <a:pt x="5518029" y="2646366"/>
                </a:lnTo>
                <a:lnTo>
                  <a:pt x="5514010" y="2650405"/>
                </a:lnTo>
                <a:lnTo>
                  <a:pt x="5504099" y="2650405"/>
                </a:lnTo>
                <a:lnTo>
                  <a:pt x="5500080" y="2646366"/>
                </a:lnTo>
                <a:lnTo>
                  <a:pt x="5500080" y="2636496"/>
                </a:lnTo>
                <a:close/>
                <a:moveTo>
                  <a:pt x="5264784" y="2632457"/>
                </a:moveTo>
                <a:lnTo>
                  <a:pt x="5274694" y="2632457"/>
                </a:lnTo>
                <a:lnTo>
                  <a:pt x="5278713" y="2636496"/>
                </a:lnTo>
                <a:lnTo>
                  <a:pt x="5278713" y="2646366"/>
                </a:lnTo>
                <a:lnTo>
                  <a:pt x="5274694" y="2650405"/>
                </a:lnTo>
                <a:lnTo>
                  <a:pt x="5264784" y="2650405"/>
                </a:lnTo>
                <a:lnTo>
                  <a:pt x="5260765" y="2646366"/>
                </a:lnTo>
                <a:lnTo>
                  <a:pt x="5260765" y="2636496"/>
                </a:lnTo>
                <a:close/>
                <a:moveTo>
                  <a:pt x="5025470" y="2632457"/>
                </a:moveTo>
                <a:lnTo>
                  <a:pt x="5035381" y="2632457"/>
                </a:lnTo>
                <a:lnTo>
                  <a:pt x="5039400" y="2636496"/>
                </a:lnTo>
                <a:lnTo>
                  <a:pt x="5039400" y="2646366"/>
                </a:lnTo>
                <a:lnTo>
                  <a:pt x="5035381" y="2650405"/>
                </a:lnTo>
                <a:lnTo>
                  <a:pt x="5025470" y="2650405"/>
                </a:lnTo>
                <a:lnTo>
                  <a:pt x="5021451" y="2646366"/>
                </a:lnTo>
                <a:lnTo>
                  <a:pt x="5021451" y="2636496"/>
                </a:lnTo>
                <a:close/>
                <a:moveTo>
                  <a:pt x="4786241" y="2632457"/>
                </a:moveTo>
                <a:lnTo>
                  <a:pt x="4796152" y="2632457"/>
                </a:lnTo>
                <a:lnTo>
                  <a:pt x="4800171" y="2636496"/>
                </a:lnTo>
                <a:lnTo>
                  <a:pt x="4800171" y="2646366"/>
                </a:lnTo>
                <a:lnTo>
                  <a:pt x="4796152" y="2650405"/>
                </a:lnTo>
                <a:lnTo>
                  <a:pt x="4786241" y="2650405"/>
                </a:lnTo>
                <a:lnTo>
                  <a:pt x="4782224" y="2646366"/>
                </a:lnTo>
                <a:lnTo>
                  <a:pt x="4782224" y="2636496"/>
                </a:lnTo>
                <a:close/>
                <a:moveTo>
                  <a:pt x="4546929" y="2632457"/>
                </a:moveTo>
                <a:lnTo>
                  <a:pt x="4556840" y="2632457"/>
                </a:lnTo>
                <a:lnTo>
                  <a:pt x="4560859" y="2636496"/>
                </a:lnTo>
                <a:lnTo>
                  <a:pt x="4560859" y="2646366"/>
                </a:lnTo>
                <a:lnTo>
                  <a:pt x="4556840" y="2650405"/>
                </a:lnTo>
                <a:lnTo>
                  <a:pt x="4546929" y="2650405"/>
                </a:lnTo>
                <a:lnTo>
                  <a:pt x="4542910" y="2646366"/>
                </a:lnTo>
                <a:lnTo>
                  <a:pt x="4542910" y="2636496"/>
                </a:lnTo>
                <a:close/>
                <a:moveTo>
                  <a:pt x="4307612" y="2632457"/>
                </a:moveTo>
                <a:lnTo>
                  <a:pt x="4317523" y="2632457"/>
                </a:lnTo>
                <a:lnTo>
                  <a:pt x="4321543" y="2636496"/>
                </a:lnTo>
                <a:lnTo>
                  <a:pt x="4321543" y="2646366"/>
                </a:lnTo>
                <a:lnTo>
                  <a:pt x="4317523" y="2650405"/>
                </a:lnTo>
                <a:lnTo>
                  <a:pt x="4307612" y="2650405"/>
                </a:lnTo>
                <a:lnTo>
                  <a:pt x="4303595" y="2646366"/>
                </a:lnTo>
                <a:lnTo>
                  <a:pt x="4303595" y="2636496"/>
                </a:lnTo>
                <a:close/>
                <a:moveTo>
                  <a:pt x="4068297" y="2632457"/>
                </a:moveTo>
                <a:lnTo>
                  <a:pt x="4078210" y="2632457"/>
                </a:lnTo>
                <a:lnTo>
                  <a:pt x="4082229" y="2636496"/>
                </a:lnTo>
                <a:lnTo>
                  <a:pt x="4082229" y="2646366"/>
                </a:lnTo>
                <a:lnTo>
                  <a:pt x="4078210" y="2650405"/>
                </a:lnTo>
                <a:lnTo>
                  <a:pt x="4068297" y="2650405"/>
                </a:lnTo>
                <a:lnTo>
                  <a:pt x="4064278" y="2646366"/>
                </a:lnTo>
                <a:lnTo>
                  <a:pt x="4064278" y="2636496"/>
                </a:lnTo>
                <a:close/>
                <a:moveTo>
                  <a:pt x="3828990" y="2632457"/>
                </a:moveTo>
                <a:lnTo>
                  <a:pt x="3838899" y="2632457"/>
                </a:lnTo>
                <a:lnTo>
                  <a:pt x="3842917" y="2636496"/>
                </a:lnTo>
                <a:lnTo>
                  <a:pt x="3842917" y="2646366"/>
                </a:lnTo>
                <a:lnTo>
                  <a:pt x="3838899" y="2650405"/>
                </a:lnTo>
                <a:lnTo>
                  <a:pt x="3828990" y="2650405"/>
                </a:lnTo>
                <a:lnTo>
                  <a:pt x="3824971" y="2646366"/>
                </a:lnTo>
                <a:lnTo>
                  <a:pt x="3824971" y="2636496"/>
                </a:lnTo>
                <a:close/>
                <a:moveTo>
                  <a:pt x="3589676" y="2632457"/>
                </a:moveTo>
                <a:lnTo>
                  <a:pt x="3599585" y="2632457"/>
                </a:lnTo>
                <a:lnTo>
                  <a:pt x="3603604" y="2636496"/>
                </a:lnTo>
                <a:lnTo>
                  <a:pt x="3603604" y="2646366"/>
                </a:lnTo>
                <a:lnTo>
                  <a:pt x="3599585" y="2650405"/>
                </a:lnTo>
                <a:lnTo>
                  <a:pt x="3589676" y="2650405"/>
                </a:lnTo>
                <a:lnTo>
                  <a:pt x="3585657" y="2646366"/>
                </a:lnTo>
                <a:lnTo>
                  <a:pt x="3585657" y="2636496"/>
                </a:lnTo>
                <a:close/>
                <a:moveTo>
                  <a:pt x="3350359" y="2632457"/>
                </a:moveTo>
                <a:lnTo>
                  <a:pt x="3360268" y="2632457"/>
                </a:lnTo>
                <a:lnTo>
                  <a:pt x="3364287" y="2636496"/>
                </a:lnTo>
                <a:lnTo>
                  <a:pt x="3364287" y="2646366"/>
                </a:lnTo>
                <a:lnTo>
                  <a:pt x="3360268" y="2650405"/>
                </a:lnTo>
                <a:lnTo>
                  <a:pt x="3350359" y="2650405"/>
                </a:lnTo>
                <a:lnTo>
                  <a:pt x="3346340" y="2646366"/>
                </a:lnTo>
                <a:lnTo>
                  <a:pt x="3346340" y="2636496"/>
                </a:lnTo>
                <a:close/>
                <a:moveTo>
                  <a:pt x="3111048" y="2632457"/>
                </a:moveTo>
                <a:lnTo>
                  <a:pt x="3120959" y="2632457"/>
                </a:lnTo>
                <a:lnTo>
                  <a:pt x="3124977" y="2636496"/>
                </a:lnTo>
                <a:lnTo>
                  <a:pt x="3124977" y="2646366"/>
                </a:lnTo>
                <a:lnTo>
                  <a:pt x="3120959" y="2650405"/>
                </a:lnTo>
                <a:lnTo>
                  <a:pt x="3111048" y="2650405"/>
                </a:lnTo>
                <a:lnTo>
                  <a:pt x="3107029" y="2646366"/>
                </a:lnTo>
                <a:lnTo>
                  <a:pt x="3107029" y="2636496"/>
                </a:lnTo>
                <a:close/>
                <a:moveTo>
                  <a:pt x="2871737" y="2632457"/>
                </a:moveTo>
                <a:lnTo>
                  <a:pt x="2881646" y="2632457"/>
                </a:lnTo>
                <a:lnTo>
                  <a:pt x="2885666" y="2636496"/>
                </a:lnTo>
                <a:lnTo>
                  <a:pt x="2885666" y="2646366"/>
                </a:lnTo>
                <a:lnTo>
                  <a:pt x="2881646" y="2650405"/>
                </a:lnTo>
                <a:lnTo>
                  <a:pt x="2871737" y="2650405"/>
                </a:lnTo>
                <a:lnTo>
                  <a:pt x="2867717" y="2646366"/>
                </a:lnTo>
                <a:lnTo>
                  <a:pt x="2867717" y="2636496"/>
                </a:lnTo>
                <a:close/>
                <a:moveTo>
                  <a:pt x="2632423" y="2632457"/>
                </a:moveTo>
                <a:lnTo>
                  <a:pt x="2642334" y="2632457"/>
                </a:lnTo>
                <a:lnTo>
                  <a:pt x="2646352" y="2636496"/>
                </a:lnTo>
                <a:lnTo>
                  <a:pt x="2646352" y="2646366"/>
                </a:lnTo>
                <a:lnTo>
                  <a:pt x="2642334" y="2650405"/>
                </a:lnTo>
                <a:lnTo>
                  <a:pt x="2632423" y="2650405"/>
                </a:lnTo>
                <a:lnTo>
                  <a:pt x="2628404" y="2646366"/>
                </a:lnTo>
                <a:lnTo>
                  <a:pt x="2628404" y="2636496"/>
                </a:lnTo>
                <a:close/>
                <a:moveTo>
                  <a:pt x="2393104" y="2632457"/>
                </a:moveTo>
                <a:lnTo>
                  <a:pt x="2403015" y="2632457"/>
                </a:lnTo>
                <a:lnTo>
                  <a:pt x="2407034" y="2636496"/>
                </a:lnTo>
                <a:lnTo>
                  <a:pt x="2407034" y="2646366"/>
                </a:lnTo>
                <a:lnTo>
                  <a:pt x="2403015" y="2650405"/>
                </a:lnTo>
                <a:lnTo>
                  <a:pt x="2393104" y="2650405"/>
                </a:lnTo>
                <a:lnTo>
                  <a:pt x="2389087" y="2646366"/>
                </a:lnTo>
                <a:lnTo>
                  <a:pt x="2389087" y="2636496"/>
                </a:lnTo>
                <a:close/>
                <a:moveTo>
                  <a:pt x="2157821" y="2632457"/>
                </a:moveTo>
                <a:lnTo>
                  <a:pt x="2167732" y="2632457"/>
                </a:lnTo>
                <a:lnTo>
                  <a:pt x="2171750" y="2636496"/>
                </a:lnTo>
                <a:lnTo>
                  <a:pt x="2171750" y="2646366"/>
                </a:lnTo>
                <a:lnTo>
                  <a:pt x="2167732" y="2650405"/>
                </a:lnTo>
                <a:lnTo>
                  <a:pt x="2157821" y="2650405"/>
                </a:lnTo>
                <a:lnTo>
                  <a:pt x="2153802" y="2646366"/>
                </a:lnTo>
                <a:lnTo>
                  <a:pt x="2153802" y="2636496"/>
                </a:lnTo>
                <a:close/>
                <a:moveTo>
                  <a:pt x="1918513" y="2632457"/>
                </a:moveTo>
                <a:lnTo>
                  <a:pt x="1928422" y="2632457"/>
                </a:lnTo>
                <a:lnTo>
                  <a:pt x="1932441" y="2636496"/>
                </a:lnTo>
                <a:lnTo>
                  <a:pt x="1932441" y="2646366"/>
                </a:lnTo>
                <a:lnTo>
                  <a:pt x="1928422" y="2650405"/>
                </a:lnTo>
                <a:lnTo>
                  <a:pt x="1918513" y="2650405"/>
                </a:lnTo>
                <a:lnTo>
                  <a:pt x="1914494" y="2646366"/>
                </a:lnTo>
                <a:lnTo>
                  <a:pt x="1914494" y="2636496"/>
                </a:lnTo>
                <a:close/>
                <a:moveTo>
                  <a:pt x="1679212" y="2632457"/>
                </a:moveTo>
                <a:lnTo>
                  <a:pt x="1689122" y="2632457"/>
                </a:lnTo>
                <a:lnTo>
                  <a:pt x="1693141" y="2636496"/>
                </a:lnTo>
                <a:lnTo>
                  <a:pt x="1693141" y="2646366"/>
                </a:lnTo>
                <a:lnTo>
                  <a:pt x="1689122" y="2650405"/>
                </a:lnTo>
                <a:lnTo>
                  <a:pt x="1679212" y="2650405"/>
                </a:lnTo>
                <a:lnTo>
                  <a:pt x="1675193" y="2646366"/>
                </a:lnTo>
                <a:lnTo>
                  <a:pt x="1675193" y="2636496"/>
                </a:lnTo>
                <a:close/>
                <a:moveTo>
                  <a:pt x="1439896" y="2632457"/>
                </a:moveTo>
                <a:lnTo>
                  <a:pt x="1449806" y="2632457"/>
                </a:lnTo>
                <a:lnTo>
                  <a:pt x="1453824" y="2636496"/>
                </a:lnTo>
                <a:lnTo>
                  <a:pt x="1453824" y="2646366"/>
                </a:lnTo>
                <a:lnTo>
                  <a:pt x="1449806" y="2650405"/>
                </a:lnTo>
                <a:lnTo>
                  <a:pt x="1439896" y="2650405"/>
                </a:lnTo>
                <a:lnTo>
                  <a:pt x="1435876" y="2646366"/>
                </a:lnTo>
                <a:lnTo>
                  <a:pt x="1435876" y="2636496"/>
                </a:lnTo>
                <a:close/>
                <a:moveTo>
                  <a:pt x="1200580" y="2632457"/>
                </a:moveTo>
                <a:lnTo>
                  <a:pt x="1210490" y="2632457"/>
                </a:lnTo>
                <a:lnTo>
                  <a:pt x="1214509" y="2636496"/>
                </a:lnTo>
                <a:lnTo>
                  <a:pt x="1214509" y="2646366"/>
                </a:lnTo>
                <a:lnTo>
                  <a:pt x="1210490" y="2650405"/>
                </a:lnTo>
                <a:lnTo>
                  <a:pt x="1200580" y="2650405"/>
                </a:lnTo>
                <a:lnTo>
                  <a:pt x="1196561" y="2646366"/>
                </a:lnTo>
                <a:lnTo>
                  <a:pt x="1196561" y="2636496"/>
                </a:lnTo>
                <a:close/>
                <a:moveTo>
                  <a:pt x="961267" y="2632457"/>
                </a:moveTo>
                <a:lnTo>
                  <a:pt x="971178" y="2632457"/>
                </a:lnTo>
                <a:lnTo>
                  <a:pt x="975196" y="2636496"/>
                </a:lnTo>
                <a:lnTo>
                  <a:pt x="975196" y="2646366"/>
                </a:lnTo>
                <a:lnTo>
                  <a:pt x="971178" y="2650405"/>
                </a:lnTo>
                <a:lnTo>
                  <a:pt x="961267" y="2650405"/>
                </a:lnTo>
                <a:lnTo>
                  <a:pt x="957249" y="2646366"/>
                </a:lnTo>
                <a:lnTo>
                  <a:pt x="957249" y="2636496"/>
                </a:lnTo>
                <a:close/>
                <a:moveTo>
                  <a:pt x="721970" y="2632457"/>
                </a:moveTo>
                <a:lnTo>
                  <a:pt x="731879" y="2632457"/>
                </a:lnTo>
                <a:lnTo>
                  <a:pt x="735898" y="2636496"/>
                </a:lnTo>
                <a:lnTo>
                  <a:pt x="735898" y="2646366"/>
                </a:lnTo>
                <a:lnTo>
                  <a:pt x="731879" y="2650405"/>
                </a:lnTo>
                <a:lnTo>
                  <a:pt x="721970" y="2650405"/>
                </a:lnTo>
                <a:lnTo>
                  <a:pt x="717951" y="2646366"/>
                </a:lnTo>
                <a:lnTo>
                  <a:pt x="717951" y="2636496"/>
                </a:lnTo>
                <a:close/>
                <a:moveTo>
                  <a:pt x="482657" y="2632457"/>
                </a:moveTo>
                <a:lnTo>
                  <a:pt x="492567" y="2632457"/>
                </a:lnTo>
                <a:lnTo>
                  <a:pt x="496586" y="2636496"/>
                </a:lnTo>
                <a:lnTo>
                  <a:pt x="496586" y="2646366"/>
                </a:lnTo>
                <a:lnTo>
                  <a:pt x="492567" y="2650405"/>
                </a:lnTo>
                <a:lnTo>
                  <a:pt x="482657" y="2650405"/>
                </a:lnTo>
                <a:lnTo>
                  <a:pt x="478638" y="2646366"/>
                </a:lnTo>
                <a:lnTo>
                  <a:pt x="478638" y="2636496"/>
                </a:lnTo>
                <a:close/>
                <a:moveTo>
                  <a:pt x="243344" y="2632457"/>
                </a:moveTo>
                <a:lnTo>
                  <a:pt x="253254" y="2632457"/>
                </a:lnTo>
                <a:lnTo>
                  <a:pt x="257273" y="2636496"/>
                </a:lnTo>
                <a:lnTo>
                  <a:pt x="257273" y="2646366"/>
                </a:lnTo>
                <a:lnTo>
                  <a:pt x="253254" y="2650405"/>
                </a:lnTo>
                <a:lnTo>
                  <a:pt x="243344" y="2650405"/>
                </a:lnTo>
                <a:lnTo>
                  <a:pt x="239325" y="2646366"/>
                </a:lnTo>
                <a:lnTo>
                  <a:pt x="239325" y="2636496"/>
                </a:lnTo>
                <a:close/>
                <a:moveTo>
                  <a:pt x="4030" y="2632457"/>
                </a:moveTo>
                <a:lnTo>
                  <a:pt x="13941" y="2632457"/>
                </a:lnTo>
                <a:lnTo>
                  <a:pt x="17960" y="2636496"/>
                </a:lnTo>
                <a:lnTo>
                  <a:pt x="17960" y="2646366"/>
                </a:lnTo>
                <a:lnTo>
                  <a:pt x="13941" y="2650405"/>
                </a:lnTo>
                <a:lnTo>
                  <a:pt x="4030" y="2650405"/>
                </a:lnTo>
                <a:lnTo>
                  <a:pt x="11" y="2646366"/>
                </a:lnTo>
                <a:lnTo>
                  <a:pt x="11" y="2636496"/>
                </a:lnTo>
                <a:close/>
                <a:moveTo>
                  <a:pt x="2157821" y="2393178"/>
                </a:moveTo>
                <a:lnTo>
                  <a:pt x="2167732" y="2393178"/>
                </a:lnTo>
                <a:lnTo>
                  <a:pt x="2171750" y="2397216"/>
                </a:lnTo>
                <a:lnTo>
                  <a:pt x="2171750" y="2407087"/>
                </a:lnTo>
                <a:lnTo>
                  <a:pt x="2167732" y="2411126"/>
                </a:lnTo>
                <a:lnTo>
                  <a:pt x="2157821" y="2411126"/>
                </a:lnTo>
                <a:lnTo>
                  <a:pt x="2153802" y="2407087"/>
                </a:lnTo>
                <a:lnTo>
                  <a:pt x="2153802" y="2397216"/>
                </a:lnTo>
                <a:close/>
                <a:moveTo>
                  <a:pt x="1918513" y="2393178"/>
                </a:moveTo>
                <a:lnTo>
                  <a:pt x="1928422" y="2393178"/>
                </a:lnTo>
                <a:lnTo>
                  <a:pt x="1932443" y="2397216"/>
                </a:lnTo>
                <a:lnTo>
                  <a:pt x="1932443" y="2407087"/>
                </a:lnTo>
                <a:lnTo>
                  <a:pt x="1928422" y="2411126"/>
                </a:lnTo>
                <a:lnTo>
                  <a:pt x="1918513" y="2411126"/>
                </a:lnTo>
                <a:lnTo>
                  <a:pt x="1914494" y="2407087"/>
                </a:lnTo>
                <a:lnTo>
                  <a:pt x="1914494" y="2397216"/>
                </a:lnTo>
                <a:close/>
                <a:moveTo>
                  <a:pt x="1679212" y="2393178"/>
                </a:moveTo>
                <a:lnTo>
                  <a:pt x="1689123" y="2393178"/>
                </a:lnTo>
                <a:lnTo>
                  <a:pt x="1693142" y="2397216"/>
                </a:lnTo>
                <a:lnTo>
                  <a:pt x="1693142" y="2407087"/>
                </a:lnTo>
                <a:lnTo>
                  <a:pt x="1689123" y="2411126"/>
                </a:lnTo>
                <a:lnTo>
                  <a:pt x="1679212" y="2411126"/>
                </a:lnTo>
                <a:lnTo>
                  <a:pt x="1675194" y="2407087"/>
                </a:lnTo>
                <a:lnTo>
                  <a:pt x="1675194" y="2397216"/>
                </a:lnTo>
                <a:close/>
                <a:moveTo>
                  <a:pt x="1439896" y="2393178"/>
                </a:moveTo>
                <a:lnTo>
                  <a:pt x="1449806" y="2393178"/>
                </a:lnTo>
                <a:lnTo>
                  <a:pt x="1453826" y="2397216"/>
                </a:lnTo>
                <a:lnTo>
                  <a:pt x="1453826" y="2407087"/>
                </a:lnTo>
                <a:lnTo>
                  <a:pt x="1449806" y="2411126"/>
                </a:lnTo>
                <a:lnTo>
                  <a:pt x="1439896" y="2411126"/>
                </a:lnTo>
                <a:lnTo>
                  <a:pt x="1435878" y="2407087"/>
                </a:lnTo>
                <a:lnTo>
                  <a:pt x="1435878" y="2397216"/>
                </a:lnTo>
                <a:close/>
                <a:moveTo>
                  <a:pt x="1200580" y="2393178"/>
                </a:moveTo>
                <a:lnTo>
                  <a:pt x="1210491" y="2393178"/>
                </a:lnTo>
                <a:lnTo>
                  <a:pt x="1214510" y="2397216"/>
                </a:lnTo>
                <a:lnTo>
                  <a:pt x="1214510" y="2407087"/>
                </a:lnTo>
                <a:lnTo>
                  <a:pt x="1210491" y="2411126"/>
                </a:lnTo>
                <a:lnTo>
                  <a:pt x="1200580" y="2411126"/>
                </a:lnTo>
                <a:lnTo>
                  <a:pt x="1196562" y="2407087"/>
                </a:lnTo>
                <a:lnTo>
                  <a:pt x="1196562" y="2397216"/>
                </a:lnTo>
                <a:close/>
                <a:moveTo>
                  <a:pt x="961268" y="2393178"/>
                </a:moveTo>
                <a:lnTo>
                  <a:pt x="971178" y="2393178"/>
                </a:lnTo>
                <a:lnTo>
                  <a:pt x="975196" y="2397216"/>
                </a:lnTo>
                <a:lnTo>
                  <a:pt x="975196" y="2407087"/>
                </a:lnTo>
                <a:lnTo>
                  <a:pt x="971178" y="2411126"/>
                </a:lnTo>
                <a:lnTo>
                  <a:pt x="961268" y="2411126"/>
                </a:lnTo>
                <a:lnTo>
                  <a:pt x="957249" y="2407087"/>
                </a:lnTo>
                <a:lnTo>
                  <a:pt x="957249" y="2397216"/>
                </a:lnTo>
                <a:close/>
                <a:moveTo>
                  <a:pt x="9572438" y="2393127"/>
                </a:moveTo>
                <a:lnTo>
                  <a:pt x="9582349" y="2393127"/>
                </a:lnTo>
                <a:lnTo>
                  <a:pt x="9586368" y="2397165"/>
                </a:lnTo>
                <a:lnTo>
                  <a:pt x="9586368" y="2407036"/>
                </a:lnTo>
                <a:lnTo>
                  <a:pt x="9582349" y="2411074"/>
                </a:lnTo>
                <a:lnTo>
                  <a:pt x="9572438" y="2411074"/>
                </a:lnTo>
                <a:lnTo>
                  <a:pt x="9568419" y="2407036"/>
                </a:lnTo>
                <a:lnTo>
                  <a:pt x="9568419" y="2397165"/>
                </a:lnTo>
                <a:close/>
                <a:moveTo>
                  <a:pt x="9333125" y="2393127"/>
                </a:moveTo>
                <a:lnTo>
                  <a:pt x="9343036" y="2393127"/>
                </a:lnTo>
                <a:lnTo>
                  <a:pt x="9347055" y="2397165"/>
                </a:lnTo>
                <a:lnTo>
                  <a:pt x="9347055" y="2407036"/>
                </a:lnTo>
                <a:lnTo>
                  <a:pt x="9343036" y="2411074"/>
                </a:lnTo>
                <a:lnTo>
                  <a:pt x="9333125" y="2411074"/>
                </a:lnTo>
                <a:lnTo>
                  <a:pt x="9329106" y="2407036"/>
                </a:lnTo>
                <a:lnTo>
                  <a:pt x="9329106" y="2397165"/>
                </a:lnTo>
                <a:close/>
                <a:moveTo>
                  <a:pt x="9093811" y="2393127"/>
                </a:moveTo>
                <a:lnTo>
                  <a:pt x="9103722" y="2393127"/>
                </a:lnTo>
                <a:lnTo>
                  <a:pt x="9107741" y="2397165"/>
                </a:lnTo>
                <a:lnTo>
                  <a:pt x="9107741" y="2407036"/>
                </a:lnTo>
                <a:lnTo>
                  <a:pt x="9103722" y="2411074"/>
                </a:lnTo>
                <a:lnTo>
                  <a:pt x="9093811" y="2411074"/>
                </a:lnTo>
                <a:lnTo>
                  <a:pt x="9089792" y="2407036"/>
                </a:lnTo>
                <a:lnTo>
                  <a:pt x="9089792" y="2397165"/>
                </a:lnTo>
                <a:close/>
                <a:moveTo>
                  <a:pt x="8854496" y="2393127"/>
                </a:moveTo>
                <a:lnTo>
                  <a:pt x="8864407" y="2393127"/>
                </a:lnTo>
                <a:lnTo>
                  <a:pt x="8868426" y="2397165"/>
                </a:lnTo>
                <a:lnTo>
                  <a:pt x="8868426" y="2407036"/>
                </a:lnTo>
                <a:lnTo>
                  <a:pt x="8864407" y="2411074"/>
                </a:lnTo>
                <a:lnTo>
                  <a:pt x="8854496" y="2411074"/>
                </a:lnTo>
                <a:lnTo>
                  <a:pt x="8850477" y="2407036"/>
                </a:lnTo>
                <a:lnTo>
                  <a:pt x="8850477" y="2397165"/>
                </a:lnTo>
                <a:close/>
                <a:moveTo>
                  <a:pt x="8615184" y="2393127"/>
                </a:moveTo>
                <a:lnTo>
                  <a:pt x="8625095" y="2393127"/>
                </a:lnTo>
                <a:lnTo>
                  <a:pt x="8629114" y="2397165"/>
                </a:lnTo>
                <a:lnTo>
                  <a:pt x="8629114" y="2407036"/>
                </a:lnTo>
                <a:lnTo>
                  <a:pt x="8625095" y="2411074"/>
                </a:lnTo>
                <a:lnTo>
                  <a:pt x="8615184" y="2411074"/>
                </a:lnTo>
                <a:lnTo>
                  <a:pt x="8611165" y="2407036"/>
                </a:lnTo>
                <a:lnTo>
                  <a:pt x="8611165" y="2397165"/>
                </a:lnTo>
                <a:close/>
                <a:moveTo>
                  <a:pt x="8375869" y="2393127"/>
                </a:moveTo>
                <a:lnTo>
                  <a:pt x="8385779" y="2393127"/>
                </a:lnTo>
                <a:lnTo>
                  <a:pt x="8389799" y="2397165"/>
                </a:lnTo>
                <a:lnTo>
                  <a:pt x="8389799" y="2407036"/>
                </a:lnTo>
                <a:lnTo>
                  <a:pt x="8385779" y="2411074"/>
                </a:lnTo>
                <a:lnTo>
                  <a:pt x="8375869" y="2411074"/>
                </a:lnTo>
                <a:lnTo>
                  <a:pt x="8371850" y="2407036"/>
                </a:lnTo>
                <a:lnTo>
                  <a:pt x="8371850" y="2397165"/>
                </a:lnTo>
                <a:close/>
                <a:moveTo>
                  <a:pt x="8136553" y="2393127"/>
                </a:moveTo>
                <a:lnTo>
                  <a:pt x="8146464" y="2393127"/>
                </a:lnTo>
                <a:lnTo>
                  <a:pt x="8150483" y="2397165"/>
                </a:lnTo>
                <a:lnTo>
                  <a:pt x="8150483" y="2407036"/>
                </a:lnTo>
                <a:lnTo>
                  <a:pt x="8146464" y="2411074"/>
                </a:lnTo>
                <a:lnTo>
                  <a:pt x="8136553" y="2411074"/>
                </a:lnTo>
                <a:lnTo>
                  <a:pt x="8132534" y="2407036"/>
                </a:lnTo>
                <a:lnTo>
                  <a:pt x="8132534" y="2397165"/>
                </a:lnTo>
                <a:close/>
                <a:moveTo>
                  <a:pt x="7897241" y="2393127"/>
                </a:moveTo>
                <a:lnTo>
                  <a:pt x="7907151" y="2393127"/>
                </a:lnTo>
                <a:lnTo>
                  <a:pt x="7911170" y="2397165"/>
                </a:lnTo>
                <a:lnTo>
                  <a:pt x="7911170" y="2407036"/>
                </a:lnTo>
                <a:lnTo>
                  <a:pt x="7907151" y="2411074"/>
                </a:lnTo>
                <a:lnTo>
                  <a:pt x="7897241" y="2411074"/>
                </a:lnTo>
                <a:lnTo>
                  <a:pt x="7893222" y="2407036"/>
                </a:lnTo>
                <a:lnTo>
                  <a:pt x="7893222" y="2397165"/>
                </a:lnTo>
                <a:close/>
                <a:moveTo>
                  <a:pt x="7657926" y="2393127"/>
                </a:moveTo>
                <a:lnTo>
                  <a:pt x="7667836" y="2393127"/>
                </a:lnTo>
                <a:lnTo>
                  <a:pt x="7671855" y="2397165"/>
                </a:lnTo>
                <a:lnTo>
                  <a:pt x="7671855" y="2407036"/>
                </a:lnTo>
                <a:lnTo>
                  <a:pt x="7667836" y="2411074"/>
                </a:lnTo>
                <a:lnTo>
                  <a:pt x="7657926" y="2411074"/>
                </a:lnTo>
                <a:lnTo>
                  <a:pt x="7653906" y="2407036"/>
                </a:lnTo>
                <a:lnTo>
                  <a:pt x="7653906" y="2397165"/>
                </a:lnTo>
                <a:close/>
                <a:moveTo>
                  <a:pt x="7418611" y="2393127"/>
                </a:moveTo>
                <a:lnTo>
                  <a:pt x="7428521" y="2393127"/>
                </a:lnTo>
                <a:lnTo>
                  <a:pt x="7432540" y="2397165"/>
                </a:lnTo>
                <a:lnTo>
                  <a:pt x="7432540" y="2407036"/>
                </a:lnTo>
                <a:lnTo>
                  <a:pt x="7428521" y="2411074"/>
                </a:lnTo>
                <a:lnTo>
                  <a:pt x="7418611" y="2411074"/>
                </a:lnTo>
                <a:lnTo>
                  <a:pt x="7414592" y="2407036"/>
                </a:lnTo>
                <a:lnTo>
                  <a:pt x="7414592" y="2397165"/>
                </a:lnTo>
                <a:close/>
                <a:moveTo>
                  <a:pt x="7179298" y="2393127"/>
                </a:moveTo>
                <a:lnTo>
                  <a:pt x="7189209" y="2393127"/>
                </a:lnTo>
                <a:lnTo>
                  <a:pt x="7193228" y="2397165"/>
                </a:lnTo>
                <a:lnTo>
                  <a:pt x="7193228" y="2407036"/>
                </a:lnTo>
                <a:lnTo>
                  <a:pt x="7189209" y="2411074"/>
                </a:lnTo>
                <a:lnTo>
                  <a:pt x="7179298" y="2411074"/>
                </a:lnTo>
                <a:lnTo>
                  <a:pt x="7175279" y="2407036"/>
                </a:lnTo>
                <a:lnTo>
                  <a:pt x="7175279" y="2397165"/>
                </a:lnTo>
                <a:close/>
                <a:moveTo>
                  <a:pt x="6939983" y="2393127"/>
                </a:moveTo>
                <a:lnTo>
                  <a:pt x="6949894" y="2393127"/>
                </a:lnTo>
                <a:lnTo>
                  <a:pt x="6953913" y="2397165"/>
                </a:lnTo>
                <a:lnTo>
                  <a:pt x="6953913" y="2407036"/>
                </a:lnTo>
                <a:lnTo>
                  <a:pt x="6949894" y="2411074"/>
                </a:lnTo>
                <a:lnTo>
                  <a:pt x="6939983" y="2411074"/>
                </a:lnTo>
                <a:lnTo>
                  <a:pt x="6935964" y="2407036"/>
                </a:lnTo>
                <a:lnTo>
                  <a:pt x="6935964" y="2397165"/>
                </a:lnTo>
                <a:close/>
                <a:moveTo>
                  <a:pt x="6700670" y="2393127"/>
                </a:moveTo>
                <a:lnTo>
                  <a:pt x="6710581" y="2393127"/>
                </a:lnTo>
                <a:lnTo>
                  <a:pt x="6714600" y="2397165"/>
                </a:lnTo>
                <a:lnTo>
                  <a:pt x="6714600" y="2407036"/>
                </a:lnTo>
                <a:lnTo>
                  <a:pt x="6710581" y="2411074"/>
                </a:lnTo>
                <a:lnTo>
                  <a:pt x="6700670" y="2411074"/>
                </a:lnTo>
                <a:lnTo>
                  <a:pt x="6696651" y="2407036"/>
                </a:lnTo>
                <a:lnTo>
                  <a:pt x="6696651" y="2397165"/>
                </a:lnTo>
                <a:close/>
                <a:moveTo>
                  <a:pt x="6461356" y="2393127"/>
                </a:moveTo>
                <a:lnTo>
                  <a:pt x="6471266" y="2393127"/>
                </a:lnTo>
                <a:lnTo>
                  <a:pt x="6475285" y="2397165"/>
                </a:lnTo>
                <a:lnTo>
                  <a:pt x="6475285" y="2407036"/>
                </a:lnTo>
                <a:lnTo>
                  <a:pt x="6471266" y="2411074"/>
                </a:lnTo>
                <a:lnTo>
                  <a:pt x="6461356" y="2411074"/>
                </a:lnTo>
                <a:lnTo>
                  <a:pt x="6457337" y="2407036"/>
                </a:lnTo>
                <a:lnTo>
                  <a:pt x="6457337" y="2397165"/>
                </a:lnTo>
                <a:close/>
                <a:moveTo>
                  <a:pt x="6222042" y="2393127"/>
                </a:moveTo>
                <a:lnTo>
                  <a:pt x="6231952" y="2393127"/>
                </a:lnTo>
                <a:lnTo>
                  <a:pt x="6235971" y="2397165"/>
                </a:lnTo>
                <a:lnTo>
                  <a:pt x="6235971" y="2407036"/>
                </a:lnTo>
                <a:lnTo>
                  <a:pt x="6231952" y="2411074"/>
                </a:lnTo>
                <a:lnTo>
                  <a:pt x="6222042" y="2411074"/>
                </a:lnTo>
                <a:lnTo>
                  <a:pt x="6218023" y="2407036"/>
                </a:lnTo>
                <a:lnTo>
                  <a:pt x="6218023" y="2397165"/>
                </a:lnTo>
                <a:close/>
                <a:moveTo>
                  <a:pt x="5982729" y="2393127"/>
                </a:moveTo>
                <a:lnTo>
                  <a:pt x="5992639" y="2393127"/>
                </a:lnTo>
                <a:lnTo>
                  <a:pt x="5996658" y="2397165"/>
                </a:lnTo>
                <a:lnTo>
                  <a:pt x="5996658" y="2407036"/>
                </a:lnTo>
                <a:lnTo>
                  <a:pt x="5992639" y="2411074"/>
                </a:lnTo>
                <a:lnTo>
                  <a:pt x="5982729" y="2411074"/>
                </a:lnTo>
                <a:lnTo>
                  <a:pt x="5978710" y="2407036"/>
                </a:lnTo>
                <a:lnTo>
                  <a:pt x="5978710" y="2397165"/>
                </a:lnTo>
                <a:close/>
                <a:moveTo>
                  <a:pt x="5743412" y="2393127"/>
                </a:moveTo>
                <a:lnTo>
                  <a:pt x="5753323" y="2393127"/>
                </a:lnTo>
                <a:lnTo>
                  <a:pt x="5757342" y="2397165"/>
                </a:lnTo>
                <a:lnTo>
                  <a:pt x="5757342" y="2407036"/>
                </a:lnTo>
                <a:lnTo>
                  <a:pt x="5753323" y="2411074"/>
                </a:lnTo>
                <a:lnTo>
                  <a:pt x="5743412" y="2411074"/>
                </a:lnTo>
                <a:lnTo>
                  <a:pt x="5739393" y="2407036"/>
                </a:lnTo>
                <a:lnTo>
                  <a:pt x="5739393" y="2397165"/>
                </a:lnTo>
                <a:close/>
                <a:moveTo>
                  <a:pt x="5504099" y="2393127"/>
                </a:moveTo>
                <a:lnTo>
                  <a:pt x="5514010" y="2393127"/>
                </a:lnTo>
                <a:lnTo>
                  <a:pt x="5518029" y="2397165"/>
                </a:lnTo>
                <a:lnTo>
                  <a:pt x="5518029" y="2407036"/>
                </a:lnTo>
                <a:lnTo>
                  <a:pt x="5514010" y="2411074"/>
                </a:lnTo>
                <a:lnTo>
                  <a:pt x="5504099" y="2411074"/>
                </a:lnTo>
                <a:lnTo>
                  <a:pt x="5500080" y="2407036"/>
                </a:lnTo>
                <a:lnTo>
                  <a:pt x="5500080" y="2397165"/>
                </a:lnTo>
                <a:close/>
                <a:moveTo>
                  <a:pt x="5264784" y="2393127"/>
                </a:moveTo>
                <a:lnTo>
                  <a:pt x="5274694" y="2393127"/>
                </a:lnTo>
                <a:lnTo>
                  <a:pt x="5278713" y="2397165"/>
                </a:lnTo>
                <a:lnTo>
                  <a:pt x="5278713" y="2407036"/>
                </a:lnTo>
                <a:lnTo>
                  <a:pt x="5274694" y="2411074"/>
                </a:lnTo>
                <a:lnTo>
                  <a:pt x="5264784" y="2411074"/>
                </a:lnTo>
                <a:lnTo>
                  <a:pt x="5260765" y="2407036"/>
                </a:lnTo>
                <a:lnTo>
                  <a:pt x="5260765" y="2397165"/>
                </a:lnTo>
                <a:close/>
                <a:moveTo>
                  <a:pt x="5025470" y="2393127"/>
                </a:moveTo>
                <a:lnTo>
                  <a:pt x="5035381" y="2393127"/>
                </a:lnTo>
                <a:lnTo>
                  <a:pt x="5039400" y="2397165"/>
                </a:lnTo>
                <a:lnTo>
                  <a:pt x="5039400" y="2407036"/>
                </a:lnTo>
                <a:lnTo>
                  <a:pt x="5035381" y="2411074"/>
                </a:lnTo>
                <a:lnTo>
                  <a:pt x="5025470" y="2411074"/>
                </a:lnTo>
                <a:lnTo>
                  <a:pt x="5021451" y="2407036"/>
                </a:lnTo>
                <a:lnTo>
                  <a:pt x="5021451" y="2397165"/>
                </a:lnTo>
                <a:close/>
                <a:moveTo>
                  <a:pt x="4786241" y="2393127"/>
                </a:moveTo>
                <a:lnTo>
                  <a:pt x="4796152" y="2393127"/>
                </a:lnTo>
                <a:lnTo>
                  <a:pt x="4800171" y="2397165"/>
                </a:lnTo>
                <a:lnTo>
                  <a:pt x="4800171" y="2407036"/>
                </a:lnTo>
                <a:lnTo>
                  <a:pt x="4796152" y="2411074"/>
                </a:lnTo>
                <a:lnTo>
                  <a:pt x="4786241" y="2411074"/>
                </a:lnTo>
                <a:lnTo>
                  <a:pt x="4782224" y="2407036"/>
                </a:lnTo>
                <a:lnTo>
                  <a:pt x="4782224" y="2397165"/>
                </a:lnTo>
                <a:close/>
                <a:moveTo>
                  <a:pt x="4546929" y="2393127"/>
                </a:moveTo>
                <a:lnTo>
                  <a:pt x="4556840" y="2393127"/>
                </a:lnTo>
                <a:lnTo>
                  <a:pt x="4560859" y="2397165"/>
                </a:lnTo>
                <a:lnTo>
                  <a:pt x="4560859" y="2407036"/>
                </a:lnTo>
                <a:lnTo>
                  <a:pt x="4556840" y="2411074"/>
                </a:lnTo>
                <a:lnTo>
                  <a:pt x="4546929" y="2411074"/>
                </a:lnTo>
                <a:lnTo>
                  <a:pt x="4542910" y="2407036"/>
                </a:lnTo>
                <a:lnTo>
                  <a:pt x="4542910" y="2397165"/>
                </a:lnTo>
                <a:close/>
                <a:moveTo>
                  <a:pt x="4307612" y="2393127"/>
                </a:moveTo>
                <a:lnTo>
                  <a:pt x="4317523" y="2393127"/>
                </a:lnTo>
                <a:lnTo>
                  <a:pt x="4321543" y="2397165"/>
                </a:lnTo>
                <a:lnTo>
                  <a:pt x="4321543" y="2407036"/>
                </a:lnTo>
                <a:lnTo>
                  <a:pt x="4317523" y="2411074"/>
                </a:lnTo>
                <a:lnTo>
                  <a:pt x="4307612" y="2411074"/>
                </a:lnTo>
                <a:lnTo>
                  <a:pt x="4303595" y="2407036"/>
                </a:lnTo>
                <a:lnTo>
                  <a:pt x="4303595" y="2397165"/>
                </a:lnTo>
                <a:close/>
                <a:moveTo>
                  <a:pt x="4068297" y="2393127"/>
                </a:moveTo>
                <a:lnTo>
                  <a:pt x="4078210" y="2393127"/>
                </a:lnTo>
                <a:lnTo>
                  <a:pt x="4082229" y="2397165"/>
                </a:lnTo>
                <a:lnTo>
                  <a:pt x="4082229" y="2407036"/>
                </a:lnTo>
                <a:lnTo>
                  <a:pt x="4078210" y="2411074"/>
                </a:lnTo>
                <a:lnTo>
                  <a:pt x="4068297" y="2411074"/>
                </a:lnTo>
                <a:lnTo>
                  <a:pt x="4064278" y="2407036"/>
                </a:lnTo>
                <a:lnTo>
                  <a:pt x="4064278" y="2397165"/>
                </a:lnTo>
                <a:close/>
                <a:moveTo>
                  <a:pt x="3828990" y="2393127"/>
                </a:moveTo>
                <a:lnTo>
                  <a:pt x="3838899" y="2393127"/>
                </a:lnTo>
                <a:lnTo>
                  <a:pt x="3842917" y="2397165"/>
                </a:lnTo>
                <a:lnTo>
                  <a:pt x="3842917" y="2407036"/>
                </a:lnTo>
                <a:lnTo>
                  <a:pt x="3838899" y="2411074"/>
                </a:lnTo>
                <a:lnTo>
                  <a:pt x="3828990" y="2411074"/>
                </a:lnTo>
                <a:lnTo>
                  <a:pt x="3824971" y="2407036"/>
                </a:lnTo>
                <a:lnTo>
                  <a:pt x="3824971" y="2397165"/>
                </a:lnTo>
                <a:close/>
                <a:moveTo>
                  <a:pt x="3589676" y="2393127"/>
                </a:moveTo>
                <a:lnTo>
                  <a:pt x="3599585" y="2393127"/>
                </a:lnTo>
                <a:lnTo>
                  <a:pt x="3603604" y="2397165"/>
                </a:lnTo>
                <a:lnTo>
                  <a:pt x="3603604" y="2407036"/>
                </a:lnTo>
                <a:lnTo>
                  <a:pt x="3599585" y="2411074"/>
                </a:lnTo>
                <a:lnTo>
                  <a:pt x="3589676" y="2411074"/>
                </a:lnTo>
                <a:lnTo>
                  <a:pt x="3585657" y="2407036"/>
                </a:lnTo>
                <a:lnTo>
                  <a:pt x="3585657" y="2397165"/>
                </a:lnTo>
                <a:close/>
                <a:moveTo>
                  <a:pt x="3350359" y="2393127"/>
                </a:moveTo>
                <a:lnTo>
                  <a:pt x="3360268" y="2393127"/>
                </a:lnTo>
                <a:lnTo>
                  <a:pt x="3364287" y="2397165"/>
                </a:lnTo>
                <a:lnTo>
                  <a:pt x="3364287" y="2407036"/>
                </a:lnTo>
                <a:lnTo>
                  <a:pt x="3360268" y="2411074"/>
                </a:lnTo>
                <a:lnTo>
                  <a:pt x="3350359" y="2411074"/>
                </a:lnTo>
                <a:lnTo>
                  <a:pt x="3346340" y="2407036"/>
                </a:lnTo>
                <a:lnTo>
                  <a:pt x="3346340" y="2397165"/>
                </a:lnTo>
                <a:close/>
                <a:moveTo>
                  <a:pt x="3111048" y="2393127"/>
                </a:moveTo>
                <a:lnTo>
                  <a:pt x="3120959" y="2393127"/>
                </a:lnTo>
                <a:lnTo>
                  <a:pt x="3124977" y="2397165"/>
                </a:lnTo>
                <a:lnTo>
                  <a:pt x="3124977" y="2407036"/>
                </a:lnTo>
                <a:lnTo>
                  <a:pt x="3120959" y="2411074"/>
                </a:lnTo>
                <a:lnTo>
                  <a:pt x="3111048" y="2411074"/>
                </a:lnTo>
                <a:lnTo>
                  <a:pt x="3107029" y="2407036"/>
                </a:lnTo>
                <a:lnTo>
                  <a:pt x="3107029" y="2397165"/>
                </a:lnTo>
                <a:close/>
                <a:moveTo>
                  <a:pt x="2871737" y="2393127"/>
                </a:moveTo>
                <a:lnTo>
                  <a:pt x="2881646" y="2393127"/>
                </a:lnTo>
                <a:lnTo>
                  <a:pt x="2885666" y="2397165"/>
                </a:lnTo>
                <a:lnTo>
                  <a:pt x="2885666" y="2407036"/>
                </a:lnTo>
                <a:lnTo>
                  <a:pt x="2881646" y="2411074"/>
                </a:lnTo>
                <a:lnTo>
                  <a:pt x="2871737" y="2411074"/>
                </a:lnTo>
                <a:lnTo>
                  <a:pt x="2867717" y="2407036"/>
                </a:lnTo>
                <a:lnTo>
                  <a:pt x="2867717" y="2397165"/>
                </a:lnTo>
                <a:close/>
                <a:moveTo>
                  <a:pt x="2632423" y="2393127"/>
                </a:moveTo>
                <a:lnTo>
                  <a:pt x="2642334" y="2393127"/>
                </a:lnTo>
                <a:lnTo>
                  <a:pt x="2646352" y="2397165"/>
                </a:lnTo>
                <a:lnTo>
                  <a:pt x="2646352" y="2407036"/>
                </a:lnTo>
                <a:lnTo>
                  <a:pt x="2642334" y="2411074"/>
                </a:lnTo>
                <a:lnTo>
                  <a:pt x="2632423" y="2411074"/>
                </a:lnTo>
                <a:lnTo>
                  <a:pt x="2628404" y="2407036"/>
                </a:lnTo>
                <a:lnTo>
                  <a:pt x="2628404" y="2397165"/>
                </a:lnTo>
                <a:close/>
                <a:moveTo>
                  <a:pt x="2393104" y="2393127"/>
                </a:moveTo>
                <a:lnTo>
                  <a:pt x="2403015" y="2393127"/>
                </a:lnTo>
                <a:lnTo>
                  <a:pt x="2407034" y="2397165"/>
                </a:lnTo>
                <a:lnTo>
                  <a:pt x="2407034" y="2407036"/>
                </a:lnTo>
                <a:lnTo>
                  <a:pt x="2403015" y="2411074"/>
                </a:lnTo>
                <a:lnTo>
                  <a:pt x="2393104" y="2411074"/>
                </a:lnTo>
                <a:lnTo>
                  <a:pt x="2389087" y="2407036"/>
                </a:lnTo>
                <a:lnTo>
                  <a:pt x="2389087" y="2397165"/>
                </a:lnTo>
                <a:close/>
                <a:moveTo>
                  <a:pt x="721970" y="2393127"/>
                </a:moveTo>
                <a:lnTo>
                  <a:pt x="731881" y="2393127"/>
                </a:lnTo>
                <a:lnTo>
                  <a:pt x="735899" y="2397165"/>
                </a:lnTo>
                <a:lnTo>
                  <a:pt x="735899" y="2407036"/>
                </a:lnTo>
                <a:lnTo>
                  <a:pt x="731881" y="2411074"/>
                </a:lnTo>
                <a:lnTo>
                  <a:pt x="721970" y="2411074"/>
                </a:lnTo>
                <a:lnTo>
                  <a:pt x="717951" y="2407036"/>
                </a:lnTo>
                <a:lnTo>
                  <a:pt x="717951" y="2397165"/>
                </a:lnTo>
                <a:close/>
                <a:moveTo>
                  <a:pt x="482658" y="2393127"/>
                </a:moveTo>
                <a:lnTo>
                  <a:pt x="492568" y="2393127"/>
                </a:lnTo>
                <a:lnTo>
                  <a:pt x="496588" y="2397165"/>
                </a:lnTo>
                <a:lnTo>
                  <a:pt x="496588" y="2407036"/>
                </a:lnTo>
                <a:lnTo>
                  <a:pt x="492568" y="2411074"/>
                </a:lnTo>
                <a:lnTo>
                  <a:pt x="482658" y="2411074"/>
                </a:lnTo>
                <a:lnTo>
                  <a:pt x="478639" y="2407036"/>
                </a:lnTo>
                <a:lnTo>
                  <a:pt x="478639" y="2397165"/>
                </a:lnTo>
                <a:close/>
                <a:moveTo>
                  <a:pt x="243344" y="2393127"/>
                </a:moveTo>
                <a:lnTo>
                  <a:pt x="253255" y="2393127"/>
                </a:lnTo>
                <a:lnTo>
                  <a:pt x="257274" y="2397165"/>
                </a:lnTo>
                <a:lnTo>
                  <a:pt x="257274" y="2407036"/>
                </a:lnTo>
                <a:lnTo>
                  <a:pt x="253255" y="2411074"/>
                </a:lnTo>
                <a:lnTo>
                  <a:pt x="243344" y="2411074"/>
                </a:lnTo>
                <a:lnTo>
                  <a:pt x="239325" y="2407036"/>
                </a:lnTo>
                <a:lnTo>
                  <a:pt x="239325" y="2397165"/>
                </a:lnTo>
                <a:close/>
                <a:moveTo>
                  <a:pt x="4031" y="2393127"/>
                </a:moveTo>
                <a:lnTo>
                  <a:pt x="13941" y="2393127"/>
                </a:lnTo>
                <a:lnTo>
                  <a:pt x="17961" y="2397165"/>
                </a:lnTo>
                <a:lnTo>
                  <a:pt x="17961" y="2407036"/>
                </a:lnTo>
                <a:lnTo>
                  <a:pt x="13941" y="2411074"/>
                </a:lnTo>
                <a:lnTo>
                  <a:pt x="4031" y="2411074"/>
                </a:lnTo>
                <a:lnTo>
                  <a:pt x="12" y="2407036"/>
                </a:lnTo>
                <a:lnTo>
                  <a:pt x="12" y="2397165"/>
                </a:lnTo>
                <a:close/>
                <a:moveTo>
                  <a:pt x="3111048" y="2153996"/>
                </a:moveTo>
                <a:lnTo>
                  <a:pt x="3120959" y="2153996"/>
                </a:lnTo>
                <a:lnTo>
                  <a:pt x="3124977" y="2158034"/>
                </a:lnTo>
                <a:lnTo>
                  <a:pt x="3124977" y="2167907"/>
                </a:lnTo>
                <a:lnTo>
                  <a:pt x="3120959" y="2171946"/>
                </a:lnTo>
                <a:lnTo>
                  <a:pt x="3111048" y="2171946"/>
                </a:lnTo>
                <a:lnTo>
                  <a:pt x="3107029" y="2167907"/>
                </a:lnTo>
                <a:lnTo>
                  <a:pt x="3107029" y="2158034"/>
                </a:lnTo>
                <a:close/>
                <a:moveTo>
                  <a:pt x="2871737" y="2153996"/>
                </a:moveTo>
                <a:lnTo>
                  <a:pt x="2881646" y="2153996"/>
                </a:lnTo>
                <a:lnTo>
                  <a:pt x="2885666" y="2158034"/>
                </a:lnTo>
                <a:lnTo>
                  <a:pt x="2885666" y="2167907"/>
                </a:lnTo>
                <a:lnTo>
                  <a:pt x="2881646" y="2171946"/>
                </a:lnTo>
                <a:lnTo>
                  <a:pt x="2871737" y="2171946"/>
                </a:lnTo>
                <a:lnTo>
                  <a:pt x="2867717" y="2167907"/>
                </a:lnTo>
                <a:lnTo>
                  <a:pt x="2867717" y="2158034"/>
                </a:lnTo>
                <a:close/>
                <a:moveTo>
                  <a:pt x="2632423" y="2153996"/>
                </a:moveTo>
                <a:lnTo>
                  <a:pt x="2642334" y="2153996"/>
                </a:lnTo>
                <a:lnTo>
                  <a:pt x="2646352" y="2158034"/>
                </a:lnTo>
                <a:lnTo>
                  <a:pt x="2646352" y="2167907"/>
                </a:lnTo>
                <a:lnTo>
                  <a:pt x="2642334" y="2171947"/>
                </a:lnTo>
                <a:lnTo>
                  <a:pt x="2632423" y="2171947"/>
                </a:lnTo>
                <a:lnTo>
                  <a:pt x="2628404" y="2167907"/>
                </a:lnTo>
                <a:lnTo>
                  <a:pt x="2628404" y="2158034"/>
                </a:lnTo>
                <a:close/>
                <a:moveTo>
                  <a:pt x="2393104" y="2153996"/>
                </a:moveTo>
                <a:lnTo>
                  <a:pt x="2403015" y="2153996"/>
                </a:lnTo>
                <a:lnTo>
                  <a:pt x="2407034" y="2158034"/>
                </a:lnTo>
                <a:lnTo>
                  <a:pt x="2407034" y="2167907"/>
                </a:lnTo>
                <a:lnTo>
                  <a:pt x="2403015" y="2171947"/>
                </a:lnTo>
                <a:lnTo>
                  <a:pt x="2393104" y="2171947"/>
                </a:lnTo>
                <a:lnTo>
                  <a:pt x="2389087" y="2167907"/>
                </a:lnTo>
                <a:lnTo>
                  <a:pt x="2389087" y="2158034"/>
                </a:lnTo>
                <a:close/>
                <a:moveTo>
                  <a:pt x="3350359" y="2153995"/>
                </a:moveTo>
                <a:lnTo>
                  <a:pt x="3360268" y="2153995"/>
                </a:lnTo>
                <a:lnTo>
                  <a:pt x="3364287" y="2158034"/>
                </a:lnTo>
                <a:lnTo>
                  <a:pt x="3364287" y="2167907"/>
                </a:lnTo>
                <a:lnTo>
                  <a:pt x="3360268" y="2171946"/>
                </a:lnTo>
                <a:lnTo>
                  <a:pt x="3350359" y="2171946"/>
                </a:lnTo>
                <a:lnTo>
                  <a:pt x="3346340" y="2167907"/>
                </a:lnTo>
                <a:lnTo>
                  <a:pt x="3346340" y="2158034"/>
                </a:lnTo>
                <a:close/>
                <a:moveTo>
                  <a:pt x="4546929" y="2153976"/>
                </a:moveTo>
                <a:lnTo>
                  <a:pt x="4556840" y="2153976"/>
                </a:lnTo>
                <a:lnTo>
                  <a:pt x="4560859" y="2158014"/>
                </a:lnTo>
                <a:lnTo>
                  <a:pt x="4560859" y="2167886"/>
                </a:lnTo>
                <a:lnTo>
                  <a:pt x="4556840" y="2171926"/>
                </a:lnTo>
                <a:lnTo>
                  <a:pt x="4546929" y="2171926"/>
                </a:lnTo>
                <a:lnTo>
                  <a:pt x="4542910" y="2167886"/>
                </a:lnTo>
                <a:lnTo>
                  <a:pt x="4542910" y="2158014"/>
                </a:lnTo>
                <a:close/>
                <a:moveTo>
                  <a:pt x="4307612" y="2153976"/>
                </a:moveTo>
                <a:lnTo>
                  <a:pt x="4317523" y="2153976"/>
                </a:lnTo>
                <a:lnTo>
                  <a:pt x="4321543" y="2158014"/>
                </a:lnTo>
                <a:lnTo>
                  <a:pt x="4321543" y="2167887"/>
                </a:lnTo>
                <a:lnTo>
                  <a:pt x="4317523" y="2171926"/>
                </a:lnTo>
                <a:lnTo>
                  <a:pt x="4307612" y="2171926"/>
                </a:lnTo>
                <a:lnTo>
                  <a:pt x="4303595" y="2167887"/>
                </a:lnTo>
                <a:lnTo>
                  <a:pt x="4303595" y="2158014"/>
                </a:lnTo>
                <a:close/>
                <a:moveTo>
                  <a:pt x="4068297" y="2153976"/>
                </a:moveTo>
                <a:lnTo>
                  <a:pt x="4078210" y="2153976"/>
                </a:lnTo>
                <a:lnTo>
                  <a:pt x="4082229" y="2158014"/>
                </a:lnTo>
                <a:lnTo>
                  <a:pt x="4082229" y="2167887"/>
                </a:lnTo>
                <a:lnTo>
                  <a:pt x="4078210" y="2171926"/>
                </a:lnTo>
                <a:lnTo>
                  <a:pt x="4068297" y="2171926"/>
                </a:lnTo>
                <a:lnTo>
                  <a:pt x="4064278" y="2167887"/>
                </a:lnTo>
                <a:lnTo>
                  <a:pt x="4064278" y="2158014"/>
                </a:lnTo>
                <a:close/>
                <a:moveTo>
                  <a:pt x="3828990" y="2153976"/>
                </a:moveTo>
                <a:lnTo>
                  <a:pt x="3838899" y="2153976"/>
                </a:lnTo>
                <a:lnTo>
                  <a:pt x="3842917" y="2158014"/>
                </a:lnTo>
                <a:lnTo>
                  <a:pt x="3842917" y="2167887"/>
                </a:lnTo>
                <a:lnTo>
                  <a:pt x="3838899" y="2171926"/>
                </a:lnTo>
                <a:lnTo>
                  <a:pt x="3828990" y="2171926"/>
                </a:lnTo>
                <a:lnTo>
                  <a:pt x="3824971" y="2167887"/>
                </a:lnTo>
                <a:lnTo>
                  <a:pt x="3824971" y="2158014"/>
                </a:lnTo>
                <a:close/>
                <a:moveTo>
                  <a:pt x="3589676" y="2153976"/>
                </a:moveTo>
                <a:lnTo>
                  <a:pt x="3599585" y="2153976"/>
                </a:lnTo>
                <a:lnTo>
                  <a:pt x="3603604" y="2158014"/>
                </a:lnTo>
                <a:lnTo>
                  <a:pt x="3603604" y="2167887"/>
                </a:lnTo>
                <a:lnTo>
                  <a:pt x="3599585" y="2171926"/>
                </a:lnTo>
                <a:lnTo>
                  <a:pt x="3589676" y="2171926"/>
                </a:lnTo>
                <a:lnTo>
                  <a:pt x="3585657" y="2167887"/>
                </a:lnTo>
                <a:lnTo>
                  <a:pt x="3585657" y="2158014"/>
                </a:lnTo>
                <a:close/>
                <a:moveTo>
                  <a:pt x="5504099" y="2153956"/>
                </a:moveTo>
                <a:lnTo>
                  <a:pt x="5514010" y="2153956"/>
                </a:lnTo>
                <a:lnTo>
                  <a:pt x="5518029" y="2157994"/>
                </a:lnTo>
                <a:lnTo>
                  <a:pt x="5518029" y="2167867"/>
                </a:lnTo>
                <a:lnTo>
                  <a:pt x="5514010" y="2171905"/>
                </a:lnTo>
                <a:lnTo>
                  <a:pt x="5504099" y="2171905"/>
                </a:lnTo>
                <a:lnTo>
                  <a:pt x="5500080" y="2167867"/>
                </a:lnTo>
                <a:lnTo>
                  <a:pt x="5500080" y="2157994"/>
                </a:lnTo>
                <a:close/>
                <a:moveTo>
                  <a:pt x="5264784" y="2153956"/>
                </a:moveTo>
                <a:lnTo>
                  <a:pt x="5274694" y="2153956"/>
                </a:lnTo>
                <a:lnTo>
                  <a:pt x="5278713" y="2157994"/>
                </a:lnTo>
                <a:lnTo>
                  <a:pt x="5278713" y="2167867"/>
                </a:lnTo>
                <a:lnTo>
                  <a:pt x="5274694" y="2171905"/>
                </a:lnTo>
                <a:lnTo>
                  <a:pt x="5264784" y="2171905"/>
                </a:lnTo>
                <a:lnTo>
                  <a:pt x="5260765" y="2167867"/>
                </a:lnTo>
                <a:lnTo>
                  <a:pt x="5260765" y="2157994"/>
                </a:lnTo>
                <a:close/>
                <a:moveTo>
                  <a:pt x="5025470" y="2153956"/>
                </a:moveTo>
                <a:lnTo>
                  <a:pt x="5035381" y="2153956"/>
                </a:lnTo>
                <a:lnTo>
                  <a:pt x="5039400" y="2157994"/>
                </a:lnTo>
                <a:lnTo>
                  <a:pt x="5039400" y="2167867"/>
                </a:lnTo>
                <a:lnTo>
                  <a:pt x="5035381" y="2171906"/>
                </a:lnTo>
                <a:lnTo>
                  <a:pt x="5025470" y="2171906"/>
                </a:lnTo>
                <a:lnTo>
                  <a:pt x="5021451" y="2167867"/>
                </a:lnTo>
                <a:lnTo>
                  <a:pt x="5021451" y="2157994"/>
                </a:lnTo>
                <a:close/>
                <a:moveTo>
                  <a:pt x="4786241" y="2153956"/>
                </a:moveTo>
                <a:lnTo>
                  <a:pt x="4796152" y="2153956"/>
                </a:lnTo>
                <a:lnTo>
                  <a:pt x="4800171" y="2157994"/>
                </a:lnTo>
                <a:lnTo>
                  <a:pt x="4800171" y="2167867"/>
                </a:lnTo>
                <a:lnTo>
                  <a:pt x="4796152" y="2171906"/>
                </a:lnTo>
                <a:lnTo>
                  <a:pt x="4786241" y="2171906"/>
                </a:lnTo>
                <a:lnTo>
                  <a:pt x="4782224" y="2167867"/>
                </a:lnTo>
                <a:lnTo>
                  <a:pt x="4782224" y="2157994"/>
                </a:lnTo>
                <a:close/>
                <a:moveTo>
                  <a:pt x="5743412" y="2153955"/>
                </a:moveTo>
                <a:lnTo>
                  <a:pt x="5753323" y="2153955"/>
                </a:lnTo>
                <a:lnTo>
                  <a:pt x="5757342" y="2157994"/>
                </a:lnTo>
                <a:lnTo>
                  <a:pt x="5757342" y="2167866"/>
                </a:lnTo>
                <a:lnTo>
                  <a:pt x="5753323" y="2171905"/>
                </a:lnTo>
                <a:lnTo>
                  <a:pt x="5743412" y="2171905"/>
                </a:lnTo>
                <a:lnTo>
                  <a:pt x="5739393" y="2167866"/>
                </a:lnTo>
                <a:lnTo>
                  <a:pt x="5739393" y="2157994"/>
                </a:lnTo>
                <a:close/>
                <a:moveTo>
                  <a:pt x="6222042" y="2153936"/>
                </a:moveTo>
                <a:lnTo>
                  <a:pt x="6231952" y="2153936"/>
                </a:lnTo>
                <a:lnTo>
                  <a:pt x="6235971" y="2157974"/>
                </a:lnTo>
                <a:lnTo>
                  <a:pt x="6235971" y="2167846"/>
                </a:lnTo>
                <a:lnTo>
                  <a:pt x="6231952" y="2171885"/>
                </a:lnTo>
                <a:lnTo>
                  <a:pt x="6222042" y="2171885"/>
                </a:lnTo>
                <a:lnTo>
                  <a:pt x="6218023" y="2167846"/>
                </a:lnTo>
                <a:lnTo>
                  <a:pt x="6218023" y="2157974"/>
                </a:lnTo>
                <a:close/>
                <a:moveTo>
                  <a:pt x="5982729" y="2153936"/>
                </a:moveTo>
                <a:lnTo>
                  <a:pt x="5992639" y="2153936"/>
                </a:lnTo>
                <a:lnTo>
                  <a:pt x="5996658" y="2157974"/>
                </a:lnTo>
                <a:lnTo>
                  <a:pt x="5996658" y="2167846"/>
                </a:lnTo>
                <a:lnTo>
                  <a:pt x="5992639" y="2171885"/>
                </a:lnTo>
                <a:lnTo>
                  <a:pt x="5982729" y="2171885"/>
                </a:lnTo>
                <a:lnTo>
                  <a:pt x="5978710" y="2167846"/>
                </a:lnTo>
                <a:lnTo>
                  <a:pt x="5978710" y="2157974"/>
                </a:lnTo>
                <a:close/>
                <a:moveTo>
                  <a:pt x="6939983" y="2153935"/>
                </a:moveTo>
                <a:lnTo>
                  <a:pt x="6949894" y="2153935"/>
                </a:lnTo>
                <a:lnTo>
                  <a:pt x="6953913" y="2157974"/>
                </a:lnTo>
                <a:lnTo>
                  <a:pt x="6953913" y="2167845"/>
                </a:lnTo>
                <a:lnTo>
                  <a:pt x="6949894" y="2171885"/>
                </a:lnTo>
                <a:lnTo>
                  <a:pt x="6939983" y="2171885"/>
                </a:lnTo>
                <a:lnTo>
                  <a:pt x="6935964" y="2167845"/>
                </a:lnTo>
                <a:lnTo>
                  <a:pt x="6935964" y="2157974"/>
                </a:lnTo>
                <a:close/>
                <a:moveTo>
                  <a:pt x="6700670" y="2153935"/>
                </a:moveTo>
                <a:lnTo>
                  <a:pt x="6710581" y="2153935"/>
                </a:lnTo>
                <a:lnTo>
                  <a:pt x="6714600" y="2157974"/>
                </a:lnTo>
                <a:lnTo>
                  <a:pt x="6714600" y="2167846"/>
                </a:lnTo>
                <a:lnTo>
                  <a:pt x="6710581" y="2171885"/>
                </a:lnTo>
                <a:lnTo>
                  <a:pt x="6700670" y="2171885"/>
                </a:lnTo>
                <a:lnTo>
                  <a:pt x="6696651" y="2167846"/>
                </a:lnTo>
                <a:lnTo>
                  <a:pt x="6696651" y="2157974"/>
                </a:lnTo>
                <a:close/>
                <a:moveTo>
                  <a:pt x="6461356" y="2153935"/>
                </a:moveTo>
                <a:lnTo>
                  <a:pt x="6471266" y="2153935"/>
                </a:lnTo>
                <a:lnTo>
                  <a:pt x="6475285" y="2157974"/>
                </a:lnTo>
                <a:lnTo>
                  <a:pt x="6475285" y="2167846"/>
                </a:lnTo>
                <a:lnTo>
                  <a:pt x="6471266" y="2171885"/>
                </a:lnTo>
                <a:lnTo>
                  <a:pt x="6461356" y="2171885"/>
                </a:lnTo>
                <a:lnTo>
                  <a:pt x="6457337" y="2167846"/>
                </a:lnTo>
                <a:lnTo>
                  <a:pt x="6457337" y="2157974"/>
                </a:lnTo>
                <a:close/>
                <a:moveTo>
                  <a:pt x="7418611" y="2153916"/>
                </a:moveTo>
                <a:lnTo>
                  <a:pt x="7428521" y="2153916"/>
                </a:lnTo>
                <a:lnTo>
                  <a:pt x="7432540" y="2157955"/>
                </a:lnTo>
                <a:lnTo>
                  <a:pt x="7432540" y="2167826"/>
                </a:lnTo>
                <a:lnTo>
                  <a:pt x="7428521" y="2171865"/>
                </a:lnTo>
                <a:lnTo>
                  <a:pt x="7418611" y="2171865"/>
                </a:lnTo>
                <a:lnTo>
                  <a:pt x="7414592" y="2167826"/>
                </a:lnTo>
                <a:lnTo>
                  <a:pt x="7414592" y="2157955"/>
                </a:lnTo>
                <a:close/>
                <a:moveTo>
                  <a:pt x="7179298" y="2153916"/>
                </a:moveTo>
                <a:lnTo>
                  <a:pt x="7189209" y="2153916"/>
                </a:lnTo>
                <a:lnTo>
                  <a:pt x="7193228" y="2157955"/>
                </a:lnTo>
                <a:lnTo>
                  <a:pt x="7193228" y="2167826"/>
                </a:lnTo>
                <a:lnTo>
                  <a:pt x="7189209" y="2171865"/>
                </a:lnTo>
                <a:lnTo>
                  <a:pt x="7179298" y="2171865"/>
                </a:lnTo>
                <a:lnTo>
                  <a:pt x="7175279" y="2167826"/>
                </a:lnTo>
                <a:lnTo>
                  <a:pt x="7175279" y="2157955"/>
                </a:lnTo>
                <a:close/>
                <a:moveTo>
                  <a:pt x="8136553" y="2153915"/>
                </a:moveTo>
                <a:lnTo>
                  <a:pt x="8146464" y="2153915"/>
                </a:lnTo>
                <a:lnTo>
                  <a:pt x="8150483" y="2157955"/>
                </a:lnTo>
                <a:lnTo>
                  <a:pt x="8150483" y="2167825"/>
                </a:lnTo>
                <a:lnTo>
                  <a:pt x="8146464" y="2171864"/>
                </a:lnTo>
                <a:lnTo>
                  <a:pt x="8136553" y="2171864"/>
                </a:lnTo>
                <a:lnTo>
                  <a:pt x="8132534" y="2167825"/>
                </a:lnTo>
                <a:lnTo>
                  <a:pt x="8132534" y="2157955"/>
                </a:lnTo>
                <a:close/>
                <a:moveTo>
                  <a:pt x="7897241" y="2153915"/>
                </a:moveTo>
                <a:lnTo>
                  <a:pt x="7907151" y="2153915"/>
                </a:lnTo>
                <a:lnTo>
                  <a:pt x="7911170" y="2157955"/>
                </a:lnTo>
                <a:lnTo>
                  <a:pt x="7911170" y="2167826"/>
                </a:lnTo>
                <a:lnTo>
                  <a:pt x="7907151" y="2171864"/>
                </a:lnTo>
                <a:lnTo>
                  <a:pt x="7897241" y="2171864"/>
                </a:lnTo>
                <a:lnTo>
                  <a:pt x="7893222" y="2167826"/>
                </a:lnTo>
                <a:lnTo>
                  <a:pt x="7893222" y="2157955"/>
                </a:lnTo>
                <a:close/>
                <a:moveTo>
                  <a:pt x="7657926" y="2153915"/>
                </a:moveTo>
                <a:lnTo>
                  <a:pt x="7667836" y="2153915"/>
                </a:lnTo>
                <a:lnTo>
                  <a:pt x="7671855" y="2157955"/>
                </a:lnTo>
                <a:lnTo>
                  <a:pt x="7671855" y="2167826"/>
                </a:lnTo>
                <a:lnTo>
                  <a:pt x="7667836" y="2171864"/>
                </a:lnTo>
                <a:lnTo>
                  <a:pt x="7657926" y="2171864"/>
                </a:lnTo>
                <a:lnTo>
                  <a:pt x="7653906" y="2167826"/>
                </a:lnTo>
                <a:lnTo>
                  <a:pt x="7653906" y="2157955"/>
                </a:lnTo>
                <a:close/>
                <a:moveTo>
                  <a:pt x="8615184" y="2153896"/>
                </a:moveTo>
                <a:lnTo>
                  <a:pt x="8625095" y="2153896"/>
                </a:lnTo>
                <a:lnTo>
                  <a:pt x="8629114" y="2157935"/>
                </a:lnTo>
                <a:lnTo>
                  <a:pt x="8629114" y="2167805"/>
                </a:lnTo>
                <a:lnTo>
                  <a:pt x="8625095" y="2171844"/>
                </a:lnTo>
                <a:lnTo>
                  <a:pt x="8615184" y="2171844"/>
                </a:lnTo>
                <a:lnTo>
                  <a:pt x="8611165" y="2167805"/>
                </a:lnTo>
                <a:lnTo>
                  <a:pt x="8611165" y="2157935"/>
                </a:lnTo>
                <a:close/>
                <a:moveTo>
                  <a:pt x="8375869" y="2153896"/>
                </a:moveTo>
                <a:lnTo>
                  <a:pt x="8385779" y="2153896"/>
                </a:lnTo>
                <a:lnTo>
                  <a:pt x="8389799" y="2157935"/>
                </a:lnTo>
                <a:lnTo>
                  <a:pt x="8389799" y="2167805"/>
                </a:lnTo>
                <a:lnTo>
                  <a:pt x="8385779" y="2171844"/>
                </a:lnTo>
                <a:lnTo>
                  <a:pt x="8375869" y="2171844"/>
                </a:lnTo>
                <a:lnTo>
                  <a:pt x="8371850" y="2167805"/>
                </a:lnTo>
                <a:lnTo>
                  <a:pt x="8371850" y="2157935"/>
                </a:lnTo>
                <a:close/>
                <a:moveTo>
                  <a:pt x="9333125" y="2153895"/>
                </a:moveTo>
                <a:lnTo>
                  <a:pt x="9343036" y="2153895"/>
                </a:lnTo>
                <a:lnTo>
                  <a:pt x="9347055" y="2157934"/>
                </a:lnTo>
                <a:lnTo>
                  <a:pt x="9347055" y="2167805"/>
                </a:lnTo>
                <a:lnTo>
                  <a:pt x="9343036" y="2171844"/>
                </a:lnTo>
                <a:lnTo>
                  <a:pt x="9333125" y="2171844"/>
                </a:lnTo>
                <a:lnTo>
                  <a:pt x="9329106" y="2167805"/>
                </a:lnTo>
                <a:lnTo>
                  <a:pt x="9329106" y="2157934"/>
                </a:lnTo>
                <a:close/>
                <a:moveTo>
                  <a:pt x="9093811" y="2153895"/>
                </a:moveTo>
                <a:lnTo>
                  <a:pt x="9103722" y="2153895"/>
                </a:lnTo>
                <a:lnTo>
                  <a:pt x="9107741" y="2157935"/>
                </a:lnTo>
                <a:lnTo>
                  <a:pt x="9107741" y="2167805"/>
                </a:lnTo>
                <a:lnTo>
                  <a:pt x="9103722" y="2171844"/>
                </a:lnTo>
                <a:lnTo>
                  <a:pt x="9093811" y="2171844"/>
                </a:lnTo>
                <a:lnTo>
                  <a:pt x="9089792" y="2167805"/>
                </a:lnTo>
                <a:lnTo>
                  <a:pt x="9089792" y="2157935"/>
                </a:lnTo>
                <a:close/>
                <a:moveTo>
                  <a:pt x="8854496" y="2153895"/>
                </a:moveTo>
                <a:lnTo>
                  <a:pt x="8864407" y="2153895"/>
                </a:lnTo>
                <a:lnTo>
                  <a:pt x="8868426" y="2157935"/>
                </a:lnTo>
                <a:lnTo>
                  <a:pt x="8868426" y="2167805"/>
                </a:lnTo>
                <a:lnTo>
                  <a:pt x="8864407" y="2171844"/>
                </a:lnTo>
                <a:lnTo>
                  <a:pt x="8854496" y="2171844"/>
                </a:lnTo>
                <a:lnTo>
                  <a:pt x="8850477" y="2167805"/>
                </a:lnTo>
                <a:lnTo>
                  <a:pt x="8850477" y="2157935"/>
                </a:lnTo>
                <a:close/>
                <a:moveTo>
                  <a:pt x="9572438" y="2153876"/>
                </a:moveTo>
                <a:lnTo>
                  <a:pt x="9582349" y="2153876"/>
                </a:lnTo>
                <a:lnTo>
                  <a:pt x="9586368" y="2157914"/>
                </a:lnTo>
                <a:lnTo>
                  <a:pt x="9586368" y="2167786"/>
                </a:lnTo>
                <a:lnTo>
                  <a:pt x="9582349" y="2171824"/>
                </a:lnTo>
                <a:lnTo>
                  <a:pt x="9572438" y="2171824"/>
                </a:lnTo>
                <a:lnTo>
                  <a:pt x="9568419" y="2167786"/>
                </a:lnTo>
                <a:lnTo>
                  <a:pt x="9568419" y="2157914"/>
                </a:lnTo>
                <a:close/>
                <a:moveTo>
                  <a:pt x="1200582" y="2153867"/>
                </a:moveTo>
                <a:lnTo>
                  <a:pt x="1210491" y="2153867"/>
                </a:lnTo>
                <a:lnTo>
                  <a:pt x="1214510" y="2157906"/>
                </a:lnTo>
                <a:lnTo>
                  <a:pt x="1214510" y="2167776"/>
                </a:lnTo>
                <a:lnTo>
                  <a:pt x="1210491" y="2171815"/>
                </a:lnTo>
                <a:lnTo>
                  <a:pt x="1200582" y="2171815"/>
                </a:lnTo>
                <a:lnTo>
                  <a:pt x="1196562" y="2167776"/>
                </a:lnTo>
                <a:lnTo>
                  <a:pt x="1196562" y="2157906"/>
                </a:lnTo>
                <a:close/>
                <a:moveTo>
                  <a:pt x="961268" y="2153867"/>
                </a:moveTo>
                <a:lnTo>
                  <a:pt x="971179" y="2153867"/>
                </a:lnTo>
                <a:lnTo>
                  <a:pt x="975198" y="2157906"/>
                </a:lnTo>
                <a:lnTo>
                  <a:pt x="975198" y="2167776"/>
                </a:lnTo>
                <a:lnTo>
                  <a:pt x="971179" y="2171815"/>
                </a:lnTo>
                <a:lnTo>
                  <a:pt x="961268" y="2171815"/>
                </a:lnTo>
                <a:lnTo>
                  <a:pt x="957250" y="2167776"/>
                </a:lnTo>
                <a:lnTo>
                  <a:pt x="957250" y="2157906"/>
                </a:lnTo>
                <a:close/>
                <a:moveTo>
                  <a:pt x="1679214" y="2153867"/>
                </a:moveTo>
                <a:lnTo>
                  <a:pt x="1689123" y="2153867"/>
                </a:lnTo>
                <a:lnTo>
                  <a:pt x="1693144" y="2157905"/>
                </a:lnTo>
                <a:lnTo>
                  <a:pt x="1693144" y="2167775"/>
                </a:lnTo>
                <a:lnTo>
                  <a:pt x="1689123" y="2171814"/>
                </a:lnTo>
                <a:lnTo>
                  <a:pt x="1679214" y="2171814"/>
                </a:lnTo>
                <a:lnTo>
                  <a:pt x="1675195" y="2167775"/>
                </a:lnTo>
                <a:lnTo>
                  <a:pt x="1675195" y="2157905"/>
                </a:lnTo>
                <a:close/>
                <a:moveTo>
                  <a:pt x="1439897" y="2153867"/>
                </a:moveTo>
                <a:lnTo>
                  <a:pt x="1449807" y="2153867"/>
                </a:lnTo>
                <a:lnTo>
                  <a:pt x="1453826" y="2157905"/>
                </a:lnTo>
                <a:lnTo>
                  <a:pt x="1453826" y="2167776"/>
                </a:lnTo>
                <a:lnTo>
                  <a:pt x="1449807" y="2171814"/>
                </a:lnTo>
                <a:lnTo>
                  <a:pt x="1439897" y="2171814"/>
                </a:lnTo>
                <a:lnTo>
                  <a:pt x="1435878" y="2167776"/>
                </a:lnTo>
                <a:lnTo>
                  <a:pt x="1435878" y="2157905"/>
                </a:lnTo>
                <a:close/>
                <a:moveTo>
                  <a:pt x="1918513" y="2153855"/>
                </a:moveTo>
                <a:lnTo>
                  <a:pt x="1928422" y="2153855"/>
                </a:lnTo>
                <a:lnTo>
                  <a:pt x="1932443" y="2157892"/>
                </a:lnTo>
                <a:lnTo>
                  <a:pt x="1932443" y="2167763"/>
                </a:lnTo>
                <a:lnTo>
                  <a:pt x="1928422" y="2171803"/>
                </a:lnTo>
                <a:lnTo>
                  <a:pt x="1918513" y="2171803"/>
                </a:lnTo>
                <a:lnTo>
                  <a:pt x="1914494" y="2167763"/>
                </a:lnTo>
                <a:lnTo>
                  <a:pt x="1914494" y="2157892"/>
                </a:lnTo>
                <a:close/>
                <a:moveTo>
                  <a:pt x="2157821" y="2153850"/>
                </a:moveTo>
                <a:lnTo>
                  <a:pt x="2167732" y="2153850"/>
                </a:lnTo>
                <a:lnTo>
                  <a:pt x="2171750" y="2157889"/>
                </a:lnTo>
                <a:lnTo>
                  <a:pt x="2171750" y="2167759"/>
                </a:lnTo>
                <a:lnTo>
                  <a:pt x="2167732" y="2171798"/>
                </a:lnTo>
                <a:lnTo>
                  <a:pt x="2157821" y="2171798"/>
                </a:lnTo>
                <a:lnTo>
                  <a:pt x="2153803" y="2167759"/>
                </a:lnTo>
                <a:lnTo>
                  <a:pt x="2153803" y="2157889"/>
                </a:lnTo>
                <a:close/>
                <a:moveTo>
                  <a:pt x="4032" y="2153832"/>
                </a:moveTo>
                <a:lnTo>
                  <a:pt x="13942" y="2153832"/>
                </a:lnTo>
                <a:lnTo>
                  <a:pt x="17961" y="2157870"/>
                </a:lnTo>
                <a:lnTo>
                  <a:pt x="17961" y="2167741"/>
                </a:lnTo>
                <a:lnTo>
                  <a:pt x="13942" y="2171780"/>
                </a:lnTo>
                <a:lnTo>
                  <a:pt x="4032" y="2171780"/>
                </a:lnTo>
                <a:lnTo>
                  <a:pt x="13" y="2167741"/>
                </a:lnTo>
                <a:lnTo>
                  <a:pt x="13" y="2157870"/>
                </a:lnTo>
                <a:close/>
                <a:moveTo>
                  <a:pt x="721971" y="2153832"/>
                </a:moveTo>
                <a:lnTo>
                  <a:pt x="731881" y="2153832"/>
                </a:lnTo>
                <a:lnTo>
                  <a:pt x="735900" y="2157870"/>
                </a:lnTo>
                <a:lnTo>
                  <a:pt x="735900" y="2167740"/>
                </a:lnTo>
                <a:lnTo>
                  <a:pt x="731881" y="2171780"/>
                </a:lnTo>
                <a:lnTo>
                  <a:pt x="721971" y="2171780"/>
                </a:lnTo>
                <a:lnTo>
                  <a:pt x="717952" y="2167740"/>
                </a:lnTo>
                <a:lnTo>
                  <a:pt x="717952" y="2157870"/>
                </a:lnTo>
                <a:close/>
                <a:moveTo>
                  <a:pt x="482659" y="2153832"/>
                </a:moveTo>
                <a:lnTo>
                  <a:pt x="492569" y="2153832"/>
                </a:lnTo>
                <a:lnTo>
                  <a:pt x="496588" y="2157870"/>
                </a:lnTo>
                <a:lnTo>
                  <a:pt x="496588" y="2167741"/>
                </a:lnTo>
                <a:lnTo>
                  <a:pt x="492569" y="2171780"/>
                </a:lnTo>
                <a:lnTo>
                  <a:pt x="482659" y="2171780"/>
                </a:lnTo>
                <a:lnTo>
                  <a:pt x="478640" y="2167741"/>
                </a:lnTo>
                <a:lnTo>
                  <a:pt x="478640" y="2157870"/>
                </a:lnTo>
                <a:close/>
                <a:moveTo>
                  <a:pt x="243345" y="2153832"/>
                </a:moveTo>
                <a:lnTo>
                  <a:pt x="253255" y="2153832"/>
                </a:lnTo>
                <a:lnTo>
                  <a:pt x="257274" y="2157870"/>
                </a:lnTo>
                <a:lnTo>
                  <a:pt x="257274" y="2167741"/>
                </a:lnTo>
                <a:lnTo>
                  <a:pt x="253255" y="2171780"/>
                </a:lnTo>
                <a:lnTo>
                  <a:pt x="243345" y="2171780"/>
                </a:lnTo>
                <a:lnTo>
                  <a:pt x="239326" y="2167741"/>
                </a:lnTo>
                <a:lnTo>
                  <a:pt x="239326" y="2157870"/>
                </a:lnTo>
                <a:close/>
                <a:moveTo>
                  <a:pt x="2393104" y="1914701"/>
                </a:moveTo>
                <a:lnTo>
                  <a:pt x="2403015" y="1914701"/>
                </a:lnTo>
                <a:lnTo>
                  <a:pt x="2407034" y="1918739"/>
                </a:lnTo>
                <a:lnTo>
                  <a:pt x="2407034" y="1928610"/>
                </a:lnTo>
                <a:lnTo>
                  <a:pt x="2403015" y="1932649"/>
                </a:lnTo>
                <a:lnTo>
                  <a:pt x="2393104" y="1932649"/>
                </a:lnTo>
                <a:lnTo>
                  <a:pt x="2389087" y="1928610"/>
                </a:lnTo>
                <a:lnTo>
                  <a:pt x="2389087" y="1918739"/>
                </a:lnTo>
                <a:close/>
                <a:moveTo>
                  <a:pt x="3350359" y="1914699"/>
                </a:moveTo>
                <a:lnTo>
                  <a:pt x="3360268" y="1914699"/>
                </a:lnTo>
                <a:lnTo>
                  <a:pt x="3364287" y="1918738"/>
                </a:lnTo>
                <a:lnTo>
                  <a:pt x="3364287" y="1928610"/>
                </a:lnTo>
                <a:lnTo>
                  <a:pt x="3360268" y="1932649"/>
                </a:lnTo>
                <a:lnTo>
                  <a:pt x="3350359" y="1932649"/>
                </a:lnTo>
                <a:lnTo>
                  <a:pt x="3346340" y="1928610"/>
                </a:lnTo>
                <a:lnTo>
                  <a:pt x="3346340" y="1918738"/>
                </a:lnTo>
                <a:close/>
                <a:moveTo>
                  <a:pt x="3111048" y="1914699"/>
                </a:moveTo>
                <a:lnTo>
                  <a:pt x="3120959" y="1914699"/>
                </a:lnTo>
                <a:lnTo>
                  <a:pt x="3124977" y="1918739"/>
                </a:lnTo>
                <a:lnTo>
                  <a:pt x="3124977" y="1928610"/>
                </a:lnTo>
                <a:lnTo>
                  <a:pt x="3120959" y="1932649"/>
                </a:lnTo>
                <a:lnTo>
                  <a:pt x="3111048" y="1932649"/>
                </a:lnTo>
                <a:lnTo>
                  <a:pt x="3107029" y="1928610"/>
                </a:lnTo>
                <a:lnTo>
                  <a:pt x="3107029" y="1918739"/>
                </a:lnTo>
                <a:close/>
                <a:moveTo>
                  <a:pt x="2871737" y="1914699"/>
                </a:moveTo>
                <a:lnTo>
                  <a:pt x="2881646" y="1914699"/>
                </a:lnTo>
                <a:lnTo>
                  <a:pt x="2885666" y="1918739"/>
                </a:lnTo>
                <a:lnTo>
                  <a:pt x="2885666" y="1928610"/>
                </a:lnTo>
                <a:lnTo>
                  <a:pt x="2881646" y="1932649"/>
                </a:lnTo>
                <a:lnTo>
                  <a:pt x="2871737" y="1932649"/>
                </a:lnTo>
                <a:lnTo>
                  <a:pt x="2867717" y="1928610"/>
                </a:lnTo>
                <a:lnTo>
                  <a:pt x="2867717" y="1918739"/>
                </a:lnTo>
                <a:close/>
                <a:moveTo>
                  <a:pt x="2632423" y="1914699"/>
                </a:moveTo>
                <a:lnTo>
                  <a:pt x="2642334" y="1914699"/>
                </a:lnTo>
                <a:lnTo>
                  <a:pt x="2646352" y="1918739"/>
                </a:lnTo>
                <a:lnTo>
                  <a:pt x="2646352" y="1928610"/>
                </a:lnTo>
                <a:lnTo>
                  <a:pt x="2642334" y="1932649"/>
                </a:lnTo>
                <a:lnTo>
                  <a:pt x="2632423" y="1932649"/>
                </a:lnTo>
                <a:lnTo>
                  <a:pt x="2628404" y="1928610"/>
                </a:lnTo>
                <a:lnTo>
                  <a:pt x="2628404" y="1918739"/>
                </a:lnTo>
                <a:close/>
                <a:moveTo>
                  <a:pt x="3589676" y="1914682"/>
                </a:moveTo>
                <a:lnTo>
                  <a:pt x="3599585" y="1914682"/>
                </a:lnTo>
                <a:lnTo>
                  <a:pt x="3603604" y="1918721"/>
                </a:lnTo>
                <a:lnTo>
                  <a:pt x="3603604" y="1928592"/>
                </a:lnTo>
                <a:lnTo>
                  <a:pt x="3599585" y="1932631"/>
                </a:lnTo>
                <a:lnTo>
                  <a:pt x="3589676" y="1932631"/>
                </a:lnTo>
                <a:lnTo>
                  <a:pt x="3585657" y="1928592"/>
                </a:lnTo>
                <a:lnTo>
                  <a:pt x="3585657" y="1918721"/>
                </a:lnTo>
                <a:close/>
                <a:moveTo>
                  <a:pt x="4546929" y="1914681"/>
                </a:moveTo>
                <a:lnTo>
                  <a:pt x="4556840" y="1914681"/>
                </a:lnTo>
                <a:lnTo>
                  <a:pt x="4560859" y="1918719"/>
                </a:lnTo>
                <a:lnTo>
                  <a:pt x="4560859" y="1928592"/>
                </a:lnTo>
                <a:lnTo>
                  <a:pt x="4556840" y="1932631"/>
                </a:lnTo>
                <a:lnTo>
                  <a:pt x="4546929" y="1932631"/>
                </a:lnTo>
                <a:lnTo>
                  <a:pt x="4542910" y="1928592"/>
                </a:lnTo>
                <a:lnTo>
                  <a:pt x="4542910" y="1918719"/>
                </a:lnTo>
                <a:close/>
                <a:moveTo>
                  <a:pt x="4307612" y="1914681"/>
                </a:moveTo>
                <a:lnTo>
                  <a:pt x="4317523" y="1914681"/>
                </a:lnTo>
                <a:lnTo>
                  <a:pt x="4321543" y="1918720"/>
                </a:lnTo>
                <a:lnTo>
                  <a:pt x="4321543" y="1928592"/>
                </a:lnTo>
                <a:lnTo>
                  <a:pt x="4317523" y="1932631"/>
                </a:lnTo>
                <a:lnTo>
                  <a:pt x="4307612" y="1932631"/>
                </a:lnTo>
                <a:lnTo>
                  <a:pt x="4303595" y="1928592"/>
                </a:lnTo>
                <a:lnTo>
                  <a:pt x="4303595" y="1918720"/>
                </a:lnTo>
                <a:close/>
                <a:moveTo>
                  <a:pt x="4068297" y="1914681"/>
                </a:moveTo>
                <a:lnTo>
                  <a:pt x="4078210" y="1914681"/>
                </a:lnTo>
                <a:lnTo>
                  <a:pt x="4082229" y="1918720"/>
                </a:lnTo>
                <a:lnTo>
                  <a:pt x="4082229" y="1928592"/>
                </a:lnTo>
                <a:lnTo>
                  <a:pt x="4078210" y="1932631"/>
                </a:lnTo>
                <a:lnTo>
                  <a:pt x="4068297" y="1932631"/>
                </a:lnTo>
                <a:lnTo>
                  <a:pt x="4064278" y="1928592"/>
                </a:lnTo>
                <a:lnTo>
                  <a:pt x="4064278" y="1918720"/>
                </a:lnTo>
                <a:close/>
                <a:moveTo>
                  <a:pt x="3828990" y="1914681"/>
                </a:moveTo>
                <a:lnTo>
                  <a:pt x="3838899" y="1914681"/>
                </a:lnTo>
                <a:lnTo>
                  <a:pt x="3842917" y="1918720"/>
                </a:lnTo>
                <a:lnTo>
                  <a:pt x="3842917" y="1928592"/>
                </a:lnTo>
                <a:lnTo>
                  <a:pt x="3838899" y="1932631"/>
                </a:lnTo>
                <a:lnTo>
                  <a:pt x="3828990" y="1932631"/>
                </a:lnTo>
                <a:lnTo>
                  <a:pt x="3824971" y="1928592"/>
                </a:lnTo>
                <a:lnTo>
                  <a:pt x="3824971" y="1918720"/>
                </a:lnTo>
                <a:close/>
                <a:moveTo>
                  <a:pt x="4786241" y="1914664"/>
                </a:moveTo>
                <a:lnTo>
                  <a:pt x="4796152" y="1914664"/>
                </a:lnTo>
                <a:lnTo>
                  <a:pt x="4800171" y="1918702"/>
                </a:lnTo>
                <a:lnTo>
                  <a:pt x="4800171" y="1928573"/>
                </a:lnTo>
                <a:lnTo>
                  <a:pt x="4796152" y="1932612"/>
                </a:lnTo>
                <a:lnTo>
                  <a:pt x="4786241" y="1932612"/>
                </a:lnTo>
                <a:lnTo>
                  <a:pt x="4782224" y="1928573"/>
                </a:lnTo>
                <a:lnTo>
                  <a:pt x="4782224" y="1918702"/>
                </a:lnTo>
                <a:close/>
                <a:moveTo>
                  <a:pt x="5504099" y="1914663"/>
                </a:moveTo>
                <a:lnTo>
                  <a:pt x="5514010" y="1914663"/>
                </a:lnTo>
                <a:lnTo>
                  <a:pt x="5518029" y="1918702"/>
                </a:lnTo>
                <a:lnTo>
                  <a:pt x="5518029" y="1928572"/>
                </a:lnTo>
                <a:lnTo>
                  <a:pt x="5514010" y="1932612"/>
                </a:lnTo>
                <a:lnTo>
                  <a:pt x="5504099" y="1932612"/>
                </a:lnTo>
                <a:lnTo>
                  <a:pt x="5500080" y="1928572"/>
                </a:lnTo>
                <a:lnTo>
                  <a:pt x="5500080" y="1918702"/>
                </a:lnTo>
                <a:close/>
                <a:moveTo>
                  <a:pt x="5264784" y="1914663"/>
                </a:moveTo>
                <a:lnTo>
                  <a:pt x="5274694" y="1914663"/>
                </a:lnTo>
                <a:lnTo>
                  <a:pt x="5278713" y="1918702"/>
                </a:lnTo>
                <a:lnTo>
                  <a:pt x="5278713" y="1928573"/>
                </a:lnTo>
                <a:lnTo>
                  <a:pt x="5274694" y="1932612"/>
                </a:lnTo>
                <a:lnTo>
                  <a:pt x="5264784" y="1932612"/>
                </a:lnTo>
                <a:lnTo>
                  <a:pt x="5260765" y="1928573"/>
                </a:lnTo>
                <a:lnTo>
                  <a:pt x="5260765" y="1918702"/>
                </a:lnTo>
                <a:close/>
                <a:moveTo>
                  <a:pt x="5025470" y="1914663"/>
                </a:moveTo>
                <a:lnTo>
                  <a:pt x="5035381" y="1914663"/>
                </a:lnTo>
                <a:lnTo>
                  <a:pt x="5039400" y="1918702"/>
                </a:lnTo>
                <a:lnTo>
                  <a:pt x="5039400" y="1928573"/>
                </a:lnTo>
                <a:lnTo>
                  <a:pt x="5035381" y="1932612"/>
                </a:lnTo>
                <a:lnTo>
                  <a:pt x="5025470" y="1932612"/>
                </a:lnTo>
                <a:lnTo>
                  <a:pt x="5021451" y="1928573"/>
                </a:lnTo>
                <a:lnTo>
                  <a:pt x="5021451" y="1918702"/>
                </a:lnTo>
                <a:close/>
                <a:moveTo>
                  <a:pt x="5743412" y="1914662"/>
                </a:moveTo>
                <a:lnTo>
                  <a:pt x="5753323" y="1914662"/>
                </a:lnTo>
                <a:lnTo>
                  <a:pt x="5757342" y="1918701"/>
                </a:lnTo>
                <a:lnTo>
                  <a:pt x="5757342" y="1928572"/>
                </a:lnTo>
                <a:lnTo>
                  <a:pt x="5753323" y="1932612"/>
                </a:lnTo>
                <a:lnTo>
                  <a:pt x="5743412" y="1932612"/>
                </a:lnTo>
                <a:lnTo>
                  <a:pt x="5739393" y="1928572"/>
                </a:lnTo>
                <a:lnTo>
                  <a:pt x="5739393" y="1918701"/>
                </a:lnTo>
                <a:close/>
                <a:moveTo>
                  <a:pt x="5982729" y="1914645"/>
                </a:moveTo>
                <a:lnTo>
                  <a:pt x="5992639" y="1914645"/>
                </a:lnTo>
                <a:lnTo>
                  <a:pt x="5996658" y="1918684"/>
                </a:lnTo>
                <a:lnTo>
                  <a:pt x="5996658" y="1928555"/>
                </a:lnTo>
                <a:lnTo>
                  <a:pt x="5992639" y="1932594"/>
                </a:lnTo>
                <a:lnTo>
                  <a:pt x="5982729" y="1932594"/>
                </a:lnTo>
                <a:lnTo>
                  <a:pt x="5978710" y="1928555"/>
                </a:lnTo>
                <a:lnTo>
                  <a:pt x="5978710" y="1918684"/>
                </a:lnTo>
                <a:close/>
                <a:moveTo>
                  <a:pt x="6939983" y="1914645"/>
                </a:moveTo>
                <a:lnTo>
                  <a:pt x="6949894" y="1914645"/>
                </a:lnTo>
                <a:lnTo>
                  <a:pt x="6953913" y="1918682"/>
                </a:lnTo>
                <a:lnTo>
                  <a:pt x="6953913" y="1928554"/>
                </a:lnTo>
                <a:lnTo>
                  <a:pt x="6949894" y="1932594"/>
                </a:lnTo>
                <a:lnTo>
                  <a:pt x="6939983" y="1932594"/>
                </a:lnTo>
                <a:lnTo>
                  <a:pt x="6935964" y="1928554"/>
                </a:lnTo>
                <a:lnTo>
                  <a:pt x="6935964" y="1918682"/>
                </a:lnTo>
                <a:close/>
                <a:moveTo>
                  <a:pt x="6700670" y="1914645"/>
                </a:moveTo>
                <a:lnTo>
                  <a:pt x="6710581" y="1914645"/>
                </a:lnTo>
                <a:lnTo>
                  <a:pt x="6714600" y="1918683"/>
                </a:lnTo>
                <a:lnTo>
                  <a:pt x="6714600" y="1928554"/>
                </a:lnTo>
                <a:lnTo>
                  <a:pt x="6710581" y="1932594"/>
                </a:lnTo>
                <a:lnTo>
                  <a:pt x="6700670" y="1932594"/>
                </a:lnTo>
                <a:lnTo>
                  <a:pt x="6696651" y="1928554"/>
                </a:lnTo>
                <a:lnTo>
                  <a:pt x="6696651" y="1918683"/>
                </a:lnTo>
                <a:close/>
                <a:moveTo>
                  <a:pt x="6461356" y="1914645"/>
                </a:moveTo>
                <a:lnTo>
                  <a:pt x="6471266" y="1914645"/>
                </a:lnTo>
                <a:lnTo>
                  <a:pt x="6475285" y="1918683"/>
                </a:lnTo>
                <a:lnTo>
                  <a:pt x="6475285" y="1928555"/>
                </a:lnTo>
                <a:lnTo>
                  <a:pt x="6471266" y="1932594"/>
                </a:lnTo>
                <a:lnTo>
                  <a:pt x="6461356" y="1932594"/>
                </a:lnTo>
                <a:lnTo>
                  <a:pt x="6457337" y="1928555"/>
                </a:lnTo>
                <a:lnTo>
                  <a:pt x="6457337" y="1918683"/>
                </a:lnTo>
                <a:close/>
                <a:moveTo>
                  <a:pt x="6222042" y="1914645"/>
                </a:moveTo>
                <a:lnTo>
                  <a:pt x="6231952" y="1914645"/>
                </a:lnTo>
                <a:lnTo>
                  <a:pt x="6235971" y="1918683"/>
                </a:lnTo>
                <a:lnTo>
                  <a:pt x="6235971" y="1928555"/>
                </a:lnTo>
                <a:lnTo>
                  <a:pt x="6231952" y="1932594"/>
                </a:lnTo>
                <a:lnTo>
                  <a:pt x="6222042" y="1932594"/>
                </a:lnTo>
                <a:lnTo>
                  <a:pt x="6218023" y="1928555"/>
                </a:lnTo>
                <a:lnTo>
                  <a:pt x="6218023" y="1918683"/>
                </a:lnTo>
                <a:close/>
                <a:moveTo>
                  <a:pt x="7179298" y="1914627"/>
                </a:moveTo>
                <a:lnTo>
                  <a:pt x="7189209" y="1914627"/>
                </a:lnTo>
                <a:lnTo>
                  <a:pt x="7193228" y="1918666"/>
                </a:lnTo>
                <a:lnTo>
                  <a:pt x="7193228" y="1928536"/>
                </a:lnTo>
                <a:lnTo>
                  <a:pt x="7189209" y="1932575"/>
                </a:lnTo>
                <a:lnTo>
                  <a:pt x="7179298" y="1932575"/>
                </a:lnTo>
                <a:lnTo>
                  <a:pt x="7175279" y="1928536"/>
                </a:lnTo>
                <a:lnTo>
                  <a:pt x="7175279" y="1918666"/>
                </a:lnTo>
                <a:close/>
                <a:moveTo>
                  <a:pt x="7897241" y="1914627"/>
                </a:moveTo>
                <a:lnTo>
                  <a:pt x="7907151" y="1914627"/>
                </a:lnTo>
                <a:lnTo>
                  <a:pt x="7911170" y="1918664"/>
                </a:lnTo>
                <a:lnTo>
                  <a:pt x="7911170" y="1928535"/>
                </a:lnTo>
                <a:lnTo>
                  <a:pt x="7907151" y="1932575"/>
                </a:lnTo>
                <a:lnTo>
                  <a:pt x="7897241" y="1932575"/>
                </a:lnTo>
                <a:lnTo>
                  <a:pt x="7893222" y="1928535"/>
                </a:lnTo>
                <a:lnTo>
                  <a:pt x="7893222" y="1918664"/>
                </a:lnTo>
                <a:close/>
                <a:moveTo>
                  <a:pt x="7657926" y="1914627"/>
                </a:moveTo>
                <a:lnTo>
                  <a:pt x="7667836" y="1914627"/>
                </a:lnTo>
                <a:lnTo>
                  <a:pt x="7671855" y="1918664"/>
                </a:lnTo>
                <a:lnTo>
                  <a:pt x="7671855" y="1928536"/>
                </a:lnTo>
                <a:lnTo>
                  <a:pt x="7667836" y="1932575"/>
                </a:lnTo>
                <a:lnTo>
                  <a:pt x="7657926" y="1932575"/>
                </a:lnTo>
                <a:lnTo>
                  <a:pt x="7653906" y="1928536"/>
                </a:lnTo>
                <a:lnTo>
                  <a:pt x="7653906" y="1918664"/>
                </a:lnTo>
                <a:close/>
                <a:moveTo>
                  <a:pt x="7418611" y="1914627"/>
                </a:moveTo>
                <a:lnTo>
                  <a:pt x="7428521" y="1914627"/>
                </a:lnTo>
                <a:lnTo>
                  <a:pt x="7432540" y="1918664"/>
                </a:lnTo>
                <a:lnTo>
                  <a:pt x="7432540" y="1928536"/>
                </a:lnTo>
                <a:lnTo>
                  <a:pt x="7428521" y="1932575"/>
                </a:lnTo>
                <a:lnTo>
                  <a:pt x="7418611" y="1932575"/>
                </a:lnTo>
                <a:lnTo>
                  <a:pt x="7414592" y="1928536"/>
                </a:lnTo>
                <a:lnTo>
                  <a:pt x="7414592" y="1918664"/>
                </a:lnTo>
                <a:close/>
                <a:moveTo>
                  <a:pt x="8136553" y="1914626"/>
                </a:moveTo>
                <a:lnTo>
                  <a:pt x="8146464" y="1914626"/>
                </a:lnTo>
                <a:lnTo>
                  <a:pt x="8150483" y="1918664"/>
                </a:lnTo>
                <a:lnTo>
                  <a:pt x="8150483" y="1928535"/>
                </a:lnTo>
                <a:lnTo>
                  <a:pt x="8146464" y="1932575"/>
                </a:lnTo>
                <a:lnTo>
                  <a:pt x="8136553" y="1932575"/>
                </a:lnTo>
                <a:lnTo>
                  <a:pt x="8132534" y="1928535"/>
                </a:lnTo>
                <a:lnTo>
                  <a:pt x="8132534" y="1918664"/>
                </a:lnTo>
                <a:close/>
                <a:moveTo>
                  <a:pt x="8375869" y="1914608"/>
                </a:moveTo>
                <a:lnTo>
                  <a:pt x="8385779" y="1914608"/>
                </a:lnTo>
                <a:lnTo>
                  <a:pt x="8389799" y="1918647"/>
                </a:lnTo>
                <a:lnTo>
                  <a:pt x="8389799" y="1928518"/>
                </a:lnTo>
                <a:lnTo>
                  <a:pt x="8385779" y="1932557"/>
                </a:lnTo>
                <a:lnTo>
                  <a:pt x="8375869" y="1932557"/>
                </a:lnTo>
                <a:lnTo>
                  <a:pt x="8371850" y="1928518"/>
                </a:lnTo>
                <a:lnTo>
                  <a:pt x="8371850" y="1918647"/>
                </a:lnTo>
                <a:close/>
                <a:moveTo>
                  <a:pt x="9333125" y="1914608"/>
                </a:moveTo>
                <a:lnTo>
                  <a:pt x="9343036" y="1914608"/>
                </a:lnTo>
                <a:lnTo>
                  <a:pt x="9347055" y="1918646"/>
                </a:lnTo>
                <a:lnTo>
                  <a:pt x="9347055" y="1928517"/>
                </a:lnTo>
                <a:lnTo>
                  <a:pt x="9343036" y="1932557"/>
                </a:lnTo>
                <a:lnTo>
                  <a:pt x="9333125" y="1932557"/>
                </a:lnTo>
                <a:lnTo>
                  <a:pt x="9329106" y="1928517"/>
                </a:lnTo>
                <a:lnTo>
                  <a:pt x="9329106" y="1918646"/>
                </a:lnTo>
                <a:close/>
                <a:moveTo>
                  <a:pt x="9093811" y="1914608"/>
                </a:moveTo>
                <a:lnTo>
                  <a:pt x="9103722" y="1914608"/>
                </a:lnTo>
                <a:lnTo>
                  <a:pt x="9107741" y="1918646"/>
                </a:lnTo>
                <a:lnTo>
                  <a:pt x="9107741" y="1928517"/>
                </a:lnTo>
                <a:lnTo>
                  <a:pt x="9103722" y="1932557"/>
                </a:lnTo>
                <a:lnTo>
                  <a:pt x="9093811" y="1932557"/>
                </a:lnTo>
                <a:lnTo>
                  <a:pt x="9089792" y="1928517"/>
                </a:lnTo>
                <a:lnTo>
                  <a:pt x="9089792" y="1918646"/>
                </a:lnTo>
                <a:close/>
                <a:moveTo>
                  <a:pt x="8854496" y="1914608"/>
                </a:moveTo>
                <a:lnTo>
                  <a:pt x="8864407" y="1914608"/>
                </a:lnTo>
                <a:lnTo>
                  <a:pt x="8868426" y="1918646"/>
                </a:lnTo>
                <a:lnTo>
                  <a:pt x="8868426" y="1928518"/>
                </a:lnTo>
                <a:lnTo>
                  <a:pt x="8864407" y="1932557"/>
                </a:lnTo>
                <a:lnTo>
                  <a:pt x="8854496" y="1932557"/>
                </a:lnTo>
                <a:lnTo>
                  <a:pt x="8850477" y="1928518"/>
                </a:lnTo>
                <a:lnTo>
                  <a:pt x="8850477" y="1918646"/>
                </a:lnTo>
                <a:close/>
                <a:moveTo>
                  <a:pt x="8615184" y="1914608"/>
                </a:moveTo>
                <a:lnTo>
                  <a:pt x="8625095" y="1914608"/>
                </a:lnTo>
                <a:lnTo>
                  <a:pt x="8629114" y="1918646"/>
                </a:lnTo>
                <a:lnTo>
                  <a:pt x="8629114" y="1928518"/>
                </a:lnTo>
                <a:lnTo>
                  <a:pt x="8625095" y="1932557"/>
                </a:lnTo>
                <a:lnTo>
                  <a:pt x="8615184" y="1932557"/>
                </a:lnTo>
                <a:lnTo>
                  <a:pt x="8611165" y="1928518"/>
                </a:lnTo>
                <a:lnTo>
                  <a:pt x="8611165" y="1918646"/>
                </a:lnTo>
                <a:close/>
                <a:moveTo>
                  <a:pt x="9572438" y="1914590"/>
                </a:moveTo>
                <a:lnTo>
                  <a:pt x="9582349" y="1914590"/>
                </a:lnTo>
                <a:lnTo>
                  <a:pt x="9586368" y="1918629"/>
                </a:lnTo>
                <a:lnTo>
                  <a:pt x="9586368" y="1928499"/>
                </a:lnTo>
                <a:lnTo>
                  <a:pt x="9582349" y="1932538"/>
                </a:lnTo>
                <a:lnTo>
                  <a:pt x="9572438" y="1932538"/>
                </a:lnTo>
                <a:lnTo>
                  <a:pt x="9568419" y="1928499"/>
                </a:lnTo>
                <a:lnTo>
                  <a:pt x="9568419" y="1918629"/>
                </a:lnTo>
                <a:close/>
                <a:moveTo>
                  <a:pt x="243346" y="1914550"/>
                </a:moveTo>
                <a:lnTo>
                  <a:pt x="253256" y="1914550"/>
                </a:lnTo>
                <a:lnTo>
                  <a:pt x="257275" y="1918589"/>
                </a:lnTo>
                <a:lnTo>
                  <a:pt x="257275" y="1928459"/>
                </a:lnTo>
                <a:lnTo>
                  <a:pt x="253256" y="1932498"/>
                </a:lnTo>
                <a:lnTo>
                  <a:pt x="243346" y="1932498"/>
                </a:lnTo>
                <a:lnTo>
                  <a:pt x="239327" y="1928459"/>
                </a:lnTo>
                <a:lnTo>
                  <a:pt x="239327" y="1918589"/>
                </a:lnTo>
                <a:close/>
                <a:moveTo>
                  <a:pt x="4032" y="1914550"/>
                </a:moveTo>
                <a:lnTo>
                  <a:pt x="13943" y="1914550"/>
                </a:lnTo>
                <a:lnTo>
                  <a:pt x="17962" y="1918589"/>
                </a:lnTo>
                <a:lnTo>
                  <a:pt x="17962" y="1928459"/>
                </a:lnTo>
                <a:lnTo>
                  <a:pt x="13943" y="1932498"/>
                </a:lnTo>
                <a:lnTo>
                  <a:pt x="4032" y="1932498"/>
                </a:lnTo>
                <a:lnTo>
                  <a:pt x="13" y="1928459"/>
                </a:lnTo>
                <a:lnTo>
                  <a:pt x="13" y="1918589"/>
                </a:lnTo>
                <a:close/>
                <a:moveTo>
                  <a:pt x="721971" y="1914550"/>
                </a:moveTo>
                <a:lnTo>
                  <a:pt x="731882" y="1914550"/>
                </a:lnTo>
                <a:lnTo>
                  <a:pt x="735901" y="1918588"/>
                </a:lnTo>
                <a:lnTo>
                  <a:pt x="735901" y="1928459"/>
                </a:lnTo>
                <a:lnTo>
                  <a:pt x="731882" y="1932497"/>
                </a:lnTo>
                <a:lnTo>
                  <a:pt x="721971" y="1932497"/>
                </a:lnTo>
                <a:lnTo>
                  <a:pt x="717953" y="1928459"/>
                </a:lnTo>
                <a:lnTo>
                  <a:pt x="717953" y="1918588"/>
                </a:lnTo>
                <a:close/>
                <a:moveTo>
                  <a:pt x="482660" y="1914550"/>
                </a:moveTo>
                <a:lnTo>
                  <a:pt x="492570" y="1914550"/>
                </a:lnTo>
                <a:lnTo>
                  <a:pt x="496589" y="1918588"/>
                </a:lnTo>
                <a:lnTo>
                  <a:pt x="496589" y="1928459"/>
                </a:lnTo>
                <a:lnTo>
                  <a:pt x="492570" y="1932497"/>
                </a:lnTo>
                <a:lnTo>
                  <a:pt x="482660" y="1932497"/>
                </a:lnTo>
                <a:lnTo>
                  <a:pt x="478640" y="1928459"/>
                </a:lnTo>
                <a:lnTo>
                  <a:pt x="478640" y="1918588"/>
                </a:lnTo>
                <a:close/>
                <a:moveTo>
                  <a:pt x="1679215" y="1914535"/>
                </a:moveTo>
                <a:lnTo>
                  <a:pt x="1689125" y="1914535"/>
                </a:lnTo>
                <a:lnTo>
                  <a:pt x="1693144" y="1918573"/>
                </a:lnTo>
                <a:lnTo>
                  <a:pt x="1693144" y="1928444"/>
                </a:lnTo>
                <a:lnTo>
                  <a:pt x="1689125" y="1932482"/>
                </a:lnTo>
                <a:lnTo>
                  <a:pt x="1679215" y="1932482"/>
                </a:lnTo>
                <a:lnTo>
                  <a:pt x="1675195" y="1928444"/>
                </a:lnTo>
                <a:lnTo>
                  <a:pt x="1675195" y="1918573"/>
                </a:lnTo>
                <a:close/>
                <a:moveTo>
                  <a:pt x="1439897" y="1914535"/>
                </a:moveTo>
                <a:lnTo>
                  <a:pt x="1449808" y="1914535"/>
                </a:lnTo>
                <a:lnTo>
                  <a:pt x="1453827" y="1918573"/>
                </a:lnTo>
                <a:lnTo>
                  <a:pt x="1453827" y="1928444"/>
                </a:lnTo>
                <a:lnTo>
                  <a:pt x="1449808" y="1932483"/>
                </a:lnTo>
                <a:lnTo>
                  <a:pt x="1439897" y="1932483"/>
                </a:lnTo>
                <a:lnTo>
                  <a:pt x="1435879" y="1928444"/>
                </a:lnTo>
                <a:lnTo>
                  <a:pt x="1435879" y="1918573"/>
                </a:lnTo>
                <a:close/>
                <a:moveTo>
                  <a:pt x="1200582" y="1914535"/>
                </a:moveTo>
                <a:lnTo>
                  <a:pt x="1210492" y="1914535"/>
                </a:lnTo>
                <a:lnTo>
                  <a:pt x="1214511" y="1918573"/>
                </a:lnTo>
                <a:lnTo>
                  <a:pt x="1214511" y="1928444"/>
                </a:lnTo>
                <a:lnTo>
                  <a:pt x="1210492" y="1932483"/>
                </a:lnTo>
                <a:lnTo>
                  <a:pt x="1200582" y="1932483"/>
                </a:lnTo>
                <a:lnTo>
                  <a:pt x="1196563" y="1928444"/>
                </a:lnTo>
                <a:lnTo>
                  <a:pt x="1196563" y="1918573"/>
                </a:lnTo>
                <a:close/>
                <a:moveTo>
                  <a:pt x="961269" y="1914535"/>
                </a:moveTo>
                <a:lnTo>
                  <a:pt x="971179" y="1914535"/>
                </a:lnTo>
                <a:lnTo>
                  <a:pt x="975198" y="1918573"/>
                </a:lnTo>
                <a:lnTo>
                  <a:pt x="975198" y="1928444"/>
                </a:lnTo>
                <a:lnTo>
                  <a:pt x="971179" y="1932483"/>
                </a:lnTo>
                <a:lnTo>
                  <a:pt x="961269" y="1932483"/>
                </a:lnTo>
                <a:lnTo>
                  <a:pt x="957250" y="1928444"/>
                </a:lnTo>
                <a:lnTo>
                  <a:pt x="957250" y="1918573"/>
                </a:lnTo>
                <a:close/>
                <a:moveTo>
                  <a:pt x="1918513" y="1914523"/>
                </a:moveTo>
                <a:lnTo>
                  <a:pt x="1928424" y="1914523"/>
                </a:lnTo>
                <a:lnTo>
                  <a:pt x="1932443" y="1918562"/>
                </a:lnTo>
                <a:lnTo>
                  <a:pt x="1932443" y="1928432"/>
                </a:lnTo>
                <a:lnTo>
                  <a:pt x="1928424" y="1932471"/>
                </a:lnTo>
                <a:lnTo>
                  <a:pt x="1918513" y="1932471"/>
                </a:lnTo>
                <a:lnTo>
                  <a:pt x="1914494" y="1928432"/>
                </a:lnTo>
                <a:lnTo>
                  <a:pt x="1914494" y="1918562"/>
                </a:lnTo>
                <a:close/>
                <a:moveTo>
                  <a:pt x="2157821" y="1914520"/>
                </a:moveTo>
                <a:lnTo>
                  <a:pt x="2167732" y="1914520"/>
                </a:lnTo>
                <a:lnTo>
                  <a:pt x="2171751" y="1918558"/>
                </a:lnTo>
                <a:lnTo>
                  <a:pt x="2171751" y="1928428"/>
                </a:lnTo>
                <a:lnTo>
                  <a:pt x="2167732" y="1932467"/>
                </a:lnTo>
                <a:lnTo>
                  <a:pt x="2157821" y="1932467"/>
                </a:lnTo>
                <a:lnTo>
                  <a:pt x="2153803" y="1928428"/>
                </a:lnTo>
                <a:lnTo>
                  <a:pt x="2153803" y="1918558"/>
                </a:lnTo>
                <a:close/>
                <a:moveTo>
                  <a:pt x="2871737" y="1675350"/>
                </a:moveTo>
                <a:lnTo>
                  <a:pt x="2881646" y="1675350"/>
                </a:lnTo>
                <a:lnTo>
                  <a:pt x="2885666" y="1679389"/>
                </a:lnTo>
                <a:lnTo>
                  <a:pt x="2885666" y="1689260"/>
                </a:lnTo>
                <a:lnTo>
                  <a:pt x="2881646" y="1693299"/>
                </a:lnTo>
                <a:lnTo>
                  <a:pt x="2871737" y="1693299"/>
                </a:lnTo>
                <a:lnTo>
                  <a:pt x="2867717" y="1689260"/>
                </a:lnTo>
                <a:lnTo>
                  <a:pt x="2867717" y="1679389"/>
                </a:lnTo>
                <a:close/>
                <a:moveTo>
                  <a:pt x="2632423" y="1675350"/>
                </a:moveTo>
                <a:lnTo>
                  <a:pt x="2642334" y="1675350"/>
                </a:lnTo>
                <a:lnTo>
                  <a:pt x="2646352" y="1679389"/>
                </a:lnTo>
                <a:lnTo>
                  <a:pt x="2646352" y="1689260"/>
                </a:lnTo>
                <a:lnTo>
                  <a:pt x="2642334" y="1693299"/>
                </a:lnTo>
                <a:lnTo>
                  <a:pt x="2632423" y="1693299"/>
                </a:lnTo>
                <a:lnTo>
                  <a:pt x="2628404" y="1689260"/>
                </a:lnTo>
                <a:lnTo>
                  <a:pt x="2628404" y="1679389"/>
                </a:lnTo>
                <a:close/>
                <a:moveTo>
                  <a:pt x="2393104" y="1675350"/>
                </a:moveTo>
                <a:lnTo>
                  <a:pt x="2403015" y="1675350"/>
                </a:lnTo>
                <a:lnTo>
                  <a:pt x="2407034" y="1679389"/>
                </a:lnTo>
                <a:lnTo>
                  <a:pt x="2407034" y="1689260"/>
                </a:lnTo>
                <a:lnTo>
                  <a:pt x="2403015" y="1693299"/>
                </a:lnTo>
                <a:lnTo>
                  <a:pt x="2393104" y="1693299"/>
                </a:lnTo>
                <a:lnTo>
                  <a:pt x="2389087" y="1689260"/>
                </a:lnTo>
                <a:lnTo>
                  <a:pt x="2389087" y="1679389"/>
                </a:lnTo>
                <a:close/>
                <a:moveTo>
                  <a:pt x="3350359" y="1675349"/>
                </a:moveTo>
                <a:lnTo>
                  <a:pt x="3360268" y="1675349"/>
                </a:lnTo>
                <a:lnTo>
                  <a:pt x="3364287" y="1679388"/>
                </a:lnTo>
                <a:lnTo>
                  <a:pt x="3364287" y="1689260"/>
                </a:lnTo>
                <a:lnTo>
                  <a:pt x="3360268" y="1693298"/>
                </a:lnTo>
                <a:lnTo>
                  <a:pt x="3350359" y="1693298"/>
                </a:lnTo>
                <a:lnTo>
                  <a:pt x="3346340" y="1689260"/>
                </a:lnTo>
                <a:lnTo>
                  <a:pt x="3346340" y="1679388"/>
                </a:lnTo>
                <a:close/>
                <a:moveTo>
                  <a:pt x="3111048" y="1675349"/>
                </a:moveTo>
                <a:lnTo>
                  <a:pt x="3120959" y="1675349"/>
                </a:lnTo>
                <a:lnTo>
                  <a:pt x="3124977" y="1679388"/>
                </a:lnTo>
                <a:lnTo>
                  <a:pt x="3124977" y="1689260"/>
                </a:lnTo>
                <a:lnTo>
                  <a:pt x="3120959" y="1693299"/>
                </a:lnTo>
                <a:lnTo>
                  <a:pt x="3111048" y="1693299"/>
                </a:lnTo>
                <a:lnTo>
                  <a:pt x="3107029" y="1689260"/>
                </a:lnTo>
                <a:lnTo>
                  <a:pt x="3107029" y="1679388"/>
                </a:lnTo>
                <a:close/>
                <a:moveTo>
                  <a:pt x="4068297" y="1675334"/>
                </a:moveTo>
                <a:lnTo>
                  <a:pt x="4078210" y="1675334"/>
                </a:lnTo>
                <a:lnTo>
                  <a:pt x="4082229" y="1679373"/>
                </a:lnTo>
                <a:lnTo>
                  <a:pt x="4082229" y="1689243"/>
                </a:lnTo>
                <a:lnTo>
                  <a:pt x="4078210" y="1693282"/>
                </a:lnTo>
                <a:lnTo>
                  <a:pt x="4068297" y="1693282"/>
                </a:lnTo>
                <a:lnTo>
                  <a:pt x="4064278" y="1689243"/>
                </a:lnTo>
                <a:lnTo>
                  <a:pt x="4064278" y="1679373"/>
                </a:lnTo>
                <a:close/>
                <a:moveTo>
                  <a:pt x="3828990" y="1675334"/>
                </a:moveTo>
                <a:lnTo>
                  <a:pt x="3838899" y="1675334"/>
                </a:lnTo>
                <a:lnTo>
                  <a:pt x="3842917" y="1679373"/>
                </a:lnTo>
                <a:lnTo>
                  <a:pt x="3842917" y="1689243"/>
                </a:lnTo>
                <a:lnTo>
                  <a:pt x="3838899" y="1693282"/>
                </a:lnTo>
                <a:lnTo>
                  <a:pt x="3828990" y="1693282"/>
                </a:lnTo>
                <a:lnTo>
                  <a:pt x="3824971" y="1689243"/>
                </a:lnTo>
                <a:lnTo>
                  <a:pt x="3824971" y="1679373"/>
                </a:lnTo>
                <a:close/>
                <a:moveTo>
                  <a:pt x="3589676" y="1675334"/>
                </a:moveTo>
                <a:lnTo>
                  <a:pt x="3599585" y="1675334"/>
                </a:lnTo>
                <a:lnTo>
                  <a:pt x="3603604" y="1679373"/>
                </a:lnTo>
                <a:lnTo>
                  <a:pt x="3603604" y="1689243"/>
                </a:lnTo>
                <a:lnTo>
                  <a:pt x="3599585" y="1693282"/>
                </a:lnTo>
                <a:lnTo>
                  <a:pt x="3589676" y="1693282"/>
                </a:lnTo>
                <a:lnTo>
                  <a:pt x="3585657" y="1689243"/>
                </a:lnTo>
                <a:lnTo>
                  <a:pt x="3585657" y="1679373"/>
                </a:lnTo>
                <a:close/>
                <a:moveTo>
                  <a:pt x="4546929" y="1675333"/>
                </a:moveTo>
                <a:lnTo>
                  <a:pt x="4556840" y="1675333"/>
                </a:lnTo>
                <a:lnTo>
                  <a:pt x="4560859" y="1679372"/>
                </a:lnTo>
                <a:lnTo>
                  <a:pt x="4560859" y="1689243"/>
                </a:lnTo>
                <a:lnTo>
                  <a:pt x="4556840" y="1693281"/>
                </a:lnTo>
                <a:lnTo>
                  <a:pt x="4546929" y="1693281"/>
                </a:lnTo>
                <a:lnTo>
                  <a:pt x="4542910" y="1689243"/>
                </a:lnTo>
                <a:lnTo>
                  <a:pt x="4542910" y="1679372"/>
                </a:lnTo>
                <a:close/>
                <a:moveTo>
                  <a:pt x="4307612" y="1675333"/>
                </a:moveTo>
                <a:lnTo>
                  <a:pt x="4317523" y="1675333"/>
                </a:lnTo>
                <a:lnTo>
                  <a:pt x="4321543" y="1679372"/>
                </a:lnTo>
                <a:lnTo>
                  <a:pt x="4321543" y="1689243"/>
                </a:lnTo>
                <a:lnTo>
                  <a:pt x="4317523" y="1693282"/>
                </a:lnTo>
                <a:lnTo>
                  <a:pt x="4307612" y="1693282"/>
                </a:lnTo>
                <a:lnTo>
                  <a:pt x="4303595" y="1689243"/>
                </a:lnTo>
                <a:lnTo>
                  <a:pt x="4303595" y="1679372"/>
                </a:lnTo>
                <a:close/>
                <a:moveTo>
                  <a:pt x="5264784" y="1675318"/>
                </a:moveTo>
                <a:lnTo>
                  <a:pt x="5274694" y="1675318"/>
                </a:lnTo>
                <a:lnTo>
                  <a:pt x="5278713" y="1679357"/>
                </a:lnTo>
                <a:lnTo>
                  <a:pt x="5278713" y="1689227"/>
                </a:lnTo>
                <a:lnTo>
                  <a:pt x="5274694" y="1693266"/>
                </a:lnTo>
                <a:lnTo>
                  <a:pt x="5264784" y="1693266"/>
                </a:lnTo>
                <a:lnTo>
                  <a:pt x="5260765" y="1689227"/>
                </a:lnTo>
                <a:lnTo>
                  <a:pt x="5260765" y="1679357"/>
                </a:lnTo>
                <a:close/>
                <a:moveTo>
                  <a:pt x="5025470" y="1675318"/>
                </a:moveTo>
                <a:lnTo>
                  <a:pt x="5035381" y="1675318"/>
                </a:lnTo>
                <a:lnTo>
                  <a:pt x="5039400" y="1679357"/>
                </a:lnTo>
                <a:lnTo>
                  <a:pt x="5039400" y="1689227"/>
                </a:lnTo>
                <a:lnTo>
                  <a:pt x="5035381" y="1693266"/>
                </a:lnTo>
                <a:lnTo>
                  <a:pt x="5025470" y="1693266"/>
                </a:lnTo>
                <a:lnTo>
                  <a:pt x="5021451" y="1689227"/>
                </a:lnTo>
                <a:lnTo>
                  <a:pt x="5021451" y="1679357"/>
                </a:lnTo>
                <a:close/>
                <a:moveTo>
                  <a:pt x="4786241" y="1675318"/>
                </a:moveTo>
                <a:lnTo>
                  <a:pt x="4796152" y="1675318"/>
                </a:lnTo>
                <a:lnTo>
                  <a:pt x="4800171" y="1679357"/>
                </a:lnTo>
                <a:lnTo>
                  <a:pt x="4800171" y="1689227"/>
                </a:lnTo>
                <a:lnTo>
                  <a:pt x="4796152" y="1693266"/>
                </a:lnTo>
                <a:lnTo>
                  <a:pt x="4786241" y="1693266"/>
                </a:lnTo>
                <a:lnTo>
                  <a:pt x="4782224" y="1689227"/>
                </a:lnTo>
                <a:lnTo>
                  <a:pt x="4782224" y="1679357"/>
                </a:lnTo>
                <a:close/>
                <a:moveTo>
                  <a:pt x="5743412" y="1675316"/>
                </a:moveTo>
                <a:lnTo>
                  <a:pt x="5753323" y="1675316"/>
                </a:lnTo>
                <a:lnTo>
                  <a:pt x="5757342" y="1679356"/>
                </a:lnTo>
                <a:lnTo>
                  <a:pt x="5757342" y="1689227"/>
                </a:lnTo>
                <a:lnTo>
                  <a:pt x="5753323" y="1693266"/>
                </a:lnTo>
                <a:lnTo>
                  <a:pt x="5743412" y="1693266"/>
                </a:lnTo>
                <a:lnTo>
                  <a:pt x="5739393" y="1689227"/>
                </a:lnTo>
                <a:lnTo>
                  <a:pt x="5739393" y="1679356"/>
                </a:lnTo>
                <a:close/>
                <a:moveTo>
                  <a:pt x="5504099" y="1675316"/>
                </a:moveTo>
                <a:lnTo>
                  <a:pt x="5514010" y="1675316"/>
                </a:lnTo>
                <a:lnTo>
                  <a:pt x="5518029" y="1679356"/>
                </a:lnTo>
                <a:lnTo>
                  <a:pt x="5518029" y="1689227"/>
                </a:lnTo>
                <a:lnTo>
                  <a:pt x="5514010" y="1693266"/>
                </a:lnTo>
                <a:lnTo>
                  <a:pt x="5504099" y="1693266"/>
                </a:lnTo>
                <a:lnTo>
                  <a:pt x="5500080" y="1689227"/>
                </a:lnTo>
                <a:lnTo>
                  <a:pt x="5500080" y="1679356"/>
                </a:lnTo>
                <a:close/>
                <a:moveTo>
                  <a:pt x="6461356" y="1675301"/>
                </a:moveTo>
                <a:lnTo>
                  <a:pt x="6471266" y="1675301"/>
                </a:lnTo>
                <a:lnTo>
                  <a:pt x="6475285" y="1679339"/>
                </a:lnTo>
                <a:lnTo>
                  <a:pt x="6475285" y="1689210"/>
                </a:lnTo>
                <a:lnTo>
                  <a:pt x="6471266" y="1693249"/>
                </a:lnTo>
                <a:lnTo>
                  <a:pt x="6461356" y="1693249"/>
                </a:lnTo>
                <a:lnTo>
                  <a:pt x="6457337" y="1689210"/>
                </a:lnTo>
                <a:lnTo>
                  <a:pt x="6457337" y="1679339"/>
                </a:lnTo>
                <a:close/>
                <a:moveTo>
                  <a:pt x="6222042" y="1675301"/>
                </a:moveTo>
                <a:lnTo>
                  <a:pt x="6231952" y="1675301"/>
                </a:lnTo>
                <a:lnTo>
                  <a:pt x="6235971" y="1679339"/>
                </a:lnTo>
                <a:lnTo>
                  <a:pt x="6235971" y="1689211"/>
                </a:lnTo>
                <a:lnTo>
                  <a:pt x="6231952" y="1693249"/>
                </a:lnTo>
                <a:lnTo>
                  <a:pt x="6222042" y="1693249"/>
                </a:lnTo>
                <a:lnTo>
                  <a:pt x="6218023" y="1689211"/>
                </a:lnTo>
                <a:lnTo>
                  <a:pt x="6218023" y="1679339"/>
                </a:lnTo>
                <a:close/>
                <a:moveTo>
                  <a:pt x="5982729" y="1675301"/>
                </a:moveTo>
                <a:lnTo>
                  <a:pt x="5992639" y="1675301"/>
                </a:lnTo>
                <a:lnTo>
                  <a:pt x="5996658" y="1679339"/>
                </a:lnTo>
                <a:lnTo>
                  <a:pt x="5996658" y="1689211"/>
                </a:lnTo>
                <a:lnTo>
                  <a:pt x="5992639" y="1693251"/>
                </a:lnTo>
                <a:lnTo>
                  <a:pt x="5982729" y="1693251"/>
                </a:lnTo>
                <a:lnTo>
                  <a:pt x="5978710" y="1689211"/>
                </a:lnTo>
                <a:lnTo>
                  <a:pt x="5978710" y="1679339"/>
                </a:lnTo>
                <a:close/>
                <a:moveTo>
                  <a:pt x="6939983" y="1675300"/>
                </a:moveTo>
                <a:lnTo>
                  <a:pt x="6949894" y="1675300"/>
                </a:lnTo>
                <a:lnTo>
                  <a:pt x="6953913" y="1679339"/>
                </a:lnTo>
                <a:lnTo>
                  <a:pt x="6953913" y="1689210"/>
                </a:lnTo>
                <a:lnTo>
                  <a:pt x="6949894" y="1693249"/>
                </a:lnTo>
                <a:lnTo>
                  <a:pt x="6939983" y="1693249"/>
                </a:lnTo>
                <a:lnTo>
                  <a:pt x="6935964" y="1689210"/>
                </a:lnTo>
                <a:lnTo>
                  <a:pt x="6935964" y="1679339"/>
                </a:lnTo>
                <a:close/>
                <a:moveTo>
                  <a:pt x="6700670" y="1675300"/>
                </a:moveTo>
                <a:lnTo>
                  <a:pt x="6710581" y="1675300"/>
                </a:lnTo>
                <a:lnTo>
                  <a:pt x="6714600" y="1679339"/>
                </a:lnTo>
                <a:lnTo>
                  <a:pt x="6714600" y="1689210"/>
                </a:lnTo>
                <a:lnTo>
                  <a:pt x="6710581" y="1693249"/>
                </a:lnTo>
                <a:lnTo>
                  <a:pt x="6700670" y="1693249"/>
                </a:lnTo>
                <a:lnTo>
                  <a:pt x="6696651" y="1689210"/>
                </a:lnTo>
                <a:lnTo>
                  <a:pt x="6696651" y="1679339"/>
                </a:lnTo>
                <a:close/>
                <a:moveTo>
                  <a:pt x="8136553" y="1675285"/>
                </a:moveTo>
                <a:lnTo>
                  <a:pt x="8146464" y="1675285"/>
                </a:lnTo>
                <a:lnTo>
                  <a:pt x="8150483" y="1679323"/>
                </a:lnTo>
                <a:lnTo>
                  <a:pt x="8150483" y="1689193"/>
                </a:lnTo>
                <a:lnTo>
                  <a:pt x="8146464" y="1693232"/>
                </a:lnTo>
                <a:lnTo>
                  <a:pt x="8136553" y="1693232"/>
                </a:lnTo>
                <a:lnTo>
                  <a:pt x="8132534" y="1689193"/>
                </a:lnTo>
                <a:lnTo>
                  <a:pt x="8132534" y="1679323"/>
                </a:lnTo>
                <a:close/>
                <a:moveTo>
                  <a:pt x="7897241" y="1675285"/>
                </a:moveTo>
                <a:lnTo>
                  <a:pt x="7907151" y="1675285"/>
                </a:lnTo>
                <a:lnTo>
                  <a:pt x="7911170" y="1679323"/>
                </a:lnTo>
                <a:lnTo>
                  <a:pt x="7911170" y="1689193"/>
                </a:lnTo>
                <a:lnTo>
                  <a:pt x="7907151" y="1693232"/>
                </a:lnTo>
                <a:lnTo>
                  <a:pt x="7897241" y="1693232"/>
                </a:lnTo>
                <a:lnTo>
                  <a:pt x="7893222" y="1689193"/>
                </a:lnTo>
                <a:lnTo>
                  <a:pt x="7893222" y="1679323"/>
                </a:lnTo>
                <a:close/>
                <a:moveTo>
                  <a:pt x="7657926" y="1675285"/>
                </a:moveTo>
                <a:lnTo>
                  <a:pt x="7667836" y="1675285"/>
                </a:lnTo>
                <a:lnTo>
                  <a:pt x="7671855" y="1679323"/>
                </a:lnTo>
                <a:lnTo>
                  <a:pt x="7671855" y="1689193"/>
                </a:lnTo>
                <a:lnTo>
                  <a:pt x="7667836" y="1693232"/>
                </a:lnTo>
                <a:lnTo>
                  <a:pt x="7657926" y="1693232"/>
                </a:lnTo>
                <a:lnTo>
                  <a:pt x="7653906" y="1689193"/>
                </a:lnTo>
                <a:lnTo>
                  <a:pt x="7653906" y="1679323"/>
                </a:lnTo>
                <a:close/>
                <a:moveTo>
                  <a:pt x="7418611" y="1675285"/>
                </a:moveTo>
                <a:lnTo>
                  <a:pt x="7428521" y="1675285"/>
                </a:lnTo>
                <a:lnTo>
                  <a:pt x="7432540" y="1679323"/>
                </a:lnTo>
                <a:lnTo>
                  <a:pt x="7432540" y="1689195"/>
                </a:lnTo>
                <a:lnTo>
                  <a:pt x="7428521" y="1693232"/>
                </a:lnTo>
                <a:lnTo>
                  <a:pt x="7418611" y="1693232"/>
                </a:lnTo>
                <a:lnTo>
                  <a:pt x="7414592" y="1689195"/>
                </a:lnTo>
                <a:lnTo>
                  <a:pt x="7414592" y="1679323"/>
                </a:lnTo>
                <a:close/>
                <a:moveTo>
                  <a:pt x="7179298" y="1675285"/>
                </a:moveTo>
                <a:lnTo>
                  <a:pt x="7189209" y="1675285"/>
                </a:lnTo>
                <a:lnTo>
                  <a:pt x="7193228" y="1679323"/>
                </a:lnTo>
                <a:lnTo>
                  <a:pt x="7193228" y="1689195"/>
                </a:lnTo>
                <a:lnTo>
                  <a:pt x="7189209" y="1693234"/>
                </a:lnTo>
                <a:lnTo>
                  <a:pt x="7179298" y="1693234"/>
                </a:lnTo>
                <a:lnTo>
                  <a:pt x="7175279" y="1689195"/>
                </a:lnTo>
                <a:lnTo>
                  <a:pt x="7175279" y="1679323"/>
                </a:lnTo>
                <a:close/>
                <a:moveTo>
                  <a:pt x="9333125" y="1675268"/>
                </a:moveTo>
                <a:lnTo>
                  <a:pt x="9343036" y="1675268"/>
                </a:lnTo>
                <a:lnTo>
                  <a:pt x="9347055" y="1679306"/>
                </a:lnTo>
                <a:lnTo>
                  <a:pt x="9347055" y="1689177"/>
                </a:lnTo>
                <a:lnTo>
                  <a:pt x="9343036" y="1693216"/>
                </a:lnTo>
                <a:lnTo>
                  <a:pt x="9333125" y="1693216"/>
                </a:lnTo>
                <a:lnTo>
                  <a:pt x="9329106" y="1689177"/>
                </a:lnTo>
                <a:lnTo>
                  <a:pt x="9329106" y="1679306"/>
                </a:lnTo>
                <a:close/>
                <a:moveTo>
                  <a:pt x="9093811" y="1675268"/>
                </a:moveTo>
                <a:lnTo>
                  <a:pt x="9103722" y="1675268"/>
                </a:lnTo>
                <a:lnTo>
                  <a:pt x="9107741" y="1679306"/>
                </a:lnTo>
                <a:lnTo>
                  <a:pt x="9107741" y="1689177"/>
                </a:lnTo>
                <a:lnTo>
                  <a:pt x="9103722" y="1693217"/>
                </a:lnTo>
                <a:lnTo>
                  <a:pt x="9093811" y="1693217"/>
                </a:lnTo>
                <a:lnTo>
                  <a:pt x="9089792" y="1689177"/>
                </a:lnTo>
                <a:lnTo>
                  <a:pt x="9089792" y="1679306"/>
                </a:lnTo>
                <a:close/>
                <a:moveTo>
                  <a:pt x="8854496" y="1675268"/>
                </a:moveTo>
                <a:lnTo>
                  <a:pt x="8864407" y="1675268"/>
                </a:lnTo>
                <a:lnTo>
                  <a:pt x="8868426" y="1679307"/>
                </a:lnTo>
                <a:lnTo>
                  <a:pt x="8868426" y="1689177"/>
                </a:lnTo>
                <a:lnTo>
                  <a:pt x="8864407" y="1693217"/>
                </a:lnTo>
                <a:lnTo>
                  <a:pt x="8854496" y="1693217"/>
                </a:lnTo>
                <a:lnTo>
                  <a:pt x="8850477" y="1689177"/>
                </a:lnTo>
                <a:lnTo>
                  <a:pt x="8850477" y="1679307"/>
                </a:lnTo>
                <a:close/>
                <a:moveTo>
                  <a:pt x="8615184" y="1675268"/>
                </a:moveTo>
                <a:lnTo>
                  <a:pt x="8625095" y="1675268"/>
                </a:lnTo>
                <a:lnTo>
                  <a:pt x="8629114" y="1679307"/>
                </a:lnTo>
                <a:lnTo>
                  <a:pt x="8629114" y="1689178"/>
                </a:lnTo>
                <a:lnTo>
                  <a:pt x="8625095" y="1693217"/>
                </a:lnTo>
                <a:lnTo>
                  <a:pt x="8615184" y="1693217"/>
                </a:lnTo>
                <a:lnTo>
                  <a:pt x="8611165" y="1689178"/>
                </a:lnTo>
                <a:lnTo>
                  <a:pt x="8611165" y="1679307"/>
                </a:lnTo>
                <a:close/>
                <a:moveTo>
                  <a:pt x="8375869" y="1675268"/>
                </a:moveTo>
                <a:lnTo>
                  <a:pt x="8385779" y="1675268"/>
                </a:lnTo>
                <a:lnTo>
                  <a:pt x="8389799" y="1679307"/>
                </a:lnTo>
                <a:lnTo>
                  <a:pt x="8389799" y="1689178"/>
                </a:lnTo>
                <a:lnTo>
                  <a:pt x="8385779" y="1693217"/>
                </a:lnTo>
                <a:lnTo>
                  <a:pt x="8375869" y="1693217"/>
                </a:lnTo>
                <a:lnTo>
                  <a:pt x="8371850" y="1689178"/>
                </a:lnTo>
                <a:lnTo>
                  <a:pt x="8371850" y="1679307"/>
                </a:lnTo>
                <a:close/>
                <a:moveTo>
                  <a:pt x="961270" y="1675255"/>
                </a:moveTo>
                <a:lnTo>
                  <a:pt x="971180" y="1675255"/>
                </a:lnTo>
                <a:lnTo>
                  <a:pt x="975199" y="1679292"/>
                </a:lnTo>
                <a:lnTo>
                  <a:pt x="975199" y="1689163"/>
                </a:lnTo>
                <a:lnTo>
                  <a:pt x="971180" y="1693202"/>
                </a:lnTo>
                <a:lnTo>
                  <a:pt x="961270" y="1693202"/>
                </a:lnTo>
                <a:lnTo>
                  <a:pt x="957251" y="1689163"/>
                </a:lnTo>
                <a:lnTo>
                  <a:pt x="957251" y="1679292"/>
                </a:lnTo>
                <a:close/>
                <a:moveTo>
                  <a:pt x="1679215" y="1675254"/>
                </a:moveTo>
                <a:lnTo>
                  <a:pt x="1689126" y="1675254"/>
                </a:lnTo>
                <a:lnTo>
                  <a:pt x="1693145" y="1679292"/>
                </a:lnTo>
                <a:lnTo>
                  <a:pt x="1693145" y="1689163"/>
                </a:lnTo>
                <a:lnTo>
                  <a:pt x="1689126" y="1693202"/>
                </a:lnTo>
                <a:lnTo>
                  <a:pt x="1679215" y="1693202"/>
                </a:lnTo>
                <a:lnTo>
                  <a:pt x="1675196" y="1689163"/>
                </a:lnTo>
                <a:lnTo>
                  <a:pt x="1675196" y="1679292"/>
                </a:lnTo>
                <a:close/>
                <a:moveTo>
                  <a:pt x="1439898" y="1675254"/>
                </a:moveTo>
                <a:lnTo>
                  <a:pt x="1449808" y="1675254"/>
                </a:lnTo>
                <a:lnTo>
                  <a:pt x="1453828" y="1679292"/>
                </a:lnTo>
                <a:lnTo>
                  <a:pt x="1453828" y="1689163"/>
                </a:lnTo>
                <a:lnTo>
                  <a:pt x="1449808" y="1693202"/>
                </a:lnTo>
                <a:lnTo>
                  <a:pt x="1439898" y="1693202"/>
                </a:lnTo>
                <a:lnTo>
                  <a:pt x="1435880" y="1689163"/>
                </a:lnTo>
                <a:lnTo>
                  <a:pt x="1435880" y="1679292"/>
                </a:lnTo>
                <a:close/>
                <a:moveTo>
                  <a:pt x="1200583" y="1675254"/>
                </a:moveTo>
                <a:lnTo>
                  <a:pt x="1210493" y="1675254"/>
                </a:lnTo>
                <a:lnTo>
                  <a:pt x="1214511" y="1679292"/>
                </a:lnTo>
                <a:lnTo>
                  <a:pt x="1214511" y="1689163"/>
                </a:lnTo>
                <a:lnTo>
                  <a:pt x="1210493" y="1693202"/>
                </a:lnTo>
                <a:lnTo>
                  <a:pt x="1200583" y="1693202"/>
                </a:lnTo>
                <a:lnTo>
                  <a:pt x="1196564" y="1689163"/>
                </a:lnTo>
                <a:lnTo>
                  <a:pt x="1196564" y="1679292"/>
                </a:lnTo>
                <a:close/>
                <a:moveTo>
                  <a:pt x="9572438" y="1675251"/>
                </a:moveTo>
                <a:lnTo>
                  <a:pt x="9582349" y="1675251"/>
                </a:lnTo>
                <a:lnTo>
                  <a:pt x="9586368" y="1679290"/>
                </a:lnTo>
                <a:lnTo>
                  <a:pt x="9586368" y="1689161"/>
                </a:lnTo>
                <a:lnTo>
                  <a:pt x="9582349" y="1693201"/>
                </a:lnTo>
                <a:lnTo>
                  <a:pt x="9572438" y="1693201"/>
                </a:lnTo>
                <a:lnTo>
                  <a:pt x="9568419" y="1689161"/>
                </a:lnTo>
                <a:lnTo>
                  <a:pt x="9568419" y="1679290"/>
                </a:lnTo>
                <a:close/>
                <a:moveTo>
                  <a:pt x="1918514" y="1675243"/>
                </a:moveTo>
                <a:lnTo>
                  <a:pt x="1928424" y="1675243"/>
                </a:lnTo>
                <a:lnTo>
                  <a:pt x="1932443" y="1679282"/>
                </a:lnTo>
                <a:lnTo>
                  <a:pt x="1932443" y="1689153"/>
                </a:lnTo>
                <a:lnTo>
                  <a:pt x="1928424" y="1693191"/>
                </a:lnTo>
                <a:lnTo>
                  <a:pt x="1918514" y="1693191"/>
                </a:lnTo>
                <a:lnTo>
                  <a:pt x="1914494" y="1689153"/>
                </a:lnTo>
                <a:lnTo>
                  <a:pt x="1914494" y="1679282"/>
                </a:lnTo>
                <a:close/>
                <a:moveTo>
                  <a:pt x="2157821" y="1675240"/>
                </a:moveTo>
                <a:lnTo>
                  <a:pt x="2167732" y="1675240"/>
                </a:lnTo>
                <a:lnTo>
                  <a:pt x="2171751" y="1679279"/>
                </a:lnTo>
                <a:lnTo>
                  <a:pt x="2171751" y="1689149"/>
                </a:lnTo>
                <a:lnTo>
                  <a:pt x="2167732" y="1693188"/>
                </a:lnTo>
                <a:lnTo>
                  <a:pt x="2157821" y="1693188"/>
                </a:lnTo>
                <a:lnTo>
                  <a:pt x="2153803" y="1689149"/>
                </a:lnTo>
                <a:lnTo>
                  <a:pt x="2153803" y="1679279"/>
                </a:lnTo>
                <a:close/>
                <a:moveTo>
                  <a:pt x="243346" y="1675216"/>
                </a:moveTo>
                <a:lnTo>
                  <a:pt x="253257" y="1675216"/>
                </a:lnTo>
                <a:lnTo>
                  <a:pt x="257276" y="1679254"/>
                </a:lnTo>
                <a:lnTo>
                  <a:pt x="257276" y="1689125"/>
                </a:lnTo>
                <a:lnTo>
                  <a:pt x="253257" y="1693164"/>
                </a:lnTo>
                <a:lnTo>
                  <a:pt x="243346" y="1693164"/>
                </a:lnTo>
                <a:lnTo>
                  <a:pt x="239327" y="1689125"/>
                </a:lnTo>
                <a:lnTo>
                  <a:pt x="239327" y="1679254"/>
                </a:lnTo>
                <a:close/>
                <a:moveTo>
                  <a:pt x="4034" y="1675216"/>
                </a:moveTo>
                <a:lnTo>
                  <a:pt x="13943" y="1675216"/>
                </a:lnTo>
                <a:lnTo>
                  <a:pt x="17962" y="1679254"/>
                </a:lnTo>
                <a:lnTo>
                  <a:pt x="17962" y="1689125"/>
                </a:lnTo>
                <a:lnTo>
                  <a:pt x="13943" y="1693164"/>
                </a:lnTo>
                <a:lnTo>
                  <a:pt x="4034" y="1693164"/>
                </a:lnTo>
                <a:lnTo>
                  <a:pt x="14" y="1689125"/>
                </a:lnTo>
                <a:lnTo>
                  <a:pt x="14" y="1679254"/>
                </a:lnTo>
                <a:close/>
                <a:moveTo>
                  <a:pt x="721972" y="1675216"/>
                </a:moveTo>
                <a:lnTo>
                  <a:pt x="731882" y="1675216"/>
                </a:lnTo>
                <a:lnTo>
                  <a:pt x="735902" y="1679254"/>
                </a:lnTo>
                <a:lnTo>
                  <a:pt x="735902" y="1689125"/>
                </a:lnTo>
                <a:lnTo>
                  <a:pt x="731882" y="1693164"/>
                </a:lnTo>
                <a:lnTo>
                  <a:pt x="721972" y="1693164"/>
                </a:lnTo>
                <a:lnTo>
                  <a:pt x="717954" y="1689125"/>
                </a:lnTo>
                <a:lnTo>
                  <a:pt x="717954" y="1679254"/>
                </a:lnTo>
                <a:close/>
                <a:moveTo>
                  <a:pt x="482660" y="1675216"/>
                </a:moveTo>
                <a:lnTo>
                  <a:pt x="492571" y="1675216"/>
                </a:lnTo>
                <a:lnTo>
                  <a:pt x="496589" y="1679254"/>
                </a:lnTo>
                <a:lnTo>
                  <a:pt x="496589" y="1689125"/>
                </a:lnTo>
                <a:lnTo>
                  <a:pt x="492571" y="1693164"/>
                </a:lnTo>
                <a:lnTo>
                  <a:pt x="482660" y="1693164"/>
                </a:lnTo>
                <a:lnTo>
                  <a:pt x="478641" y="1689125"/>
                </a:lnTo>
                <a:lnTo>
                  <a:pt x="478641" y="1679254"/>
                </a:lnTo>
                <a:close/>
                <a:moveTo>
                  <a:pt x="2393104" y="1436001"/>
                </a:moveTo>
                <a:lnTo>
                  <a:pt x="2403015" y="1436001"/>
                </a:lnTo>
                <a:lnTo>
                  <a:pt x="2407034" y="1440038"/>
                </a:lnTo>
                <a:lnTo>
                  <a:pt x="2407034" y="1449910"/>
                </a:lnTo>
                <a:lnTo>
                  <a:pt x="2403015" y="1453949"/>
                </a:lnTo>
                <a:lnTo>
                  <a:pt x="2393104" y="1453949"/>
                </a:lnTo>
                <a:lnTo>
                  <a:pt x="2389087" y="1449910"/>
                </a:lnTo>
                <a:lnTo>
                  <a:pt x="2389087" y="1440038"/>
                </a:lnTo>
                <a:close/>
                <a:moveTo>
                  <a:pt x="3350359" y="1436000"/>
                </a:moveTo>
                <a:lnTo>
                  <a:pt x="3360268" y="1436000"/>
                </a:lnTo>
                <a:lnTo>
                  <a:pt x="3364287" y="1440038"/>
                </a:lnTo>
                <a:lnTo>
                  <a:pt x="3364287" y="1449909"/>
                </a:lnTo>
                <a:lnTo>
                  <a:pt x="3360268" y="1453949"/>
                </a:lnTo>
                <a:lnTo>
                  <a:pt x="3350359" y="1453949"/>
                </a:lnTo>
                <a:lnTo>
                  <a:pt x="3346340" y="1449909"/>
                </a:lnTo>
                <a:lnTo>
                  <a:pt x="3346340" y="1440038"/>
                </a:lnTo>
                <a:close/>
                <a:moveTo>
                  <a:pt x="3111048" y="1436000"/>
                </a:moveTo>
                <a:lnTo>
                  <a:pt x="3120959" y="1436000"/>
                </a:lnTo>
                <a:lnTo>
                  <a:pt x="3124977" y="1440038"/>
                </a:lnTo>
                <a:lnTo>
                  <a:pt x="3124977" y="1449910"/>
                </a:lnTo>
                <a:lnTo>
                  <a:pt x="3120959" y="1453949"/>
                </a:lnTo>
                <a:lnTo>
                  <a:pt x="3111048" y="1453949"/>
                </a:lnTo>
                <a:lnTo>
                  <a:pt x="3107029" y="1449910"/>
                </a:lnTo>
                <a:lnTo>
                  <a:pt x="3107029" y="1440038"/>
                </a:lnTo>
                <a:close/>
                <a:moveTo>
                  <a:pt x="2871737" y="1436000"/>
                </a:moveTo>
                <a:lnTo>
                  <a:pt x="2881646" y="1436000"/>
                </a:lnTo>
                <a:lnTo>
                  <a:pt x="2885666" y="1440038"/>
                </a:lnTo>
                <a:lnTo>
                  <a:pt x="2885666" y="1449910"/>
                </a:lnTo>
                <a:lnTo>
                  <a:pt x="2881646" y="1453949"/>
                </a:lnTo>
                <a:lnTo>
                  <a:pt x="2871737" y="1453949"/>
                </a:lnTo>
                <a:lnTo>
                  <a:pt x="2867717" y="1449910"/>
                </a:lnTo>
                <a:lnTo>
                  <a:pt x="2867717" y="1440038"/>
                </a:lnTo>
                <a:close/>
                <a:moveTo>
                  <a:pt x="2632423" y="1436000"/>
                </a:moveTo>
                <a:lnTo>
                  <a:pt x="2642334" y="1436000"/>
                </a:lnTo>
                <a:lnTo>
                  <a:pt x="2646352" y="1440038"/>
                </a:lnTo>
                <a:lnTo>
                  <a:pt x="2646352" y="1449910"/>
                </a:lnTo>
                <a:lnTo>
                  <a:pt x="2642334" y="1453949"/>
                </a:lnTo>
                <a:lnTo>
                  <a:pt x="2632423" y="1453949"/>
                </a:lnTo>
                <a:lnTo>
                  <a:pt x="2628404" y="1449910"/>
                </a:lnTo>
                <a:lnTo>
                  <a:pt x="2628404" y="1440038"/>
                </a:lnTo>
                <a:close/>
                <a:moveTo>
                  <a:pt x="3589676" y="1435986"/>
                </a:moveTo>
                <a:lnTo>
                  <a:pt x="3599585" y="1435986"/>
                </a:lnTo>
                <a:lnTo>
                  <a:pt x="3603604" y="1440024"/>
                </a:lnTo>
                <a:lnTo>
                  <a:pt x="3603604" y="1449895"/>
                </a:lnTo>
                <a:lnTo>
                  <a:pt x="3599585" y="1453934"/>
                </a:lnTo>
                <a:lnTo>
                  <a:pt x="3589676" y="1453934"/>
                </a:lnTo>
                <a:lnTo>
                  <a:pt x="3585657" y="1449895"/>
                </a:lnTo>
                <a:lnTo>
                  <a:pt x="3585657" y="1440024"/>
                </a:lnTo>
                <a:close/>
                <a:moveTo>
                  <a:pt x="4546929" y="1435986"/>
                </a:moveTo>
                <a:lnTo>
                  <a:pt x="4556840" y="1435986"/>
                </a:lnTo>
                <a:lnTo>
                  <a:pt x="4560859" y="1440024"/>
                </a:lnTo>
                <a:lnTo>
                  <a:pt x="4560859" y="1449895"/>
                </a:lnTo>
                <a:lnTo>
                  <a:pt x="4556840" y="1453934"/>
                </a:lnTo>
                <a:lnTo>
                  <a:pt x="4546929" y="1453934"/>
                </a:lnTo>
                <a:lnTo>
                  <a:pt x="4542910" y="1449895"/>
                </a:lnTo>
                <a:lnTo>
                  <a:pt x="4542910" y="1440024"/>
                </a:lnTo>
                <a:close/>
                <a:moveTo>
                  <a:pt x="4307612" y="1435986"/>
                </a:moveTo>
                <a:lnTo>
                  <a:pt x="4317523" y="1435986"/>
                </a:lnTo>
                <a:lnTo>
                  <a:pt x="4321543" y="1440024"/>
                </a:lnTo>
                <a:lnTo>
                  <a:pt x="4321543" y="1449895"/>
                </a:lnTo>
                <a:lnTo>
                  <a:pt x="4317523" y="1453934"/>
                </a:lnTo>
                <a:lnTo>
                  <a:pt x="4307612" y="1453934"/>
                </a:lnTo>
                <a:lnTo>
                  <a:pt x="4303595" y="1449895"/>
                </a:lnTo>
                <a:lnTo>
                  <a:pt x="4303595" y="1440024"/>
                </a:lnTo>
                <a:close/>
                <a:moveTo>
                  <a:pt x="4068297" y="1435986"/>
                </a:moveTo>
                <a:lnTo>
                  <a:pt x="4078210" y="1435986"/>
                </a:lnTo>
                <a:lnTo>
                  <a:pt x="4082229" y="1440024"/>
                </a:lnTo>
                <a:lnTo>
                  <a:pt x="4082229" y="1449895"/>
                </a:lnTo>
                <a:lnTo>
                  <a:pt x="4078210" y="1453934"/>
                </a:lnTo>
                <a:lnTo>
                  <a:pt x="4068297" y="1453934"/>
                </a:lnTo>
                <a:lnTo>
                  <a:pt x="4064278" y="1449895"/>
                </a:lnTo>
                <a:lnTo>
                  <a:pt x="4064278" y="1440024"/>
                </a:lnTo>
                <a:close/>
                <a:moveTo>
                  <a:pt x="3828990" y="1435986"/>
                </a:moveTo>
                <a:lnTo>
                  <a:pt x="3838899" y="1435986"/>
                </a:lnTo>
                <a:lnTo>
                  <a:pt x="3842917" y="1440024"/>
                </a:lnTo>
                <a:lnTo>
                  <a:pt x="3842917" y="1449895"/>
                </a:lnTo>
                <a:lnTo>
                  <a:pt x="3838899" y="1453934"/>
                </a:lnTo>
                <a:lnTo>
                  <a:pt x="3828990" y="1453934"/>
                </a:lnTo>
                <a:lnTo>
                  <a:pt x="3824971" y="1449895"/>
                </a:lnTo>
                <a:lnTo>
                  <a:pt x="3824971" y="1440024"/>
                </a:lnTo>
                <a:close/>
                <a:moveTo>
                  <a:pt x="4786241" y="1435972"/>
                </a:moveTo>
                <a:lnTo>
                  <a:pt x="4796152" y="1435972"/>
                </a:lnTo>
                <a:lnTo>
                  <a:pt x="4800171" y="1440010"/>
                </a:lnTo>
                <a:lnTo>
                  <a:pt x="4800171" y="1449881"/>
                </a:lnTo>
                <a:lnTo>
                  <a:pt x="4796152" y="1453920"/>
                </a:lnTo>
                <a:lnTo>
                  <a:pt x="4786241" y="1453920"/>
                </a:lnTo>
                <a:lnTo>
                  <a:pt x="4782224" y="1449881"/>
                </a:lnTo>
                <a:lnTo>
                  <a:pt x="4782224" y="1440010"/>
                </a:lnTo>
                <a:close/>
                <a:moveTo>
                  <a:pt x="5743412" y="1435971"/>
                </a:moveTo>
                <a:lnTo>
                  <a:pt x="5753323" y="1435971"/>
                </a:lnTo>
                <a:lnTo>
                  <a:pt x="5757342" y="1440010"/>
                </a:lnTo>
                <a:lnTo>
                  <a:pt x="5757342" y="1449880"/>
                </a:lnTo>
                <a:lnTo>
                  <a:pt x="5753323" y="1453919"/>
                </a:lnTo>
                <a:lnTo>
                  <a:pt x="5743412" y="1453919"/>
                </a:lnTo>
                <a:lnTo>
                  <a:pt x="5739393" y="1449880"/>
                </a:lnTo>
                <a:lnTo>
                  <a:pt x="5739393" y="1440010"/>
                </a:lnTo>
                <a:close/>
                <a:moveTo>
                  <a:pt x="5504099" y="1435971"/>
                </a:moveTo>
                <a:lnTo>
                  <a:pt x="5514010" y="1435971"/>
                </a:lnTo>
                <a:lnTo>
                  <a:pt x="5518029" y="1440010"/>
                </a:lnTo>
                <a:lnTo>
                  <a:pt x="5518029" y="1449881"/>
                </a:lnTo>
                <a:lnTo>
                  <a:pt x="5514010" y="1453919"/>
                </a:lnTo>
                <a:lnTo>
                  <a:pt x="5504099" y="1453919"/>
                </a:lnTo>
                <a:lnTo>
                  <a:pt x="5500080" y="1449881"/>
                </a:lnTo>
                <a:lnTo>
                  <a:pt x="5500080" y="1440010"/>
                </a:lnTo>
                <a:close/>
                <a:moveTo>
                  <a:pt x="5264784" y="1435971"/>
                </a:moveTo>
                <a:lnTo>
                  <a:pt x="5274694" y="1435971"/>
                </a:lnTo>
                <a:lnTo>
                  <a:pt x="5278713" y="1440010"/>
                </a:lnTo>
                <a:lnTo>
                  <a:pt x="5278713" y="1449881"/>
                </a:lnTo>
                <a:lnTo>
                  <a:pt x="5274694" y="1453920"/>
                </a:lnTo>
                <a:lnTo>
                  <a:pt x="5264784" y="1453920"/>
                </a:lnTo>
                <a:lnTo>
                  <a:pt x="5260765" y="1449881"/>
                </a:lnTo>
                <a:lnTo>
                  <a:pt x="5260765" y="1440010"/>
                </a:lnTo>
                <a:close/>
                <a:moveTo>
                  <a:pt x="5025470" y="1435971"/>
                </a:moveTo>
                <a:lnTo>
                  <a:pt x="5035381" y="1435971"/>
                </a:lnTo>
                <a:lnTo>
                  <a:pt x="5039400" y="1440010"/>
                </a:lnTo>
                <a:lnTo>
                  <a:pt x="5039400" y="1449881"/>
                </a:lnTo>
                <a:lnTo>
                  <a:pt x="5035381" y="1453920"/>
                </a:lnTo>
                <a:lnTo>
                  <a:pt x="5025470" y="1453920"/>
                </a:lnTo>
                <a:lnTo>
                  <a:pt x="5021451" y="1449881"/>
                </a:lnTo>
                <a:lnTo>
                  <a:pt x="5021451" y="1440010"/>
                </a:lnTo>
                <a:close/>
                <a:moveTo>
                  <a:pt x="5982729" y="1435958"/>
                </a:moveTo>
                <a:lnTo>
                  <a:pt x="5992639" y="1435958"/>
                </a:lnTo>
                <a:lnTo>
                  <a:pt x="5996658" y="1439995"/>
                </a:lnTo>
                <a:lnTo>
                  <a:pt x="5996658" y="1449866"/>
                </a:lnTo>
                <a:lnTo>
                  <a:pt x="5992639" y="1453905"/>
                </a:lnTo>
                <a:lnTo>
                  <a:pt x="5982729" y="1453905"/>
                </a:lnTo>
                <a:lnTo>
                  <a:pt x="5978710" y="1449866"/>
                </a:lnTo>
                <a:lnTo>
                  <a:pt x="5978710" y="1439995"/>
                </a:lnTo>
                <a:close/>
                <a:moveTo>
                  <a:pt x="6939983" y="1435956"/>
                </a:moveTo>
                <a:lnTo>
                  <a:pt x="6949894" y="1435956"/>
                </a:lnTo>
                <a:lnTo>
                  <a:pt x="6953913" y="1439995"/>
                </a:lnTo>
                <a:lnTo>
                  <a:pt x="6953913" y="1449865"/>
                </a:lnTo>
                <a:lnTo>
                  <a:pt x="6949894" y="1453905"/>
                </a:lnTo>
                <a:lnTo>
                  <a:pt x="6939983" y="1453905"/>
                </a:lnTo>
                <a:lnTo>
                  <a:pt x="6935964" y="1449865"/>
                </a:lnTo>
                <a:lnTo>
                  <a:pt x="6935964" y="1439995"/>
                </a:lnTo>
                <a:close/>
                <a:moveTo>
                  <a:pt x="6700670" y="1435956"/>
                </a:moveTo>
                <a:lnTo>
                  <a:pt x="6710581" y="1435956"/>
                </a:lnTo>
                <a:lnTo>
                  <a:pt x="6714600" y="1439995"/>
                </a:lnTo>
                <a:lnTo>
                  <a:pt x="6714600" y="1449866"/>
                </a:lnTo>
                <a:lnTo>
                  <a:pt x="6710581" y="1453905"/>
                </a:lnTo>
                <a:lnTo>
                  <a:pt x="6700670" y="1453905"/>
                </a:lnTo>
                <a:lnTo>
                  <a:pt x="6696651" y="1449866"/>
                </a:lnTo>
                <a:lnTo>
                  <a:pt x="6696651" y="1439995"/>
                </a:lnTo>
                <a:close/>
                <a:moveTo>
                  <a:pt x="6461356" y="1435956"/>
                </a:moveTo>
                <a:lnTo>
                  <a:pt x="6471266" y="1435956"/>
                </a:lnTo>
                <a:lnTo>
                  <a:pt x="6475285" y="1439995"/>
                </a:lnTo>
                <a:lnTo>
                  <a:pt x="6475285" y="1449866"/>
                </a:lnTo>
                <a:lnTo>
                  <a:pt x="6471266" y="1453905"/>
                </a:lnTo>
                <a:lnTo>
                  <a:pt x="6461356" y="1453905"/>
                </a:lnTo>
                <a:lnTo>
                  <a:pt x="6457337" y="1449866"/>
                </a:lnTo>
                <a:lnTo>
                  <a:pt x="6457337" y="1439995"/>
                </a:lnTo>
                <a:close/>
                <a:moveTo>
                  <a:pt x="6222042" y="1435956"/>
                </a:moveTo>
                <a:lnTo>
                  <a:pt x="6231952" y="1435956"/>
                </a:lnTo>
                <a:lnTo>
                  <a:pt x="6235971" y="1439995"/>
                </a:lnTo>
                <a:lnTo>
                  <a:pt x="6235971" y="1449866"/>
                </a:lnTo>
                <a:lnTo>
                  <a:pt x="6231952" y="1453905"/>
                </a:lnTo>
                <a:lnTo>
                  <a:pt x="6222042" y="1453905"/>
                </a:lnTo>
                <a:lnTo>
                  <a:pt x="6218023" y="1449866"/>
                </a:lnTo>
                <a:lnTo>
                  <a:pt x="6218023" y="1439995"/>
                </a:lnTo>
                <a:close/>
                <a:moveTo>
                  <a:pt x="7179298" y="1435943"/>
                </a:moveTo>
                <a:lnTo>
                  <a:pt x="7189209" y="1435943"/>
                </a:lnTo>
                <a:lnTo>
                  <a:pt x="7193228" y="1439981"/>
                </a:lnTo>
                <a:lnTo>
                  <a:pt x="7193228" y="1449852"/>
                </a:lnTo>
                <a:lnTo>
                  <a:pt x="7189209" y="1453891"/>
                </a:lnTo>
                <a:lnTo>
                  <a:pt x="7179298" y="1453891"/>
                </a:lnTo>
                <a:lnTo>
                  <a:pt x="7175279" y="1449852"/>
                </a:lnTo>
                <a:lnTo>
                  <a:pt x="7175279" y="1439981"/>
                </a:lnTo>
                <a:close/>
                <a:moveTo>
                  <a:pt x="8136553" y="1435943"/>
                </a:moveTo>
                <a:lnTo>
                  <a:pt x="8146464" y="1435943"/>
                </a:lnTo>
                <a:lnTo>
                  <a:pt x="8150483" y="1439980"/>
                </a:lnTo>
                <a:lnTo>
                  <a:pt x="8150483" y="1449851"/>
                </a:lnTo>
                <a:lnTo>
                  <a:pt x="8146464" y="1453890"/>
                </a:lnTo>
                <a:lnTo>
                  <a:pt x="8136553" y="1453890"/>
                </a:lnTo>
                <a:lnTo>
                  <a:pt x="8132534" y="1449851"/>
                </a:lnTo>
                <a:lnTo>
                  <a:pt x="8132534" y="1439980"/>
                </a:lnTo>
                <a:close/>
                <a:moveTo>
                  <a:pt x="7897241" y="1435943"/>
                </a:moveTo>
                <a:lnTo>
                  <a:pt x="7907151" y="1435943"/>
                </a:lnTo>
                <a:lnTo>
                  <a:pt x="7911170" y="1439980"/>
                </a:lnTo>
                <a:lnTo>
                  <a:pt x="7911170" y="1449852"/>
                </a:lnTo>
                <a:lnTo>
                  <a:pt x="7907151" y="1453890"/>
                </a:lnTo>
                <a:lnTo>
                  <a:pt x="7897241" y="1453890"/>
                </a:lnTo>
                <a:lnTo>
                  <a:pt x="7893222" y="1449852"/>
                </a:lnTo>
                <a:lnTo>
                  <a:pt x="7893222" y="1439980"/>
                </a:lnTo>
                <a:close/>
                <a:moveTo>
                  <a:pt x="7657926" y="1435943"/>
                </a:moveTo>
                <a:lnTo>
                  <a:pt x="7667836" y="1435943"/>
                </a:lnTo>
                <a:lnTo>
                  <a:pt x="7671855" y="1439980"/>
                </a:lnTo>
                <a:lnTo>
                  <a:pt x="7671855" y="1449852"/>
                </a:lnTo>
                <a:lnTo>
                  <a:pt x="7667836" y="1453891"/>
                </a:lnTo>
                <a:lnTo>
                  <a:pt x="7657926" y="1453891"/>
                </a:lnTo>
                <a:lnTo>
                  <a:pt x="7653906" y="1449852"/>
                </a:lnTo>
                <a:lnTo>
                  <a:pt x="7653906" y="1439980"/>
                </a:lnTo>
                <a:close/>
                <a:moveTo>
                  <a:pt x="7418611" y="1435943"/>
                </a:moveTo>
                <a:lnTo>
                  <a:pt x="7428521" y="1435943"/>
                </a:lnTo>
                <a:lnTo>
                  <a:pt x="7432540" y="1439980"/>
                </a:lnTo>
                <a:lnTo>
                  <a:pt x="7432540" y="1449852"/>
                </a:lnTo>
                <a:lnTo>
                  <a:pt x="7428521" y="1453891"/>
                </a:lnTo>
                <a:lnTo>
                  <a:pt x="7418611" y="1453891"/>
                </a:lnTo>
                <a:lnTo>
                  <a:pt x="7414592" y="1449852"/>
                </a:lnTo>
                <a:lnTo>
                  <a:pt x="7414592" y="1439980"/>
                </a:lnTo>
                <a:close/>
                <a:moveTo>
                  <a:pt x="8375869" y="1435928"/>
                </a:moveTo>
                <a:lnTo>
                  <a:pt x="8385779" y="1435928"/>
                </a:lnTo>
                <a:lnTo>
                  <a:pt x="8389799" y="1439967"/>
                </a:lnTo>
                <a:lnTo>
                  <a:pt x="8389799" y="1449837"/>
                </a:lnTo>
                <a:lnTo>
                  <a:pt x="8385779" y="1453877"/>
                </a:lnTo>
                <a:lnTo>
                  <a:pt x="8375869" y="1453877"/>
                </a:lnTo>
                <a:lnTo>
                  <a:pt x="8371850" y="1449837"/>
                </a:lnTo>
                <a:lnTo>
                  <a:pt x="8371850" y="1439967"/>
                </a:lnTo>
                <a:close/>
                <a:moveTo>
                  <a:pt x="9333125" y="1435928"/>
                </a:moveTo>
                <a:lnTo>
                  <a:pt x="9343036" y="1435928"/>
                </a:lnTo>
                <a:lnTo>
                  <a:pt x="9347055" y="1439967"/>
                </a:lnTo>
                <a:lnTo>
                  <a:pt x="9347055" y="1449836"/>
                </a:lnTo>
                <a:lnTo>
                  <a:pt x="9343036" y="1453876"/>
                </a:lnTo>
                <a:lnTo>
                  <a:pt x="9333125" y="1453876"/>
                </a:lnTo>
                <a:lnTo>
                  <a:pt x="9329106" y="1449836"/>
                </a:lnTo>
                <a:lnTo>
                  <a:pt x="9329106" y="1439967"/>
                </a:lnTo>
                <a:close/>
                <a:moveTo>
                  <a:pt x="9093811" y="1435928"/>
                </a:moveTo>
                <a:lnTo>
                  <a:pt x="9103722" y="1435928"/>
                </a:lnTo>
                <a:lnTo>
                  <a:pt x="9107741" y="1439967"/>
                </a:lnTo>
                <a:lnTo>
                  <a:pt x="9107741" y="1449837"/>
                </a:lnTo>
                <a:lnTo>
                  <a:pt x="9103722" y="1453876"/>
                </a:lnTo>
                <a:lnTo>
                  <a:pt x="9093811" y="1453876"/>
                </a:lnTo>
                <a:lnTo>
                  <a:pt x="9089792" y="1449837"/>
                </a:lnTo>
                <a:lnTo>
                  <a:pt x="9089792" y="1439967"/>
                </a:lnTo>
                <a:close/>
                <a:moveTo>
                  <a:pt x="8854496" y="1435928"/>
                </a:moveTo>
                <a:lnTo>
                  <a:pt x="8864407" y="1435928"/>
                </a:lnTo>
                <a:lnTo>
                  <a:pt x="8868426" y="1439967"/>
                </a:lnTo>
                <a:lnTo>
                  <a:pt x="8868426" y="1449837"/>
                </a:lnTo>
                <a:lnTo>
                  <a:pt x="8864407" y="1453877"/>
                </a:lnTo>
                <a:lnTo>
                  <a:pt x="8854496" y="1453877"/>
                </a:lnTo>
                <a:lnTo>
                  <a:pt x="8850477" y="1449837"/>
                </a:lnTo>
                <a:lnTo>
                  <a:pt x="8850477" y="1439967"/>
                </a:lnTo>
                <a:close/>
                <a:moveTo>
                  <a:pt x="8615184" y="1435928"/>
                </a:moveTo>
                <a:lnTo>
                  <a:pt x="8625095" y="1435928"/>
                </a:lnTo>
                <a:lnTo>
                  <a:pt x="8629114" y="1439967"/>
                </a:lnTo>
                <a:lnTo>
                  <a:pt x="8629114" y="1449837"/>
                </a:lnTo>
                <a:lnTo>
                  <a:pt x="8625095" y="1453877"/>
                </a:lnTo>
                <a:lnTo>
                  <a:pt x="8615184" y="1453877"/>
                </a:lnTo>
                <a:lnTo>
                  <a:pt x="8611165" y="1449837"/>
                </a:lnTo>
                <a:lnTo>
                  <a:pt x="8611165" y="1439967"/>
                </a:lnTo>
                <a:close/>
                <a:moveTo>
                  <a:pt x="1679216" y="1435922"/>
                </a:moveTo>
                <a:lnTo>
                  <a:pt x="1689126" y="1435922"/>
                </a:lnTo>
                <a:lnTo>
                  <a:pt x="1693146" y="1439960"/>
                </a:lnTo>
                <a:lnTo>
                  <a:pt x="1693146" y="1449831"/>
                </a:lnTo>
                <a:lnTo>
                  <a:pt x="1689126" y="1453870"/>
                </a:lnTo>
                <a:lnTo>
                  <a:pt x="1679216" y="1453870"/>
                </a:lnTo>
                <a:lnTo>
                  <a:pt x="1675198" y="1449831"/>
                </a:lnTo>
                <a:lnTo>
                  <a:pt x="1675198" y="1439960"/>
                </a:lnTo>
                <a:close/>
                <a:moveTo>
                  <a:pt x="1439900" y="1435922"/>
                </a:moveTo>
                <a:lnTo>
                  <a:pt x="1449810" y="1435922"/>
                </a:lnTo>
                <a:lnTo>
                  <a:pt x="1453828" y="1439960"/>
                </a:lnTo>
                <a:lnTo>
                  <a:pt x="1453828" y="1449831"/>
                </a:lnTo>
                <a:lnTo>
                  <a:pt x="1449810" y="1453870"/>
                </a:lnTo>
                <a:lnTo>
                  <a:pt x="1439900" y="1453870"/>
                </a:lnTo>
                <a:lnTo>
                  <a:pt x="1435880" y="1449831"/>
                </a:lnTo>
                <a:lnTo>
                  <a:pt x="1435880" y="1439960"/>
                </a:lnTo>
                <a:close/>
                <a:moveTo>
                  <a:pt x="1200583" y="1435922"/>
                </a:moveTo>
                <a:lnTo>
                  <a:pt x="1210493" y="1435922"/>
                </a:lnTo>
                <a:lnTo>
                  <a:pt x="1214512" y="1439960"/>
                </a:lnTo>
                <a:lnTo>
                  <a:pt x="1214512" y="1449831"/>
                </a:lnTo>
                <a:lnTo>
                  <a:pt x="1210493" y="1453870"/>
                </a:lnTo>
                <a:lnTo>
                  <a:pt x="1200583" y="1453870"/>
                </a:lnTo>
                <a:lnTo>
                  <a:pt x="1196564" y="1449831"/>
                </a:lnTo>
                <a:lnTo>
                  <a:pt x="1196564" y="1439960"/>
                </a:lnTo>
                <a:close/>
                <a:moveTo>
                  <a:pt x="961270" y="1435922"/>
                </a:moveTo>
                <a:lnTo>
                  <a:pt x="971181" y="1435922"/>
                </a:lnTo>
                <a:lnTo>
                  <a:pt x="975200" y="1439960"/>
                </a:lnTo>
                <a:lnTo>
                  <a:pt x="975200" y="1449831"/>
                </a:lnTo>
                <a:lnTo>
                  <a:pt x="971181" y="1453870"/>
                </a:lnTo>
                <a:lnTo>
                  <a:pt x="961270" y="1453870"/>
                </a:lnTo>
                <a:lnTo>
                  <a:pt x="957252" y="1449831"/>
                </a:lnTo>
                <a:lnTo>
                  <a:pt x="957252" y="1439960"/>
                </a:lnTo>
                <a:close/>
                <a:moveTo>
                  <a:pt x="9572438" y="1435914"/>
                </a:moveTo>
                <a:lnTo>
                  <a:pt x="9582349" y="1435914"/>
                </a:lnTo>
                <a:lnTo>
                  <a:pt x="9586368" y="1439952"/>
                </a:lnTo>
                <a:lnTo>
                  <a:pt x="9586368" y="1449823"/>
                </a:lnTo>
                <a:lnTo>
                  <a:pt x="9582349" y="1453862"/>
                </a:lnTo>
                <a:lnTo>
                  <a:pt x="9572438" y="1453862"/>
                </a:lnTo>
                <a:lnTo>
                  <a:pt x="9568419" y="1449823"/>
                </a:lnTo>
                <a:lnTo>
                  <a:pt x="9568419" y="1439952"/>
                </a:lnTo>
                <a:close/>
                <a:moveTo>
                  <a:pt x="1918514" y="1435912"/>
                </a:moveTo>
                <a:lnTo>
                  <a:pt x="1928424" y="1435912"/>
                </a:lnTo>
                <a:lnTo>
                  <a:pt x="1932443" y="1439950"/>
                </a:lnTo>
                <a:lnTo>
                  <a:pt x="1932443" y="1449821"/>
                </a:lnTo>
                <a:lnTo>
                  <a:pt x="1928424" y="1453860"/>
                </a:lnTo>
                <a:lnTo>
                  <a:pt x="1918514" y="1453860"/>
                </a:lnTo>
                <a:lnTo>
                  <a:pt x="1914494" y="1449821"/>
                </a:lnTo>
                <a:lnTo>
                  <a:pt x="1914494" y="1439950"/>
                </a:lnTo>
                <a:close/>
                <a:moveTo>
                  <a:pt x="2157823" y="1435909"/>
                </a:moveTo>
                <a:lnTo>
                  <a:pt x="2167733" y="1435909"/>
                </a:lnTo>
                <a:lnTo>
                  <a:pt x="2171751" y="1439947"/>
                </a:lnTo>
                <a:lnTo>
                  <a:pt x="2171751" y="1449818"/>
                </a:lnTo>
                <a:lnTo>
                  <a:pt x="2167733" y="1453857"/>
                </a:lnTo>
                <a:lnTo>
                  <a:pt x="2157823" y="1453857"/>
                </a:lnTo>
                <a:lnTo>
                  <a:pt x="2153803" y="1449818"/>
                </a:lnTo>
                <a:lnTo>
                  <a:pt x="2153803" y="1439947"/>
                </a:lnTo>
                <a:close/>
                <a:moveTo>
                  <a:pt x="243347" y="1435883"/>
                </a:moveTo>
                <a:lnTo>
                  <a:pt x="253257" y="1435883"/>
                </a:lnTo>
                <a:lnTo>
                  <a:pt x="257276" y="1439920"/>
                </a:lnTo>
                <a:lnTo>
                  <a:pt x="257276" y="1449791"/>
                </a:lnTo>
                <a:lnTo>
                  <a:pt x="253257" y="1453830"/>
                </a:lnTo>
                <a:lnTo>
                  <a:pt x="243347" y="1453830"/>
                </a:lnTo>
                <a:lnTo>
                  <a:pt x="239328" y="1449791"/>
                </a:lnTo>
                <a:lnTo>
                  <a:pt x="239328" y="1439920"/>
                </a:lnTo>
                <a:close/>
                <a:moveTo>
                  <a:pt x="4034" y="1435883"/>
                </a:moveTo>
                <a:lnTo>
                  <a:pt x="13944" y="1435883"/>
                </a:lnTo>
                <a:lnTo>
                  <a:pt x="17964" y="1439920"/>
                </a:lnTo>
                <a:lnTo>
                  <a:pt x="17964" y="1449791"/>
                </a:lnTo>
                <a:lnTo>
                  <a:pt x="13944" y="1453830"/>
                </a:lnTo>
                <a:lnTo>
                  <a:pt x="4034" y="1453830"/>
                </a:lnTo>
                <a:lnTo>
                  <a:pt x="15" y="1449791"/>
                </a:lnTo>
                <a:lnTo>
                  <a:pt x="15" y="1439920"/>
                </a:lnTo>
                <a:close/>
                <a:moveTo>
                  <a:pt x="721973" y="1435882"/>
                </a:moveTo>
                <a:lnTo>
                  <a:pt x="731883" y="1435882"/>
                </a:lnTo>
                <a:lnTo>
                  <a:pt x="735902" y="1439920"/>
                </a:lnTo>
                <a:lnTo>
                  <a:pt x="735902" y="1449791"/>
                </a:lnTo>
                <a:lnTo>
                  <a:pt x="731883" y="1453830"/>
                </a:lnTo>
                <a:lnTo>
                  <a:pt x="721973" y="1453830"/>
                </a:lnTo>
                <a:lnTo>
                  <a:pt x="717954" y="1449791"/>
                </a:lnTo>
                <a:lnTo>
                  <a:pt x="717954" y="1439920"/>
                </a:lnTo>
                <a:close/>
                <a:moveTo>
                  <a:pt x="482661" y="1435882"/>
                </a:moveTo>
                <a:lnTo>
                  <a:pt x="492571" y="1435882"/>
                </a:lnTo>
                <a:lnTo>
                  <a:pt x="496590" y="1439920"/>
                </a:lnTo>
                <a:lnTo>
                  <a:pt x="496590" y="1449791"/>
                </a:lnTo>
                <a:lnTo>
                  <a:pt x="492571" y="1453830"/>
                </a:lnTo>
                <a:lnTo>
                  <a:pt x="482661" y="1453830"/>
                </a:lnTo>
                <a:lnTo>
                  <a:pt x="478642" y="1449791"/>
                </a:lnTo>
                <a:lnTo>
                  <a:pt x="478642" y="1439920"/>
                </a:lnTo>
                <a:close/>
                <a:moveTo>
                  <a:pt x="3350359" y="1196701"/>
                </a:moveTo>
                <a:lnTo>
                  <a:pt x="3360268" y="1196701"/>
                </a:lnTo>
                <a:lnTo>
                  <a:pt x="3364287" y="1200738"/>
                </a:lnTo>
                <a:lnTo>
                  <a:pt x="3364287" y="1210610"/>
                </a:lnTo>
                <a:lnTo>
                  <a:pt x="3360268" y="1214650"/>
                </a:lnTo>
                <a:lnTo>
                  <a:pt x="3350359" y="1214650"/>
                </a:lnTo>
                <a:lnTo>
                  <a:pt x="3346340" y="1210610"/>
                </a:lnTo>
                <a:lnTo>
                  <a:pt x="3346340" y="1200738"/>
                </a:lnTo>
                <a:close/>
                <a:moveTo>
                  <a:pt x="3111048" y="1196701"/>
                </a:moveTo>
                <a:lnTo>
                  <a:pt x="3120959" y="1196701"/>
                </a:lnTo>
                <a:lnTo>
                  <a:pt x="3124977" y="1200738"/>
                </a:lnTo>
                <a:lnTo>
                  <a:pt x="3124977" y="1210610"/>
                </a:lnTo>
                <a:lnTo>
                  <a:pt x="3120959" y="1214650"/>
                </a:lnTo>
                <a:lnTo>
                  <a:pt x="3111048" y="1214650"/>
                </a:lnTo>
                <a:lnTo>
                  <a:pt x="3107029" y="1210610"/>
                </a:lnTo>
                <a:lnTo>
                  <a:pt x="3107029" y="1200738"/>
                </a:lnTo>
                <a:close/>
                <a:moveTo>
                  <a:pt x="2871737" y="1196701"/>
                </a:moveTo>
                <a:lnTo>
                  <a:pt x="2881646" y="1196701"/>
                </a:lnTo>
                <a:lnTo>
                  <a:pt x="2885666" y="1200738"/>
                </a:lnTo>
                <a:lnTo>
                  <a:pt x="2885666" y="1210610"/>
                </a:lnTo>
                <a:lnTo>
                  <a:pt x="2881646" y="1214650"/>
                </a:lnTo>
                <a:lnTo>
                  <a:pt x="2871737" y="1214650"/>
                </a:lnTo>
                <a:lnTo>
                  <a:pt x="2867717" y="1210610"/>
                </a:lnTo>
                <a:lnTo>
                  <a:pt x="2867717" y="1200738"/>
                </a:lnTo>
                <a:close/>
                <a:moveTo>
                  <a:pt x="2632423" y="1196701"/>
                </a:moveTo>
                <a:lnTo>
                  <a:pt x="2642334" y="1196701"/>
                </a:lnTo>
                <a:lnTo>
                  <a:pt x="2646352" y="1200740"/>
                </a:lnTo>
                <a:lnTo>
                  <a:pt x="2646352" y="1210610"/>
                </a:lnTo>
                <a:lnTo>
                  <a:pt x="2642334" y="1214650"/>
                </a:lnTo>
                <a:lnTo>
                  <a:pt x="2632423" y="1214650"/>
                </a:lnTo>
                <a:lnTo>
                  <a:pt x="2628404" y="1210610"/>
                </a:lnTo>
                <a:lnTo>
                  <a:pt x="2628404" y="1200740"/>
                </a:lnTo>
                <a:close/>
                <a:moveTo>
                  <a:pt x="2393104" y="1196701"/>
                </a:moveTo>
                <a:lnTo>
                  <a:pt x="2403015" y="1196701"/>
                </a:lnTo>
                <a:lnTo>
                  <a:pt x="2407034" y="1200740"/>
                </a:lnTo>
                <a:lnTo>
                  <a:pt x="2407034" y="1210610"/>
                </a:lnTo>
                <a:lnTo>
                  <a:pt x="2403015" y="1214650"/>
                </a:lnTo>
                <a:lnTo>
                  <a:pt x="2393104" y="1214650"/>
                </a:lnTo>
                <a:lnTo>
                  <a:pt x="2389087" y="1210610"/>
                </a:lnTo>
                <a:lnTo>
                  <a:pt x="2389087" y="1200740"/>
                </a:lnTo>
                <a:close/>
                <a:moveTo>
                  <a:pt x="4546929" y="1196689"/>
                </a:moveTo>
                <a:lnTo>
                  <a:pt x="4556840" y="1196689"/>
                </a:lnTo>
                <a:lnTo>
                  <a:pt x="4560859" y="1200726"/>
                </a:lnTo>
                <a:lnTo>
                  <a:pt x="4560859" y="1210598"/>
                </a:lnTo>
                <a:lnTo>
                  <a:pt x="4556840" y="1214637"/>
                </a:lnTo>
                <a:lnTo>
                  <a:pt x="4546929" y="1214637"/>
                </a:lnTo>
                <a:lnTo>
                  <a:pt x="4542910" y="1210598"/>
                </a:lnTo>
                <a:lnTo>
                  <a:pt x="4542910" y="1200726"/>
                </a:lnTo>
                <a:close/>
                <a:moveTo>
                  <a:pt x="4307612" y="1196689"/>
                </a:moveTo>
                <a:lnTo>
                  <a:pt x="4317523" y="1196689"/>
                </a:lnTo>
                <a:lnTo>
                  <a:pt x="4321543" y="1200726"/>
                </a:lnTo>
                <a:lnTo>
                  <a:pt x="4321543" y="1210598"/>
                </a:lnTo>
                <a:lnTo>
                  <a:pt x="4317523" y="1214637"/>
                </a:lnTo>
                <a:lnTo>
                  <a:pt x="4307612" y="1214637"/>
                </a:lnTo>
                <a:lnTo>
                  <a:pt x="4303595" y="1210598"/>
                </a:lnTo>
                <a:lnTo>
                  <a:pt x="4303595" y="1200726"/>
                </a:lnTo>
                <a:close/>
                <a:moveTo>
                  <a:pt x="4068297" y="1196689"/>
                </a:moveTo>
                <a:lnTo>
                  <a:pt x="4078210" y="1196689"/>
                </a:lnTo>
                <a:lnTo>
                  <a:pt x="4082229" y="1200726"/>
                </a:lnTo>
                <a:lnTo>
                  <a:pt x="4082229" y="1210598"/>
                </a:lnTo>
                <a:lnTo>
                  <a:pt x="4078210" y="1214637"/>
                </a:lnTo>
                <a:lnTo>
                  <a:pt x="4068297" y="1214637"/>
                </a:lnTo>
                <a:lnTo>
                  <a:pt x="4064278" y="1210598"/>
                </a:lnTo>
                <a:lnTo>
                  <a:pt x="4064278" y="1200726"/>
                </a:lnTo>
                <a:close/>
                <a:moveTo>
                  <a:pt x="3828990" y="1196689"/>
                </a:moveTo>
                <a:lnTo>
                  <a:pt x="3838899" y="1196689"/>
                </a:lnTo>
                <a:lnTo>
                  <a:pt x="3842917" y="1200728"/>
                </a:lnTo>
                <a:lnTo>
                  <a:pt x="3842917" y="1210598"/>
                </a:lnTo>
                <a:lnTo>
                  <a:pt x="3838899" y="1214637"/>
                </a:lnTo>
                <a:lnTo>
                  <a:pt x="3828990" y="1214637"/>
                </a:lnTo>
                <a:lnTo>
                  <a:pt x="3824971" y="1210598"/>
                </a:lnTo>
                <a:lnTo>
                  <a:pt x="3824971" y="1200728"/>
                </a:lnTo>
                <a:close/>
                <a:moveTo>
                  <a:pt x="3589676" y="1196689"/>
                </a:moveTo>
                <a:lnTo>
                  <a:pt x="3599585" y="1196689"/>
                </a:lnTo>
                <a:lnTo>
                  <a:pt x="3603604" y="1200728"/>
                </a:lnTo>
                <a:lnTo>
                  <a:pt x="3603604" y="1210598"/>
                </a:lnTo>
                <a:lnTo>
                  <a:pt x="3599585" y="1214637"/>
                </a:lnTo>
                <a:lnTo>
                  <a:pt x="3589676" y="1214637"/>
                </a:lnTo>
                <a:lnTo>
                  <a:pt x="3585657" y="1210598"/>
                </a:lnTo>
                <a:lnTo>
                  <a:pt x="3585657" y="1200728"/>
                </a:lnTo>
                <a:close/>
                <a:moveTo>
                  <a:pt x="5743412" y="1196676"/>
                </a:moveTo>
                <a:lnTo>
                  <a:pt x="5753323" y="1196676"/>
                </a:lnTo>
                <a:lnTo>
                  <a:pt x="5757342" y="1200714"/>
                </a:lnTo>
                <a:lnTo>
                  <a:pt x="5757342" y="1210586"/>
                </a:lnTo>
                <a:lnTo>
                  <a:pt x="5753323" y="1214625"/>
                </a:lnTo>
                <a:lnTo>
                  <a:pt x="5743412" y="1214625"/>
                </a:lnTo>
                <a:lnTo>
                  <a:pt x="5739393" y="1210586"/>
                </a:lnTo>
                <a:lnTo>
                  <a:pt x="5739393" y="1200714"/>
                </a:lnTo>
                <a:close/>
                <a:moveTo>
                  <a:pt x="5504099" y="1196676"/>
                </a:moveTo>
                <a:lnTo>
                  <a:pt x="5514010" y="1196676"/>
                </a:lnTo>
                <a:lnTo>
                  <a:pt x="5518029" y="1200714"/>
                </a:lnTo>
                <a:lnTo>
                  <a:pt x="5518029" y="1210586"/>
                </a:lnTo>
                <a:lnTo>
                  <a:pt x="5514010" y="1214625"/>
                </a:lnTo>
                <a:lnTo>
                  <a:pt x="5504099" y="1214625"/>
                </a:lnTo>
                <a:lnTo>
                  <a:pt x="5500080" y="1210586"/>
                </a:lnTo>
                <a:lnTo>
                  <a:pt x="5500080" y="1200714"/>
                </a:lnTo>
                <a:close/>
                <a:moveTo>
                  <a:pt x="5264784" y="1196676"/>
                </a:moveTo>
                <a:lnTo>
                  <a:pt x="5274694" y="1196676"/>
                </a:lnTo>
                <a:lnTo>
                  <a:pt x="5278713" y="1200714"/>
                </a:lnTo>
                <a:lnTo>
                  <a:pt x="5278713" y="1210586"/>
                </a:lnTo>
                <a:lnTo>
                  <a:pt x="5274694" y="1214625"/>
                </a:lnTo>
                <a:lnTo>
                  <a:pt x="5264784" y="1214625"/>
                </a:lnTo>
                <a:lnTo>
                  <a:pt x="5260765" y="1210586"/>
                </a:lnTo>
                <a:lnTo>
                  <a:pt x="5260765" y="1200714"/>
                </a:lnTo>
                <a:close/>
                <a:moveTo>
                  <a:pt x="5025470" y="1196676"/>
                </a:moveTo>
                <a:lnTo>
                  <a:pt x="5035381" y="1196676"/>
                </a:lnTo>
                <a:lnTo>
                  <a:pt x="5039400" y="1200715"/>
                </a:lnTo>
                <a:lnTo>
                  <a:pt x="5039400" y="1210586"/>
                </a:lnTo>
                <a:lnTo>
                  <a:pt x="5035381" y="1214625"/>
                </a:lnTo>
                <a:lnTo>
                  <a:pt x="5025470" y="1214625"/>
                </a:lnTo>
                <a:lnTo>
                  <a:pt x="5021451" y="1210586"/>
                </a:lnTo>
                <a:lnTo>
                  <a:pt x="5021451" y="1200715"/>
                </a:lnTo>
                <a:close/>
                <a:moveTo>
                  <a:pt x="4786241" y="1196676"/>
                </a:moveTo>
                <a:lnTo>
                  <a:pt x="4796152" y="1196676"/>
                </a:lnTo>
                <a:lnTo>
                  <a:pt x="4800171" y="1200715"/>
                </a:lnTo>
                <a:lnTo>
                  <a:pt x="4800171" y="1210586"/>
                </a:lnTo>
                <a:lnTo>
                  <a:pt x="4796152" y="1214625"/>
                </a:lnTo>
                <a:lnTo>
                  <a:pt x="4786241" y="1214625"/>
                </a:lnTo>
                <a:lnTo>
                  <a:pt x="4782224" y="1210586"/>
                </a:lnTo>
                <a:lnTo>
                  <a:pt x="4782224" y="1200715"/>
                </a:lnTo>
                <a:close/>
                <a:moveTo>
                  <a:pt x="6222042" y="1196664"/>
                </a:moveTo>
                <a:lnTo>
                  <a:pt x="6231952" y="1196664"/>
                </a:lnTo>
                <a:lnTo>
                  <a:pt x="6235971" y="1200703"/>
                </a:lnTo>
                <a:lnTo>
                  <a:pt x="6235971" y="1210573"/>
                </a:lnTo>
                <a:lnTo>
                  <a:pt x="6231952" y="1214612"/>
                </a:lnTo>
                <a:lnTo>
                  <a:pt x="6222042" y="1214612"/>
                </a:lnTo>
                <a:lnTo>
                  <a:pt x="6218023" y="1210573"/>
                </a:lnTo>
                <a:lnTo>
                  <a:pt x="6218023" y="1200703"/>
                </a:lnTo>
                <a:close/>
                <a:moveTo>
                  <a:pt x="5982729" y="1196664"/>
                </a:moveTo>
                <a:lnTo>
                  <a:pt x="5992639" y="1196664"/>
                </a:lnTo>
                <a:lnTo>
                  <a:pt x="5996658" y="1200703"/>
                </a:lnTo>
                <a:lnTo>
                  <a:pt x="5996658" y="1210573"/>
                </a:lnTo>
                <a:lnTo>
                  <a:pt x="5992639" y="1214612"/>
                </a:lnTo>
                <a:lnTo>
                  <a:pt x="5982729" y="1214612"/>
                </a:lnTo>
                <a:lnTo>
                  <a:pt x="5978710" y="1210573"/>
                </a:lnTo>
                <a:lnTo>
                  <a:pt x="5978710" y="1200703"/>
                </a:lnTo>
                <a:close/>
                <a:moveTo>
                  <a:pt x="6939983" y="1196664"/>
                </a:moveTo>
                <a:lnTo>
                  <a:pt x="6949894" y="1196664"/>
                </a:lnTo>
                <a:lnTo>
                  <a:pt x="6953913" y="1200702"/>
                </a:lnTo>
                <a:lnTo>
                  <a:pt x="6953913" y="1210573"/>
                </a:lnTo>
                <a:lnTo>
                  <a:pt x="6949894" y="1214612"/>
                </a:lnTo>
                <a:lnTo>
                  <a:pt x="6939983" y="1214612"/>
                </a:lnTo>
                <a:lnTo>
                  <a:pt x="6935964" y="1210573"/>
                </a:lnTo>
                <a:lnTo>
                  <a:pt x="6935964" y="1200702"/>
                </a:lnTo>
                <a:close/>
                <a:moveTo>
                  <a:pt x="6700670" y="1196664"/>
                </a:moveTo>
                <a:lnTo>
                  <a:pt x="6710581" y="1196664"/>
                </a:lnTo>
                <a:lnTo>
                  <a:pt x="6714600" y="1200702"/>
                </a:lnTo>
                <a:lnTo>
                  <a:pt x="6714600" y="1210573"/>
                </a:lnTo>
                <a:lnTo>
                  <a:pt x="6710581" y="1214612"/>
                </a:lnTo>
                <a:lnTo>
                  <a:pt x="6700670" y="1214612"/>
                </a:lnTo>
                <a:lnTo>
                  <a:pt x="6696651" y="1210573"/>
                </a:lnTo>
                <a:lnTo>
                  <a:pt x="6696651" y="1200702"/>
                </a:lnTo>
                <a:close/>
                <a:moveTo>
                  <a:pt x="6461356" y="1196664"/>
                </a:moveTo>
                <a:lnTo>
                  <a:pt x="6471266" y="1196664"/>
                </a:lnTo>
                <a:lnTo>
                  <a:pt x="6475285" y="1200702"/>
                </a:lnTo>
                <a:lnTo>
                  <a:pt x="6475285" y="1210573"/>
                </a:lnTo>
                <a:lnTo>
                  <a:pt x="6471266" y="1214612"/>
                </a:lnTo>
                <a:lnTo>
                  <a:pt x="6461356" y="1214612"/>
                </a:lnTo>
                <a:lnTo>
                  <a:pt x="6457337" y="1210573"/>
                </a:lnTo>
                <a:lnTo>
                  <a:pt x="6457337" y="1200702"/>
                </a:lnTo>
                <a:close/>
                <a:moveTo>
                  <a:pt x="7418611" y="1196652"/>
                </a:moveTo>
                <a:lnTo>
                  <a:pt x="7428521" y="1196652"/>
                </a:lnTo>
                <a:lnTo>
                  <a:pt x="7432540" y="1200690"/>
                </a:lnTo>
                <a:lnTo>
                  <a:pt x="7432540" y="1210561"/>
                </a:lnTo>
                <a:lnTo>
                  <a:pt x="7428521" y="1214600"/>
                </a:lnTo>
                <a:lnTo>
                  <a:pt x="7418611" y="1214600"/>
                </a:lnTo>
                <a:lnTo>
                  <a:pt x="7414592" y="1210561"/>
                </a:lnTo>
                <a:lnTo>
                  <a:pt x="7414592" y="1200690"/>
                </a:lnTo>
                <a:close/>
                <a:moveTo>
                  <a:pt x="7179298" y="1196652"/>
                </a:moveTo>
                <a:lnTo>
                  <a:pt x="7189209" y="1196652"/>
                </a:lnTo>
                <a:lnTo>
                  <a:pt x="7193228" y="1200690"/>
                </a:lnTo>
                <a:lnTo>
                  <a:pt x="7193228" y="1210561"/>
                </a:lnTo>
                <a:lnTo>
                  <a:pt x="7189209" y="1214600"/>
                </a:lnTo>
                <a:lnTo>
                  <a:pt x="7179298" y="1214600"/>
                </a:lnTo>
                <a:lnTo>
                  <a:pt x="7175279" y="1210561"/>
                </a:lnTo>
                <a:lnTo>
                  <a:pt x="7175279" y="1200690"/>
                </a:lnTo>
                <a:close/>
                <a:moveTo>
                  <a:pt x="8136553" y="1196651"/>
                </a:moveTo>
                <a:lnTo>
                  <a:pt x="8146464" y="1196651"/>
                </a:lnTo>
                <a:lnTo>
                  <a:pt x="8150483" y="1200689"/>
                </a:lnTo>
                <a:lnTo>
                  <a:pt x="8150483" y="1210561"/>
                </a:lnTo>
                <a:lnTo>
                  <a:pt x="8146464" y="1214600"/>
                </a:lnTo>
                <a:lnTo>
                  <a:pt x="8136553" y="1214600"/>
                </a:lnTo>
                <a:lnTo>
                  <a:pt x="8132534" y="1210561"/>
                </a:lnTo>
                <a:lnTo>
                  <a:pt x="8132534" y="1200689"/>
                </a:lnTo>
                <a:close/>
                <a:moveTo>
                  <a:pt x="7897241" y="1196651"/>
                </a:moveTo>
                <a:lnTo>
                  <a:pt x="7907151" y="1196651"/>
                </a:lnTo>
                <a:lnTo>
                  <a:pt x="7911170" y="1200689"/>
                </a:lnTo>
                <a:lnTo>
                  <a:pt x="7911170" y="1210561"/>
                </a:lnTo>
                <a:lnTo>
                  <a:pt x="7907151" y="1214600"/>
                </a:lnTo>
                <a:lnTo>
                  <a:pt x="7897241" y="1214600"/>
                </a:lnTo>
                <a:lnTo>
                  <a:pt x="7893222" y="1210561"/>
                </a:lnTo>
                <a:lnTo>
                  <a:pt x="7893222" y="1200689"/>
                </a:lnTo>
                <a:close/>
                <a:moveTo>
                  <a:pt x="7657926" y="1196651"/>
                </a:moveTo>
                <a:lnTo>
                  <a:pt x="7667836" y="1196651"/>
                </a:lnTo>
                <a:lnTo>
                  <a:pt x="7671855" y="1200689"/>
                </a:lnTo>
                <a:lnTo>
                  <a:pt x="7671855" y="1210561"/>
                </a:lnTo>
                <a:lnTo>
                  <a:pt x="7667836" y="1214600"/>
                </a:lnTo>
                <a:lnTo>
                  <a:pt x="7657926" y="1214600"/>
                </a:lnTo>
                <a:lnTo>
                  <a:pt x="7653906" y="1210561"/>
                </a:lnTo>
                <a:lnTo>
                  <a:pt x="7653906" y="1200689"/>
                </a:lnTo>
                <a:close/>
                <a:moveTo>
                  <a:pt x="8615184" y="1196639"/>
                </a:moveTo>
                <a:lnTo>
                  <a:pt x="8625095" y="1196639"/>
                </a:lnTo>
                <a:lnTo>
                  <a:pt x="8629114" y="1200678"/>
                </a:lnTo>
                <a:lnTo>
                  <a:pt x="8629114" y="1210548"/>
                </a:lnTo>
                <a:lnTo>
                  <a:pt x="8625095" y="1214587"/>
                </a:lnTo>
                <a:lnTo>
                  <a:pt x="8615184" y="1214587"/>
                </a:lnTo>
                <a:lnTo>
                  <a:pt x="8611165" y="1210548"/>
                </a:lnTo>
                <a:lnTo>
                  <a:pt x="8611165" y="1200678"/>
                </a:lnTo>
                <a:close/>
                <a:moveTo>
                  <a:pt x="8375869" y="1196639"/>
                </a:moveTo>
                <a:lnTo>
                  <a:pt x="8385779" y="1196639"/>
                </a:lnTo>
                <a:lnTo>
                  <a:pt x="8389799" y="1200678"/>
                </a:lnTo>
                <a:lnTo>
                  <a:pt x="8389799" y="1210549"/>
                </a:lnTo>
                <a:lnTo>
                  <a:pt x="8385779" y="1214587"/>
                </a:lnTo>
                <a:lnTo>
                  <a:pt x="8375869" y="1214587"/>
                </a:lnTo>
                <a:lnTo>
                  <a:pt x="8371850" y="1210549"/>
                </a:lnTo>
                <a:lnTo>
                  <a:pt x="8371850" y="1200678"/>
                </a:lnTo>
                <a:close/>
                <a:moveTo>
                  <a:pt x="9333125" y="1196639"/>
                </a:moveTo>
                <a:lnTo>
                  <a:pt x="9343036" y="1196639"/>
                </a:lnTo>
                <a:lnTo>
                  <a:pt x="9347055" y="1200677"/>
                </a:lnTo>
                <a:lnTo>
                  <a:pt x="9347055" y="1210548"/>
                </a:lnTo>
                <a:lnTo>
                  <a:pt x="9343036" y="1214587"/>
                </a:lnTo>
                <a:lnTo>
                  <a:pt x="9333125" y="1214587"/>
                </a:lnTo>
                <a:lnTo>
                  <a:pt x="9329106" y="1210548"/>
                </a:lnTo>
                <a:lnTo>
                  <a:pt x="9329106" y="1200677"/>
                </a:lnTo>
                <a:close/>
                <a:moveTo>
                  <a:pt x="9093811" y="1196639"/>
                </a:moveTo>
                <a:lnTo>
                  <a:pt x="9103722" y="1196639"/>
                </a:lnTo>
                <a:lnTo>
                  <a:pt x="9107741" y="1200677"/>
                </a:lnTo>
                <a:lnTo>
                  <a:pt x="9107741" y="1210548"/>
                </a:lnTo>
                <a:lnTo>
                  <a:pt x="9103722" y="1214587"/>
                </a:lnTo>
                <a:lnTo>
                  <a:pt x="9093811" y="1214587"/>
                </a:lnTo>
                <a:lnTo>
                  <a:pt x="9089792" y="1210548"/>
                </a:lnTo>
                <a:lnTo>
                  <a:pt x="9089792" y="1200677"/>
                </a:lnTo>
                <a:close/>
                <a:moveTo>
                  <a:pt x="8854496" y="1196639"/>
                </a:moveTo>
                <a:lnTo>
                  <a:pt x="8864407" y="1196639"/>
                </a:lnTo>
                <a:lnTo>
                  <a:pt x="8868426" y="1200677"/>
                </a:lnTo>
                <a:lnTo>
                  <a:pt x="8868426" y="1210548"/>
                </a:lnTo>
                <a:lnTo>
                  <a:pt x="8864407" y="1214587"/>
                </a:lnTo>
                <a:lnTo>
                  <a:pt x="8854496" y="1214587"/>
                </a:lnTo>
                <a:lnTo>
                  <a:pt x="8850477" y="1210548"/>
                </a:lnTo>
                <a:lnTo>
                  <a:pt x="8850477" y="1200677"/>
                </a:lnTo>
                <a:close/>
                <a:moveTo>
                  <a:pt x="9572438" y="1196627"/>
                </a:moveTo>
                <a:lnTo>
                  <a:pt x="9582349" y="1196627"/>
                </a:lnTo>
                <a:lnTo>
                  <a:pt x="9586368" y="1200665"/>
                </a:lnTo>
                <a:lnTo>
                  <a:pt x="9586368" y="1210536"/>
                </a:lnTo>
                <a:lnTo>
                  <a:pt x="9582349" y="1214575"/>
                </a:lnTo>
                <a:lnTo>
                  <a:pt x="9572438" y="1214575"/>
                </a:lnTo>
                <a:lnTo>
                  <a:pt x="9568419" y="1210536"/>
                </a:lnTo>
                <a:lnTo>
                  <a:pt x="9568419" y="1200665"/>
                </a:lnTo>
                <a:close/>
                <a:moveTo>
                  <a:pt x="4035" y="1196600"/>
                </a:moveTo>
                <a:lnTo>
                  <a:pt x="13945" y="1196600"/>
                </a:lnTo>
                <a:lnTo>
                  <a:pt x="17964" y="1200638"/>
                </a:lnTo>
                <a:lnTo>
                  <a:pt x="17964" y="1210509"/>
                </a:lnTo>
                <a:lnTo>
                  <a:pt x="13945" y="1214548"/>
                </a:lnTo>
                <a:lnTo>
                  <a:pt x="4035" y="1214548"/>
                </a:lnTo>
                <a:lnTo>
                  <a:pt x="16" y="1210509"/>
                </a:lnTo>
                <a:lnTo>
                  <a:pt x="16" y="1200638"/>
                </a:lnTo>
                <a:close/>
                <a:moveTo>
                  <a:pt x="721974" y="1196599"/>
                </a:moveTo>
                <a:lnTo>
                  <a:pt x="731884" y="1196599"/>
                </a:lnTo>
                <a:lnTo>
                  <a:pt x="735903" y="1200638"/>
                </a:lnTo>
                <a:lnTo>
                  <a:pt x="735903" y="1210509"/>
                </a:lnTo>
                <a:lnTo>
                  <a:pt x="731884" y="1214547"/>
                </a:lnTo>
                <a:lnTo>
                  <a:pt x="721974" y="1214547"/>
                </a:lnTo>
                <a:lnTo>
                  <a:pt x="717955" y="1210509"/>
                </a:lnTo>
                <a:lnTo>
                  <a:pt x="717955" y="1200638"/>
                </a:lnTo>
                <a:close/>
                <a:moveTo>
                  <a:pt x="482661" y="1196599"/>
                </a:moveTo>
                <a:lnTo>
                  <a:pt x="492572" y="1196599"/>
                </a:lnTo>
                <a:lnTo>
                  <a:pt x="496591" y="1200638"/>
                </a:lnTo>
                <a:lnTo>
                  <a:pt x="496591" y="1210509"/>
                </a:lnTo>
                <a:lnTo>
                  <a:pt x="492572" y="1214548"/>
                </a:lnTo>
                <a:lnTo>
                  <a:pt x="482661" y="1214548"/>
                </a:lnTo>
                <a:lnTo>
                  <a:pt x="478642" y="1210509"/>
                </a:lnTo>
                <a:lnTo>
                  <a:pt x="478642" y="1200638"/>
                </a:lnTo>
                <a:close/>
                <a:moveTo>
                  <a:pt x="243348" y="1196599"/>
                </a:moveTo>
                <a:lnTo>
                  <a:pt x="253258" y="1196599"/>
                </a:lnTo>
                <a:lnTo>
                  <a:pt x="257278" y="1200638"/>
                </a:lnTo>
                <a:lnTo>
                  <a:pt x="257278" y="1210509"/>
                </a:lnTo>
                <a:lnTo>
                  <a:pt x="253258" y="1214548"/>
                </a:lnTo>
                <a:lnTo>
                  <a:pt x="243348" y="1214548"/>
                </a:lnTo>
                <a:lnTo>
                  <a:pt x="239329" y="1210509"/>
                </a:lnTo>
                <a:lnTo>
                  <a:pt x="239329" y="1200638"/>
                </a:lnTo>
                <a:close/>
                <a:moveTo>
                  <a:pt x="1439900" y="1196589"/>
                </a:moveTo>
                <a:lnTo>
                  <a:pt x="1449810" y="1196589"/>
                </a:lnTo>
                <a:lnTo>
                  <a:pt x="1453829" y="1200628"/>
                </a:lnTo>
                <a:lnTo>
                  <a:pt x="1453829" y="1210498"/>
                </a:lnTo>
                <a:lnTo>
                  <a:pt x="1449810" y="1214537"/>
                </a:lnTo>
                <a:lnTo>
                  <a:pt x="1439900" y="1214537"/>
                </a:lnTo>
                <a:lnTo>
                  <a:pt x="1435881" y="1210498"/>
                </a:lnTo>
                <a:lnTo>
                  <a:pt x="1435881" y="1200628"/>
                </a:lnTo>
                <a:close/>
                <a:moveTo>
                  <a:pt x="1200584" y="1196589"/>
                </a:moveTo>
                <a:lnTo>
                  <a:pt x="1210494" y="1196589"/>
                </a:lnTo>
                <a:lnTo>
                  <a:pt x="1214512" y="1200628"/>
                </a:lnTo>
                <a:lnTo>
                  <a:pt x="1214512" y="1210498"/>
                </a:lnTo>
                <a:lnTo>
                  <a:pt x="1210494" y="1214537"/>
                </a:lnTo>
                <a:lnTo>
                  <a:pt x="1200584" y="1214537"/>
                </a:lnTo>
                <a:lnTo>
                  <a:pt x="1196565" y="1210498"/>
                </a:lnTo>
                <a:lnTo>
                  <a:pt x="1196565" y="1200628"/>
                </a:lnTo>
                <a:close/>
                <a:moveTo>
                  <a:pt x="961271" y="1196589"/>
                </a:moveTo>
                <a:lnTo>
                  <a:pt x="971181" y="1196589"/>
                </a:lnTo>
                <a:lnTo>
                  <a:pt x="975200" y="1200628"/>
                </a:lnTo>
                <a:lnTo>
                  <a:pt x="975200" y="1210499"/>
                </a:lnTo>
                <a:lnTo>
                  <a:pt x="971181" y="1214537"/>
                </a:lnTo>
                <a:lnTo>
                  <a:pt x="961271" y="1214537"/>
                </a:lnTo>
                <a:lnTo>
                  <a:pt x="957253" y="1210499"/>
                </a:lnTo>
                <a:lnTo>
                  <a:pt x="957253" y="1200628"/>
                </a:lnTo>
                <a:close/>
                <a:moveTo>
                  <a:pt x="1679217" y="1196589"/>
                </a:moveTo>
                <a:lnTo>
                  <a:pt x="1689127" y="1196589"/>
                </a:lnTo>
                <a:lnTo>
                  <a:pt x="1693146" y="1200627"/>
                </a:lnTo>
                <a:lnTo>
                  <a:pt x="1693146" y="1210498"/>
                </a:lnTo>
                <a:lnTo>
                  <a:pt x="1689127" y="1214537"/>
                </a:lnTo>
                <a:lnTo>
                  <a:pt x="1679217" y="1214537"/>
                </a:lnTo>
                <a:lnTo>
                  <a:pt x="1675198" y="1210498"/>
                </a:lnTo>
                <a:lnTo>
                  <a:pt x="1675198" y="1200627"/>
                </a:lnTo>
                <a:close/>
                <a:moveTo>
                  <a:pt x="1918514" y="1196581"/>
                </a:moveTo>
                <a:lnTo>
                  <a:pt x="1928424" y="1196581"/>
                </a:lnTo>
                <a:lnTo>
                  <a:pt x="1932443" y="1200619"/>
                </a:lnTo>
                <a:lnTo>
                  <a:pt x="1932443" y="1210489"/>
                </a:lnTo>
                <a:lnTo>
                  <a:pt x="1928424" y="1214528"/>
                </a:lnTo>
                <a:lnTo>
                  <a:pt x="1918514" y="1214528"/>
                </a:lnTo>
                <a:lnTo>
                  <a:pt x="1914495" y="1210489"/>
                </a:lnTo>
                <a:lnTo>
                  <a:pt x="1914495" y="1200619"/>
                </a:lnTo>
                <a:close/>
                <a:moveTo>
                  <a:pt x="2157823" y="1196578"/>
                </a:moveTo>
                <a:lnTo>
                  <a:pt x="2167733" y="1196578"/>
                </a:lnTo>
                <a:lnTo>
                  <a:pt x="2171751" y="1200617"/>
                </a:lnTo>
                <a:lnTo>
                  <a:pt x="2171751" y="1210488"/>
                </a:lnTo>
                <a:lnTo>
                  <a:pt x="2167733" y="1214526"/>
                </a:lnTo>
                <a:lnTo>
                  <a:pt x="2157823" y="1214526"/>
                </a:lnTo>
                <a:lnTo>
                  <a:pt x="2153803" y="1210488"/>
                </a:lnTo>
                <a:lnTo>
                  <a:pt x="2153803" y="1200617"/>
                </a:lnTo>
                <a:close/>
                <a:moveTo>
                  <a:pt x="3350359" y="957358"/>
                </a:moveTo>
                <a:lnTo>
                  <a:pt x="3360268" y="957358"/>
                </a:lnTo>
                <a:lnTo>
                  <a:pt x="3364287" y="961396"/>
                </a:lnTo>
                <a:lnTo>
                  <a:pt x="3364287" y="971266"/>
                </a:lnTo>
                <a:lnTo>
                  <a:pt x="3360268" y="975304"/>
                </a:lnTo>
                <a:lnTo>
                  <a:pt x="3350359" y="975304"/>
                </a:lnTo>
                <a:lnTo>
                  <a:pt x="3346340" y="971266"/>
                </a:lnTo>
                <a:lnTo>
                  <a:pt x="3346340" y="961396"/>
                </a:lnTo>
                <a:close/>
                <a:moveTo>
                  <a:pt x="3111048" y="957358"/>
                </a:moveTo>
                <a:lnTo>
                  <a:pt x="3120959" y="957358"/>
                </a:lnTo>
                <a:lnTo>
                  <a:pt x="3124977" y="961396"/>
                </a:lnTo>
                <a:lnTo>
                  <a:pt x="3124977" y="971266"/>
                </a:lnTo>
                <a:lnTo>
                  <a:pt x="3120959" y="975304"/>
                </a:lnTo>
                <a:lnTo>
                  <a:pt x="3111048" y="975304"/>
                </a:lnTo>
                <a:lnTo>
                  <a:pt x="3107029" y="971266"/>
                </a:lnTo>
                <a:lnTo>
                  <a:pt x="3107029" y="961396"/>
                </a:lnTo>
                <a:close/>
                <a:moveTo>
                  <a:pt x="2871737" y="957358"/>
                </a:moveTo>
                <a:lnTo>
                  <a:pt x="2881646" y="957358"/>
                </a:lnTo>
                <a:lnTo>
                  <a:pt x="2885666" y="961396"/>
                </a:lnTo>
                <a:lnTo>
                  <a:pt x="2885666" y="971266"/>
                </a:lnTo>
                <a:lnTo>
                  <a:pt x="2881646" y="975304"/>
                </a:lnTo>
                <a:lnTo>
                  <a:pt x="2871737" y="975304"/>
                </a:lnTo>
                <a:lnTo>
                  <a:pt x="2867717" y="971266"/>
                </a:lnTo>
                <a:lnTo>
                  <a:pt x="2867717" y="961396"/>
                </a:lnTo>
                <a:close/>
                <a:moveTo>
                  <a:pt x="2632423" y="957358"/>
                </a:moveTo>
                <a:lnTo>
                  <a:pt x="2642334" y="957358"/>
                </a:lnTo>
                <a:lnTo>
                  <a:pt x="2646352" y="961396"/>
                </a:lnTo>
                <a:lnTo>
                  <a:pt x="2646352" y="971266"/>
                </a:lnTo>
                <a:lnTo>
                  <a:pt x="2642334" y="975305"/>
                </a:lnTo>
                <a:lnTo>
                  <a:pt x="2632423" y="975305"/>
                </a:lnTo>
                <a:lnTo>
                  <a:pt x="2628404" y="971266"/>
                </a:lnTo>
                <a:lnTo>
                  <a:pt x="2628404" y="961396"/>
                </a:lnTo>
                <a:close/>
                <a:moveTo>
                  <a:pt x="2393104" y="957358"/>
                </a:moveTo>
                <a:lnTo>
                  <a:pt x="2403015" y="957358"/>
                </a:lnTo>
                <a:lnTo>
                  <a:pt x="2407034" y="961396"/>
                </a:lnTo>
                <a:lnTo>
                  <a:pt x="2407034" y="971266"/>
                </a:lnTo>
                <a:lnTo>
                  <a:pt x="2403015" y="975305"/>
                </a:lnTo>
                <a:lnTo>
                  <a:pt x="2393104" y="975305"/>
                </a:lnTo>
                <a:lnTo>
                  <a:pt x="2389087" y="971266"/>
                </a:lnTo>
                <a:lnTo>
                  <a:pt x="2389087" y="961396"/>
                </a:lnTo>
                <a:close/>
                <a:moveTo>
                  <a:pt x="4546929" y="957347"/>
                </a:moveTo>
                <a:lnTo>
                  <a:pt x="4556840" y="957347"/>
                </a:lnTo>
                <a:lnTo>
                  <a:pt x="4560859" y="961385"/>
                </a:lnTo>
                <a:lnTo>
                  <a:pt x="4560859" y="971255"/>
                </a:lnTo>
                <a:lnTo>
                  <a:pt x="4556840" y="975293"/>
                </a:lnTo>
                <a:lnTo>
                  <a:pt x="4546929" y="975293"/>
                </a:lnTo>
                <a:lnTo>
                  <a:pt x="4542910" y="971255"/>
                </a:lnTo>
                <a:lnTo>
                  <a:pt x="4542910" y="961385"/>
                </a:lnTo>
                <a:close/>
                <a:moveTo>
                  <a:pt x="4307612" y="957347"/>
                </a:moveTo>
                <a:lnTo>
                  <a:pt x="4317523" y="957347"/>
                </a:lnTo>
                <a:lnTo>
                  <a:pt x="4321543" y="961385"/>
                </a:lnTo>
                <a:lnTo>
                  <a:pt x="4321543" y="971255"/>
                </a:lnTo>
                <a:lnTo>
                  <a:pt x="4317523" y="975293"/>
                </a:lnTo>
                <a:lnTo>
                  <a:pt x="4307612" y="975293"/>
                </a:lnTo>
                <a:lnTo>
                  <a:pt x="4303595" y="971255"/>
                </a:lnTo>
                <a:lnTo>
                  <a:pt x="4303595" y="961385"/>
                </a:lnTo>
                <a:close/>
                <a:moveTo>
                  <a:pt x="4068297" y="957347"/>
                </a:moveTo>
                <a:lnTo>
                  <a:pt x="4078210" y="957347"/>
                </a:lnTo>
                <a:lnTo>
                  <a:pt x="4082229" y="961385"/>
                </a:lnTo>
                <a:lnTo>
                  <a:pt x="4082229" y="971255"/>
                </a:lnTo>
                <a:lnTo>
                  <a:pt x="4078210" y="975293"/>
                </a:lnTo>
                <a:lnTo>
                  <a:pt x="4068297" y="975293"/>
                </a:lnTo>
                <a:lnTo>
                  <a:pt x="4064278" y="971255"/>
                </a:lnTo>
                <a:lnTo>
                  <a:pt x="4064278" y="961385"/>
                </a:lnTo>
                <a:close/>
                <a:moveTo>
                  <a:pt x="3828990" y="957347"/>
                </a:moveTo>
                <a:lnTo>
                  <a:pt x="3838899" y="957347"/>
                </a:lnTo>
                <a:lnTo>
                  <a:pt x="3842917" y="961385"/>
                </a:lnTo>
                <a:lnTo>
                  <a:pt x="3842917" y="971255"/>
                </a:lnTo>
                <a:lnTo>
                  <a:pt x="3838899" y="975293"/>
                </a:lnTo>
                <a:lnTo>
                  <a:pt x="3828990" y="975293"/>
                </a:lnTo>
                <a:lnTo>
                  <a:pt x="3824971" y="971255"/>
                </a:lnTo>
                <a:lnTo>
                  <a:pt x="3824971" y="961385"/>
                </a:lnTo>
                <a:close/>
                <a:moveTo>
                  <a:pt x="3589676" y="957347"/>
                </a:moveTo>
                <a:lnTo>
                  <a:pt x="3599585" y="957347"/>
                </a:lnTo>
                <a:lnTo>
                  <a:pt x="3603604" y="961385"/>
                </a:lnTo>
                <a:lnTo>
                  <a:pt x="3603604" y="971255"/>
                </a:lnTo>
                <a:lnTo>
                  <a:pt x="3599585" y="975293"/>
                </a:lnTo>
                <a:lnTo>
                  <a:pt x="3589676" y="975293"/>
                </a:lnTo>
                <a:lnTo>
                  <a:pt x="3585657" y="971255"/>
                </a:lnTo>
                <a:lnTo>
                  <a:pt x="3585657" y="961385"/>
                </a:lnTo>
                <a:close/>
                <a:moveTo>
                  <a:pt x="5743412" y="957335"/>
                </a:moveTo>
                <a:lnTo>
                  <a:pt x="5753323" y="957335"/>
                </a:lnTo>
                <a:lnTo>
                  <a:pt x="5757342" y="961373"/>
                </a:lnTo>
                <a:lnTo>
                  <a:pt x="5757342" y="971244"/>
                </a:lnTo>
                <a:lnTo>
                  <a:pt x="5753323" y="975282"/>
                </a:lnTo>
                <a:lnTo>
                  <a:pt x="5743412" y="975282"/>
                </a:lnTo>
                <a:lnTo>
                  <a:pt x="5739393" y="971244"/>
                </a:lnTo>
                <a:lnTo>
                  <a:pt x="5739393" y="961373"/>
                </a:lnTo>
                <a:close/>
                <a:moveTo>
                  <a:pt x="5504099" y="957335"/>
                </a:moveTo>
                <a:lnTo>
                  <a:pt x="5514010" y="957335"/>
                </a:lnTo>
                <a:lnTo>
                  <a:pt x="5518029" y="961373"/>
                </a:lnTo>
                <a:lnTo>
                  <a:pt x="5518029" y="971244"/>
                </a:lnTo>
                <a:lnTo>
                  <a:pt x="5514010" y="975282"/>
                </a:lnTo>
                <a:lnTo>
                  <a:pt x="5504099" y="975282"/>
                </a:lnTo>
                <a:lnTo>
                  <a:pt x="5500080" y="971244"/>
                </a:lnTo>
                <a:lnTo>
                  <a:pt x="5500080" y="961373"/>
                </a:lnTo>
                <a:close/>
                <a:moveTo>
                  <a:pt x="5264784" y="957335"/>
                </a:moveTo>
                <a:lnTo>
                  <a:pt x="5274694" y="957335"/>
                </a:lnTo>
                <a:lnTo>
                  <a:pt x="5278713" y="961373"/>
                </a:lnTo>
                <a:lnTo>
                  <a:pt x="5278713" y="971244"/>
                </a:lnTo>
                <a:lnTo>
                  <a:pt x="5274694" y="975282"/>
                </a:lnTo>
                <a:lnTo>
                  <a:pt x="5264784" y="975282"/>
                </a:lnTo>
                <a:lnTo>
                  <a:pt x="5260765" y="971244"/>
                </a:lnTo>
                <a:lnTo>
                  <a:pt x="5260765" y="961373"/>
                </a:lnTo>
                <a:close/>
                <a:moveTo>
                  <a:pt x="5025470" y="957335"/>
                </a:moveTo>
                <a:lnTo>
                  <a:pt x="5035381" y="957335"/>
                </a:lnTo>
                <a:lnTo>
                  <a:pt x="5039400" y="961373"/>
                </a:lnTo>
                <a:lnTo>
                  <a:pt x="5039400" y="971244"/>
                </a:lnTo>
                <a:lnTo>
                  <a:pt x="5035381" y="975283"/>
                </a:lnTo>
                <a:lnTo>
                  <a:pt x="5025470" y="975283"/>
                </a:lnTo>
                <a:lnTo>
                  <a:pt x="5021451" y="971244"/>
                </a:lnTo>
                <a:lnTo>
                  <a:pt x="5021451" y="961373"/>
                </a:lnTo>
                <a:close/>
                <a:moveTo>
                  <a:pt x="4786241" y="957335"/>
                </a:moveTo>
                <a:lnTo>
                  <a:pt x="4796152" y="957335"/>
                </a:lnTo>
                <a:lnTo>
                  <a:pt x="4800171" y="961374"/>
                </a:lnTo>
                <a:lnTo>
                  <a:pt x="4800171" y="971244"/>
                </a:lnTo>
                <a:lnTo>
                  <a:pt x="4796152" y="975283"/>
                </a:lnTo>
                <a:lnTo>
                  <a:pt x="4786241" y="975283"/>
                </a:lnTo>
                <a:lnTo>
                  <a:pt x="4782224" y="971244"/>
                </a:lnTo>
                <a:lnTo>
                  <a:pt x="4782224" y="961374"/>
                </a:lnTo>
                <a:close/>
                <a:moveTo>
                  <a:pt x="6939983" y="957324"/>
                </a:moveTo>
                <a:lnTo>
                  <a:pt x="6949894" y="957324"/>
                </a:lnTo>
                <a:lnTo>
                  <a:pt x="6953913" y="961363"/>
                </a:lnTo>
                <a:lnTo>
                  <a:pt x="6953913" y="971232"/>
                </a:lnTo>
                <a:lnTo>
                  <a:pt x="6949894" y="975271"/>
                </a:lnTo>
                <a:lnTo>
                  <a:pt x="6939983" y="975271"/>
                </a:lnTo>
                <a:lnTo>
                  <a:pt x="6935964" y="971232"/>
                </a:lnTo>
                <a:lnTo>
                  <a:pt x="6935964" y="961363"/>
                </a:lnTo>
                <a:close/>
                <a:moveTo>
                  <a:pt x="6700670" y="957324"/>
                </a:moveTo>
                <a:lnTo>
                  <a:pt x="6710581" y="957324"/>
                </a:lnTo>
                <a:lnTo>
                  <a:pt x="6714600" y="961363"/>
                </a:lnTo>
                <a:lnTo>
                  <a:pt x="6714600" y="971232"/>
                </a:lnTo>
                <a:lnTo>
                  <a:pt x="6710581" y="975271"/>
                </a:lnTo>
                <a:lnTo>
                  <a:pt x="6700670" y="975271"/>
                </a:lnTo>
                <a:lnTo>
                  <a:pt x="6696651" y="971232"/>
                </a:lnTo>
                <a:lnTo>
                  <a:pt x="6696651" y="961363"/>
                </a:lnTo>
                <a:close/>
                <a:moveTo>
                  <a:pt x="6461356" y="957324"/>
                </a:moveTo>
                <a:lnTo>
                  <a:pt x="6471266" y="957324"/>
                </a:lnTo>
                <a:lnTo>
                  <a:pt x="6475285" y="961363"/>
                </a:lnTo>
                <a:lnTo>
                  <a:pt x="6475285" y="971232"/>
                </a:lnTo>
                <a:lnTo>
                  <a:pt x="6471266" y="975271"/>
                </a:lnTo>
                <a:lnTo>
                  <a:pt x="6461356" y="975271"/>
                </a:lnTo>
                <a:lnTo>
                  <a:pt x="6457337" y="971232"/>
                </a:lnTo>
                <a:lnTo>
                  <a:pt x="6457337" y="961363"/>
                </a:lnTo>
                <a:close/>
                <a:moveTo>
                  <a:pt x="6222042" y="957324"/>
                </a:moveTo>
                <a:lnTo>
                  <a:pt x="6231952" y="957324"/>
                </a:lnTo>
                <a:lnTo>
                  <a:pt x="6235971" y="961363"/>
                </a:lnTo>
                <a:lnTo>
                  <a:pt x="6235971" y="971232"/>
                </a:lnTo>
                <a:lnTo>
                  <a:pt x="6231952" y="975271"/>
                </a:lnTo>
                <a:lnTo>
                  <a:pt x="6222042" y="975271"/>
                </a:lnTo>
                <a:lnTo>
                  <a:pt x="6218023" y="971232"/>
                </a:lnTo>
                <a:lnTo>
                  <a:pt x="6218023" y="961363"/>
                </a:lnTo>
                <a:close/>
                <a:moveTo>
                  <a:pt x="5982729" y="957324"/>
                </a:moveTo>
                <a:lnTo>
                  <a:pt x="5992639" y="957324"/>
                </a:lnTo>
                <a:lnTo>
                  <a:pt x="5996658" y="961363"/>
                </a:lnTo>
                <a:lnTo>
                  <a:pt x="5996658" y="971232"/>
                </a:lnTo>
                <a:lnTo>
                  <a:pt x="5992639" y="975271"/>
                </a:lnTo>
                <a:lnTo>
                  <a:pt x="5982729" y="975271"/>
                </a:lnTo>
                <a:lnTo>
                  <a:pt x="5978710" y="971232"/>
                </a:lnTo>
                <a:lnTo>
                  <a:pt x="5978710" y="961363"/>
                </a:lnTo>
                <a:close/>
                <a:moveTo>
                  <a:pt x="8136553" y="957313"/>
                </a:moveTo>
                <a:lnTo>
                  <a:pt x="8146464" y="957313"/>
                </a:lnTo>
                <a:lnTo>
                  <a:pt x="8150483" y="961351"/>
                </a:lnTo>
                <a:lnTo>
                  <a:pt x="8150483" y="971222"/>
                </a:lnTo>
                <a:lnTo>
                  <a:pt x="8146464" y="975260"/>
                </a:lnTo>
                <a:lnTo>
                  <a:pt x="8136553" y="975260"/>
                </a:lnTo>
                <a:lnTo>
                  <a:pt x="8132534" y="971222"/>
                </a:lnTo>
                <a:lnTo>
                  <a:pt x="8132534" y="961351"/>
                </a:lnTo>
                <a:close/>
                <a:moveTo>
                  <a:pt x="7897241" y="957313"/>
                </a:moveTo>
                <a:lnTo>
                  <a:pt x="7907151" y="957313"/>
                </a:lnTo>
                <a:lnTo>
                  <a:pt x="7911170" y="961351"/>
                </a:lnTo>
                <a:lnTo>
                  <a:pt x="7911170" y="971222"/>
                </a:lnTo>
                <a:lnTo>
                  <a:pt x="7907151" y="975260"/>
                </a:lnTo>
                <a:lnTo>
                  <a:pt x="7897241" y="975260"/>
                </a:lnTo>
                <a:lnTo>
                  <a:pt x="7893222" y="971222"/>
                </a:lnTo>
                <a:lnTo>
                  <a:pt x="7893222" y="961351"/>
                </a:lnTo>
                <a:close/>
                <a:moveTo>
                  <a:pt x="7657926" y="957313"/>
                </a:moveTo>
                <a:lnTo>
                  <a:pt x="7667836" y="957313"/>
                </a:lnTo>
                <a:lnTo>
                  <a:pt x="7671855" y="961351"/>
                </a:lnTo>
                <a:lnTo>
                  <a:pt x="7671855" y="971222"/>
                </a:lnTo>
                <a:lnTo>
                  <a:pt x="7667836" y="975260"/>
                </a:lnTo>
                <a:lnTo>
                  <a:pt x="7657926" y="975260"/>
                </a:lnTo>
                <a:lnTo>
                  <a:pt x="7653906" y="971222"/>
                </a:lnTo>
                <a:lnTo>
                  <a:pt x="7653906" y="961351"/>
                </a:lnTo>
                <a:close/>
                <a:moveTo>
                  <a:pt x="7418611" y="957313"/>
                </a:moveTo>
                <a:lnTo>
                  <a:pt x="7428521" y="957313"/>
                </a:lnTo>
                <a:lnTo>
                  <a:pt x="7432540" y="961351"/>
                </a:lnTo>
                <a:lnTo>
                  <a:pt x="7432540" y="971222"/>
                </a:lnTo>
                <a:lnTo>
                  <a:pt x="7428521" y="975260"/>
                </a:lnTo>
                <a:lnTo>
                  <a:pt x="7418611" y="975260"/>
                </a:lnTo>
                <a:lnTo>
                  <a:pt x="7414592" y="971222"/>
                </a:lnTo>
                <a:lnTo>
                  <a:pt x="7414592" y="961351"/>
                </a:lnTo>
                <a:close/>
                <a:moveTo>
                  <a:pt x="7179298" y="957313"/>
                </a:moveTo>
                <a:lnTo>
                  <a:pt x="7189209" y="957313"/>
                </a:lnTo>
                <a:lnTo>
                  <a:pt x="7193228" y="961351"/>
                </a:lnTo>
                <a:lnTo>
                  <a:pt x="7193228" y="971222"/>
                </a:lnTo>
                <a:lnTo>
                  <a:pt x="7189209" y="975260"/>
                </a:lnTo>
                <a:lnTo>
                  <a:pt x="7179298" y="975260"/>
                </a:lnTo>
                <a:lnTo>
                  <a:pt x="7175279" y="971222"/>
                </a:lnTo>
                <a:lnTo>
                  <a:pt x="7175279" y="961351"/>
                </a:lnTo>
                <a:close/>
                <a:moveTo>
                  <a:pt x="1679217" y="957309"/>
                </a:moveTo>
                <a:lnTo>
                  <a:pt x="1689128" y="957309"/>
                </a:lnTo>
                <a:lnTo>
                  <a:pt x="1693147" y="961347"/>
                </a:lnTo>
                <a:lnTo>
                  <a:pt x="1693147" y="971217"/>
                </a:lnTo>
                <a:lnTo>
                  <a:pt x="1689128" y="975256"/>
                </a:lnTo>
                <a:lnTo>
                  <a:pt x="1679217" y="975256"/>
                </a:lnTo>
                <a:lnTo>
                  <a:pt x="1675199" y="971217"/>
                </a:lnTo>
                <a:lnTo>
                  <a:pt x="1675199" y="961347"/>
                </a:lnTo>
                <a:close/>
                <a:moveTo>
                  <a:pt x="1439901" y="957309"/>
                </a:moveTo>
                <a:lnTo>
                  <a:pt x="1449811" y="957309"/>
                </a:lnTo>
                <a:lnTo>
                  <a:pt x="1453829" y="961347"/>
                </a:lnTo>
                <a:lnTo>
                  <a:pt x="1453829" y="971217"/>
                </a:lnTo>
                <a:lnTo>
                  <a:pt x="1449811" y="975256"/>
                </a:lnTo>
                <a:lnTo>
                  <a:pt x="1439901" y="975256"/>
                </a:lnTo>
                <a:lnTo>
                  <a:pt x="1435881" y="971217"/>
                </a:lnTo>
                <a:lnTo>
                  <a:pt x="1435881" y="961347"/>
                </a:lnTo>
                <a:close/>
                <a:moveTo>
                  <a:pt x="1200584" y="957309"/>
                </a:moveTo>
                <a:lnTo>
                  <a:pt x="1210495" y="957309"/>
                </a:lnTo>
                <a:lnTo>
                  <a:pt x="1214513" y="961347"/>
                </a:lnTo>
                <a:lnTo>
                  <a:pt x="1214513" y="971217"/>
                </a:lnTo>
                <a:lnTo>
                  <a:pt x="1210495" y="975256"/>
                </a:lnTo>
                <a:lnTo>
                  <a:pt x="1200584" y="975256"/>
                </a:lnTo>
                <a:lnTo>
                  <a:pt x="1196566" y="971217"/>
                </a:lnTo>
                <a:lnTo>
                  <a:pt x="1196566" y="961347"/>
                </a:lnTo>
                <a:close/>
                <a:moveTo>
                  <a:pt x="961271" y="957309"/>
                </a:moveTo>
                <a:lnTo>
                  <a:pt x="971182" y="957309"/>
                </a:lnTo>
                <a:lnTo>
                  <a:pt x="975201" y="961347"/>
                </a:lnTo>
                <a:lnTo>
                  <a:pt x="975201" y="971218"/>
                </a:lnTo>
                <a:lnTo>
                  <a:pt x="971182" y="975256"/>
                </a:lnTo>
                <a:lnTo>
                  <a:pt x="961271" y="975256"/>
                </a:lnTo>
                <a:lnTo>
                  <a:pt x="957253" y="971218"/>
                </a:lnTo>
                <a:lnTo>
                  <a:pt x="957253" y="961347"/>
                </a:lnTo>
                <a:close/>
                <a:moveTo>
                  <a:pt x="9333125" y="957302"/>
                </a:moveTo>
                <a:lnTo>
                  <a:pt x="9343036" y="957302"/>
                </a:lnTo>
                <a:lnTo>
                  <a:pt x="9347055" y="961340"/>
                </a:lnTo>
                <a:lnTo>
                  <a:pt x="9347055" y="971210"/>
                </a:lnTo>
                <a:lnTo>
                  <a:pt x="9343036" y="975249"/>
                </a:lnTo>
                <a:lnTo>
                  <a:pt x="9333125" y="975249"/>
                </a:lnTo>
                <a:lnTo>
                  <a:pt x="9329106" y="971210"/>
                </a:lnTo>
                <a:lnTo>
                  <a:pt x="9329106" y="961340"/>
                </a:lnTo>
                <a:close/>
                <a:moveTo>
                  <a:pt x="9093811" y="957302"/>
                </a:moveTo>
                <a:lnTo>
                  <a:pt x="9103722" y="957302"/>
                </a:lnTo>
                <a:lnTo>
                  <a:pt x="9107741" y="961340"/>
                </a:lnTo>
                <a:lnTo>
                  <a:pt x="9107741" y="971210"/>
                </a:lnTo>
                <a:lnTo>
                  <a:pt x="9103722" y="975249"/>
                </a:lnTo>
                <a:lnTo>
                  <a:pt x="9093811" y="975249"/>
                </a:lnTo>
                <a:lnTo>
                  <a:pt x="9089792" y="971210"/>
                </a:lnTo>
                <a:lnTo>
                  <a:pt x="9089792" y="961340"/>
                </a:lnTo>
                <a:close/>
                <a:moveTo>
                  <a:pt x="8854496" y="957302"/>
                </a:moveTo>
                <a:lnTo>
                  <a:pt x="8864407" y="957302"/>
                </a:lnTo>
                <a:lnTo>
                  <a:pt x="8868426" y="961340"/>
                </a:lnTo>
                <a:lnTo>
                  <a:pt x="8868426" y="971210"/>
                </a:lnTo>
                <a:lnTo>
                  <a:pt x="8864407" y="975249"/>
                </a:lnTo>
                <a:lnTo>
                  <a:pt x="8854496" y="975249"/>
                </a:lnTo>
                <a:lnTo>
                  <a:pt x="8850477" y="971210"/>
                </a:lnTo>
                <a:lnTo>
                  <a:pt x="8850477" y="961340"/>
                </a:lnTo>
                <a:close/>
                <a:moveTo>
                  <a:pt x="8615184" y="957302"/>
                </a:moveTo>
                <a:lnTo>
                  <a:pt x="8625095" y="957302"/>
                </a:lnTo>
                <a:lnTo>
                  <a:pt x="8629114" y="961340"/>
                </a:lnTo>
                <a:lnTo>
                  <a:pt x="8629114" y="971210"/>
                </a:lnTo>
                <a:lnTo>
                  <a:pt x="8625095" y="975249"/>
                </a:lnTo>
                <a:lnTo>
                  <a:pt x="8615184" y="975249"/>
                </a:lnTo>
                <a:lnTo>
                  <a:pt x="8611165" y="971210"/>
                </a:lnTo>
                <a:lnTo>
                  <a:pt x="8611165" y="961340"/>
                </a:lnTo>
                <a:close/>
                <a:moveTo>
                  <a:pt x="8375869" y="957302"/>
                </a:moveTo>
                <a:lnTo>
                  <a:pt x="8385779" y="957302"/>
                </a:lnTo>
                <a:lnTo>
                  <a:pt x="8389799" y="961340"/>
                </a:lnTo>
                <a:lnTo>
                  <a:pt x="8389799" y="971210"/>
                </a:lnTo>
                <a:lnTo>
                  <a:pt x="8385779" y="975249"/>
                </a:lnTo>
                <a:lnTo>
                  <a:pt x="8375869" y="975249"/>
                </a:lnTo>
                <a:lnTo>
                  <a:pt x="8371850" y="971210"/>
                </a:lnTo>
                <a:lnTo>
                  <a:pt x="8371850" y="961340"/>
                </a:lnTo>
                <a:close/>
                <a:moveTo>
                  <a:pt x="1918514" y="957301"/>
                </a:moveTo>
                <a:lnTo>
                  <a:pt x="1928424" y="957301"/>
                </a:lnTo>
                <a:lnTo>
                  <a:pt x="1932444" y="961339"/>
                </a:lnTo>
                <a:lnTo>
                  <a:pt x="1932444" y="971210"/>
                </a:lnTo>
                <a:lnTo>
                  <a:pt x="1928424" y="975249"/>
                </a:lnTo>
                <a:lnTo>
                  <a:pt x="1918514" y="975249"/>
                </a:lnTo>
                <a:lnTo>
                  <a:pt x="1914495" y="971210"/>
                </a:lnTo>
                <a:lnTo>
                  <a:pt x="1914495" y="961339"/>
                </a:lnTo>
                <a:close/>
                <a:moveTo>
                  <a:pt x="2157823" y="957299"/>
                </a:moveTo>
                <a:lnTo>
                  <a:pt x="2167733" y="957299"/>
                </a:lnTo>
                <a:lnTo>
                  <a:pt x="2171751" y="961337"/>
                </a:lnTo>
                <a:lnTo>
                  <a:pt x="2171751" y="971207"/>
                </a:lnTo>
                <a:lnTo>
                  <a:pt x="2167733" y="975246"/>
                </a:lnTo>
                <a:lnTo>
                  <a:pt x="2157823" y="975246"/>
                </a:lnTo>
                <a:lnTo>
                  <a:pt x="2153804" y="971207"/>
                </a:lnTo>
                <a:lnTo>
                  <a:pt x="2153804" y="961337"/>
                </a:lnTo>
                <a:close/>
                <a:moveTo>
                  <a:pt x="9572438" y="957291"/>
                </a:moveTo>
                <a:lnTo>
                  <a:pt x="9582349" y="957291"/>
                </a:lnTo>
                <a:lnTo>
                  <a:pt x="9586368" y="961329"/>
                </a:lnTo>
                <a:lnTo>
                  <a:pt x="9586368" y="971199"/>
                </a:lnTo>
                <a:lnTo>
                  <a:pt x="9582349" y="975238"/>
                </a:lnTo>
                <a:lnTo>
                  <a:pt x="9572438" y="975238"/>
                </a:lnTo>
                <a:lnTo>
                  <a:pt x="9568419" y="971199"/>
                </a:lnTo>
                <a:lnTo>
                  <a:pt x="9568419" y="961329"/>
                </a:lnTo>
                <a:close/>
                <a:moveTo>
                  <a:pt x="721974" y="957266"/>
                </a:moveTo>
                <a:lnTo>
                  <a:pt x="731884" y="957266"/>
                </a:lnTo>
                <a:lnTo>
                  <a:pt x="735903" y="961305"/>
                </a:lnTo>
                <a:lnTo>
                  <a:pt x="735903" y="971175"/>
                </a:lnTo>
                <a:lnTo>
                  <a:pt x="731884" y="975214"/>
                </a:lnTo>
                <a:lnTo>
                  <a:pt x="721974" y="975214"/>
                </a:lnTo>
                <a:lnTo>
                  <a:pt x="717956" y="971175"/>
                </a:lnTo>
                <a:lnTo>
                  <a:pt x="717956" y="961305"/>
                </a:lnTo>
                <a:close/>
                <a:moveTo>
                  <a:pt x="482662" y="957266"/>
                </a:moveTo>
                <a:lnTo>
                  <a:pt x="492572" y="957266"/>
                </a:lnTo>
                <a:lnTo>
                  <a:pt x="496591" y="961305"/>
                </a:lnTo>
                <a:lnTo>
                  <a:pt x="496591" y="971175"/>
                </a:lnTo>
                <a:lnTo>
                  <a:pt x="492572" y="975214"/>
                </a:lnTo>
                <a:lnTo>
                  <a:pt x="482662" y="975214"/>
                </a:lnTo>
                <a:lnTo>
                  <a:pt x="478643" y="971175"/>
                </a:lnTo>
                <a:lnTo>
                  <a:pt x="478643" y="961305"/>
                </a:lnTo>
                <a:close/>
                <a:moveTo>
                  <a:pt x="243349" y="957266"/>
                </a:moveTo>
                <a:lnTo>
                  <a:pt x="253259" y="957266"/>
                </a:lnTo>
                <a:lnTo>
                  <a:pt x="257278" y="961305"/>
                </a:lnTo>
                <a:lnTo>
                  <a:pt x="257278" y="971175"/>
                </a:lnTo>
                <a:lnTo>
                  <a:pt x="253259" y="975214"/>
                </a:lnTo>
                <a:lnTo>
                  <a:pt x="243349" y="975214"/>
                </a:lnTo>
                <a:lnTo>
                  <a:pt x="239330" y="971175"/>
                </a:lnTo>
                <a:lnTo>
                  <a:pt x="239330" y="961305"/>
                </a:lnTo>
                <a:close/>
                <a:moveTo>
                  <a:pt x="4036" y="957266"/>
                </a:moveTo>
                <a:lnTo>
                  <a:pt x="13946" y="957266"/>
                </a:lnTo>
                <a:lnTo>
                  <a:pt x="17965" y="961305"/>
                </a:lnTo>
                <a:lnTo>
                  <a:pt x="17965" y="971176"/>
                </a:lnTo>
                <a:lnTo>
                  <a:pt x="13946" y="975214"/>
                </a:lnTo>
                <a:lnTo>
                  <a:pt x="4036" y="975214"/>
                </a:lnTo>
                <a:lnTo>
                  <a:pt x="16" y="971176"/>
                </a:lnTo>
                <a:lnTo>
                  <a:pt x="16" y="961305"/>
                </a:lnTo>
                <a:close/>
                <a:moveTo>
                  <a:pt x="3350359" y="718040"/>
                </a:moveTo>
                <a:lnTo>
                  <a:pt x="3360268" y="718040"/>
                </a:lnTo>
                <a:lnTo>
                  <a:pt x="3364287" y="722078"/>
                </a:lnTo>
                <a:lnTo>
                  <a:pt x="3364287" y="731948"/>
                </a:lnTo>
                <a:lnTo>
                  <a:pt x="3360268" y="735987"/>
                </a:lnTo>
                <a:lnTo>
                  <a:pt x="3350359" y="735987"/>
                </a:lnTo>
                <a:lnTo>
                  <a:pt x="3346340" y="731948"/>
                </a:lnTo>
                <a:lnTo>
                  <a:pt x="3346340" y="722078"/>
                </a:lnTo>
                <a:close/>
                <a:moveTo>
                  <a:pt x="3111048" y="718040"/>
                </a:moveTo>
                <a:lnTo>
                  <a:pt x="3120959" y="718040"/>
                </a:lnTo>
                <a:lnTo>
                  <a:pt x="3124977" y="722078"/>
                </a:lnTo>
                <a:lnTo>
                  <a:pt x="3124977" y="731949"/>
                </a:lnTo>
                <a:lnTo>
                  <a:pt x="3120959" y="735987"/>
                </a:lnTo>
                <a:lnTo>
                  <a:pt x="3111048" y="735987"/>
                </a:lnTo>
                <a:lnTo>
                  <a:pt x="3107029" y="731949"/>
                </a:lnTo>
                <a:lnTo>
                  <a:pt x="3107029" y="722078"/>
                </a:lnTo>
                <a:close/>
                <a:moveTo>
                  <a:pt x="2871737" y="718040"/>
                </a:moveTo>
                <a:lnTo>
                  <a:pt x="2881646" y="718040"/>
                </a:lnTo>
                <a:lnTo>
                  <a:pt x="2885666" y="722078"/>
                </a:lnTo>
                <a:lnTo>
                  <a:pt x="2885666" y="731949"/>
                </a:lnTo>
                <a:lnTo>
                  <a:pt x="2881646" y="735987"/>
                </a:lnTo>
                <a:lnTo>
                  <a:pt x="2871737" y="735987"/>
                </a:lnTo>
                <a:lnTo>
                  <a:pt x="2867717" y="731949"/>
                </a:lnTo>
                <a:lnTo>
                  <a:pt x="2867717" y="722078"/>
                </a:lnTo>
                <a:close/>
                <a:moveTo>
                  <a:pt x="2632423" y="718040"/>
                </a:moveTo>
                <a:lnTo>
                  <a:pt x="2642334" y="718040"/>
                </a:lnTo>
                <a:lnTo>
                  <a:pt x="2646352" y="722078"/>
                </a:lnTo>
                <a:lnTo>
                  <a:pt x="2646352" y="731949"/>
                </a:lnTo>
                <a:lnTo>
                  <a:pt x="2642334" y="735988"/>
                </a:lnTo>
                <a:lnTo>
                  <a:pt x="2632423" y="735988"/>
                </a:lnTo>
                <a:lnTo>
                  <a:pt x="2628404" y="731949"/>
                </a:lnTo>
                <a:lnTo>
                  <a:pt x="2628404" y="722078"/>
                </a:lnTo>
                <a:close/>
                <a:moveTo>
                  <a:pt x="2393104" y="718040"/>
                </a:moveTo>
                <a:lnTo>
                  <a:pt x="2403015" y="718040"/>
                </a:lnTo>
                <a:lnTo>
                  <a:pt x="2407034" y="722078"/>
                </a:lnTo>
                <a:lnTo>
                  <a:pt x="2407034" y="731949"/>
                </a:lnTo>
                <a:lnTo>
                  <a:pt x="2403015" y="735988"/>
                </a:lnTo>
                <a:lnTo>
                  <a:pt x="2393104" y="735988"/>
                </a:lnTo>
                <a:lnTo>
                  <a:pt x="2389087" y="731949"/>
                </a:lnTo>
                <a:lnTo>
                  <a:pt x="2389087" y="722078"/>
                </a:lnTo>
                <a:close/>
                <a:moveTo>
                  <a:pt x="4546929" y="718028"/>
                </a:moveTo>
                <a:lnTo>
                  <a:pt x="4556840" y="718028"/>
                </a:lnTo>
                <a:lnTo>
                  <a:pt x="4560859" y="722066"/>
                </a:lnTo>
                <a:lnTo>
                  <a:pt x="4560859" y="731935"/>
                </a:lnTo>
                <a:lnTo>
                  <a:pt x="4556840" y="735975"/>
                </a:lnTo>
                <a:lnTo>
                  <a:pt x="4546929" y="735975"/>
                </a:lnTo>
                <a:lnTo>
                  <a:pt x="4542910" y="731935"/>
                </a:lnTo>
                <a:lnTo>
                  <a:pt x="4542910" y="722066"/>
                </a:lnTo>
                <a:close/>
                <a:moveTo>
                  <a:pt x="4307612" y="718028"/>
                </a:moveTo>
                <a:lnTo>
                  <a:pt x="4317523" y="718028"/>
                </a:lnTo>
                <a:lnTo>
                  <a:pt x="4321543" y="722066"/>
                </a:lnTo>
                <a:lnTo>
                  <a:pt x="4321543" y="731936"/>
                </a:lnTo>
                <a:lnTo>
                  <a:pt x="4317523" y="735975"/>
                </a:lnTo>
                <a:lnTo>
                  <a:pt x="4307612" y="735975"/>
                </a:lnTo>
                <a:lnTo>
                  <a:pt x="4303595" y="731936"/>
                </a:lnTo>
                <a:lnTo>
                  <a:pt x="4303595" y="722066"/>
                </a:lnTo>
                <a:close/>
                <a:moveTo>
                  <a:pt x="4068297" y="718028"/>
                </a:moveTo>
                <a:lnTo>
                  <a:pt x="4078210" y="718028"/>
                </a:lnTo>
                <a:lnTo>
                  <a:pt x="4082229" y="722066"/>
                </a:lnTo>
                <a:lnTo>
                  <a:pt x="4082229" y="731936"/>
                </a:lnTo>
                <a:lnTo>
                  <a:pt x="4078210" y="735975"/>
                </a:lnTo>
                <a:lnTo>
                  <a:pt x="4068297" y="735975"/>
                </a:lnTo>
                <a:lnTo>
                  <a:pt x="4064278" y="731936"/>
                </a:lnTo>
                <a:lnTo>
                  <a:pt x="4064278" y="722066"/>
                </a:lnTo>
                <a:close/>
                <a:moveTo>
                  <a:pt x="3828990" y="718028"/>
                </a:moveTo>
                <a:lnTo>
                  <a:pt x="3838899" y="718028"/>
                </a:lnTo>
                <a:lnTo>
                  <a:pt x="3842917" y="722066"/>
                </a:lnTo>
                <a:lnTo>
                  <a:pt x="3842917" y="731936"/>
                </a:lnTo>
                <a:lnTo>
                  <a:pt x="3838899" y="735975"/>
                </a:lnTo>
                <a:lnTo>
                  <a:pt x="3828990" y="735975"/>
                </a:lnTo>
                <a:lnTo>
                  <a:pt x="3824971" y="731936"/>
                </a:lnTo>
                <a:lnTo>
                  <a:pt x="3824971" y="722066"/>
                </a:lnTo>
                <a:close/>
                <a:moveTo>
                  <a:pt x="3589676" y="718028"/>
                </a:moveTo>
                <a:lnTo>
                  <a:pt x="3599585" y="718028"/>
                </a:lnTo>
                <a:lnTo>
                  <a:pt x="3603604" y="722066"/>
                </a:lnTo>
                <a:lnTo>
                  <a:pt x="3603604" y="731936"/>
                </a:lnTo>
                <a:lnTo>
                  <a:pt x="3599585" y="735975"/>
                </a:lnTo>
                <a:lnTo>
                  <a:pt x="3589676" y="735975"/>
                </a:lnTo>
                <a:lnTo>
                  <a:pt x="3585657" y="731936"/>
                </a:lnTo>
                <a:lnTo>
                  <a:pt x="3585657" y="722066"/>
                </a:lnTo>
                <a:close/>
                <a:moveTo>
                  <a:pt x="5743412" y="718015"/>
                </a:moveTo>
                <a:lnTo>
                  <a:pt x="5753323" y="718015"/>
                </a:lnTo>
                <a:lnTo>
                  <a:pt x="5757342" y="722053"/>
                </a:lnTo>
                <a:lnTo>
                  <a:pt x="5757342" y="731924"/>
                </a:lnTo>
                <a:lnTo>
                  <a:pt x="5753323" y="735963"/>
                </a:lnTo>
                <a:lnTo>
                  <a:pt x="5743412" y="735963"/>
                </a:lnTo>
                <a:lnTo>
                  <a:pt x="5739393" y="731924"/>
                </a:lnTo>
                <a:lnTo>
                  <a:pt x="5739393" y="722053"/>
                </a:lnTo>
                <a:close/>
                <a:moveTo>
                  <a:pt x="5504099" y="718015"/>
                </a:moveTo>
                <a:lnTo>
                  <a:pt x="5514010" y="718015"/>
                </a:lnTo>
                <a:lnTo>
                  <a:pt x="5518029" y="722053"/>
                </a:lnTo>
                <a:lnTo>
                  <a:pt x="5518029" y="731924"/>
                </a:lnTo>
                <a:lnTo>
                  <a:pt x="5514010" y="735963"/>
                </a:lnTo>
                <a:lnTo>
                  <a:pt x="5504099" y="735963"/>
                </a:lnTo>
                <a:lnTo>
                  <a:pt x="5500080" y="731924"/>
                </a:lnTo>
                <a:lnTo>
                  <a:pt x="5500080" y="722053"/>
                </a:lnTo>
                <a:close/>
                <a:moveTo>
                  <a:pt x="5264784" y="718015"/>
                </a:moveTo>
                <a:lnTo>
                  <a:pt x="5274694" y="718015"/>
                </a:lnTo>
                <a:lnTo>
                  <a:pt x="5278713" y="722053"/>
                </a:lnTo>
                <a:lnTo>
                  <a:pt x="5278713" y="731924"/>
                </a:lnTo>
                <a:lnTo>
                  <a:pt x="5274694" y="735963"/>
                </a:lnTo>
                <a:lnTo>
                  <a:pt x="5264784" y="735963"/>
                </a:lnTo>
                <a:lnTo>
                  <a:pt x="5260765" y="731924"/>
                </a:lnTo>
                <a:lnTo>
                  <a:pt x="5260765" y="722053"/>
                </a:lnTo>
                <a:close/>
                <a:moveTo>
                  <a:pt x="5025470" y="718015"/>
                </a:moveTo>
                <a:lnTo>
                  <a:pt x="5035381" y="718015"/>
                </a:lnTo>
                <a:lnTo>
                  <a:pt x="5039400" y="722053"/>
                </a:lnTo>
                <a:lnTo>
                  <a:pt x="5039400" y="731924"/>
                </a:lnTo>
                <a:lnTo>
                  <a:pt x="5035381" y="735963"/>
                </a:lnTo>
                <a:lnTo>
                  <a:pt x="5025470" y="735963"/>
                </a:lnTo>
                <a:lnTo>
                  <a:pt x="5021451" y="731924"/>
                </a:lnTo>
                <a:lnTo>
                  <a:pt x="5021451" y="722053"/>
                </a:lnTo>
                <a:close/>
                <a:moveTo>
                  <a:pt x="4786241" y="718015"/>
                </a:moveTo>
                <a:lnTo>
                  <a:pt x="4796152" y="718015"/>
                </a:lnTo>
                <a:lnTo>
                  <a:pt x="4800171" y="722053"/>
                </a:lnTo>
                <a:lnTo>
                  <a:pt x="4800171" y="731924"/>
                </a:lnTo>
                <a:lnTo>
                  <a:pt x="4796152" y="735963"/>
                </a:lnTo>
                <a:lnTo>
                  <a:pt x="4786241" y="735963"/>
                </a:lnTo>
                <a:lnTo>
                  <a:pt x="4782224" y="731924"/>
                </a:lnTo>
                <a:lnTo>
                  <a:pt x="4782224" y="722053"/>
                </a:lnTo>
                <a:close/>
                <a:moveTo>
                  <a:pt x="6939983" y="718003"/>
                </a:moveTo>
                <a:lnTo>
                  <a:pt x="6949894" y="718003"/>
                </a:lnTo>
                <a:lnTo>
                  <a:pt x="6953913" y="722041"/>
                </a:lnTo>
                <a:lnTo>
                  <a:pt x="6953913" y="731911"/>
                </a:lnTo>
                <a:lnTo>
                  <a:pt x="6949894" y="735950"/>
                </a:lnTo>
                <a:lnTo>
                  <a:pt x="6939983" y="735950"/>
                </a:lnTo>
                <a:lnTo>
                  <a:pt x="6935964" y="731911"/>
                </a:lnTo>
                <a:lnTo>
                  <a:pt x="6935964" y="722041"/>
                </a:lnTo>
                <a:close/>
                <a:moveTo>
                  <a:pt x="6700670" y="718003"/>
                </a:moveTo>
                <a:lnTo>
                  <a:pt x="6710581" y="718003"/>
                </a:lnTo>
                <a:lnTo>
                  <a:pt x="6714600" y="722041"/>
                </a:lnTo>
                <a:lnTo>
                  <a:pt x="6714600" y="731912"/>
                </a:lnTo>
                <a:lnTo>
                  <a:pt x="6710581" y="735950"/>
                </a:lnTo>
                <a:lnTo>
                  <a:pt x="6700670" y="735950"/>
                </a:lnTo>
                <a:lnTo>
                  <a:pt x="6696651" y="731912"/>
                </a:lnTo>
                <a:lnTo>
                  <a:pt x="6696651" y="722041"/>
                </a:lnTo>
                <a:close/>
                <a:moveTo>
                  <a:pt x="6461356" y="718003"/>
                </a:moveTo>
                <a:lnTo>
                  <a:pt x="6471266" y="718003"/>
                </a:lnTo>
                <a:lnTo>
                  <a:pt x="6475285" y="722041"/>
                </a:lnTo>
                <a:lnTo>
                  <a:pt x="6475285" y="731912"/>
                </a:lnTo>
                <a:lnTo>
                  <a:pt x="6471266" y="735950"/>
                </a:lnTo>
                <a:lnTo>
                  <a:pt x="6461356" y="735950"/>
                </a:lnTo>
                <a:lnTo>
                  <a:pt x="6457337" y="731912"/>
                </a:lnTo>
                <a:lnTo>
                  <a:pt x="6457337" y="722041"/>
                </a:lnTo>
                <a:close/>
                <a:moveTo>
                  <a:pt x="6222042" y="718003"/>
                </a:moveTo>
                <a:lnTo>
                  <a:pt x="6231952" y="718003"/>
                </a:lnTo>
                <a:lnTo>
                  <a:pt x="6235971" y="722041"/>
                </a:lnTo>
                <a:lnTo>
                  <a:pt x="6235971" y="731912"/>
                </a:lnTo>
                <a:lnTo>
                  <a:pt x="6231952" y="735951"/>
                </a:lnTo>
                <a:lnTo>
                  <a:pt x="6222042" y="735951"/>
                </a:lnTo>
                <a:lnTo>
                  <a:pt x="6218023" y="731912"/>
                </a:lnTo>
                <a:lnTo>
                  <a:pt x="6218023" y="722041"/>
                </a:lnTo>
                <a:close/>
                <a:moveTo>
                  <a:pt x="5982729" y="718003"/>
                </a:moveTo>
                <a:lnTo>
                  <a:pt x="5992639" y="718003"/>
                </a:lnTo>
                <a:lnTo>
                  <a:pt x="5996658" y="722041"/>
                </a:lnTo>
                <a:lnTo>
                  <a:pt x="5996658" y="731912"/>
                </a:lnTo>
                <a:lnTo>
                  <a:pt x="5992639" y="735951"/>
                </a:lnTo>
                <a:lnTo>
                  <a:pt x="5982729" y="735951"/>
                </a:lnTo>
                <a:lnTo>
                  <a:pt x="5978710" y="731912"/>
                </a:lnTo>
                <a:lnTo>
                  <a:pt x="5978710" y="722041"/>
                </a:lnTo>
                <a:close/>
                <a:moveTo>
                  <a:pt x="8136553" y="717990"/>
                </a:moveTo>
                <a:lnTo>
                  <a:pt x="8146464" y="717990"/>
                </a:lnTo>
                <a:lnTo>
                  <a:pt x="8150483" y="722028"/>
                </a:lnTo>
                <a:lnTo>
                  <a:pt x="8150483" y="731899"/>
                </a:lnTo>
                <a:lnTo>
                  <a:pt x="8146464" y="735938"/>
                </a:lnTo>
                <a:lnTo>
                  <a:pt x="8136553" y="735938"/>
                </a:lnTo>
                <a:lnTo>
                  <a:pt x="8132534" y="731899"/>
                </a:lnTo>
                <a:lnTo>
                  <a:pt x="8132534" y="722028"/>
                </a:lnTo>
                <a:close/>
                <a:moveTo>
                  <a:pt x="7897241" y="717990"/>
                </a:moveTo>
                <a:lnTo>
                  <a:pt x="7907151" y="717990"/>
                </a:lnTo>
                <a:lnTo>
                  <a:pt x="7911170" y="722029"/>
                </a:lnTo>
                <a:lnTo>
                  <a:pt x="7911170" y="731899"/>
                </a:lnTo>
                <a:lnTo>
                  <a:pt x="7907151" y="735938"/>
                </a:lnTo>
                <a:lnTo>
                  <a:pt x="7897241" y="735938"/>
                </a:lnTo>
                <a:lnTo>
                  <a:pt x="7893222" y="731899"/>
                </a:lnTo>
                <a:lnTo>
                  <a:pt x="7893222" y="722029"/>
                </a:lnTo>
                <a:close/>
                <a:moveTo>
                  <a:pt x="7657926" y="717990"/>
                </a:moveTo>
                <a:lnTo>
                  <a:pt x="7667836" y="717990"/>
                </a:lnTo>
                <a:lnTo>
                  <a:pt x="7671855" y="722029"/>
                </a:lnTo>
                <a:lnTo>
                  <a:pt x="7671855" y="731899"/>
                </a:lnTo>
                <a:lnTo>
                  <a:pt x="7667836" y="735938"/>
                </a:lnTo>
                <a:lnTo>
                  <a:pt x="7657926" y="735938"/>
                </a:lnTo>
                <a:lnTo>
                  <a:pt x="7653906" y="731899"/>
                </a:lnTo>
                <a:lnTo>
                  <a:pt x="7653906" y="722029"/>
                </a:lnTo>
                <a:close/>
                <a:moveTo>
                  <a:pt x="7418611" y="717990"/>
                </a:moveTo>
                <a:lnTo>
                  <a:pt x="7428521" y="717990"/>
                </a:lnTo>
                <a:lnTo>
                  <a:pt x="7432540" y="722029"/>
                </a:lnTo>
                <a:lnTo>
                  <a:pt x="7432540" y="731899"/>
                </a:lnTo>
                <a:lnTo>
                  <a:pt x="7428521" y="735938"/>
                </a:lnTo>
                <a:lnTo>
                  <a:pt x="7418611" y="735938"/>
                </a:lnTo>
                <a:lnTo>
                  <a:pt x="7414592" y="731899"/>
                </a:lnTo>
                <a:lnTo>
                  <a:pt x="7414592" y="722029"/>
                </a:lnTo>
                <a:close/>
                <a:moveTo>
                  <a:pt x="7179298" y="717990"/>
                </a:moveTo>
                <a:lnTo>
                  <a:pt x="7189209" y="717990"/>
                </a:lnTo>
                <a:lnTo>
                  <a:pt x="7193228" y="722029"/>
                </a:lnTo>
                <a:lnTo>
                  <a:pt x="7193228" y="731899"/>
                </a:lnTo>
                <a:lnTo>
                  <a:pt x="7189209" y="735938"/>
                </a:lnTo>
                <a:lnTo>
                  <a:pt x="7179298" y="735938"/>
                </a:lnTo>
                <a:lnTo>
                  <a:pt x="7175279" y="731899"/>
                </a:lnTo>
                <a:lnTo>
                  <a:pt x="7175279" y="722029"/>
                </a:lnTo>
                <a:close/>
                <a:moveTo>
                  <a:pt x="961272" y="717980"/>
                </a:moveTo>
                <a:lnTo>
                  <a:pt x="971182" y="717980"/>
                </a:lnTo>
                <a:lnTo>
                  <a:pt x="975202" y="722018"/>
                </a:lnTo>
                <a:lnTo>
                  <a:pt x="975202" y="731889"/>
                </a:lnTo>
                <a:lnTo>
                  <a:pt x="971182" y="735928"/>
                </a:lnTo>
                <a:lnTo>
                  <a:pt x="961272" y="735928"/>
                </a:lnTo>
                <a:lnTo>
                  <a:pt x="957254" y="731889"/>
                </a:lnTo>
                <a:lnTo>
                  <a:pt x="957254" y="722018"/>
                </a:lnTo>
                <a:close/>
                <a:moveTo>
                  <a:pt x="1679219" y="717979"/>
                </a:moveTo>
                <a:lnTo>
                  <a:pt x="1689128" y="717979"/>
                </a:lnTo>
                <a:lnTo>
                  <a:pt x="1693149" y="722018"/>
                </a:lnTo>
                <a:lnTo>
                  <a:pt x="1693149" y="731889"/>
                </a:lnTo>
                <a:lnTo>
                  <a:pt x="1689128" y="735927"/>
                </a:lnTo>
                <a:lnTo>
                  <a:pt x="1679219" y="735927"/>
                </a:lnTo>
                <a:lnTo>
                  <a:pt x="1675200" y="731889"/>
                </a:lnTo>
                <a:lnTo>
                  <a:pt x="1675200" y="722018"/>
                </a:lnTo>
                <a:close/>
                <a:moveTo>
                  <a:pt x="1439901" y="717979"/>
                </a:moveTo>
                <a:lnTo>
                  <a:pt x="1449811" y="717979"/>
                </a:lnTo>
                <a:lnTo>
                  <a:pt x="1453831" y="722018"/>
                </a:lnTo>
                <a:lnTo>
                  <a:pt x="1453831" y="731889"/>
                </a:lnTo>
                <a:lnTo>
                  <a:pt x="1449811" y="735927"/>
                </a:lnTo>
                <a:lnTo>
                  <a:pt x="1439901" y="735927"/>
                </a:lnTo>
                <a:lnTo>
                  <a:pt x="1435883" y="731889"/>
                </a:lnTo>
                <a:lnTo>
                  <a:pt x="1435883" y="722018"/>
                </a:lnTo>
                <a:close/>
                <a:moveTo>
                  <a:pt x="1200585" y="717979"/>
                </a:moveTo>
                <a:lnTo>
                  <a:pt x="1210495" y="717979"/>
                </a:lnTo>
                <a:lnTo>
                  <a:pt x="1214513" y="722018"/>
                </a:lnTo>
                <a:lnTo>
                  <a:pt x="1214513" y="731889"/>
                </a:lnTo>
                <a:lnTo>
                  <a:pt x="1210495" y="735927"/>
                </a:lnTo>
                <a:lnTo>
                  <a:pt x="1200585" y="735927"/>
                </a:lnTo>
                <a:lnTo>
                  <a:pt x="1196566" y="731889"/>
                </a:lnTo>
                <a:lnTo>
                  <a:pt x="1196566" y="722018"/>
                </a:lnTo>
                <a:close/>
                <a:moveTo>
                  <a:pt x="9333125" y="717978"/>
                </a:moveTo>
                <a:lnTo>
                  <a:pt x="9343036" y="717978"/>
                </a:lnTo>
                <a:lnTo>
                  <a:pt x="9347055" y="722016"/>
                </a:lnTo>
                <a:lnTo>
                  <a:pt x="9347055" y="731887"/>
                </a:lnTo>
                <a:lnTo>
                  <a:pt x="9343036" y="735926"/>
                </a:lnTo>
                <a:lnTo>
                  <a:pt x="9333125" y="735926"/>
                </a:lnTo>
                <a:lnTo>
                  <a:pt x="9329106" y="731887"/>
                </a:lnTo>
                <a:lnTo>
                  <a:pt x="9329106" y="722016"/>
                </a:lnTo>
                <a:close/>
                <a:moveTo>
                  <a:pt x="9093811" y="717978"/>
                </a:moveTo>
                <a:lnTo>
                  <a:pt x="9103722" y="717978"/>
                </a:lnTo>
                <a:lnTo>
                  <a:pt x="9107741" y="722016"/>
                </a:lnTo>
                <a:lnTo>
                  <a:pt x="9107741" y="731887"/>
                </a:lnTo>
                <a:lnTo>
                  <a:pt x="9103722" y="735926"/>
                </a:lnTo>
                <a:lnTo>
                  <a:pt x="9093811" y="735926"/>
                </a:lnTo>
                <a:lnTo>
                  <a:pt x="9089792" y="731887"/>
                </a:lnTo>
                <a:lnTo>
                  <a:pt x="9089792" y="722016"/>
                </a:lnTo>
                <a:close/>
                <a:moveTo>
                  <a:pt x="8854496" y="717978"/>
                </a:moveTo>
                <a:lnTo>
                  <a:pt x="8864407" y="717978"/>
                </a:lnTo>
                <a:lnTo>
                  <a:pt x="8868426" y="722016"/>
                </a:lnTo>
                <a:lnTo>
                  <a:pt x="8868426" y="731887"/>
                </a:lnTo>
                <a:lnTo>
                  <a:pt x="8864407" y="735926"/>
                </a:lnTo>
                <a:lnTo>
                  <a:pt x="8854496" y="735926"/>
                </a:lnTo>
                <a:lnTo>
                  <a:pt x="8850477" y="731887"/>
                </a:lnTo>
                <a:lnTo>
                  <a:pt x="8850477" y="722016"/>
                </a:lnTo>
                <a:close/>
                <a:moveTo>
                  <a:pt x="8615184" y="717978"/>
                </a:moveTo>
                <a:lnTo>
                  <a:pt x="8625095" y="717978"/>
                </a:lnTo>
                <a:lnTo>
                  <a:pt x="8629114" y="722016"/>
                </a:lnTo>
                <a:lnTo>
                  <a:pt x="8629114" y="731887"/>
                </a:lnTo>
                <a:lnTo>
                  <a:pt x="8625095" y="735926"/>
                </a:lnTo>
                <a:lnTo>
                  <a:pt x="8615184" y="735926"/>
                </a:lnTo>
                <a:lnTo>
                  <a:pt x="8611165" y="731887"/>
                </a:lnTo>
                <a:lnTo>
                  <a:pt x="8611165" y="722016"/>
                </a:lnTo>
                <a:close/>
                <a:moveTo>
                  <a:pt x="8375869" y="717978"/>
                </a:moveTo>
                <a:lnTo>
                  <a:pt x="8385779" y="717978"/>
                </a:lnTo>
                <a:lnTo>
                  <a:pt x="8389799" y="722016"/>
                </a:lnTo>
                <a:lnTo>
                  <a:pt x="8389799" y="731887"/>
                </a:lnTo>
                <a:lnTo>
                  <a:pt x="8385779" y="735926"/>
                </a:lnTo>
                <a:lnTo>
                  <a:pt x="8375869" y="735926"/>
                </a:lnTo>
                <a:lnTo>
                  <a:pt x="8371850" y="731887"/>
                </a:lnTo>
                <a:lnTo>
                  <a:pt x="8371850" y="722016"/>
                </a:lnTo>
                <a:close/>
                <a:moveTo>
                  <a:pt x="1918514" y="717970"/>
                </a:moveTo>
                <a:lnTo>
                  <a:pt x="1928424" y="717970"/>
                </a:lnTo>
                <a:lnTo>
                  <a:pt x="1932444" y="722009"/>
                </a:lnTo>
                <a:lnTo>
                  <a:pt x="1932444" y="731879"/>
                </a:lnTo>
                <a:lnTo>
                  <a:pt x="1928424" y="735918"/>
                </a:lnTo>
                <a:lnTo>
                  <a:pt x="1918514" y="735918"/>
                </a:lnTo>
                <a:lnTo>
                  <a:pt x="1914495" y="731879"/>
                </a:lnTo>
                <a:lnTo>
                  <a:pt x="1914495" y="722009"/>
                </a:lnTo>
                <a:close/>
                <a:moveTo>
                  <a:pt x="2157823" y="717968"/>
                </a:moveTo>
                <a:lnTo>
                  <a:pt x="2167733" y="717968"/>
                </a:lnTo>
                <a:lnTo>
                  <a:pt x="2171753" y="722006"/>
                </a:lnTo>
                <a:lnTo>
                  <a:pt x="2171753" y="731877"/>
                </a:lnTo>
                <a:lnTo>
                  <a:pt x="2167733" y="735916"/>
                </a:lnTo>
                <a:lnTo>
                  <a:pt x="2157823" y="735916"/>
                </a:lnTo>
                <a:lnTo>
                  <a:pt x="2153804" y="731877"/>
                </a:lnTo>
                <a:lnTo>
                  <a:pt x="2153804" y="722006"/>
                </a:lnTo>
                <a:close/>
                <a:moveTo>
                  <a:pt x="9572438" y="717966"/>
                </a:moveTo>
                <a:lnTo>
                  <a:pt x="9582349" y="717966"/>
                </a:lnTo>
                <a:lnTo>
                  <a:pt x="9586368" y="722004"/>
                </a:lnTo>
                <a:lnTo>
                  <a:pt x="9586368" y="731875"/>
                </a:lnTo>
                <a:lnTo>
                  <a:pt x="9582349" y="735914"/>
                </a:lnTo>
                <a:lnTo>
                  <a:pt x="9572438" y="735914"/>
                </a:lnTo>
                <a:lnTo>
                  <a:pt x="9568419" y="731875"/>
                </a:lnTo>
                <a:lnTo>
                  <a:pt x="9568419" y="722004"/>
                </a:lnTo>
                <a:close/>
                <a:moveTo>
                  <a:pt x="243349" y="717939"/>
                </a:moveTo>
                <a:lnTo>
                  <a:pt x="253260" y="717939"/>
                </a:lnTo>
                <a:lnTo>
                  <a:pt x="257279" y="721977"/>
                </a:lnTo>
                <a:lnTo>
                  <a:pt x="257279" y="731847"/>
                </a:lnTo>
                <a:lnTo>
                  <a:pt x="253260" y="735886"/>
                </a:lnTo>
                <a:lnTo>
                  <a:pt x="243349" y="735886"/>
                </a:lnTo>
                <a:lnTo>
                  <a:pt x="239330" y="731847"/>
                </a:lnTo>
                <a:lnTo>
                  <a:pt x="239330" y="721977"/>
                </a:lnTo>
                <a:close/>
                <a:moveTo>
                  <a:pt x="4036" y="717939"/>
                </a:moveTo>
                <a:lnTo>
                  <a:pt x="13947" y="717939"/>
                </a:lnTo>
                <a:lnTo>
                  <a:pt x="17965" y="721978"/>
                </a:lnTo>
                <a:lnTo>
                  <a:pt x="17965" y="731848"/>
                </a:lnTo>
                <a:lnTo>
                  <a:pt x="13947" y="735886"/>
                </a:lnTo>
                <a:lnTo>
                  <a:pt x="4036" y="735886"/>
                </a:lnTo>
                <a:lnTo>
                  <a:pt x="17" y="731848"/>
                </a:lnTo>
                <a:lnTo>
                  <a:pt x="17" y="721978"/>
                </a:lnTo>
                <a:close/>
                <a:moveTo>
                  <a:pt x="721975" y="717939"/>
                </a:moveTo>
                <a:lnTo>
                  <a:pt x="731885" y="717939"/>
                </a:lnTo>
                <a:lnTo>
                  <a:pt x="735904" y="721977"/>
                </a:lnTo>
                <a:lnTo>
                  <a:pt x="735904" y="731847"/>
                </a:lnTo>
                <a:lnTo>
                  <a:pt x="731885" y="735886"/>
                </a:lnTo>
                <a:lnTo>
                  <a:pt x="721975" y="735886"/>
                </a:lnTo>
                <a:lnTo>
                  <a:pt x="717956" y="731847"/>
                </a:lnTo>
                <a:lnTo>
                  <a:pt x="717956" y="721977"/>
                </a:lnTo>
                <a:close/>
                <a:moveTo>
                  <a:pt x="482663" y="717939"/>
                </a:moveTo>
                <a:lnTo>
                  <a:pt x="492573" y="717939"/>
                </a:lnTo>
                <a:lnTo>
                  <a:pt x="496593" y="721977"/>
                </a:lnTo>
                <a:lnTo>
                  <a:pt x="496593" y="731847"/>
                </a:lnTo>
                <a:lnTo>
                  <a:pt x="492573" y="735886"/>
                </a:lnTo>
                <a:lnTo>
                  <a:pt x="482663" y="735886"/>
                </a:lnTo>
                <a:lnTo>
                  <a:pt x="478643" y="731847"/>
                </a:lnTo>
                <a:lnTo>
                  <a:pt x="478643" y="721977"/>
                </a:lnTo>
                <a:close/>
                <a:moveTo>
                  <a:pt x="3350359" y="478760"/>
                </a:moveTo>
                <a:lnTo>
                  <a:pt x="3360268" y="478760"/>
                </a:lnTo>
                <a:lnTo>
                  <a:pt x="3364287" y="482801"/>
                </a:lnTo>
                <a:lnTo>
                  <a:pt x="3364287" y="492670"/>
                </a:lnTo>
                <a:lnTo>
                  <a:pt x="3360268" y="496707"/>
                </a:lnTo>
                <a:lnTo>
                  <a:pt x="3350359" y="496707"/>
                </a:lnTo>
                <a:lnTo>
                  <a:pt x="3346340" y="492670"/>
                </a:lnTo>
                <a:lnTo>
                  <a:pt x="3346340" y="482801"/>
                </a:lnTo>
                <a:close/>
                <a:moveTo>
                  <a:pt x="3111048" y="478760"/>
                </a:moveTo>
                <a:lnTo>
                  <a:pt x="3120959" y="478760"/>
                </a:lnTo>
                <a:lnTo>
                  <a:pt x="3124977" y="482801"/>
                </a:lnTo>
                <a:lnTo>
                  <a:pt x="3124977" y="492670"/>
                </a:lnTo>
                <a:lnTo>
                  <a:pt x="3120959" y="496707"/>
                </a:lnTo>
                <a:lnTo>
                  <a:pt x="3111048" y="496707"/>
                </a:lnTo>
                <a:lnTo>
                  <a:pt x="3107029" y="492670"/>
                </a:lnTo>
                <a:lnTo>
                  <a:pt x="3107029" y="482801"/>
                </a:lnTo>
                <a:close/>
                <a:moveTo>
                  <a:pt x="2871737" y="478760"/>
                </a:moveTo>
                <a:lnTo>
                  <a:pt x="2881646" y="478760"/>
                </a:lnTo>
                <a:lnTo>
                  <a:pt x="2885666" y="482801"/>
                </a:lnTo>
                <a:lnTo>
                  <a:pt x="2885666" y="492670"/>
                </a:lnTo>
                <a:lnTo>
                  <a:pt x="2881646" y="496707"/>
                </a:lnTo>
                <a:lnTo>
                  <a:pt x="2871737" y="496707"/>
                </a:lnTo>
                <a:lnTo>
                  <a:pt x="2867717" y="492670"/>
                </a:lnTo>
                <a:lnTo>
                  <a:pt x="2867717" y="482801"/>
                </a:lnTo>
                <a:close/>
                <a:moveTo>
                  <a:pt x="2632423" y="478760"/>
                </a:moveTo>
                <a:lnTo>
                  <a:pt x="2642334" y="478760"/>
                </a:lnTo>
                <a:lnTo>
                  <a:pt x="2646352" y="482801"/>
                </a:lnTo>
                <a:lnTo>
                  <a:pt x="2646352" y="492670"/>
                </a:lnTo>
                <a:lnTo>
                  <a:pt x="2642334" y="496707"/>
                </a:lnTo>
                <a:lnTo>
                  <a:pt x="2632423" y="496707"/>
                </a:lnTo>
                <a:lnTo>
                  <a:pt x="2628404" y="492670"/>
                </a:lnTo>
                <a:lnTo>
                  <a:pt x="2628404" y="482801"/>
                </a:lnTo>
                <a:close/>
                <a:moveTo>
                  <a:pt x="2393104" y="478760"/>
                </a:moveTo>
                <a:lnTo>
                  <a:pt x="2403015" y="478760"/>
                </a:lnTo>
                <a:lnTo>
                  <a:pt x="2407034" y="482801"/>
                </a:lnTo>
                <a:lnTo>
                  <a:pt x="2407034" y="492670"/>
                </a:lnTo>
                <a:lnTo>
                  <a:pt x="2403015" y="496707"/>
                </a:lnTo>
                <a:lnTo>
                  <a:pt x="2393104" y="496707"/>
                </a:lnTo>
                <a:lnTo>
                  <a:pt x="2389087" y="492670"/>
                </a:lnTo>
                <a:lnTo>
                  <a:pt x="2389087" y="482801"/>
                </a:lnTo>
                <a:close/>
                <a:moveTo>
                  <a:pt x="4546929" y="478748"/>
                </a:moveTo>
                <a:lnTo>
                  <a:pt x="4556840" y="478748"/>
                </a:lnTo>
                <a:lnTo>
                  <a:pt x="4560859" y="482789"/>
                </a:lnTo>
                <a:lnTo>
                  <a:pt x="4560859" y="492657"/>
                </a:lnTo>
                <a:lnTo>
                  <a:pt x="4556840" y="496695"/>
                </a:lnTo>
                <a:lnTo>
                  <a:pt x="4546929" y="496695"/>
                </a:lnTo>
                <a:lnTo>
                  <a:pt x="4542910" y="492657"/>
                </a:lnTo>
                <a:lnTo>
                  <a:pt x="4542910" y="482789"/>
                </a:lnTo>
                <a:close/>
                <a:moveTo>
                  <a:pt x="4307612" y="478748"/>
                </a:moveTo>
                <a:lnTo>
                  <a:pt x="4317523" y="478748"/>
                </a:lnTo>
                <a:lnTo>
                  <a:pt x="4321543" y="482789"/>
                </a:lnTo>
                <a:lnTo>
                  <a:pt x="4321543" y="492657"/>
                </a:lnTo>
                <a:lnTo>
                  <a:pt x="4317523" y="496695"/>
                </a:lnTo>
                <a:lnTo>
                  <a:pt x="4307612" y="496695"/>
                </a:lnTo>
                <a:lnTo>
                  <a:pt x="4303595" y="492657"/>
                </a:lnTo>
                <a:lnTo>
                  <a:pt x="4303595" y="482789"/>
                </a:lnTo>
                <a:close/>
                <a:moveTo>
                  <a:pt x="4068297" y="478748"/>
                </a:moveTo>
                <a:lnTo>
                  <a:pt x="4078210" y="478748"/>
                </a:lnTo>
                <a:lnTo>
                  <a:pt x="4082229" y="482789"/>
                </a:lnTo>
                <a:lnTo>
                  <a:pt x="4082229" y="492657"/>
                </a:lnTo>
                <a:lnTo>
                  <a:pt x="4078210" y="496695"/>
                </a:lnTo>
                <a:lnTo>
                  <a:pt x="4068297" y="496695"/>
                </a:lnTo>
                <a:lnTo>
                  <a:pt x="4064278" y="492657"/>
                </a:lnTo>
                <a:lnTo>
                  <a:pt x="4064278" y="482789"/>
                </a:lnTo>
                <a:close/>
                <a:moveTo>
                  <a:pt x="3828990" y="478748"/>
                </a:moveTo>
                <a:lnTo>
                  <a:pt x="3838899" y="478748"/>
                </a:lnTo>
                <a:lnTo>
                  <a:pt x="3842917" y="482789"/>
                </a:lnTo>
                <a:lnTo>
                  <a:pt x="3842917" y="492657"/>
                </a:lnTo>
                <a:lnTo>
                  <a:pt x="3838899" y="496695"/>
                </a:lnTo>
                <a:lnTo>
                  <a:pt x="3828990" y="496695"/>
                </a:lnTo>
                <a:lnTo>
                  <a:pt x="3824971" y="492657"/>
                </a:lnTo>
                <a:lnTo>
                  <a:pt x="3824971" y="482789"/>
                </a:lnTo>
                <a:close/>
                <a:moveTo>
                  <a:pt x="3589676" y="478748"/>
                </a:moveTo>
                <a:lnTo>
                  <a:pt x="3599585" y="478748"/>
                </a:lnTo>
                <a:lnTo>
                  <a:pt x="3603604" y="482789"/>
                </a:lnTo>
                <a:lnTo>
                  <a:pt x="3603604" y="492657"/>
                </a:lnTo>
                <a:lnTo>
                  <a:pt x="3599585" y="496695"/>
                </a:lnTo>
                <a:lnTo>
                  <a:pt x="3589676" y="496695"/>
                </a:lnTo>
                <a:lnTo>
                  <a:pt x="3585657" y="492657"/>
                </a:lnTo>
                <a:lnTo>
                  <a:pt x="3585657" y="482789"/>
                </a:lnTo>
                <a:close/>
                <a:moveTo>
                  <a:pt x="5743412" y="478736"/>
                </a:moveTo>
                <a:lnTo>
                  <a:pt x="5753323" y="478736"/>
                </a:lnTo>
                <a:lnTo>
                  <a:pt x="5757342" y="482776"/>
                </a:lnTo>
                <a:lnTo>
                  <a:pt x="5757342" y="492645"/>
                </a:lnTo>
                <a:lnTo>
                  <a:pt x="5753323" y="496683"/>
                </a:lnTo>
                <a:lnTo>
                  <a:pt x="5743412" y="496683"/>
                </a:lnTo>
                <a:lnTo>
                  <a:pt x="5739393" y="492645"/>
                </a:lnTo>
                <a:lnTo>
                  <a:pt x="5739393" y="482776"/>
                </a:lnTo>
                <a:close/>
                <a:moveTo>
                  <a:pt x="5504099" y="478736"/>
                </a:moveTo>
                <a:lnTo>
                  <a:pt x="5514010" y="478736"/>
                </a:lnTo>
                <a:lnTo>
                  <a:pt x="5518029" y="482776"/>
                </a:lnTo>
                <a:lnTo>
                  <a:pt x="5518029" y="492645"/>
                </a:lnTo>
                <a:lnTo>
                  <a:pt x="5514010" y="496683"/>
                </a:lnTo>
                <a:lnTo>
                  <a:pt x="5504099" y="496683"/>
                </a:lnTo>
                <a:lnTo>
                  <a:pt x="5500080" y="492645"/>
                </a:lnTo>
                <a:lnTo>
                  <a:pt x="5500080" y="482776"/>
                </a:lnTo>
                <a:close/>
                <a:moveTo>
                  <a:pt x="5264784" y="478736"/>
                </a:moveTo>
                <a:lnTo>
                  <a:pt x="5274694" y="478736"/>
                </a:lnTo>
                <a:lnTo>
                  <a:pt x="5278713" y="482776"/>
                </a:lnTo>
                <a:lnTo>
                  <a:pt x="5278713" y="492645"/>
                </a:lnTo>
                <a:lnTo>
                  <a:pt x="5274694" y="496683"/>
                </a:lnTo>
                <a:lnTo>
                  <a:pt x="5264784" y="496683"/>
                </a:lnTo>
                <a:lnTo>
                  <a:pt x="5260765" y="492645"/>
                </a:lnTo>
                <a:lnTo>
                  <a:pt x="5260765" y="482776"/>
                </a:lnTo>
                <a:close/>
                <a:moveTo>
                  <a:pt x="5025470" y="478736"/>
                </a:moveTo>
                <a:lnTo>
                  <a:pt x="5035381" y="478736"/>
                </a:lnTo>
                <a:lnTo>
                  <a:pt x="5039400" y="482776"/>
                </a:lnTo>
                <a:lnTo>
                  <a:pt x="5039400" y="492645"/>
                </a:lnTo>
                <a:lnTo>
                  <a:pt x="5035381" y="496683"/>
                </a:lnTo>
                <a:lnTo>
                  <a:pt x="5025470" y="496683"/>
                </a:lnTo>
                <a:lnTo>
                  <a:pt x="5021451" y="492645"/>
                </a:lnTo>
                <a:lnTo>
                  <a:pt x="5021451" y="482776"/>
                </a:lnTo>
                <a:close/>
                <a:moveTo>
                  <a:pt x="4786241" y="478736"/>
                </a:moveTo>
                <a:lnTo>
                  <a:pt x="4796152" y="478736"/>
                </a:lnTo>
                <a:lnTo>
                  <a:pt x="4800171" y="482776"/>
                </a:lnTo>
                <a:lnTo>
                  <a:pt x="4800171" y="492645"/>
                </a:lnTo>
                <a:lnTo>
                  <a:pt x="4796152" y="496683"/>
                </a:lnTo>
                <a:lnTo>
                  <a:pt x="4786241" y="496683"/>
                </a:lnTo>
                <a:lnTo>
                  <a:pt x="4782224" y="492645"/>
                </a:lnTo>
                <a:lnTo>
                  <a:pt x="4782224" y="482776"/>
                </a:lnTo>
                <a:close/>
                <a:moveTo>
                  <a:pt x="6939983" y="478724"/>
                </a:moveTo>
                <a:lnTo>
                  <a:pt x="6949894" y="478724"/>
                </a:lnTo>
                <a:lnTo>
                  <a:pt x="6953913" y="482764"/>
                </a:lnTo>
                <a:lnTo>
                  <a:pt x="6953913" y="492633"/>
                </a:lnTo>
                <a:lnTo>
                  <a:pt x="6949894" y="496671"/>
                </a:lnTo>
                <a:lnTo>
                  <a:pt x="6939983" y="496671"/>
                </a:lnTo>
                <a:lnTo>
                  <a:pt x="6935964" y="492633"/>
                </a:lnTo>
                <a:lnTo>
                  <a:pt x="6935964" y="482764"/>
                </a:lnTo>
                <a:close/>
                <a:moveTo>
                  <a:pt x="6700670" y="478724"/>
                </a:moveTo>
                <a:lnTo>
                  <a:pt x="6710581" y="478724"/>
                </a:lnTo>
                <a:lnTo>
                  <a:pt x="6714600" y="482764"/>
                </a:lnTo>
                <a:lnTo>
                  <a:pt x="6714600" y="492633"/>
                </a:lnTo>
                <a:lnTo>
                  <a:pt x="6710581" y="496671"/>
                </a:lnTo>
                <a:lnTo>
                  <a:pt x="6700670" y="496671"/>
                </a:lnTo>
                <a:lnTo>
                  <a:pt x="6696651" y="492633"/>
                </a:lnTo>
                <a:lnTo>
                  <a:pt x="6696651" y="482764"/>
                </a:lnTo>
                <a:close/>
                <a:moveTo>
                  <a:pt x="6461356" y="478724"/>
                </a:moveTo>
                <a:lnTo>
                  <a:pt x="6471266" y="478724"/>
                </a:lnTo>
                <a:lnTo>
                  <a:pt x="6475285" y="482764"/>
                </a:lnTo>
                <a:lnTo>
                  <a:pt x="6475285" y="492633"/>
                </a:lnTo>
                <a:lnTo>
                  <a:pt x="6471266" y="496671"/>
                </a:lnTo>
                <a:lnTo>
                  <a:pt x="6461356" y="496671"/>
                </a:lnTo>
                <a:lnTo>
                  <a:pt x="6457337" y="492633"/>
                </a:lnTo>
                <a:lnTo>
                  <a:pt x="6457337" y="482764"/>
                </a:lnTo>
                <a:close/>
                <a:moveTo>
                  <a:pt x="6222042" y="478724"/>
                </a:moveTo>
                <a:lnTo>
                  <a:pt x="6231952" y="478724"/>
                </a:lnTo>
                <a:lnTo>
                  <a:pt x="6235971" y="482764"/>
                </a:lnTo>
                <a:lnTo>
                  <a:pt x="6235971" y="492633"/>
                </a:lnTo>
                <a:lnTo>
                  <a:pt x="6231952" y="496671"/>
                </a:lnTo>
                <a:lnTo>
                  <a:pt x="6222042" y="496671"/>
                </a:lnTo>
                <a:lnTo>
                  <a:pt x="6218023" y="492633"/>
                </a:lnTo>
                <a:lnTo>
                  <a:pt x="6218023" y="482764"/>
                </a:lnTo>
                <a:close/>
                <a:moveTo>
                  <a:pt x="5982729" y="478724"/>
                </a:moveTo>
                <a:lnTo>
                  <a:pt x="5992639" y="478724"/>
                </a:lnTo>
                <a:lnTo>
                  <a:pt x="5996658" y="482764"/>
                </a:lnTo>
                <a:lnTo>
                  <a:pt x="5996658" y="492633"/>
                </a:lnTo>
                <a:lnTo>
                  <a:pt x="5992639" y="496671"/>
                </a:lnTo>
                <a:lnTo>
                  <a:pt x="5982729" y="496671"/>
                </a:lnTo>
                <a:lnTo>
                  <a:pt x="5978710" y="492633"/>
                </a:lnTo>
                <a:lnTo>
                  <a:pt x="5978710" y="482764"/>
                </a:lnTo>
                <a:close/>
                <a:moveTo>
                  <a:pt x="7897241" y="478712"/>
                </a:moveTo>
                <a:lnTo>
                  <a:pt x="7907151" y="478712"/>
                </a:lnTo>
                <a:lnTo>
                  <a:pt x="7911170" y="482751"/>
                </a:lnTo>
                <a:lnTo>
                  <a:pt x="7911170" y="492620"/>
                </a:lnTo>
                <a:lnTo>
                  <a:pt x="7907151" y="496658"/>
                </a:lnTo>
                <a:lnTo>
                  <a:pt x="7897241" y="496658"/>
                </a:lnTo>
                <a:lnTo>
                  <a:pt x="7893222" y="492620"/>
                </a:lnTo>
                <a:lnTo>
                  <a:pt x="7893222" y="482751"/>
                </a:lnTo>
                <a:close/>
                <a:moveTo>
                  <a:pt x="7657926" y="478712"/>
                </a:moveTo>
                <a:lnTo>
                  <a:pt x="7667836" y="478712"/>
                </a:lnTo>
                <a:lnTo>
                  <a:pt x="7671855" y="482751"/>
                </a:lnTo>
                <a:lnTo>
                  <a:pt x="7671855" y="492620"/>
                </a:lnTo>
                <a:lnTo>
                  <a:pt x="7667836" y="496659"/>
                </a:lnTo>
                <a:lnTo>
                  <a:pt x="7657926" y="496659"/>
                </a:lnTo>
                <a:lnTo>
                  <a:pt x="7653906" y="492620"/>
                </a:lnTo>
                <a:lnTo>
                  <a:pt x="7653906" y="482751"/>
                </a:lnTo>
                <a:close/>
                <a:moveTo>
                  <a:pt x="7418611" y="478712"/>
                </a:moveTo>
                <a:lnTo>
                  <a:pt x="7428521" y="478712"/>
                </a:lnTo>
                <a:lnTo>
                  <a:pt x="7432540" y="482751"/>
                </a:lnTo>
                <a:lnTo>
                  <a:pt x="7432540" y="492620"/>
                </a:lnTo>
                <a:lnTo>
                  <a:pt x="7428521" y="496659"/>
                </a:lnTo>
                <a:lnTo>
                  <a:pt x="7418611" y="496659"/>
                </a:lnTo>
                <a:lnTo>
                  <a:pt x="7414592" y="492620"/>
                </a:lnTo>
                <a:lnTo>
                  <a:pt x="7414592" y="482751"/>
                </a:lnTo>
                <a:close/>
                <a:moveTo>
                  <a:pt x="7179298" y="478712"/>
                </a:moveTo>
                <a:lnTo>
                  <a:pt x="7189209" y="478712"/>
                </a:lnTo>
                <a:lnTo>
                  <a:pt x="7193228" y="482751"/>
                </a:lnTo>
                <a:lnTo>
                  <a:pt x="7193228" y="492620"/>
                </a:lnTo>
                <a:lnTo>
                  <a:pt x="7189209" y="496659"/>
                </a:lnTo>
                <a:lnTo>
                  <a:pt x="7179298" y="496659"/>
                </a:lnTo>
                <a:lnTo>
                  <a:pt x="7175279" y="492620"/>
                </a:lnTo>
                <a:lnTo>
                  <a:pt x="7175279" y="482751"/>
                </a:lnTo>
                <a:close/>
                <a:moveTo>
                  <a:pt x="8136553" y="478711"/>
                </a:moveTo>
                <a:lnTo>
                  <a:pt x="8146464" y="478711"/>
                </a:lnTo>
                <a:lnTo>
                  <a:pt x="8150483" y="482751"/>
                </a:lnTo>
                <a:lnTo>
                  <a:pt x="8150483" y="492620"/>
                </a:lnTo>
                <a:lnTo>
                  <a:pt x="8146464" y="496658"/>
                </a:lnTo>
                <a:lnTo>
                  <a:pt x="8136553" y="496658"/>
                </a:lnTo>
                <a:lnTo>
                  <a:pt x="8132534" y="492620"/>
                </a:lnTo>
                <a:lnTo>
                  <a:pt x="8132534" y="482751"/>
                </a:lnTo>
                <a:close/>
                <a:moveTo>
                  <a:pt x="9093811" y="478699"/>
                </a:moveTo>
                <a:lnTo>
                  <a:pt x="9103722" y="478699"/>
                </a:lnTo>
                <a:lnTo>
                  <a:pt x="9107741" y="482738"/>
                </a:lnTo>
                <a:lnTo>
                  <a:pt x="9107741" y="492608"/>
                </a:lnTo>
                <a:lnTo>
                  <a:pt x="9103722" y="496646"/>
                </a:lnTo>
                <a:lnTo>
                  <a:pt x="9093811" y="496646"/>
                </a:lnTo>
                <a:lnTo>
                  <a:pt x="9089792" y="492608"/>
                </a:lnTo>
                <a:lnTo>
                  <a:pt x="9089792" y="482738"/>
                </a:lnTo>
                <a:close/>
                <a:moveTo>
                  <a:pt x="8854496" y="478699"/>
                </a:moveTo>
                <a:lnTo>
                  <a:pt x="8864407" y="478699"/>
                </a:lnTo>
                <a:lnTo>
                  <a:pt x="8868426" y="482738"/>
                </a:lnTo>
                <a:lnTo>
                  <a:pt x="8868426" y="492608"/>
                </a:lnTo>
                <a:lnTo>
                  <a:pt x="8864407" y="496647"/>
                </a:lnTo>
                <a:lnTo>
                  <a:pt x="8854496" y="496647"/>
                </a:lnTo>
                <a:lnTo>
                  <a:pt x="8850477" y="492608"/>
                </a:lnTo>
                <a:lnTo>
                  <a:pt x="8850477" y="482738"/>
                </a:lnTo>
                <a:close/>
                <a:moveTo>
                  <a:pt x="8615184" y="478699"/>
                </a:moveTo>
                <a:lnTo>
                  <a:pt x="8625095" y="478699"/>
                </a:lnTo>
                <a:lnTo>
                  <a:pt x="8629114" y="482739"/>
                </a:lnTo>
                <a:lnTo>
                  <a:pt x="8629114" y="492608"/>
                </a:lnTo>
                <a:lnTo>
                  <a:pt x="8625095" y="496647"/>
                </a:lnTo>
                <a:lnTo>
                  <a:pt x="8615184" y="496647"/>
                </a:lnTo>
                <a:lnTo>
                  <a:pt x="8611165" y="492608"/>
                </a:lnTo>
                <a:lnTo>
                  <a:pt x="8611165" y="482739"/>
                </a:lnTo>
                <a:close/>
                <a:moveTo>
                  <a:pt x="8375869" y="478699"/>
                </a:moveTo>
                <a:lnTo>
                  <a:pt x="8385779" y="478699"/>
                </a:lnTo>
                <a:lnTo>
                  <a:pt x="8389799" y="482739"/>
                </a:lnTo>
                <a:lnTo>
                  <a:pt x="8389799" y="492608"/>
                </a:lnTo>
                <a:lnTo>
                  <a:pt x="8385779" y="496647"/>
                </a:lnTo>
                <a:lnTo>
                  <a:pt x="8375869" y="496647"/>
                </a:lnTo>
                <a:lnTo>
                  <a:pt x="8371850" y="492608"/>
                </a:lnTo>
                <a:lnTo>
                  <a:pt x="8371850" y="482739"/>
                </a:lnTo>
                <a:close/>
                <a:moveTo>
                  <a:pt x="9333125" y="478698"/>
                </a:moveTo>
                <a:lnTo>
                  <a:pt x="9343036" y="478698"/>
                </a:lnTo>
                <a:lnTo>
                  <a:pt x="9347055" y="482738"/>
                </a:lnTo>
                <a:lnTo>
                  <a:pt x="9347055" y="492608"/>
                </a:lnTo>
                <a:lnTo>
                  <a:pt x="9343036" y="496646"/>
                </a:lnTo>
                <a:lnTo>
                  <a:pt x="9333125" y="496646"/>
                </a:lnTo>
                <a:lnTo>
                  <a:pt x="9329106" y="492608"/>
                </a:lnTo>
                <a:lnTo>
                  <a:pt x="9329106" y="482738"/>
                </a:lnTo>
                <a:close/>
                <a:moveTo>
                  <a:pt x="9572438" y="478687"/>
                </a:moveTo>
                <a:lnTo>
                  <a:pt x="9582349" y="478687"/>
                </a:lnTo>
                <a:lnTo>
                  <a:pt x="9586368" y="482726"/>
                </a:lnTo>
                <a:lnTo>
                  <a:pt x="9586368" y="492596"/>
                </a:lnTo>
                <a:lnTo>
                  <a:pt x="9582349" y="496634"/>
                </a:lnTo>
                <a:lnTo>
                  <a:pt x="9572438" y="496634"/>
                </a:lnTo>
                <a:lnTo>
                  <a:pt x="9568419" y="492596"/>
                </a:lnTo>
                <a:lnTo>
                  <a:pt x="9568419" y="482726"/>
                </a:lnTo>
                <a:close/>
                <a:moveTo>
                  <a:pt x="721976" y="478660"/>
                </a:moveTo>
                <a:lnTo>
                  <a:pt x="731886" y="478660"/>
                </a:lnTo>
                <a:lnTo>
                  <a:pt x="735905" y="482698"/>
                </a:lnTo>
                <a:lnTo>
                  <a:pt x="735905" y="492569"/>
                </a:lnTo>
                <a:lnTo>
                  <a:pt x="731886" y="496608"/>
                </a:lnTo>
                <a:lnTo>
                  <a:pt x="721976" y="496608"/>
                </a:lnTo>
                <a:lnTo>
                  <a:pt x="717957" y="492569"/>
                </a:lnTo>
                <a:lnTo>
                  <a:pt x="717957" y="482698"/>
                </a:lnTo>
                <a:close/>
                <a:moveTo>
                  <a:pt x="482664" y="478660"/>
                </a:moveTo>
                <a:lnTo>
                  <a:pt x="492574" y="478660"/>
                </a:lnTo>
                <a:lnTo>
                  <a:pt x="496593" y="482698"/>
                </a:lnTo>
                <a:lnTo>
                  <a:pt x="496593" y="492569"/>
                </a:lnTo>
                <a:lnTo>
                  <a:pt x="492574" y="496608"/>
                </a:lnTo>
                <a:lnTo>
                  <a:pt x="482664" y="496608"/>
                </a:lnTo>
                <a:lnTo>
                  <a:pt x="478645" y="492569"/>
                </a:lnTo>
                <a:lnTo>
                  <a:pt x="478645" y="482698"/>
                </a:lnTo>
                <a:close/>
                <a:moveTo>
                  <a:pt x="243350" y="478660"/>
                </a:moveTo>
                <a:lnTo>
                  <a:pt x="253260" y="478660"/>
                </a:lnTo>
                <a:lnTo>
                  <a:pt x="257279" y="482698"/>
                </a:lnTo>
                <a:lnTo>
                  <a:pt x="257279" y="492569"/>
                </a:lnTo>
                <a:lnTo>
                  <a:pt x="253260" y="496608"/>
                </a:lnTo>
                <a:lnTo>
                  <a:pt x="243350" y="496608"/>
                </a:lnTo>
                <a:lnTo>
                  <a:pt x="239331" y="492569"/>
                </a:lnTo>
                <a:lnTo>
                  <a:pt x="239331" y="482698"/>
                </a:lnTo>
                <a:close/>
                <a:moveTo>
                  <a:pt x="4037" y="478660"/>
                </a:moveTo>
                <a:lnTo>
                  <a:pt x="13947" y="478660"/>
                </a:lnTo>
                <a:lnTo>
                  <a:pt x="17966" y="482698"/>
                </a:lnTo>
                <a:lnTo>
                  <a:pt x="17966" y="492569"/>
                </a:lnTo>
                <a:lnTo>
                  <a:pt x="13947" y="496608"/>
                </a:lnTo>
                <a:lnTo>
                  <a:pt x="4037" y="496608"/>
                </a:lnTo>
                <a:lnTo>
                  <a:pt x="18" y="492569"/>
                </a:lnTo>
                <a:lnTo>
                  <a:pt x="18" y="482698"/>
                </a:lnTo>
                <a:close/>
                <a:moveTo>
                  <a:pt x="1679220" y="478650"/>
                </a:moveTo>
                <a:lnTo>
                  <a:pt x="1689130" y="478650"/>
                </a:lnTo>
                <a:lnTo>
                  <a:pt x="1693149" y="482688"/>
                </a:lnTo>
                <a:lnTo>
                  <a:pt x="1693149" y="492559"/>
                </a:lnTo>
                <a:lnTo>
                  <a:pt x="1689130" y="496598"/>
                </a:lnTo>
                <a:lnTo>
                  <a:pt x="1679220" y="496598"/>
                </a:lnTo>
                <a:lnTo>
                  <a:pt x="1675200" y="492559"/>
                </a:lnTo>
                <a:lnTo>
                  <a:pt x="1675200" y="482688"/>
                </a:lnTo>
                <a:close/>
                <a:moveTo>
                  <a:pt x="1439902" y="478650"/>
                </a:moveTo>
                <a:lnTo>
                  <a:pt x="1449812" y="478650"/>
                </a:lnTo>
                <a:lnTo>
                  <a:pt x="1453831" y="482688"/>
                </a:lnTo>
                <a:lnTo>
                  <a:pt x="1453831" y="492559"/>
                </a:lnTo>
                <a:lnTo>
                  <a:pt x="1449812" y="496598"/>
                </a:lnTo>
                <a:lnTo>
                  <a:pt x="1439902" y="496598"/>
                </a:lnTo>
                <a:lnTo>
                  <a:pt x="1435883" y="492559"/>
                </a:lnTo>
                <a:lnTo>
                  <a:pt x="1435883" y="482688"/>
                </a:lnTo>
                <a:close/>
                <a:moveTo>
                  <a:pt x="1200585" y="478650"/>
                </a:moveTo>
                <a:lnTo>
                  <a:pt x="1210496" y="478650"/>
                </a:lnTo>
                <a:lnTo>
                  <a:pt x="1214515" y="482689"/>
                </a:lnTo>
                <a:lnTo>
                  <a:pt x="1214515" y="492559"/>
                </a:lnTo>
                <a:lnTo>
                  <a:pt x="1210496" y="496598"/>
                </a:lnTo>
                <a:lnTo>
                  <a:pt x="1200585" y="496598"/>
                </a:lnTo>
                <a:lnTo>
                  <a:pt x="1196567" y="492559"/>
                </a:lnTo>
                <a:lnTo>
                  <a:pt x="1196567" y="482689"/>
                </a:lnTo>
                <a:close/>
                <a:moveTo>
                  <a:pt x="961273" y="478650"/>
                </a:moveTo>
                <a:lnTo>
                  <a:pt x="971183" y="478650"/>
                </a:lnTo>
                <a:lnTo>
                  <a:pt x="975202" y="482689"/>
                </a:lnTo>
                <a:lnTo>
                  <a:pt x="975202" y="492559"/>
                </a:lnTo>
                <a:lnTo>
                  <a:pt x="971183" y="496598"/>
                </a:lnTo>
                <a:lnTo>
                  <a:pt x="961273" y="496598"/>
                </a:lnTo>
                <a:lnTo>
                  <a:pt x="957254" y="492559"/>
                </a:lnTo>
                <a:lnTo>
                  <a:pt x="957254" y="482689"/>
                </a:lnTo>
                <a:close/>
                <a:moveTo>
                  <a:pt x="1918515" y="478641"/>
                </a:moveTo>
                <a:lnTo>
                  <a:pt x="1928425" y="478641"/>
                </a:lnTo>
                <a:lnTo>
                  <a:pt x="1932444" y="482679"/>
                </a:lnTo>
                <a:lnTo>
                  <a:pt x="1932444" y="492550"/>
                </a:lnTo>
                <a:lnTo>
                  <a:pt x="1928425" y="496589"/>
                </a:lnTo>
                <a:lnTo>
                  <a:pt x="1918515" y="496589"/>
                </a:lnTo>
                <a:lnTo>
                  <a:pt x="1914495" y="492550"/>
                </a:lnTo>
                <a:lnTo>
                  <a:pt x="1914495" y="482679"/>
                </a:lnTo>
                <a:close/>
                <a:moveTo>
                  <a:pt x="2157823" y="478638"/>
                </a:moveTo>
                <a:lnTo>
                  <a:pt x="2167734" y="478638"/>
                </a:lnTo>
                <a:lnTo>
                  <a:pt x="2171753" y="482677"/>
                </a:lnTo>
                <a:lnTo>
                  <a:pt x="2171753" y="492548"/>
                </a:lnTo>
                <a:lnTo>
                  <a:pt x="2167734" y="496587"/>
                </a:lnTo>
                <a:lnTo>
                  <a:pt x="2157823" y="496587"/>
                </a:lnTo>
                <a:lnTo>
                  <a:pt x="2153804" y="492548"/>
                </a:lnTo>
                <a:lnTo>
                  <a:pt x="2153804" y="482677"/>
                </a:lnTo>
                <a:close/>
                <a:moveTo>
                  <a:pt x="2632423" y="239432"/>
                </a:moveTo>
                <a:lnTo>
                  <a:pt x="2642334" y="239432"/>
                </a:lnTo>
                <a:lnTo>
                  <a:pt x="2646352" y="243470"/>
                </a:lnTo>
                <a:lnTo>
                  <a:pt x="2646352" y="253341"/>
                </a:lnTo>
                <a:lnTo>
                  <a:pt x="2642334" y="257380"/>
                </a:lnTo>
                <a:lnTo>
                  <a:pt x="2632423" y="257380"/>
                </a:lnTo>
                <a:lnTo>
                  <a:pt x="2628404" y="253341"/>
                </a:lnTo>
                <a:lnTo>
                  <a:pt x="2628404" y="243470"/>
                </a:lnTo>
                <a:close/>
                <a:moveTo>
                  <a:pt x="2393104" y="239432"/>
                </a:moveTo>
                <a:lnTo>
                  <a:pt x="2403015" y="239432"/>
                </a:lnTo>
                <a:lnTo>
                  <a:pt x="2407034" y="243470"/>
                </a:lnTo>
                <a:lnTo>
                  <a:pt x="2407034" y="253341"/>
                </a:lnTo>
                <a:lnTo>
                  <a:pt x="2403015" y="257380"/>
                </a:lnTo>
                <a:lnTo>
                  <a:pt x="2393104" y="257380"/>
                </a:lnTo>
                <a:lnTo>
                  <a:pt x="2389087" y="253341"/>
                </a:lnTo>
                <a:lnTo>
                  <a:pt x="2389087" y="243470"/>
                </a:lnTo>
                <a:close/>
                <a:moveTo>
                  <a:pt x="3350359" y="239432"/>
                </a:moveTo>
                <a:lnTo>
                  <a:pt x="3360268" y="239432"/>
                </a:lnTo>
                <a:lnTo>
                  <a:pt x="3364287" y="243470"/>
                </a:lnTo>
                <a:lnTo>
                  <a:pt x="3364287" y="253341"/>
                </a:lnTo>
                <a:lnTo>
                  <a:pt x="3360268" y="257380"/>
                </a:lnTo>
                <a:lnTo>
                  <a:pt x="3350359" y="257380"/>
                </a:lnTo>
                <a:lnTo>
                  <a:pt x="3346340" y="253341"/>
                </a:lnTo>
                <a:lnTo>
                  <a:pt x="3346340" y="243470"/>
                </a:lnTo>
                <a:close/>
                <a:moveTo>
                  <a:pt x="3111048" y="239432"/>
                </a:moveTo>
                <a:lnTo>
                  <a:pt x="3120959" y="239432"/>
                </a:lnTo>
                <a:lnTo>
                  <a:pt x="3124977" y="243470"/>
                </a:lnTo>
                <a:lnTo>
                  <a:pt x="3124977" y="253341"/>
                </a:lnTo>
                <a:lnTo>
                  <a:pt x="3120959" y="257380"/>
                </a:lnTo>
                <a:lnTo>
                  <a:pt x="3111048" y="257380"/>
                </a:lnTo>
                <a:lnTo>
                  <a:pt x="3107029" y="253341"/>
                </a:lnTo>
                <a:lnTo>
                  <a:pt x="3107029" y="243470"/>
                </a:lnTo>
                <a:close/>
                <a:moveTo>
                  <a:pt x="2871737" y="239432"/>
                </a:moveTo>
                <a:lnTo>
                  <a:pt x="2881646" y="239432"/>
                </a:lnTo>
                <a:lnTo>
                  <a:pt x="2885666" y="243470"/>
                </a:lnTo>
                <a:lnTo>
                  <a:pt x="2885666" y="253341"/>
                </a:lnTo>
                <a:lnTo>
                  <a:pt x="2881646" y="257380"/>
                </a:lnTo>
                <a:lnTo>
                  <a:pt x="2871737" y="257380"/>
                </a:lnTo>
                <a:lnTo>
                  <a:pt x="2867717" y="253341"/>
                </a:lnTo>
                <a:lnTo>
                  <a:pt x="2867717" y="243470"/>
                </a:lnTo>
                <a:close/>
                <a:moveTo>
                  <a:pt x="3828990" y="239420"/>
                </a:moveTo>
                <a:lnTo>
                  <a:pt x="3838899" y="239420"/>
                </a:lnTo>
                <a:lnTo>
                  <a:pt x="3842917" y="243457"/>
                </a:lnTo>
                <a:lnTo>
                  <a:pt x="3842917" y="253328"/>
                </a:lnTo>
                <a:lnTo>
                  <a:pt x="3838899" y="257367"/>
                </a:lnTo>
                <a:lnTo>
                  <a:pt x="3828990" y="257367"/>
                </a:lnTo>
                <a:lnTo>
                  <a:pt x="3824971" y="253328"/>
                </a:lnTo>
                <a:lnTo>
                  <a:pt x="3824971" y="243457"/>
                </a:lnTo>
                <a:close/>
                <a:moveTo>
                  <a:pt x="3589676" y="239420"/>
                </a:moveTo>
                <a:lnTo>
                  <a:pt x="3599585" y="239420"/>
                </a:lnTo>
                <a:lnTo>
                  <a:pt x="3603604" y="243457"/>
                </a:lnTo>
                <a:lnTo>
                  <a:pt x="3603604" y="253328"/>
                </a:lnTo>
                <a:lnTo>
                  <a:pt x="3599585" y="257367"/>
                </a:lnTo>
                <a:lnTo>
                  <a:pt x="3589676" y="257367"/>
                </a:lnTo>
                <a:lnTo>
                  <a:pt x="3585657" y="253328"/>
                </a:lnTo>
                <a:lnTo>
                  <a:pt x="3585657" y="243457"/>
                </a:lnTo>
                <a:close/>
                <a:moveTo>
                  <a:pt x="4546929" y="239419"/>
                </a:moveTo>
                <a:lnTo>
                  <a:pt x="4556840" y="239419"/>
                </a:lnTo>
                <a:lnTo>
                  <a:pt x="4560859" y="243457"/>
                </a:lnTo>
                <a:lnTo>
                  <a:pt x="4560859" y="253328"/>
                </a:lnTo>
                <a:lnTo>
                  <a:pt x="4556840" y="257367"/>
                </a:lnTo>
                <a:lnTo>
                  <a:pt x="4546929" y="257367"/>
                </a:lnTo>
                <a:lnTo>
                  <a:pt x="4542910" y="253328"/>
                </a:lnTo>
                <a:lnTo>
                  <a:pt x="4542910" y="243457"/>
                </a:lnTo>
                <a:close/>
                <a:moveTo>
                  <a:pt x="4307612" y="239419"/>
                </a:moveTo>
                <a:lnTo>
                  <a:pt x="4317523" y="239419"/>
                </a:lnTo>
                <a:lnTo>
                  <a:pt x="4321543" y="243457"/>
                </a:lnTo>
                <a:lnTo>
                  <a:pt x="4321543" y="253328"/>
                </a:lnTo>
                <a:lnTo>
                  <a:pt x="4317523" y="257367"/>
                </a:lnTo>
                <a:lnTo>
                  <a:pt x="4307612" y="257367"/>
                </a:lnTo>
                <a:lnTo>
                  <a:pt x="4303595" y="253328"/>
                </a:lnTo>
                <a:lnTo>
                  <a:pt x="4303595" y="243457"/>
                </a:lnTo>
                <a:close/>
                <a:moveTo>
                  <a:pt x="4068297" y="239419"/>
                </a:moveTo>
                <a:lnTo>
                  <a:pt x="4078210" y="239419"/>
                </a:lnTo>
                <a:lnTo>
                  <a:pt x="4082229" y="243457"/>
                </a:lnTo>
                <a:lnTo>
                  <a:pt x="4082229" y="253328"/>
                </a:lnTo>
                <a:lnTo>
                  <a:pt x="4078210" y="257367"/>
                </a:lnTo>
                <a:lnTo>
                  <a:pt x="4068297" y="257367"/>
                </a:lnTo>
                <a:lnTo>
                  <a:pt x="4064278" y="253328"/>
                </a:lnTo>
                <a:lnTo>
                  <a:pt x="4064278" y="243457"/>
                </a:lnTo>
                <a:close/>
                <a:moveTo>
                  <a:pt x="5025470" y="239407"/>
                </a:moveTo>
                <a:lnTo>
                  <a:pt x="5035381" y="239407"/>
                </a:lnTo>
                <a:lnTo>
                  <a:pt x="5039400" y="243445"/>
                </a:lnTo>
                <a:lnTo>
                  <a:pt x="5039400" y="253316"/>
                </a:lnTo>
                <a:lnTo>
                  <a:pt x="5035381" y="257355"/>
                </a:lnTo>
                <a:lnTo>
                  <a:pt x="5025470" y="257355"/>
                </a:lnTo>
                <a:lnTo>
                  <a:pt x="5021451" y="253316"/>
                </a:lnTo>
                <a:lnTo>
                  <a:pt x="5021451" y="243445"/>
                </a:lnTo>
                <a:close/>
                <a:moveTo>
                  <a:pt x="4786241" y="239407"/>
                </a:moveTo>
                <a:lnTo>
                  <a:pt x="4796152" y="239407"/>
                </a:lnTo>
                <a:lnTo>
                  <a:pt x="4800171" y="243445"/>
                </a:lnTo>
                <a:lnTo>
                  <a:pt x="4800171" y="253316"/>
                </a:lnTo>
                <a:lnTo>
                  <a:pt x="4796152" y="257355"/>
                </a:lnTo>
                <a:lnTo>
                  <a:pt x="4786241" y="257355"/>
                </a:lnTo>
                <a:lnTo>
                  <a:pt x="4782224" y="253316"/>
                </a:lnTo>
                <a:lnTo>
                  <a:pt x="4782224" y="243445"/>
                </a:lnTo>
                <a:close/>
                <a:moveTo>
                  <a:pt x="5743412" y="239407"/>
                </a:moveTo>
                <a:lnTo>
                  <a:pt x="5753323" y="239407"/>
                </a:lnTo>
                <a:lnTo>
                  <a:pt x="5757342" y="243445"/>
                </a:lnTo>
                <a:lnTo>
                  <a:pt x="5757342" y="253316"/>
                </a:lnTo>
                <a:lnTo>
                  <a:pt x="5753323" y="257355"/>
                </a:lnTo>
                <a:lnTo>
                  <a:pt x="5743412" y="257355"/>
                </a:lnTo>
                <a:lnTo>
                  <a:pt x="5739393" y="253316"/>
                </a:lnTo>
                <a:lnTo>
                  <a:pt x="5739393" y="243445"/>
                </a:lnTo>
                <a:close/>
                <a:moveTo>
                  <a:pt x="5504099" y="239407"/>
                </a:moveTo>
                <a:lnTo>
                  <a:pt x="5514010" y="239407"/>
                </a:lnTo>
                <a:lnTo>
                  <a:pt x="5518029" y="243445"/>
                </a:lnTo>
                <a:lnTo>
                  <a:pt x="5518029" y="253316"/>
                </a:lnTo>
                <a:lnTo>
                  <a:pt x="5514010" y="257355"/>
                </a:lnTo>
                <a:lnTo>
                  <a:pt x="5504099" y="257355"/>
                </a:lnTo>
                <a:lnTo>
                  <a:pt x="5500080" y="253316"/>
                </a:lnTo>
                <a:lnTo>
                  <a:pt x="5500080" y="243445"/>
                </a:lnTo>
                <a:close/>
                <a:moveTo>
                  <a:pt x="5264784" y="239407"/>
                </a:moveTo>
                <a:lnTo>
                  <a:pt x="5274694" y="239407"/>
                </a:lnTo>
                <a:lnTo>
                  <a:pt x="5278713" y="243445"/>
                </a:lnTo>
                <a:lnTo>
                  <a:pt x="5278713" y="253316"/>
                </a:lnTo>
                <a:lnTo>
                  <a:pt x="5274694" y="257355"/>
                </a:lnTo>
                <a:lnTo>
                  <a:pt x="5264784" y="257355"/>
                </a:lnTo>
                <a:lnTo>
                  <a:pt x="5260765" y="253316"/>
                </a:lnTo>
                <a:lnTo>
                  <a:pt x="5260765" y="243445"/>
                </a:lnTo>
                <a:close/>
                <a:moveTo>
                  <a:pt x="6222042" y="239395"/>
                </a:moveTo>
                <a:lnTo>
                  <a:pt x="6231952" y="239395"/>
                </a:lnTo>
                <a:lnTo>
                  <a:pt x="6235971" y="243432"/>
                </a:lnTo>
                <a:lnTo>
                  <a:pt x="6235971" y="253303"/>
                </a:lnTo>
                <a:lnTo>
                  <a:pt x="6231952" y="257342"/>
                </a:lnTo>
                <a:lnTo>
                  <a:pt x="6222042" y="257342"/>
                </a:lnTo>
                <a:lnTo>
                  <a:pt x="6218023" y="253303"/>
                </a:lnTo>
                <a:lnTo>
                  <a:pt x="6218023" y="243432"/>
                </a:lnTo>
                <a:close/>
                <a:moveTo>
                  <a:pt x="5982729" y="239395"/>
                </a:moveTo>
                <a:lnTo>
                  <a:pt x="5992639" y="239395"/>
                </a:lnTo>
                <a:lnTo>
                  <a:pt x="5996658" y="243433"/>
                </a:lnTo>
                <a:lnTo>
                  <a:pt x="5996658" y="253303"/>
                </a:lnTo>
                <a:lnTo>
                  <a:pt x="5992639" y="257342"/>
                </a:lnTo>
                <a:lnTo>
                  <a:pt x="5982729" y="257342"/>
                </a:lnTo>
                <a:lnTo>
                  <a:pt x="5978710" y="253303"/>
                </a:lnTo>
                <a:lnTo>
                  <a:pt x="5978710" y="243433"/>
                </a:lnTo>
                <a:close/>
                <a:moveTo>
                  <a:pt x="6939983" y="239394"/>
                </a:moveTo>
                <a:lnTo>
                  <a:pt x="6949894" y="239394"/>
                </a:lnTo>
                <a:lnTo>
                  <a:pt x="6953913" y="243432"/>
                </a:lnTo>
                <a:lnTo>
                  <a:pt x="6953913" y="253303"/>
                </a:lnTo>
                <a:lnTo>
                  <a:pt x="6949894" y="257342"/>
                </a:lnTo>
                <a:lnTo>
                  <a:pt x="6939983" y="257342"/>
                </a:lnTo>
                <a:lnTo>
                  <a:pt x="6935964" y="253303"/>
                </a:lnTo>
                <a:lnTo>
                  <a:pt x="6935964" y="243432"/>
                </a:lnTo>
                <a:close/>
                <a:moveTo>
                  <a:pt x="6700670" y="239394"/>
                </a:moveTo>
                <a:lnTo>
                  <a:pt x="6710581" y="239394"/>
                </a:lnTo>
                <a:lnTo>
                  <a:pt x="6714600" y="243432"/>
                </a:lnTo>
                <a:lnTo>
                  <a:pt x="6714600" y="253303"/>
                </a:lnTo>
                <a:lnTo>
                  <a:pt x="6710581" y="257342"/>
                </a:lnTo>
                <a:lnTo>
                  <a:pt x="6700670" y="257342"/>
                </a:lnTo>
                <a:lnTo>
                  <a:pt x="6696651" y="253303"/>
                </a:lnTo>
                <a:lnTo>
                  <a:pt x="6696651" y="243432"/>
                </a:lnTo>
                <a:close/>
                <a:moveTo>
                  <a:pt x="6461356" y="239394"/>
                </a:moveTo>
                <a:lnTo>
                  <a:pt x="6471266" y="239394"/>
                </a:lnTo>
                <a:lnTo>
                  <a:pt x="6475285" y="243432"/>
                </a:lnTo>
                <a:lnTo>
                  <a:pt x="6475285" y="253303"/>
                </a:lnTo>
                <a:lnTo>
                  <a:pt x="6471266" y="257342"/>
                </a:lnTo>
                <a:lnTo>
                  <a:pt x="6461356" y="257342"/>
                </a:lnTo>
                <a:lnTo>
                  <a:pt x="6457337" y="253303"/>
                </a:lnTo>
                <a:lnTo>
                  <a:pt x="6457337" y="243432"/>
                </a:lnTo>
                <a:close/>
                <a:moveTo>
                  <a:pt x="7418611" y="239382"/>
                </a:moveTo>
                <a:lnTo>
                  <a:pt x="7428521" y="239382"/>
                </a:lnTo>
                <a:lnTo>
                  <a:pt x="7432540" y="243420"/>
                </a:lnTo>
                <a:lnTo>
                  <a:pt x="7432540" y="253291"/>
                </a:lnTo>
                <a:lnTo>
                  <a:pt x="7428521" y="257330"/>
                </a:lnTo>
                <a:lnTo>
                  <a:pt x="7418611" y="257330"/>
                </a:lnTo>
                <a:lnTo>
                  <a:pt x="7414592" y="253291"/>
                </a:lnTo>
                <a:lnTo>
                  <a:pt x="7414592" y="243420"/>
                </a:lnTo>
                <a:close/>
                <a:moveTo>
                  <a:pt x="7179298" y="239382"/>
                </a:moveTo>
                <a:lnTo>
                  <a:pt x="7189209" y="239382"/>
                </a:lnTo>
                <a:lnTo>
                  <a:pt x="7193228" y="243421"/>
                </a:lnTo>
                <a:lnTo>
                  <a:pt x="7193228" y="253292"/>
                </a:lnTo>
                <a:lnTo>
                  <a:pt x="7189209" y="257330"/>
                </a:lnTo>
                <a:lnTo>
                  <a:pt x="7179298" y="257330"/>
                </a:lnTo>
                <a:lnTo>
                  <a:pt x="7175279" y="253292"/>
                </a:lnTo>
                <a:lnTo>
                  <a:pt x="7175279" y="243421"/>
                </a:lnTo>
                <a:close/>
                <a:moveTo>
                  <a:pt x="8136553" y="239382"/>
                </a:moveTo>
                <a:lnTo>
                  <a:pt x="8146464" y="239382"/>
                </a:lnTo>
                <a:lnTo>
                  <a:pt x="8150483" y="243420"/>
                </a:lnTo>
                <a:lnTo>
                  <a:pt x="8150483" y="253291"/>
                </a:lnTo>
                <a:lnTo>
                  <a:pt x="8146464" y="257330"/>
                </a:lnTo>
                <a:lnTo>
                  <a:pt x="8136553" y="257330"/>
                </a:lnTo>
                <a:lnTo>
                  <a:pt x="8132534" y="253291"/>
                </a:lnTo>
                <a:lnTo>
                  <a:pt x="8132534" y="243420"/>
                </a:lnTo>
                <a:close/>
                <a:moveTo>
                  <a:pt x="7897241" y="239382"/>
                </a:moveTo>
                <a:lnTo>
                  <a:pt x="7907151" y="239382"/>
                </a:lnTo>
                <a:lnTo>
                  <a:pt x="7911170" y="243420"/>
                </a:lnTo>
                <a:lnTo>
                  <a:pt x="7911170" y="253291"/>
                </a:lnTo>
                <a:lnTo>
                  <a:pt x="7907151" y="257330"/>
                </a:lnTo>
                <a:lnTo>
                  <a:pt x="7897241" y="257330"/>
                </a:lnTo>
                <a:lnTo>
                  <a:pt x="7893222" y="253291"/>
                </a:lnTo>
                <a:lnTo>
                  <a:pt x="7893222" y="243420"/>
                </a:lnTo>
                <a:close/>
                <a:moveTo>
                  <a:pt x="7657926" y="239382"/>
                </a:moveTo>
                <a:lnTo>
                  <a:pt x="7667836" y="239382"/>
                </a:lnTo>
                <a:lnTo>
                  <a:pt x="7671855" y="243420"/>
                </a:lnTo>
                <a:lnTo>
                  <a:pt x="7671855" y="253291"/>
                </a:lnTo>
                <a:lnTo>
                  <a:pt x="7667836" y="257330"/>
                </a:lnTo>
                <a:lnTo>
                  <a:pt x="7657926" y="257330"/>
                </a:lnTo>
                <a:lnTo>
                  <a:pt x="7653906" y="253291"/>
                </a:lnTo>
                <a:lnTo>
                  <a:pt x="7653906" y="243420"/>
                </a:lnTo>
                <a:close/>
                <a:moveTo>
                  <a:pt x="1679220" y="239371"/>
                </a:moveTo>
                <a:lnTo>
                  <a:pt x="1689131" y="239371"/>
                </a:lnTo>
                <a:lnTo>
                  <a:pt x="1693150" y="243409"/>
                </a:lnTo>
                <a:lnTo>
                  <a:pt x="1693150" y="253280"/>
                </a:lnTo>
                <a:lnTo>
                  <a:pt x="1689131" y="257319"/>
                </a:lnTo>
                <a:lnTo>
                  <a:pt x="1679220" y="257319"/>
                </a:lnTo>
                <a:lnTo>
                  <a:pt x="1675202" y="253280"/>
                </a:lnTo>
                <a:lnTo>
                  <a:pt x="1675202" y="243409"/>
                </a:lnTo>
                <a:close/>
                <a:moveTo>
                  <a:pt x="1439902" y="239371"/>
                </a:moveTo>
                <a:lnTo>
                  <a:pt x="1449813" y="239371"/>
                </a:lnTo>
                <a:lnTo>
                  <a:pt x="1453832" y="243409"/>
                </a:lnTo>
                <a:lnTo>
                  <a:pt x="1453832" y="253280"/>
                </a:lnTo>
                <a:lnTo>
                  <a:pt x="1449813" y="257319"/>
                </a:lnTo>
                <a:lnTo>
                  <a:pt x="1439902" y="257319"/>
                </a:lnTo>
                <a:lnTo>
                  <a:pt x="1435884" y="253280"/>
                </a:lnTo>
                <a:lnTo>
                  <a:pt x="1435884" y="243409"/>
                </a:lnTo>
                <a:close/>
                <a:moveTo>
                  <a:pt x="1200587" y="239371"/>
                </a:moveTo>
                <a:lnTo>
                  <a:pt x="1210496" y="239371"/>
                </a:lnTo>
                <a:lnTo>
                  <a:pt x="1214515" y="243409"/>
                </a:lnTo>
                <a:lnTo>
                  <a:pt x="1214515" y="253280"/>
                </a:lnTo>
                <a:lnTo>
                  <a:pt x="1210496" y="257319"/>
                </a:lnTo>
                <a:lnTo>
                  <a:pt x="1200587" y="257319"/>
                </a:lnTo>
                <a:lnTo>
                  <a:pt x="1196567" y="253280"/>
                </a:lnTo>
                <a:lnTo>
                  <a:pt x="1196567" y="243409"/>
                </a:lnTo>
                <a:close/>
                <a:moveTo>
                  <a:pt x="961273" y="239371"/>
                </a:moveTo>
                <a:lnTo>
                  <a:pt x="971184" y="239371"/>
                </a:lnTo>
                <a:lnTo>
                  <a:pt x="975203" y="243409"/>
                </a:lnTo>
                <a:lnTo>
                  <a:pt x="975203" y="253280"/>
                </a:lnTo>
                <a:lnTo>
                  <a:pt x="971184" y="257319"/>
                </a:lnTo>
                <a:lnTo>
                  <a:pt x="961273" y="257319"/>
                </a:lnTo>
                <a:lnTo>
                  <a:pt x="957255" y="253280"/>
                </a:lnTo>
                <a:lnTo>
                  <a:pt x="957255" y="243409"/>
                </a:lnTo>
                <a:close/>
                <a:moveTo>
                  <a:pt x="8615184" y="239370"/>
                </a:moveTo>
                <a:lnTo>
                  <a:pt x="8625095" y="239370"/>
                </a:lnTo>
                <a:lnTo>
                  <a:pt x="8629114" y="243408"/>
                </a:lnTo>
                <a:lnTo>
                  <a:pt x="8629114" y="253278"/>
                </a:lnTo>
                <a:lnTo>
                  <a:pt x="8625095" y="257317"/>
                </a:lnTo>
                <a:lnTo>
                  <a:pt x="8615184" y="257317"/>
                </a:lnTo>
                <a:lnTo>
                  <a:pt x="8611165" y="253278"/>
                </a:lnTo>
                <a:lnTo>
                  <a:pt x="8611165" y="243408"/>
                </a:lnTo>
                <a:close/>
                <a:moveTo>
                  <a:pt x="8375869" y="239370"/>
                </a:moveTo>
                <a:lnTo>
                  <a:pt x="8385779" y="239370"/>
                </a:lnTo>
                <a:lnTo>
                  <a:pt x="8389799" y="243408"/>
                </a:lnTo>
                <a:lnTo>
                  <a:pt x="8389799" y="253279"/>
                </a:lnTo>
                <a:lnTo>
                  <a:pt x="8385779" y="257318"/>
                </a:lnTo>
                <a:lnTo>
                  <a:pt x="8375869" y="257318"/>
                </a:lnTo>
                <a:lnTo>
                  <a:pt x="8371850" y="253279"/>
                </a:lnTo>
                <a:lnTo>
                  <a:pt x="8371850" y="243408"/>
                </a:lnTo>
                <a:close/>
                <a:moveTo>
                  <a:pt x="9333125" y="239369"/>
                </a:moveTo>
                <a:lnTo>
                  <a:pt x="9343036" y="239369"/>
                </a:lnTo>
                <a:lnTo>
                  <a:pt x="9347055" y="243407"/>
                </a:lnTo>
                <a:lnTo>
                  <a:pt x="9347055" y="253278"/>
                </a:lnTo>
                <a:lnTo>
                  <a:pt x="9343036" y="257317"/>
                </a:lnTo>
                <a:lnTo>
                  <a:pt x="9333125" y="257317"/>
                </a:lnTo>
                <a:lnTo>
                  <a:pt x="9329106" y="253278"/>
                </a:lnTo>
                <a:lnTo>
                  <a:pt x="9329106" y="243407"/>
                </a:lnTo>
                <a:close/>
                <a:moveTo>
                  <a:pt x="9093811" y="239369"/>
                </a:moveTo>
                <a:lnTo>
                  <a:pt x="9103722" y="239369"/>
                </a:lnTo>
                <a:lnTo>
                  <a:pt x="9107741" y="243407"/>
                </a:lnTo>
                <a:lnTo>
                  <a:pt x="9107741" y="253278"/>
                </a:lnTo>
                <a:lnTo>
                  <a:pt x="9103722" y="257317"/>
                </a:lnTo>
                <a:lnTo>
                  <a:pt x="9093811" y="257317"/>
                </a:lnTo>
                <a:lnTo>
                  <a:pt x="9089792" y="253278"/>
                </a:lnTo>
                <a:lnTo>
                  <a:pt x="9089792" y="243407"/>
                </a:lnTo>
                <a:close/>
                <a:moveTo>
                  <a:pt x="8854496" y="239369"/>
                </a:moveTo>
                <a:lnTo>
                  <a:pt x="8864407" y="239369"/>
                </a:lnTo>
                <a:lnTo>
                  <a:pt x="8868426" y="243407"/>
                </a:lnTo>
                <a:lnTo>
                  <a:pt x="8868426" y="253278"/>
                </a:lnTo>
                <a:lnTo>
                  <a:pt x="8864407" y="257317"/>
                </a:lnTo>
                <a:lnTo>
                  <a:pt x="8854496" y="257317"/>
                </a:lnTo>
                <a:lnTo>
                  <a:pt x="8850477" y="253278"/>
                </a:lnTo>
                <a:lnTo>
                  <a:pt x="8850477" y="243407"/>
                </a:lnTo>
                <a:close/>
                <a:moveTo>
                  <a:pt x="1918515" y="239361"/>
                </a:moveTo>
                <a:lnTo>
                  <a:pt x="1928425" y="239361"/>
                </a:lnTo>
                <a:lnTo>
                  <a:pt x="1932444" y="243400"/>
                </a:lnTo>
                <a:lnTo>
                  <a:pt x="1932444" y="253271"/>
                </a:lnTo>
                <a:lnTo>
                  <a:pt x="1928425" y="257310"/>
                </a:lnTo>
                <a:lnTo>
                  <a:pt x="1918515" y="257310"/>
                </a:lnTo>
                <a:lnTo>
                  <a:pt x="1914495" y="253271"/>
                </a:lnTo>
                <a:lnTo>
                  <a:pt x="1914495" y="243400"/>
                </a:lnTo>
                <a:close/>
                <a:moveTo>
                  <a:pt x="2157824" y="239359"/>
                </a:moveTo>
                <a:lnTo>
                  <a:pt x="2167734" y="239359"/>
                </a:lnTo>
                <a:lnTo>
                  <a:pt x="2171753" y="243397"/>
                </a:lnTo>
                <a:lnTo>
                  <a:pt x="2171753" y="253268"/>
                </a:lnTo>
                <a:lnTo>
                  <a:pt x="2167734" y="257307"/>
                </a:lnTo>
                <a:lnTo>
                  <a:pt x="2157824" y="257307"/>
                </a:lnTo>
                <a:lnTo>
                  <a:pt x="2153804" y="253268"/>
                </a:lnTo>
                <a:lnTo>
                  <a:pt x="2153804" y="243397"/>
                </a:lnTo>
                <a:close/>
                <a:moveTo>
                  <a:pt x="9572438" y="239357"/>
                </a:moveTo>
                <a:lnTo>
                  <a:pt x="9582349" y="239357"/>
                </a:lnTo>
                <a:lnTo>
                  <a:pt x="9586368" y="243395"/>
                </a:lnTo>
                <a:lnTo>
                  <a:pt x="9586368" y="253267"/>
                </a:lnTo>
                <a:lnTo>
                  <a:pt x="9582349" y="257306"/>
                </a:lnTo>
                <a:lnTo>
                  <a:pt x="9572438" y="257306"/>
                </a:lnTo>
                <a:lnTo>
                  <a:pt x="9568419" y="253267"/>
                </a:lnTo>
                <a:lnTo>
                  <a:pt x="9568419" y="243395"/>
                </a:lnTo>
                <a:close/>
                <a:moveTo>
                  <a:pt x="721976" y="239330"/>
                </a:moveTo>
                <a:lnTo>
                  <a:pt x="731887" y="239330"/>
                </a:lnTo>
                <a:lnTo>
                  <a:pt x="735906" y="243368"/>
                </a:lnTo>
                <a:lnTo>
                  <a:pt x="735906" y="253239"/>
                </a:lnTo>
                <a:lnTo>
                  <a:pt x="731887" y="257278"/>
                </a:lnTo>
                <a:lnTo>
                  <a:pt x="721976" y="257278"/>
                </a:lnTo>
                <a:lnTo>
                  <a:pt x="717958" y="253239"/>
                </a:lnTo>
                <a:lnTo>
                  <a:pt x="717958" y="243368"/>
                </a:lnTo>
                <a:close/>
                <a:moveTo>
                  <a:pt x="482664" y="239330"/>
                </a:moveTo>
                <a:lnTo>
                  <a:pt x="492575" y="239330"/>
                </a:lnTo>
                <a:lnTo>
                  <a:pt x="496594" y="243368"/>
                </a:lnTo>
                <a:lnTo>
                  <a:pt x="496594" y="253239"/>
                </a:lnTo>
                <a:lnTo>
                  <a:pt x="492575" y="257278"/>
                </a:lnTo>
                <a:lnTo>
                  <a:pt x="482664" y="257278"/>
                </a:lnTo>
                <a:lnTo>
                  <a:pt x="478645" y="253239"/>
                </a:lnTo>
                <a:lnTo>
                  <a:pt x="478645" y="243368"/>
                </a:lnTo>
                <a:close/>
                <a:moveTo>
                  <a:pt x="243350" y="239330"/>
                </a:moveTo>
                <a:lnTo>
                  <a:pt x="253261" y="239330"/>
                </a:lnTo>
                <a:lnTo>
                  <a:pt x="257280" y="243368"/>
                </a:lnTo>
                <a:lnTo>
                  <a:pt x="257280" y="253239"/>
                </a:lnTo>
                <a:lnTo>
                  <a:pt x="253261" y="257278"/>
                </a:lnTo>
                <a:lnTo>
                  <a:pt x="243350" y="257278"/>
                </a:lnTo>
                <a:lnTo>
                  <a:pt x="239332" y="253239"/>
                </a:lnTo>
                <a:lnTo>
                  <a:pt x="239332" y="243368"/>
                </a:lnTo>
                <a:close/>
                <a:moveTo>
                  <a:pt x="4037" y="239330"/>
                </a:moveTo>
                <a:lnTo>
                  <a:pt x="13948" y="239330"/>
                </a:lnTo>
                <a:lnTo>
                  <a:pt x="17967" y="243368"/>
                </a:lnTo>
                <a:lnTo>
                  <a:pt x="17967" y="253239"/>
                </a:lnTo>
                <a:lnTo>
                  <a:pt x="13948" y="257278"/>
                </a:lnTo>
                <a:lnTo>
                  <a:pt x="4037" y="257278"/>
                </a:lnTo>
                <a:lnTo>
                  <a:pt x="18" y="253239"/>
                </a:lnTo>
                <a:lnTo>
                  <a:pt x="18" y="243368"/>
                </a:lnTo>
                <a:close/>
                <a:moveTo>
                  <a:pt x="3111048" y="106"/>
                </a:moveTo>
                <a:lnTo>
                  <a:pt x="3120959" y="106"/>
                </a:lnTo>
                <a:lnTo>
                  <a:pt x="3124977" y="4144"/>
                </a:lnTo>
                <a:lnTo>
                  <a:pt x="3124977" y="14015"/>
                </a:lnTo>
                <a:lnTo>
                  <a:pt x="3120959" y="18054"/>
                </a:lnTo>
                <a:lnTo>
                  <a:pt x="3111048" y="18054"/>
                </a:lnTo>
                <a:lnTo>
                  <a:pt x="3107029" y="14015"/>
                </a:lnTo>
                <a:lnTo>
                  <a:pt x="3107029" y="4144"/>
                </a:lnTo>
                <a:close/>
                <a:moveTo>
                  <a:pt x="2871737" y="106"/>
                </a:moveTo>
                <a:lnTo>
                  <a:pt x="2881646" y="106"/>
                </a:lnTo>
                <a:lnTo>
                  <a:pt x="2885666" y="4145"/>
                </a:lnTo>
                <a:lnTo>
                  <a:pt x="2885666" y="14015"/>
                </a:lnTo>
                <a:lnTo>
                  <a:pt x="2881646" y="18054"/>
                </a:lnTo>
                <a:lnTo>
                  <a:pt x="2871737" y="18054"/>
                </a:lnTo>
                <a:lnTo>
                  <a:pt x="2867717" y="14015"/>
                </a:lnTo>
                <a:lnTo>
                  <a:pt x="2867717" y="4145"/>
                </a:lnTo>
                <a:close/>
                <a:moveTo>
                  <a:pt x="2632423" y="106"/>
                </a:moveTo>
                <a:lnTo>
                  <a:pt x="2642334" y="106"/>
                </a:lnTo>
                <a:lnTo>
                  <a:pt x="2646352" y="4145"/>
                </a:lnTo>
                <a:lnTo>
                  <a:pt x="2646352" y="14016"/>
                </a:lnTo>
                <a:lnTo>
                  <a:pt x="2642334" y="18055"/>
                </a:lnTo>
                <a:lnTo>
                  <a:pt x="2632423" y="18055"/>
                </a:lnTo>
                <a:lnTo>
                  <a:pt x="2628404" y="14016"/>
                </a:lnTo>
                <a:lnTo>
                  <a:pt x="2628404" y="4145"/>
                </a:lnTo>
                <a:close/>
                <a:moveTo>
                  <a:pt x="2393104" y="106"/>
                </a:moveTo>
                <a:lnTo>
                  <a:pt x="2403015" y="106"/>
                </a:lnTo>
                <a:lnTo>
                  <a:pt x="2407034" y="4145"/>
                </a:lnTo>
                <a:lnTo>
                  <a:pt x="2407034" y="14016"/>
                </a:lnTo>
                <a:lnTo>
                  <a:pt x="2403015" y="18055"/>
                </a:lnTo>
                <a:lnTo>
                  <a:pt x="2393104" y="18055"/>
                </a:lnTo>
                <a:lnTo>
                  <a:pt x="2389087" y="14016"/>
                </a:lnTo>
                <a:lnTo>
                  <a:pt x="2389087" y="4145"/>
                </a:lnTo>
                <a:close/>
                <a:moveTo>
                  <a:pt x="3350359" y="106"/>
                </a:moveTo>
                <a:lnTo>
                  <a:pt x="3360268" y="106"/>
                </a:lnTo>
                <a:lnTo>
                  <a:pt x="3364287" y="4144"/>
                </a:lnTo>
                <a:lnTo>
                  <a:pt x="3364287" y="14015"/>
                </a:lnTo>
                <a:lnTo>
                  <a:pt x="3360268" y="18054"/>
                </a:lnTo>
                <a:lnTo>
                  <a:pt x="3350359" y="18054"/>
                </a:lnTo>
                <a:lnTo>
                  <a:pt x="3346340" y="14015"/>
                </a:lnTo>
                <a:lnTo>
                  <a:pt x="3346340" y="4144"/>
                </a:lnTo>
                <a:close/>
                <a:moveTo>
                  <a:pt x="4546929" y="93"/>
                </a:moveTo>
                <a:lnTo>
                  <a:pt x="4556840" y="93"/>
                </a:lnTo>
                <a:lnTo>
                  <a:pt x="4560859" y="4132"/>
                </a:lnTo>
                <a:lnTo>
                  <a:pt x="4560859" y="14002"/>
                </a:lnTo>
                <a:lnTo>
                  <a:pt x="4556840" y="18041"/>
                </a:lnTo>
                <a:lnTo>
                  <a:pt x="4546929" y="18041"/>
                </a:lnTo>
                <a:lnTo>
                  <a:pt x="4542910" y="14002"/>
                </a:lnTo>
                <a:lnTo>
                  <a:pt x="4542910" y="4132"/>
                </a:lnTo>
                <a:close/>
                <a:moveTo>
                  <a:pt x="4307612" y="93"/>
                </a:moveTo>
                <a:lnTo>
                  <a:pt x="4317523" y="93"/>
                </a:lnTo>
                <a:lnTo>
                  <a:pt x="4321543" y="4132"/>
                </a:lnTo>
                <a:lnTo>
                  <a:pt x="4321543" y="14003"/>
                </a:lnTo>
                <a:lnTo>
                  <a:pt x="4317523" y="18042"/>
                </a:lnTo>
                <a:lnTo>
                  <a:pt x="4307612" y="18042"/>
                </a:lnTo>
                <a:lnTo>
                  <a:pt x="4303595" y="14003"/>
                </a:lnTo>
                <a:lnTo>
                  <a:pt x="4303595" y="4132"/>
                </a:lnTo>
                <a:close/>
                <a:moveTo>
                  <a:pt x="4068297" y="93"/>
                </a:moveTo>
                <a:lnTo>
                  <a:pt x="4078210" y="93"/>
                </a:lnTo>
                <a:lnTo>
                  <a:pt x="4082229" y="4132"/>
                </a:lnTo>
                <a:lnTo>
                  <a:pt x="4082229" y="14003"/>
                </a:lnTo>
                <a:lnTo>
                  <a:pt x="4078210" y="18042"/>
                </a:lnTo>
                <a:lnTo>
                  <a:pt x="4068297" y="18042"/>
                </a:lnTo>
                <a:lnTo>
                  <a:pt x="4064278" y="14003"/>
                </a:lnTo>
                <a:lnTo>
                  <a:pt x="4064278" y="4132"/>
                </a:lnTo>
                <a:close/>
                <a:moveTo>
                  <a:pt x="3828990" y="93"/>
                </a:moveTo>
                <a:lnTo>
                  <a:pt x="3838899" y="93"/>
                </a:lnTo>
                <a:lnTo>
                  <a:pt x="3842917" y="4132"/>
                </a:lnTo>
                <a:lnTo>
                  <a:pt x="3842917" y="14003"/>
                </a:lnTo>
                <a:lnTo>
                  <a:pt x="3838899" y="18042"/>
                </a:lnTo>
                <a:lnTo>
                  <a:pt x="3828990" y="18042"/>
                </a:lnTo>
                <a:lnTo>
                  <a:pt x="3824971" y="14003"/>
                </a:lnTo>
                <a:lnTo>
                  <a:pt x="3824971" y="4132"/>
                </a:lnTo>
                <a:close/>
                <a:moveTo>
                  <a:pt x="3589676" y="93"/>
                </a:moveTo>
                <a:lnTo>
                  <a:pt x="3599585" y="93"/>
                </a:lnTo>
                <a:lnTo>
                  <a:pt x="3603604" y="4132"/>
                </a:lnTo>
                <a:lnTo>
                  <a:pt x="3603604" y="14003"/>
                </a:lnTo>
                <a:lnTo>
                  <a:pt x="3599585" y="18042"/>
                </a:lnTo>
                <a:lnTo>
                  <a:pt x="3589676" y="18042"/>
                </a:lnTo>
                <a:lnTo>
                  <a:pt x="3585657" y="14003"/>
                </a:lnTo>
                <a:lnTo>
                  <a:pt x="3585657" y="4132"/>
                </a:lnTo>
                <a:close/>
                <a:moveTo>
                  <a:pt x="4786241" y="81"/>
                </a:moveTo>
                <a:lnTo>
                  <a:pt x="4796152" y="81"/>
                </a:lnTo>
                <a:lnTo>
                  <a:pt x="4800171" y="4119"/>
                </a:lnTo>
                <a:lnTo>
                  <a:pt x="4800171" y="13990"/>
                </a:lnTo>
                <a:lnTo>
                  <a:pt x="4796152" y="18029"/>
                </a:lnTo>
                <a:lnTo>
                  <a:pt x="4786241" y="18029"/>
                </a:lnTo>
                <a:lnTo>
                  <a:pt x="4782224" y="13990"/>
                </a:lnTo>
                <a:lnTo>
                  <a:pt x="4782224" y="4119"/>
                </a:lnTo>
                <a:close/>
                <a:moveTo>
                  <a:pt x="5743412" y="80"/>
                </a:moveTo>
                <a:lnTo>
                  <a:pt x="5753323" y="80"/>
                </a:lnTo>
                <a:lnTo>
                  <a:pt x="5757342" y="4119"/>
                </a:lnTo>
                <a:lnTo>
                  <a:pt x="5757342" y="13990"/>
                </a:lnTo>
                <a:lnTo>
                  <a:pt x="5753323" y="18029"/>
                </a:lnTo>
                <a:lnTo>
                  <a:pt x="5743412" y="18029"/>
                </a:lnTo>
                <a:lnTo>
                  <a:pt x="5739393" y="13990"/>
                </a:lnTo>
                <a:lnTo>
                  <a:pt x="5739393" y="4119"/>
                </a:lnTo>
                <a:close/>
                <a:moveTo>
                  <a:pt x="5504099" y="80"/>
                </a:moveTo>
                <a:lnTo>
                  <a:pt x="5514010" y="80"/>
                </a:lnTo>
                <a:lnTo>
                  <a:pt x="5518029" y="4119"/>
                </a:lnTo>
                <a:lnTo>
                  <a:pt x="5518029" y="13990"/>
                </a:lnTo>
                <a:lnTo>
                  <a:pt x="5514010" y="18029"/>
                </a:lnTo>
                <a:lnTo>
                  <a:pt x="5504099" y="18029"/>
                </a:lnTo>
                <a:lnTo>
                  <a:pt x="5500080" y="13990"/>
                </a:lnTo>
                <a:lnTo>
                  <a:pt x="5500080" y="4119"/>
                </a:lnTo>
                <a:close/>
                <a:moveTo>
                  <a:pt x="5264784" y="80"/>
                </a:moveTo>
                <a:lnTo>
                  <a:pt x="5274694" y="80"/>
                </a:lnTo>
                <a:lnTo>
                  <a:pt x="5278713" y="4119"/>
                </a:lnTo>
                <a:lnTo>
                  <a:pt x="5278713" y="13990"/>
                </a:lnTo>
                <a:lnTo>
                  <a:pt x="5274694" y="18029"/>
                </a:lnTo>
                <a:lnTo>
                  <a:pt x="5264784" y="18029"/>
                </a:lnTo>
                <a:lnTo>
                  <a:pt x="5260765" y="13990"/>
                </a:lnTo>
                <a:lnTo>
                  <a:pt x="5260765" y="4119"/>
                </a:lnTo>
                <a:close/>
                <a:moveTo>
                  <a:pt x="5025470" y="80"/>
                </a:moveTo>
                <a:lnTo>
                  <a:pt x="5035381" y="80"/>
                </a:lnTo>
                <a:lnTo>
                  <a:pt x="5039400" y="4119"/>
                </a:lnTo>
                <a:lnTo>
                  <a:pt x="5039400" y="13990"/>
                </a:lnTo>
                <a:lnTo>
                  <a:pt x="5035381" y="18029"/>
                </a:lnTo>
                <a:lnTo>
                  <a:pt x="5025470" y="18029"/>
                </a:lnTo>
                <a:lnTo>
                  <a:pt x="5021451" y="13990"/>
                </a:lnTo>
                <a:lnTo>
                  <a:pt x="5021451" y="4119"/>
                </a:lnTo>
                <a:close/>
                <a:moveTo>
                  <a:pt x="6461356" y="68"/>
                </a:moveTo>
                <a:lnTo>
                  <a:pt x="6471266" y="68"/>
                </a:lnTo>
                <a:lnTo>
                  <a:pt x="6475285" y="4106"/>
                </a:lnTo>
                <a:lnTo>
                  <a:pt x="6475285" y="13976"/>
                </a:lnTo>
                <a:lnTo>
                  <a:pt x="6471266" y="18015"/>
                </a:lnTo>
                <a:lnTo>
                  <a:pt x="6461356" y="18015"/>
                </a:lnTo>
                <a:lnTo>
                  <a:pt x="6457337" y="13976"/>
                </a:lnTo>
                <a:lnTo>
                  <a:pt x="6457337" y="4106"/>
                </a:lnTo>
                <a:close/>
                <a:moveTo>
                  <a:pt x="6222042" y="68"/>
                </a:moveTo>
                <a:lnTo>
                  <a:pt x="6231952" y="68"/>
                </a:lnTo>
                <a:lnTo>
                  <a:pt x="6235971" y="4106"/>
                </a:lnTo>
                <a:lnTo>
                  <a:pt x="6235971" y="13977"/>
                </a:lnTo>
                <a:lnTo>
                  <a:pt x="6231952" y="18016"/>
                </a:lnTo>
                <a:lnTo>
                  <a:pt x="6222042" y="18016"/>
                </a:lnTo>
                <a:lnTo>
                  <a:pt x="6218023" y="13977"/>
                </a:lnTo>
                <a:lnTo>
                  <a:pt x="6218023" y="4106"/>
                </a:lnTo>
                <a:close/>
                <a:moveTo>
                  <a:pt x="5982729" y="68"/>
                </a:moveTo>
                <a:lnTo>
                  <a:pt x="5992639" y="68"/>
                </a:lnTo>
                <a:lnTo>
                  <a:pt x="5996658" y="4106"/>
                </a:lnTo>
                <a:lnTo>
                  <a:pt x="5996658" y="13977"/>
                </a:lnTo>
                <a:lnTo>
                  <a:pt x="5992639" y="18016"/>
                </a:lnTo>
                <a:lnTo>
                  <a:pt x="5982729" y="18016"/>
                </a:lnTo>
                <a:lnTo>
                  <a:pt x="5978710" y="13977"/>
                </a:lnTo>
                <a:lnTo>
                  <a:pt x="5978710" y="4106"/>
                </a:lnTo>
                <a:close/>
                <a:moveTo>
                  <a:pt x="6939983" y="67"/>
                </a:moveTo>
                <a:lnTo>
                  <a:pt x="6949894" y="67"/>
                </a:lnTo>
                <a:lnTo>
                  <a:pt x="6953913" y="4105"/>
                </a:lnTo>
                <a:lnTo>
                  <a:pt x="6953913" y="13976"/>
                </a:lnTo>
                <a:lnTo>
                  <a:pt x="6949894" y="18015"/>
                </a:lnTo>
                <a:lnTo>
                  <a:pt x="6939983" y="18015"/>
                </a:lnTo>
                <a:lnTo>
                  <a:pt x="6935964" y="13976"/>
                </a:lnTo>
                <a:lnTo>
                  <a:pt x="6935964" y="4105"/>
                </a:lnTo>
                <a:close/>
                <a:moveTo>
                  <a:pt x="6700670" y="67"/>
                </a:moveTo>
                <a:lnTo>
                  <a:pt x="6710581" y="67"/>
                </a:lnTo>
                <a:lnTo>
                  <a:pt x="6714600" y="4105"/>
                </a:lnTo>
                <a:lnTo>
                  <a:pt x="6714600" y="13976"/>
                </a:lnTo>
                <a:lnTo>
                  <a:pt x="6710581" y="18015"/>
                </a:lnTo>
                <a:lnTo>
                  <a:pt x="6700670" y="18015"/>
                </a:lnTo>
                <a:lnTo>
                  <a:pt x="6696651" y="13976"/>
                </a:lnTo>
                <a:lnTo>
                  <a:pt x="6696651" y="4105"/>
                </a:lnTo>
                <a:close/>
                <a:moveTo>
                  <a:pt x="8136553" y="54"/>
                </a:moveTo>
                <a:lnTo>
                  <a:pt x="8146464" y="54"/>
                </a:lnTo>
                <a:lnTo>
                  <a:pt x="8150483" y="4093"/>
                </a:lnTo>
                <a:lnTo>
                  <a:pt x="8150483" y="13963"/>
                </a:lnTo>
                <a:lnTo>
                  <a:pt x="8146464" y="18002"/>
                </a:lnTo>
                <a:lnTo>
                  <a:pt x="8136553" y="18002"/>
                </a:lnTo>
                <a:lnTo>
                  <a:pt x="8132534" y="13963"/>
                </a:lnTo>
                <a:lnTo>
                  <a:pt x="8132534" y="4093"/>
                </a:lnTo>
                <a:close/>
                <a:moveTo>
                  <a:pt x="7897241" y="54"/>
                </a:moveTo>
                <a:lnTo>
                  <a:pt x="7907151" y="54"/>
                </a:lnTo>
                <a:lnTo>
                  <a:pt x="7911170" y="4093"/>
                </a:lnTo>
                <a:lnTo>
                  <a:pt x="7911170" y="13964"/>
                </a:lnTo>
                <a:lnTo>
                  <a:pt x="7907151" y="18003"/>
                </a:lnTo>
                <a:lnTo>
                  <a:pt x="7897241" y="18003"/>
                </a:lnTo>
                <a:lnTo>
                  <a:pt x="7893222" y="13964"/>
                </a:lnTo>
                <a:lnTo>
                  <a:pt x="7893222" y="4093"/>
                </a:lnTo>
                <a:close/>
                <a:moveTo>
                  <a:pt x="7657926" y="54"/>
                </a:moveTo>
                <a:lnTo>
                  <a:pt x="7667836" y="54"/>
                </a:lnTo>
                <a:lnTo>
                  <a:pt x="7671855" y="4093"/>
                </a:lnTo>
                <a:lnTo>
                  <a:pt x="7671855" y="13964"/>
                </a:lnTo>
                <a:lnTo>
                  <a:pt x="7667836" y="18003"/>
                </a:lnTo>
                <a:lnTo>
                  <a:pt x="7657926" y="18003"/>
                </a:lnTo>
                <a:lnTo>
                  <a:pt x="7653906" y="13964"/>
                </a:lnTo>
                <a:lnTo>
                  <a:pt x="7653906" y="4093"/>
                </a:lnTo>
                <a:close/>
                <a:moveTo>
                  <a:pt x="7418611" y="54"/>
                </a:moveTo>
                <a:lnTo>
                  <a:pt x="7428521" y="54"/>
                </a:lnTo>
                <a:lnTo>
                  <a:pt x="7432540" y="4093"/>
                </a:lnTo>
                <a:lnTo>
                  <a:pt x="7432540" y="13964"/>
                </a:lnTo>
                <a:lnTo>
                  <a:pt x="7428521" y="18003"/>
                </a:lnTo>
                <a:lnTo>
                  <a:pt x="7418611" y="18003"/>
                </a:lnTo>
                <a:lnTo>
                  <a:pt x="7414592" y="13964"/>
                </a:lnTo>
                <a:lnTo>
                  <a:pt x="7414592" y="4093"/>
                </a:lnTo>
                <a:close/>
                <a:moveTo>
                  <a:pt x="7179298" y="54"/>
                </a:moveTo>
                <a:lnTo>
                  <a:pt x="7189209" y="54"/>
                </a:lnTo>
                <a:lnTo>
                  <a:pt x="7193228" y="4093"/>
                </a:lnTo>
                <a:lnTo>
                  <a:pt x="7193228" y="13964"/>
                </a:lnTo>
                <a:lnTo>
                  <a:pt x="7189209" y="18003"/>
                </a:lnTo>
                <a:lnTo>
                  <a:pt x="7179298" y="18003"/>
                </a:lnTo>
                <a:lnTo>
                  <a:pt x="7175279" y="13964"/>
                </a:lnTo>
                <a:lnTo>
                  <a:pt x="7175279" y="4093"/>
                </a:lnTo>
                <a:close/>
                <a:moveTo>
                  <a:pt x="8375869" y="42"/>
                </a:moveTo>
                <a:lnTo>
                  <a:pt x="8385779" y="42"/>
                </a:lnTo>
                <a:lnTo>
                  <a:pt x="8389799" y="4080"/>
                </a:lnTo>
                <a:lnTo>
                  <a:pt x="8389799" y="13951"/>
                </a:lnTo>
                <a:lnTo>
                  <a:pt x="8385779" y="17990"/>
                </a:lnTo>
                <a:lnTo>
                  <a:pt x="8375869" y="17990"/>
                </a:lnTo>
                <a:lnTo>
                  <a:pt x="8371850" y="13951"/>
                </a:lnTo>
                <a:lnTo>
                  <a:pt x="8371850" y="4080"/>
                </a:lnTo>
                <a:close/>
                <a:moveTo>
                  <a:pt x="9333125" y="41"/>
                </a:moveTo>
                <a:lnTo>
                  <a:pt x="9343036" y="41"/>
                </a:lnTo>
                <a:lnTo>
                  <a:pt x="9347055" y="4080"/>
                </a:lnTo>
                <a:lnTo>
                  <a:pt x="9347055" y="13951"/>
                </a:lnTo>
                <a:lnTo>
                  <a:pt x="9343036" y="17990"/>
                </a:lnTo>
                <a:lnTo>
                  <a:pt x="9333125" y="17990"/>
                </a:lnTo>
                <a:lnTo>
                  <a:pt x="9329106" y="13951"/>
                </a:lnTo>
                <a:lnTo>
                  <a:pt x="9329106" y="4080"/>
                </a:lnTo>
                <a:close/>
                <a:moveTo>
                  <a:pt x="9093811" y="41"/>
                </a:moveTo>
                <a:lnTo>
                  <a:pt x="9103722" y="41"/>
                </a:lnTo>
                <a:lnTo>
                  <a:pt x="9107741" y="4080"/>
                </a:lnTo>
                <a:lnTo>
                  <a:pt x="9107741" y="13951"/>
                </a:lnTo>
                <a:lnTo>
                  <a:pt x="9103722" y="17990"/>
                </a:lnTo>
                <a:lnTo>
                  <a:pt x="9093811" y="17990"/>
                </a:lnTo>
                <a:lnTo>
                  <a:pt x="9089792" y="13951"/>
                </a:lnTo>
                <a:lnTo>
                  <a:pt x="9089792" y="4080"/>
                </a:lnTo>
                <a:close/>
                <a:moveTo>
                  <a:pt x="8854496" y="41"/>
                </a:moveTo>
                <a:lnTo>
                  <a:pt x="8864407" y="41"/>
                </a:lnTo>
                <a:lnTo>
                  <a:pt x="8868426" y="4080"/>
                </a:lnTo>
                <a:lnTo>
                  <a:pt x="8868426" y="13951"/>
                </a:lnTo>
                <a:lnTo>
                  <a:pt x="8864407" y="17990"/>
                </a:lnTo>
                <a:lnTo>
                  <a:pt x="8854496" y="17990"/>
                </a:lnTo>
                <a:lnTo>
                  <a:pt x="8850477" y="13951"/>
                </a:lnTo>
                <a:lnTo>
                  <a:pt x="8850477" y="4080"/>
                </a:lnTo>
                <a:close/>
                <a:moveTo>
                  <a:pt x="8615184" y="41"/>
                </a:moveTo>
                <a:lnTo>
                  <a:pt x="8625095" y="41"/>
                </a:lnTo>
                <a:lnTo>
                  <a:pt x="8629114" y="4080"/>
                </a:lnTo>
                <a:lnTo>
                  <a:pt x="8629114" y="13951"/>
                </a:lnTo>
                <a:lnTo>
                  <a:pt x="8625095" y="17990"/>
                </a:lnTo>
                <a:lnTo>
                  <a:pt x="8615184" y="17990"/>
                </a:lnTo>
                <a:lnTo>
                  <a:pt x="8611165" y="13951"/>
                </a:lnTo>
                <a:lnTo>
                  <a:pt x="8611165" y="4080"/>
                </a:lnTo>
                <a:close/>
                <a:moveTo>
                  <a:pt x="961275" y="41"/>
                </a:moveTo>
                <a:lnTo>
                  <a:pt x="971184" y="41"/>
                </a:lnTo>
                <a:lnTo>
                  <a:pt x="975204" y="4080"/>
                </a:lnTo>
                <a:lnTo>
                  <a:pt x="975204" y="13951"/>
                </a:lnTo>
                <a:lnTo>
                  <a:pt x="971184" y="17990"/>
                </a:lnTo>
                <a:lnTo>
                  <a:pt x="961275" y="17990"/>
                </a:lnTo>
                <a:lnTo>
                  <a:pt x="957256" y="13951"/>
                </a:lnTo>
                <a:lnTo>
                  <a:pt x="957256" y="4080"/>
                </a:lnTo>
                <a:close/>
                <a:moveTo>
                  <a:pt x="1679221" y="41"/>
                </a:moveTo>
                <a:lnTo>
                  <a:pt x="1689131" y="41"/>
                </a:lnTo>
                <a:lnTo>
                  <a:pt x="1693151" y="4079"/>
                </a:lnTo>
                <a:lnTo>
                  <a:pt x="1693151" y="13950"/>
                </a:lnTo>
                <a:lnTo>
                  <a:pt x="1689131" y="17989"/>
                </a:lnTo>
                <a:lnTo>
                  <a:pt x="1679221" y="17989"/>
                </a:lnTo>
                <a:lnTo>
                  <a:pt x="1675203" y="13950"/>
                </a:lnTo>
                <a:lnTo>
                  <a:pt x="1675203" y="4079"/>
                </a:lnTo>
                <a:close/>
                <a:moveTo>
                  <a:pt x="1439904" y="41"/>
                </a:moveTo>
                <a:lnTo>
                  <a:pt x="1449813" y="41"/>
                </a:lnTo>
                <a:lnTo>
                  <a:pt x="1453833" y="4079"/>
                </a:lnTo>
                <a:lnTo>
                  <a:pt x="1453833" y="13950"/>
                </a:lnTo>
                <a:lnTo>
                  <a:pt x="1449813" y="17989"/>
                </a:lnTo>
                <a:lnTo>
                  <a:pt x="1439904" y="17989"/>
                </a:lnTo>
                <a:lnTo>
                  <a:pt x="1435885" y="13950"/>
                </a:lnTo>
                <a:lnTo>
                  <a:pt x="1435885" y="4079"/>
                </a:lnTo>
                <a:close/>
                <a:moveTo>
                  <a:pt x="1200587" y="41"/>
                </a:moveTo>
                <a:lnTo>
                  <a:pt x="1210497" y="41"/>
                </a:lnTo>
                <a:lnTo>
                  <a:pt x="1214516" y="4080"/>
                </a:lnTo>
                <a:lnTo>
                  <a:pt x="1214516" y="13951"/>
                </a:lnTo>
                <a:lnTo>
                  <a:pt x="1210497" y="17989"/>
                </a:lnTo>
                <a:lnTo>
                  <a:pt x="1200587" y="17989"/>
                </a:lnTo>
                <a:lnTo>
                  <a:pt x="1196568" y="13951"/>
                </a:lnTo>
                <a:lnTo>
                  <a:pt x="1196568" y="4080"/>
                </a:lnTo>
                <a:close/>
                <a:moveTo>
                  <a:pt x="1918515" y="31"/>
                </a:moveTo>
                <a:lnTo>
                  <a:pt x="1928425" y="31"/>
                </a:lnTo>
                <a:lnTo>
                  <a:pt x="1932444" y="4069"/>
                </a:lnTo>
                <a:lnTo>
                  <a:pt x="1932444" y="13940"/>
                </a:lnTo>
                <a:lnTo>
                  <a:pt x="1928425" y="17979"/>
                </a:lnTo>
                <a:lnTo>
                  <a:pt x="1918515" y="17979"/>
                </a:lnTo>
                <a:lnTo>
                  <a:pt x="1914497" y="13940"/>
                </a:lnTo>
                <a:lnTo>
                  <a:pt x="1914497" y="4069"/>
                </a:lnTo>
                <a:close/>
                <a:moveTo>
                  <a:pt x="9572438" y="29"/>
                </a:moveTo>
                <a:lnTo>
                  <a:pt x="9582349" y="29"/>
                </a:lnTo>
                <a:lnTo>
                  <a:pt x="9586368" y="4067"/>
                </a:lnTo>
                <a:lnTo>
                  <a:pt x="9586368" y="13938"/>
                </a:lnTo>
                <a:lnTo>
                  <a:pt x="9582349" y="17977"/>
                </a:lnTo>
                <a:lnTo>
                  <a:pt x="9572438" y="17977"/>
                </a:lnTo>
                <a:lnTo>
                  <a:pt x="9568419" y="13938"/>
                </a:lnTo>
                <a:lnTo>
                  <a:pt x="9568419" y="4067"/>
                </a:lnTo>
                <a:close/>
                <a:moveTo>
                  <a:pt x="2157824" y="28"/>
                </a:moveTo>
                <a:lnTo>
                  <a:pt x="2167734" y="28"/>
                </a:lnTo>
                <a:lnTo>
                  <a:pt x="2171753" y="4067"/>
                </a:lnTo>
                <a:lnTo>
                  <a:pt x="2171753" y="13938"/>
                </a:lnTo>
                <a:lnTo>
                  <a:pt x="2167734" y="17977"/>
                </a:lnTo>
                <a:lnTo>
                  <a:pt x="2157824" y="17977"/>
                </a:lnTo>
                <a:lnTo>
                  <a:pt x="2153804" y="13938"/>
                </a:lnTo>
                <a:lnTo>
                  <a:pt x="2153804" y="4067"/>
                </a:lnTo>
                <a:close/>
                <a:moveTo>
                  <a:pt x="721977" y="0"/>
                </a:moveTo>
                <a:lnTo>
                  <a:pt x="731887" y="0"/>
                </a:lnTo>
                <a:lnTo>
                  <a:pt x="735906" y="4039"/>
                </a:lnTo>
                <a:lnTo>
                  <a:pt x="735906" y="13910"/>
                </a:lnTo>
                <a:lnTo>
                  <a:pt x="731887" y="17949"/>
                </a:lnTo>
                <a:lnTo>
                  <a:pt x="721977" y="17949"/>
                </a:lnTo>
                <a:lnTo>
                  <a:pt x="717959" y="13910"/>
                </a:lnTo>
                <a:lnTo>
                  <a:pt x="717959" y="4039"/>
                </a:lnTo>
                <a:close/>
                <a:moveTo>
                  <a:pt x="482665" y="0"/>
                </a:moveTo>
                <a:lnTo>
                  <a:pt x="492575" y="0"/>
                </a:lnTo>
                <a:lnTo>
                  <a:pt x="496594" y="4039"/>
                </a:lnTo>
                <a:lnTo>
                  <a:pt x="496594" y="13910"/>
                </a:lnTo>
                <a:lnTo>
                  <a:pt x="492575" y="17949"/>
                </a:lnTo>
                <a:lnTo>
                  <a:pt x="482665" y="17949"/>
                </a:lnTo>
                <a:lnTo>
                  <a:pt x="478646" y="13910"/>
                </a:lnTo>
                <a:lnTo>
                  <a:pt x="478646" y="4039"/>
                </a:lnTo>
                <a:close/>
                <a:moveTo>
                  <a:pt x="243351" y="0"/>
                </a:moveTo>
                <a:lnTo>
                  <a:pt x="253261" y="0"/>
                </a:lnTo>
                <a:lnTo>
                  <a:pt x="257281" y="4039"/>
                </a:lnTo>
                <a:lnTo>
                  <a:pt x="257281" y="13910"/>
                </a:lnTo>
                <a:lnTo>
                  <a:pt x="253261" y="17949"/>
                </a:lnTo>
                <a:lnTo>
                  <a:pt x="243351" y="17949"/>
                </a:lnTo>
                <a:lnTo>
                  <a:pt x="239332" y="13910"/>
                </a:lnTo>
                <a:lnTo>
                  <a:pt x="239332" y="4039"/>
                </a:lnTo>
                <a:close/>
                <a:moveTo>
                  <a:pt x="4039" y="0"/>
                </a:moveTo>
                <a:lnTo>
                  <a:pt x="13948" y="0"/>
                </a:lnTo>
                <a:lnTo>
                  <a:pt x="17967" y="4039"/>
                </a:lnTo>
                <a:lnTo>
                  <a:pt x="17967" y="13910"/>
                </a:lnTo>
                <a:lnTo>
                  <a:pt x="13948" y="17949"/>
                </a:lnTo>
                <a:lnTo>
                  <a:pt x="4039" y="17949"/>
                </a:lnTo>
                <a:lnTo>
                  <a:pt x="19" y="13910"/>
                </a:lnTo>
                <a:lnTo>
                  <a:pt x="19" y="4039"/>
                </a:lnTo>
                <a:close/>
              </a:path>
            </a:pathLst>
          </a:custGeom>
          <a:solidFill>
            <a:schemeClr val="tx1">
              <a:lumMod val="40000"/>
              <a:lumOff val="60000"/>
              <a:alpha val="29998"/>
            </a:schemeClr>
          </a:solidFill>
        </p:spPr>
        <p:txBody>
          <a:bodyPr wrap="square" lIns="0" tIns="0" rIns="0" bIns="0" rtlCol="0">
            <a:noAutofit/>
          </a:bodyPr>
          <a:lstStyle/>
          <a:p>
            <a:endParaRPr lang="da-DK" sz="1662">
              <a:solidFill>
                <a:srgbClr val="1F2023"/>
              </a:solidFill>
            </a:endParaRPr>
          </a:p>
        </p:txBody>
      </p:sp>
      <p:sp>
        <p:nvSpPr>
          <p:cNvPr id="13" name="Slide Number Placeholder 4">
            <a:extLst>
              <a:ext uri="{FF2B5EF4-FFF2-40B4-BE49-F238E27FC236}">
                <a16:creationId xmlns:a16="http://schemas.microsoft.com/office/drawing/2014/main" id="{3ABC578D-4FF7-42B0-BD9B-E85607A57166}"/>
              </a:ext>
            </a:extLst>
          </p:cNvPr>
          <p:cNvSpPr txBox="1">
            <a:spLocks/>
          </p:cNvSpPr>
          <p:nvPr userDrawn="1"/>
        </p:nvSpPr>
        <p:spPr>
          <a:xfrm>
            <a:off x="8597230" y="6504110"/>
            <a:ext cx="296190"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600" smtClean="0">
                <a:solidFill>
                  <a:srgbClr val="1F2023"/>
                </a:solidFill>
              </a:rPr>
              <a:pPr/>
              <a:t>‹nr.›</a:t>
            </a:fld>
            <a:endParaRPr lang="da-DK" sz="600">
              <a:solidFill>
                <a:srgbClr val="1F2023"/>
              </a:solidFill>
            </a:endParaRPr>
          </a:p>
        </p:txBody>
      </p:sp>
      <p:sp>
        <p:nvSpPr>
          <p:cNvPr id="10" name="Date_GeneralDate" hidden="1">
            <a:extLst>
              <a:ext uri="{FF2B5EF4-FFF2-40B4-BE49-F238E27FC236}">
                <a16:creationId xmlns:a16="http://schemas.microsoft.com/office/drawing/2014/main" id="{23350E22-3120-4C9B-920B-CE4162372EA5}"/>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1" name="Title 1">
            <a:extLst>
              <a:ext uri="{FF2B5EF4-FFF2-40B4-BE49-F238E27FC236}">
                <a16:creationId xmlns:a16="http://schemas.microsoft.com/office/drawing/2014/main" id="{50986CB7-056C-4078-AA30-E257B984734F}"/>
              </a:ext>
            </a:extLst>
          </p:cNvPr>
          <p:cNvSpPr>
            <a:spLocks noGrp="1"/>
          </p:cNvSpPr>
          <p:nvPr>
            <p:ph type="title"/>
          </p:nvPr>
        </p:nvSpPr>
        <p:spPr>
          <a:xfrm>
            <a:off x="249116" y="269876"/>
            <a:ext cx="7606283"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4" name="Text Placeholder 12">
            <a:extLst>
              <a:ext uri="{FF2B5EF4-FFF2-40B4-BE49-F238E27FC236}">
                <a16:creationId xmlns:a16="http://schemas.microsoft.com/office/drawing/2014/main" id="{A03F66CC-3EA1-46EC-B7C3-3CFF80CE5BAD}"/>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5" name="Text Placeholder 3">
            <a:extLst>
              <a:ext uri="{FF2B5EF4-FFF2-40B4-BE49-F238E27FC236}">
                <a16:creationId xmlns:a16="http://schemas.microsoft.com/office/drawing/2014/main" id="{9346FEE7-F58C-4653-875F-20F2C6EEB84D}"/>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Tree>
    <p:extLst>
      <p:ext uri="{BB962C8B-B14F-4D97-AF65-F5344CB8AC3E}">
        <p14:creationId xmlns:p14="http://schemas.microsoft.com/office/powerpoint/2010/main" val="3829712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10" name="Date_GeneralDate" hidden="1">
            <a:extLst>
              <a:ext uri="{FF2B5EF4-FFF2-40B4-BE49-F238E27FC236}">
                <a16:creationId xmlns:a16="http://schemas.microsoft.com/office/drawing/2014/main" id="{23350E22-3120-4C9B-920B-CE4162372EA5}"/>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4" name="Rectangle 13">
            <a:extLst>
              <a:ext uri="{FF2B5EF4-FFF2-40B4-BE49-F238E27FC236}">
                <a16:creationId xmlns:a16="http://schemas.microsoft.com/office/drawing/2014/main" id="{7F746A38-ADBE-4B99-A0FF-A026AF761359}"/>
              </a:ext>
            </a:extLst>
          </p:cNvPr>
          <p:cNvSpPr/>
          <p:nvPr userDrawn="1"/>
        </p:nvSpPr>
        <p:spPr>
          <a:xfrm>
            <a:off x="0" y="0"/>
            <a:ext cx="3024554" cy="6858000"/>
          </a:xfrm>
          <a:prstGeom prst="rect">
            <a:avLst/>
          </a:prstGeom>
          <a:solidFill>
            <a:srgbClr val="8AA29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9692" tIns="99692" rIns="99692" bIns="99692" rtlCol="0" anchor="t" anchorCtr="0">
            <a:noAutofit/>
          </a:bodyPr>
          <a:lstStyle/>
          <a:p>
            <a:pPr algn="l"/>
            <a:endParaRPr lang="da-DK" sz="1015" noProof="0">
              <a:solidFill>
                <a:srgbClr val="2F363B"/>
              </a:solidFill>
            </a:endParaRPr>
          </a:p>
        </p:txBody>
      </p:sp>
      <p:sp>
        <p:nvSpPr>
          <p:cNvPr id="15" name="Rectangle 14">
            <a:extLst>
              <a:ext uri="{FF2B5EF4-FFF2-40B4-BE49-F238E27FC236}">
                <a16:creationId xmlns:a16="http://schemas.microsoft.com/office/drawing/2014/main" id="{3DD6108D-EB2B-49D1-BF3F-6212EF679FC6}"/>
              </a:ext>
            </a:extLst>
          </p:cNvPr>
          <p:cNvSpPr/>
          <p:nvPr userDrawn="1"/>
        </p:nvSpPr>
        <p:spPr>
          <a:xfrm>
            <a:off x="0" y="1397000"/>
            <a:ext cx="7855399" cy="5461000"/>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t" anchorCtr="0" forceAA="0" compatLnSpc="1">
            <a:prstTxWarp prst="textNoShape">
              <a:avLst/>
            </a:prstTxWarp>
            <a:noAutofit/>
          </a:bodyPr>
          <a:lstStyle/>
          <a:p>
            <a:pPr algn="l"/>
            <a:endParaRPr lang="da-DK" sz="923" noProof="0">
              <a:solidFill>
                <a:srgbClr val="1F2023"/>
              </a:solidFill>
            </a:endParaRPr>
          </a:p>
        </p:txBody>
      </p:sp>
      <p:sp>
        <p:nvSpPr>
          <p:cNvPr id="16" name="object 5">
            <a:extLst>
              <a:ext uri="{FF2B5EF4-FFF2-40B4-BE49-F238E27FC236}">
                <a16:creationId xmlns:a16="http://schemas.microsoft.com/office/drawing/2014/main" id="{51ABF881-B85C-4C84-B59E-DABB5EF2BB04}"/>
              </a:ext>
            </a:extLst>
          </p:cNvPr>
          <p:cNvSpPr txBox="1">
            <a:spLocks/>
          </p:cNvSpPr>
          <p:nvPr userDrawn="1"/>
        </p:nvSpPr>
        <p:spPr>
          <a:xfrm>
            <a:off x="779004" y="1963933"/>
            <a:ext cx="3856779" cy="1042039"/>
          </a:xfrm>
          <a:prstGeom prst="rect">
            <a:avLst/>
          </a:prstGeom>
        </p:spPr>
        <p:txBody>
          <a:bodyPr vert="horz" wrap="square" lIns="0" tIns="10630" rIns="0" bIns="0" rtlCol="0">
            <a:spAutoFit/>
          </a:bodyPr>
          <a:lstStyle>
            <a:lvl1pPr>
              <a:defRPr sz="9000" b="0" i="0">
                <a:solidFill>
                  <a:srgbClr val="231E21"/>
                </a:solidFill>
                <a:latin typeface="Arial Regular"/>
                <a:ea typeface="+mj-ea"/>
                <a:cs typeface="Arial Regular"/>
              </a:defRPr>
            </a:lvl1pPr>
          </a:lstStyle>
          <a:p>
            <a:pPr marL="10630">
              <a:spcBef>
                <a:spcPts val="84"/>
              </a:spcBef>
            </a:pPr>
            <a:endParaRPr lang="da-DK" sz="6696" kern="0">
              <a:latin typeface="Impact" panose="020B0806030902050204" pitchFamily="34" charset="0"/>
              <a:ea typeface="Grotzec More Condensed" charset="0"/>
              <a:cs typeface="Grotzec More Condensed" charset="0"/>
            </a:endParaRPr>
          </a:p>
        </p:txBody>
      </p:sp>
      <p:sp>
        <p:nvSpPr>
          <p:cNvPr id="19" name="object 9">
            <a:extLst>
              <a:ext uri="{FF2B5EF4-FFF2-40B4-BE49-F238E27FC236}">
                <a16:creationId xmlns:a16="http://schemas.microsoft.com/office/drawing/2014/main" id="{EB533D22-278D-4D48-8B21-DB708D705C81}"/>
              </a:ext>
            </a:extLst>
          </p:cNvPr>
          <p:cNvSpPr txBox="1"/>
          <p:nvPr/>
        </p:nvSpPr>
        <p:spPr>
          <a:xfrm>
            <a:off x="875336" y="3265355"/>
            <a:ext cx="902084" cy="239845"/>
          </a:xfrm>
          <a:prstGeom prst="rect">
            <a:avLst/>
          </a:prstGeom>
        </p:spPr>
        <p:txBody>
          <a:bodyPr vert="horz" wrap="square" lIns="0" tIns="0" rIns="0" bIns="0" rtlCol="0">
            <a:noAutofit/>
          </a:bodyPr>
          <a:lstStyle/>
          <a:p>
            <a:pPr>
              <a:lnSpc>
                <a:spcPct val="100000"/>
              </a:lnSpc>
              <a:spcAft>
                <a:spcPts val="0"/>
              </a:spcAft>
            </a:pPr>
            <a:r>
              <a:rPr lang="da-DK" sz="1506" b="1" spc="38">
                <a:solidFill>
                  <a:srgbClr val="30373B"/>
                </a:solidFill>
                <a:latin typeface="+mj-lt"/>
                <a:cs typeface="Trebuchet MS"/>
              </a:rPr>
              <a:t>Conta</a:t>
            </a:r>
            <a:r>
              <a:rPr lang="da-DK" sz="1506" b="1" spc="25">
                <a:solidFill>
                  <a:srgbClr val="30373B"/>
                </a:solidFill>
                <a:latin typeface="+mj-lt"/>
                <a:cs typeface="Trebuchet MS"/>
              </a:rPr>
              <a:t>c</a:t>
            </a:r>
            <a:r>
              <a:rPr lang="da-DK" sz="1506" b="1" spc="-21">
                <a:solidFill>
                  <a:srgbClr val="30373B"/>
                </a:solidFill>
                <a:latin typeface="+mj-lt"/>
                <a:cs typeface="Trebuchet MS"/>
              </a:rPr>
              <a:t>t</a:t>
            </a:r>
            <a:endParaRPr lang="da-DK" sz="1506" b="1">
              <a:solidFill>
                <a:srgbClr val="30373B"/>
              </a:solidFill>
              <a:latin typeface="+mj-lt"/>
              <a:cs typeface="Trebuchet MS"/>
            </a:endParaRPr>
          </a:p>
        </p:txBody>
      </p:sp>
      <p:cxnSp>
        <p:nvCxnSpPr>
          <p:cNvPr id="21" name="Straight Connector 20">
            <a:extLst>
              <a:ext uri="{FF2B5EF4-FFF2-40B4-BE49-F238E27FC236}">
                <a16:creationId xmlns:a16="http://schemas.microsoft.com/office/drawing/2014/main" id="{DC18D7EB-A920-491A-A8EB-D7FAD4435608}"/>
              </a:ext>
            </a:extLst>
          </p:cNvPr>
          <p:cNvCxnSpPr>
            <a:cxnSpLocks/>
          </p:cNvCxnSpPr>
          <p:nvPr/>
        </p:nvCxnSpPr>
        <p:spPr>
          <a:xfrm>
            <a:off x="1978567" y="3284404"/>
            <a:ext cx="0" cy="668732"/>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753CC225-3E09-4B00-B858-336FCB07C3F3}"/>
              </a:ext>
            </a:extLst>
          </p:cNvPr>
          <p:cNvSpPr>
            <a:spLocks noGrp="1"/>
          </p:cNvSpPr>
          <p:nvPr userDrawn="1">
            <p:ph type="title" hasCustomPrompt="1"/>
          </p:nvPr>
        </p:nvSpPr>
        <p:spPr>
          <a:xfrm>
            <a:off x="846329" y="2125769"/>
            <a:ext cx="4447442" cy="867598"/>
          </a:xfrm>
          <a:noFill/>
        </p:spPr>
        <p:txBody>
          <a:bodyPr lIns="0" tIns="0" rIns="0"/>
          <a:lstStyle>
            <a:lvl1pPr>
              <a:defRPr sz="6646" cap="all" baseline="0">
                <a:solidFill>
                  <a:srgbClr val="30373B"/>
                </a:solidFill>
                <a:latin typeface="Impact" panose="020B0806030902050204" pitchFamily="34" charset="0"/>
              </a:defRPr>
            </a:lvl1pPr>
          </a:lstStyle>
          <a:p>
            <a:r>
              <a:rPr lang="da-DK" err="1"/>
              <a:t>Thank</a:t>
            </a:r>
            <a:r>
              <a:rPr lang="da-DK"/>
              <a:t> </a:t>
            </a:r>
            <a:r>
              <a:rPr lang="da-DK" err="1"/>
              <a:t>you</a:t>
            </a:r>
            <a:endParaRPr lang="da-DK"/>
          </a:p>
        </p:txBody>
      </p:sp>
      <p:sp>
        <p:nvSpPr>
          <p:cNvPr id="25" name="Text Placeholder 13">
            <a:extLst>
              <a:ext uri="{FF2B5EF4-FFF2-40B4-BE49-F238E27FC236}">
                <a16:creationId xmlns:a16="http://schemas.microsoft.com/office/drawing/2014/main" id="{AD493141-6163-4B9F-BB64-266DC978A36B}"/>
              </a:ext>
            </a:extLst>
          </p:cNvPr>
          <p:cNvSpPr>
            <a:spLocks noGrp="1"/>
          </p:cNvSpPr>
          <p:nvPr>
            <p:ph type="body" sz="quarter" idx="17" hasCustomPrompt="1"/>
          </p:nvPr>
        </p:nvSpPr>
        <p:spPr>
          <a:xfrm>
            <a:off x="2101362" y="3350048"/>
            <a:ext cx="4201456" cy="555412"/>
          </a:xfrm>
        </p:spPr>
        <p:txBody>
          <a:bodyPr anchor="b" anchorCtr="0"/>
          <a:lstStyle>
            <a:lvl1pPr marL="0" indent="0">
              <a:spcBef>
                <a:spcPts val="0"/>
              </a:spcBef>
              <a:buFont typeface="Arial" panose="020B0604020202020204" pitchFamily="34" charset="0"/>
              <a:buNone/>
              <a:defRPr sz="1015">
                <a:solidFill>
                  <a:srgbClr val="30373B"/>
                </a:solidFill>
              </a:defRPr>
            </a:lvl1pPr>
          </a:lstStyle>
          <a:p>
            <a:pPr lvl="0"/>
            <a:r>
              <a:rPr lang="da-DK" err="1"/>
              <a:t>Name</a:t>
            </a:r>
            <a:endParaRPr lang="da-DK"/>
          </a:p>
          <a:p>
            <a:pPr lvl="0"/>
            <a:r>
              <a:rPr lang="da-DK"/>
              <a:t>Phone</a:t>
            </a:r>
          </a:p>
          <a:p>
            <a:pPr lvl="0"/>
            <a:r>
              <a:rPr lang="da-DK" err="1"/>
              <a:t>Email</a:t>
            </a:r>
            <a:endParaRPr lang="da-DK"/>
          </a:p>
        </p:txBody>
      </p:sp>
      <p:sp>
        <p:nvSpPr>
          <p:cNvPr id="11" name="Freeform: Shape 10">
            <a:extLst>
              <a:ext uri="{FF2B5EF4-FFF2-40B4-BE49-F238E27FC236}">
                <a16:creationId xmlns:a16="http://schemas.microsoft.com/office/drawing/2014/main" id="{D627D054-E733-4AF4-96A8-BC1F94E35A96}"/>
              </a:ext>
            </a:extLst>
          </p:cNvPr>
          <p:cNvSpPr/>
          <p:nvPr userDrawn="1">
            <p:custDataLst>
              <p:tags r:id="rId1"/>
            </p:custDataLst>
          </p:nvPr>
        </p:nvSpPr>
        <p:spPr bwMode="auto">
          <a:xfrm rot="5400000">
            <a:off x="8131101" y="799617"/>
            <a:ext cx="1258889" cy="265746"/>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r>
              <a:rPr lang="da-DK" sz="1662">
                <a:solidFill>
                  <a:srgbClr val="1F2023"/>
                </a:solidFill>
              </a:rPr>
              <a:t> </a:t>
            </a:r>
          </a:p>
        </p:txBody>
      </p:sp>
    </p:spTree>
    <p:extLst>
      <p:ext uri="{BB962C8B-B14F-4D97-AF65-F5344CB8AC3E}">
        <p14:creationId xmlns:p14="http://schemas.microsoft.com/office/powerpoint/2010/main" val="323624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ver Dark">
    <p:spTree>
      <p:nvGrpSpPr>
        <p:cNvPr id="1" name=""/>
        <p:cNvGrpSpPr/>
        <p:nvPr/>
      </p:nvGrpSpPr>
      <p:grpSpPr>
        <a:xfrm>
          <a:off x="0" y="0"/>
          <a:ext cx="0" cy="0"/>
          <a:chOff x="0" y="0"/>
          <a:chExt cx="0" cy="0"/>
        </a:xfrm>
      </p:grpSpPr>
      <p:sp>
        <p:nvSpPr>
          <p:cNvPr id="23" name="object 2">
            <a:extLst>
              <a:ext uri="{FF2B5EF4-FFF2-40B4-BE49-F238E27FC236}">
                <a16:creationId xmlns:a16="http://schemas.microsoft.com/office/drawing/2014/main" id="{A81EE220-AC53-4153-A0FE-1F2219FBF428}"/>
              </a:ext>
            </a:extLst>
          </p:cNvPr>
          <p:cNvSpPr/>
          <p:nvPr userDrawn="1"/>
        </p:nvSpPr>
        <p:spPr>
          <a:xfrm>
            <a:off x="-10524" y="0"/>
            <a:ext cx="9154524" cy="6858000"/>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893E45"/>
          </a:solidFill>
          <a:ln>
            <a:noFill/>
          </a:ln>
        </p:spPr>
        <p:txBody>
          <a:bodyPr wrap="square" lIns="0" tIns="0" rIns="0" bIns="0" rtlCol="0"/>
          <a:lstStyle/>
          <a:p>
            <a:pPr marL="0" marR="0" lvl="0" indent="0"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2F363B"/>
              </a:solidFill>
              <a:effectLst/>
              <a:uLnTx/>
              <a:uFillTx/>
            </a:endParaRPr>
          </a:p>
        </p:txBody>
      </p:sp>
      <p:sp>
        <p:nvSpPr>
          <p:cNvPr id="24" name="Rectangle 23">
            <a:extLst>
              <a:ext uri="{FF2B5EF4-FFF2-40B4-BE49-F238E27FC236}">
                <a16:creationId xmlns:a16="http://schemas.microsoft.com/office/drawing/2014/main" id="{468EEBBF-213D-4D68-A9CE-7CE68854BF37}"/>
              </a:ext>
            </a:extLst>
          </p:cNvPr>
          <p:cNvSpPr/>
          <p:nvPr userDrawn="1"/>
        </p:nvSpPr>
        <p:spPr>
          <a:xfrm>
            <a:off x="-10524" y="0"/>
            <a:ext cx="6630399" cy="6858000"/>
          </a:xfrm>
          <a:prstGeom prst="rect">
            <a:avLst/>
          </a:prstGeom>
          <a:solidFill>
            <a:srgbClr val="E2DED9"/>
          </a:solidFill>
          <a:ln w="25400" cap="flat" cmpd="sng" algn="ctr">
            <a:noFill/>
            <a:prstDash val="solid"/>
          </a:ln>
          <a:effectLst/>
        </p:spPr>
        <p:txBody>
          <a:bodyPr rtlCol="0" anchor="ctr"/>
          <a:lstStyle/>
          <a:p>
            <a:pPr marL="0" marR="0" lvl="0" indent="0" algn="ctr"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FFFFFF"/>
              </a:solidFill>
              <a:effectLst/>
              <a:uLnTx/>
              <a:uFillTx/>
              <a:latin typeface="Arial"/>
              <a:ea typeface="+mn-ea"/>
              <a:cs typeface="+mn-cs"/>
            </a:endParaRPr>
          </a:p>
        </p:txBody>
      </p:sp>
      <p:sp>
        <p:nvSpPr>
          <p:cNvPr id="25" name="object 3">
            <a:extLst>
              <a:ext uri="{FF2B5EF4-FFF2-40B4-BE49-F238E27FC236}">
                <a16:creationId xmlns:a16="http://schemas.microsoft.com/office/drawing/2014/main" id="{2F8E5E3C-C8FF-4ABE-B0BE-21762DA69433}"/>
              </a:ext>
            </a:extLst>
          </p:cNvPr>
          <p:cNvSpPr/>
          <p:nvPr userDrawn="1"/>
        </p:nvSpPr>
        <p:spPr>
          <a:xfrm>
            <a:off x="-10523" y="1192714"/>
            <a:ext cx="7907365" cy="5665287"/>
          </a:xfrm>
          <a:custGeom>
            <a:avLst/>
            <a:gdLst/>
            <a:ahLst/>
            <a:cxnLst/>
            <a:rect l="l" t="t" r="r" b="b"/>
            <a:pathLst>
              <a:path w="16670019" h="10303510">
                <a:moveTo>
                  <a:pt x="0" y="10303351"/>
                </a:moveTo>
                <a:lnTo>
                  <a:pt x="16669649" y="10303351"/>
                </a:lnTo>
                <a:lnTo>
                  <a:pt x="16669649" y="0"/>
                </a:lnTo>
                <a:lnTo>
                  <a:pt x="0" y="0"/>
                </a:lnTo>
                <a:lnTo>
                  <a:pt x="0" y="10303351"/>
                </a:lnTo>
                <a:close/>
              </a:path>
            </a:pathLst>
          </a:custGeom>
          <a:solidFill>
            <a:srgbClr val="30373B"/>
          </a:solidFill>
          <a:ln>
            <a:noFill/>
          </a:ln>
        </p:spPr>
        <p:txBody>
          <a:bodyPr wrap="square" lIns="0" tIns="0" rIns="0" bIns="0" rtlCol="0"/>
          <a:lstStyle/>
          <a:p>
            <a:pPr marL="0" marR="0" lvl="0" indent="0"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chemeClr val="bg2"/>
              </a:solidFill>
              <a:effectLst/>
              <a:uLnTx/>
              <a:uFillTx/>
            </a:endParaRPr>
          </a:p>
        </p:txBody>
      </p:sp>
      <p:sp>
        <p:nvSpPr>
          <p:cNvPr id="3" name="Subtitle 2"/>
          <p:cNvSpPr>
            <a:spLocks noGrp="1"/>
          </p:cNvSpPr>
          <p:nvPr>
            <p:ph type="subTitle" idx="1"/>
          </p:nvPr>
        </p:nvSpPr>
        <p:spPr>
          <a:xfrm>
            <a:off x="249230" y="5463128"/>
            <a:ext cx="5393354" cy="863537"/>
          </a:xfrm>
        </p:spPr>
        <p:txBody>
          <a:bodyPr anchor="b" anchorCtr="0"/>
          <a:lstStyle>
            <a:lvl1pPr marL="0" indent="0" algn="l">
              <a:spcBef>
                <a:spcPts val="0"/>
              </a:spcBef>
              <a:buFont typeface="Arial" panose="020B0604020202020204" pitchFamily="34" charset="0"/>
              <a:buChar char="​"/>
              <a:defRPr sz="831">
                <a:solidFill>
                  <a:srgbClr val="F8F5E7"/>
                </a:solidFill>
              </a:defRPr>
            </a:lvl1pPr>
            <a:lvl2pPr marL="0" indent="0" algn="l">
              <a:buFont typeface="Arial" panose="020B0604020202020204" pitchFamily="34" charset="0"/>
              <a:buNone/>
              <a:defRPr sz="825">
                <a:solidFill>
                  <a:schemeClr val="accent2"/>
                </a:solidFill>
              </a:defRPr>
            </a:lvl2pPr>
            <a:lvl3pPr marL="0" indent="0" algn="l">
              <a:buFont typeface="Arial" panose="020B0604020202020204" pitchFamily="34" charset="0"/>
              <a:buChar char="​"/>
              <a:defRPr sz="1500">
                <a:solidFill>
                  <a:schemeClr val="bg1"/>
                </a:solidFill>
              </a:defRPr>
            </a:lvl3pPr>
            <a:lvl4pPr marL="0" indent="0" algn="l">
              <a:buFont typeface="Arial" panose="020B0604020202020204" pitchFamily="34" charset="0"/>
              <a:buChar char="​"/>
              <a:defRPr sz="1500">
                <a:solidFill>
                  <a:schemeClr val="bg1"/>
                </a:solidFill>
              </a:defRPr>
            </a:lvl4pPr>
            <a:lvl5pPr marL="0" indent="0" algn="l">
              <a:buFont typeface="Arial" panose="020B0604020202020204" pitchFamily="34" charset="0"/>
              <a:buChar char="​"/>
              <a:defRPr sz="1500">
                <a:solidFill>
                  <a:schemeClr val="bg1"/>
                </a:solidFill>
              </a:defRPr>
            </a:lvl5pPr>
            <a:lvl6pPr marL="0" indent="0" algn="l">
              <a:buFont typeface="Arial" panose="020B0604020202020204" pitchFamily="34" charset="0"/>
              <a:buChar char="​"/>
              <a:defRPr sz="1500">
                <a:solidFill>
                  <a:schemeClr val="bg1"/>
                </a:solidFill>
              </a:defRPr>
            </a:lvl6pPr>
            <a:lvl7pPr marL="0" indent="0" algn="l">
              <a:buFont typeface="Arial" panose="020B0604020202020204" pitchFamily="34" charset="0"/>
              <a:buChar char="​"/>
              <a:defRPr sz="1500">
                <a:solidFill>
                  <a:schemeClr val="bg1"/>
                </a:solidFill>
              </a:defRPr>
            </a:lvl7pPr>
            <a:lvl8pPr marL="0" indent="0" algn="l">
              <a:buFont typeface="Arial" panose="020B0604020202020204" pitchFamily="34" charset="0"/>
              <a:buChar char="​"/>
              <a:defRPr sz="1500">
                <a:solidFill>
                  <a:schemeClr val="bg1"/>
                </a:solidFill>
              </a:defRPr>
            </a:lvl8pPr>
            <a:lvl9pPr marL="0" indent="0" algn="l">
              <a:buFont typeface="Arial" panose="020B0604020202020204" pitchFamily="34" charset="0"/>
              <a:buChar char="​"/>
              <a:defRPr sz="1500">
                <a:solidFill>
                  <a:schemeClr val="bg1"/>
                </a:solidFill>
              </a:defRPr>
            </a:lvl9pPr>
          </a:lstStyle>
          <a:p>
            <a:r>
              <a:rPr lang="da-DK"/>
              <a:t>Click to edit Master subtitle style</a:t>
            </a:r>
          </a:p>
        </p:txBody>
      </p:sp>
      <p:sp>
        <p:nvSpPr>
          <p:cNvPr id="2" name="Title 1"/>
          <p:cNvSpPr>
            <a:spLocks noGrp="1"/>
          </p:cNvSpPr>
          <p:nvPr>
            <p:ph type="ctrTitle"/>
          </p:nvPr>
        </p:nvSpPr>
        <p:spPr>
          <a:xfrm>
            <a:off x="251312" y="2138963"/>
            <a:ext cx="5393354" cy="2224886"/>
          </a:xfrm>
        </p:spPr>
        <p:txBody>
          <a:bodyPr anchor="t" anchorCtr="0">
            <a:noAutofit/>
          </a:bodyPr>
          <a:lstStyle>
            <a:lvl1pPr algn="l">
              <a:lnSpc>
                <a:spcPct val="83000"/>
              </a:lnSpc>
              <a:defRPr sz="6000" cap="all" baseline="0">
                <a:solidFill>
                  <a:srgbClr val="F8F5E7"/>
                </a:solidFill>
                <a:latin typeface="Impact" panose="020B0806030902050204" pitchFamily="34" charset="0"/>
              </a:defRPr>
            </a:lvl1pPr>
          </a:lstStyle>
          <a:p>
            <a:r>
              <a:rPr lang="da-DK"/>
              <a:t>Click to edit Master title style</a:t>
            </a:r>
          </a:p>
        </p:txBody>
      </p:sp>
      <p:sp>
        <p:nvSpPr>
          <p:cNvPr id="8" name="Text Placeholder 7">
            <a:extLst>
              <a:ext uri="{FF2B5EF4-FFF2-40B4-BE49-F238E27FC236}">
                <a16:creationId xmlns:a16="http://schemas.microsoft.com/office/drawing/2014/main" id="{24B46EDD-CF3B-49AB-826E-68B63D5E117C}"/>
              </a:ext>
            </a:extLst>
          </p:cNvPr>
          <p:cNvSpPr>
            <a:spLocks noGrp="1"/>
          </p:cNvSpPr>
          <p:nvPr>
            <p:ph type="body" sz="quarter" idx="13" hasCustomPrompt="1"/>
          </p:nvPr>
        </p:nvSpPr>
        <p:spPr>
          <a:xfrm>
            <a:off x="249230" y="6387016"/>
            <a:ext cx="5393354" cy="210634"/>
          </a:xfrm>
        </p:spPr>
        <p:txBody>
          <a:bodyPr rIns="0" anchor="b" anchorCtr="0"/>
          <a:lstStyle>
            <a:lvl1pPr>
              <a:defRPr sz="831">
                <a:solidFill>
                  <a:srgbClr val="F8F5E7"/>
                </a:solidFill>
              </a:defRPr>
            </a:lvl1pPr>
            <a:lvl5pPr>
              <a:defRPr/>
            </a:lvl5pPr>
          </a:lstStyle>
          <a:p>
            <a:pPr lvl="0"/>
            <a:r>
              <a:rPr lang="da-DK"/>
              <a:t>Date</a:t>
            </a:r>
          </a:p>
        </p:txBody>
      </p:sp>
      <p:sp>
        <p:nvSpPr>
          <p:cNvPr id="16" name="Freeform: Shape 15">
            <a:extLst>
              <a:ext uri="{FF2B5EF4-FFF2-40B4-BE49-F238E27FC236}">
                <a16:creationId xmlns:a16="http://schemas.microsoft.com/office/drawing/2014/main" id="{FB0748D9-B4B7-46FB-99B6-A4449CF9F500}"/>
              </a:ext>
            </a:extLst>
          </p:cNvPr>
          <p:cNvSpPr/>
          <p:nvPr userDrawn="1">
            <p:custDataLst>
              <p:tags r:id="rId1"/>
            </p:custDataLst>
          </p:nvPr>
        </p:nvSpPr>
        <p:spPr bwMode="auto">
          <a:xfrm rot="5400000">
            <a:off x="8131101" y="799617"/>
            <a:ext cx="1258889" cy="265746"/>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r>
              <a:rPr lang="da-DK" sz="1662"/>
              <a:t> </a:t>
            </a:r>
          </a:p>
        </p:txBody>
      </p:sp>
      <p:sp>
        <p:nvSpPr>
          <p:cNvPr id="13" name="Date_GeneralDate" hidden="1">
            <a:extLst>
              <a:ext uri="{FF2B5EF4-FFF2-40B4-BE49-F238E27FC236}">
                <a16:creationId xmlns:a16="http://schemas.microsoft.com/office/drawing/2014/main" id="{649F2878-DF75-476E-9321-0911D8D1FC2B}"/>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4" name="FLD_PresentationTitle" hidden="1">
            <a:extLst>
              <a:ext uri="{FF2B5EF4-FFF2-40B4-BE49-F238E27FC236}">
                <a16:creationId xmlns:a16="http://schemas.microsoft.com/office/drawing/2014/main" id="{336355EA-6FA5-4B9D-B232-E77EBE1CA664}"/>
              </a:ext>
            </a:extLst>
          </p:cNvPr>
          <p:cNvSpPr>
            <a:spLocks noGrp="1"/>
          </p:cNvSpPr>
          <p:nvPr>
            <p:ph type="ftr" sz="quarter" idx="11"/>
          </p:nvPr>
        </p:nvSpPr>
        <p:spPr>
          <a:xfrm>
            <a:off x="0" y="6912000"/>
            <a:ext cx="0" cy="0"/>
          </a:xfrm>
        </p:spPr>
        <p:txBody>
          <a:bodyPr anchor="t" anchorCtr="0"/>
          <a:lstStyle>
            <a:lvl1pPr algn="l">
              <a:defRPr sz="100">
                <a:noFill/>
              </a:defRPr>
            </a:lvl1pPr>
          </a:lstStyle>
          <a:p>
            <a:endParaRPr lang="da-DK"/>
          </a:p>
        </p:txBody>
      </p:sp>
      <p:sp>
        <p:nvSpPr>
          <p:cNvPr id="15" name="Slide Number Placeholder 5" hidden="1">
            <a:extLst>
              <a:ext uri="{FF2B5EF4-FFF2-40B4-BE49-F238E27FC236}">
                <a16:creationId xmlns:a16="http://schemas.microsoft.com/office/drawing/2014/main" id="{A280B4D8-6669-4983-ACDA-5286F766EC9F}"/>
              </a:ext>
            </a:extLst>
          </p:cNvPr>
          <p:cNvSpPr>
            <a:spLocks noGrp="1"/>
          </p:cNvSpPr>
          <p:nvPr>
            <p:ph type="sldNum" sz="quarter" idx="12"/>
          </p:nvPr>
        </p:nvSpPr>
        <p:spPr>
          <a:xfrm>
            <a:off x="0" y="6912000"/>
            <a:ext cx="0" cy="0"/>
          </a:xfrm>
        </p:spPr>
        <p:txBody>
          <a:bodyPr anchor="t" anchorCtr="0"/>
          <a:lstStyle>
            <a:lvl1pPr>
              <a:defRPr sz="100">
                <a:noFill/>
              </a:defRPr>
            </a:lvl1pPr>
          </a:lstStyle>
          <a:p>
            <a:fld id="{24C8C45C-947F-4981-8B3F-4F32E973C901}" type="slidenum">
              <a:rPr lang="da-DK" smtClean="0"/>
              <a:pPr/>
              <a:t>‹nr.›</a:t>
            </a:fld>
            <a:endParaRPr lang="da-DK"/>
          </a:p>
        </p:txBody>
      </p:sp>
      <p:sp>
        <p:nvSpPr>
          <p:cNvPr id="12" name="TextBox 11">
            <a:extLst>
              <a:ext uri="{FF2B5EF4-FFF2-40B4-BE49-F238E27FC236}">
                <a16:creationId xmlns:a16="http://schemas.microsoft.com/office/drawing/2014/main" id="{33D81281-2A14-4E3E-B226-3377EDFCB739}"/>
              </a:ext>
            </a:extLst>
          </p:cNvPr>
          <p:cNvSpPr txBox="1"/>
          <p:nvPr userDrawn="1"/>
        </p:nvSpPr>
        <p:spPr>
          <a:xfrm>
            <a:off x="8256330" y="6492630"/>
            <a:ext cx="562284" cy="127856"/>
          </a:xfrm>
          <a:prstGeom prst="rect">
            <a:avLst/>
          </a:prstGeom>
          <a:noFill/>
          <a:ln w="6350">
            <a:noFill/>
            <a:prstDash val="sysDash"/>
          </a:ln>
        </p:spPr>
        <p:txBody>
          <a:bodyPr wrap="square" lIns="0" tIns="0" rIns="0" bIns="0" rtlCol="0">
            <a:spAutoFit/>
          </a:bodyPr>
          <a:lstStyle/>
          <a:p>
            <a:pPr algn="l"/>
            <a:r>
              <a:rPr lang="da-DK" sz="831">
                <a:solidFill>
                  <a:schemeClr val="tx1"/>
                </a:solidFill>
              </a:rPr>
              <a:t>Confidential</a:t>
            </a:r>
          </a:p>
        </p:txBody>
      </p:sp>
    </p:spTree>
    <p:extLst>
      <p:ext uri="{BB962C8B-B14F-4D97-AF65-F5344CB8AC3E}">
        <p14:creationId xmlns:p14="http://schemas.microsoft.com/office/powerpoint/2010/main" val="413318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yout 2B (titel, undertit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365127"/>
            <a:ext cx="7981950" cy="689476"/>
          </a:xfrm>
          <a:prstGeom prst="rect">
            <a:avLst/>
          </a:prstGeom>
          <a:noFill/>
        </p:spPr>
        <p:txBody>
          <a:bodyPr anchor="b">
            <a:normAutofit/>
          </a:bodyPr>
          <a:lstStyle>
            <a:lvl1pPr>
              <a:defRPr sz="2400" b="1" cap="all" baseline="0">
                <a:solidFill>
                  <a:srgbClr val="00B0F0"/>
                </a:solidFill>
                <a:latin typeface="Verdana" panose="020B0604030504040204" pitchFamily="34" charset="0"/>
                <a:ea typeface="Verdana" panose="020B0604030504040204" pitchFamily="34" charset="0"/>
                <a:cs typeface="Verdana" panose="020B0604030504040204" pitchFamily="34" charset="0"/>
              </a:defRPr>
            </a:lvl1pPr>
          </a:lstStyle>
          <a:p>
            <a:r>
              <a:rPr lang="da-DK"/>
              <a:t>KLIK FOR AT indsætte overskrift</a:t>
            </a:r>
          </a:p>
        </p:txBody>
      </p:sp>
      <p:sp>
        <p:nvSpPr>
          <p:cNvPr id="12" name="Undertitel 2"/>
          <p:cNvSpPr>
            <a:spLocks noGrp="1"/>
          </p:cNvSpPr>
          <p:nvPr>
            <p:ph type="subTitle" idx="11" hasCustomPrompt="1"/>
          </p:nvPr>
        </p:nvSpPr>
        <p:spPr>
          <a:xfrm>
            <a:off x="628650" y="1054601"/>
            <a:ext cx="7981950" cy="391367"/>
          </a:xfrm>
          <a:prstGeom prst="rect">
            <a:avLst/>
          </a:prstGeom>
          <a:noFill/>
        </p:spPr>
        <p:txBody>
          <a:bodyPr anchor="ctr">
            <a:noAutofit/>
          </a:bodyPr>
          <a:lstStyle>
            <a:lvl1pPr marL="0" indent="0" algn="l">
              <a:buNone/>
              <a:defRPr sz="1800" b="1" i="0" u="none">
                <a:solidFill>
                  <a:schemeClr val="accent3">
                    <a:lumMod val="50000"/>
                  </a:schemeClr>
                </a:solidFill>
                <a:effectLst/>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indsætte underoverskrift</a:t>
            </a:r>
          </a:p>
        </p:txBody>
      </p:sp>
      <p:sp>
        <p:nvSpPr>
          <p:cNvPr id="16" name="Pladsholder til diasnummer 5"/>
          <p:cNvSpPr txBox="1">
            <a:spLocks/>
          </p:cNvSpPr>
          <p:nvPr userDrawn="1"/>
        </p:nvSpPr>
        <p:spPr>
          <a:xfrm>
            <a:off x="4124325" y="6248194"/>
            <a:ext cx="990600" cy="297265"/>
          </a:xfrm>
          <a:prstGeom prst="rect">
            <a:avLst/>
          </a:prstGeom>
        </p:spPr>
        <p:txBody>
          <a:bodyPr/>
          <a:lstStyle>
            <a:defPPr>
              <a:defRPr lang="da-DK"/>
            </a:defPPr>
            <a:lvl1pPr marL="0" algn="r" defTabSz="914400" rtl="0" eaLnBrk="1" latinLnBrk="0" hangingPunct="1">
              <a:defRPr sz="1400" kern="1200">
                <a:solidFill>
                  <a:schemeClr val="accent6"/>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200" b="0">
                <a:solidFill>
                  <a:schemeClr val="tx1"/>
                </a:solidFill>
                <a:latin typeface="Verdana" panose="020B0604030504040204" pitchFamily="34" charset="0"/>
                <a:ea typeface="Verdana" panose="020B0604030504040204" pitchFamily="34" charset="0"/>
                <a:cs typeface="Verdana" panose="020B0604030504040204" pitchFamily="34" charset="0"/>
              </a:rPr>
              <a:t>Side </a:t>
            </a:r>
            <a:fld id="{C7AC859A-AE19-4543-AC75-3D2F5ABF6574}" type="slidenum">
              <a:rPr lang="da-DK" sz="1200" b="0" smtClean="0">
                <a:solidFill>
                  <a:schemeClr val="tx1"/>
                </a:solidFill>
                <a:latin typeface="Verdana" panose="020B0604030504040204" pitchFamily="34" charset="0"/>
                <a:ea typeface="Verdana" panose="020B0604030504040204" pitchFamily="34" charset="0"/>
                <a:cs typeface="Verdana" panose="020B0604030504040204" pitchFamily="34" charset="0"/>
              </a:rPr>
              <a:pPr algn="ctr"/>
              <a:t>‹nr.›</a:t>
            </a:fld>
            <a:endParaRPr lang="da-DK" sz="1200" b="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8" name="Pladsholder til indhold 2"/>
          <p:cNvSpPr>
            <a:spLocks noGrp="1"/>
          </p:cNvSpPr>
          <p:nvPr>
            <p:ph idx="10" hasCustomPrompt="1"/>
          </p:nvPr>
        </p:nvSpPr>
        <p:spPr>
          <a:xfrm>
            <a:off x="628650" y="1445966"/>
            <a:ext cx="7981950" cy="4348553"/>
          </a:xfrm>
          <a:prstGeom prst="rect">
            <a:avLst/>
          </a:prstGeom>
        </p:spPr>
        <p:txBody>
          <a:bodyPr>
            <a:normAutofit/>
          </a:bodyPr>
          <a:lstStyle>
            <a:lvl1pPr marL="0" indent="0">
              <a:lnSpc>
                <a:spcPct val="150000"/>
              </a:lnSpc>
              <a:spcBef>
                <a:spcPts val="0"/>
              </a:spcBef>
              <a:buNone/>
              <a:defRPr sz="1800">
                <a:latin typeface="Verdana" panose="020B0604030504040204" pitchFamily="34" charset="0"/>
                <a:ea typeface="Verdana" panose="020B0604030504040204" pitchFamily="34" charset="0"/>
                <a:cs typeface="Verdana" panose="020B0604030504040204" pitchFamily="34" charset="0"/>
              </a:defRPr>
            </a:lvl1pPr>
            <a:lvl2pPr marL="800100" indent="-342900">
              <a:lnSpc>
                <a:spcPct val="150000"/>
              </a:lnSpc>
              <a:spcBef>
                <a:spcPts val="0"/>
              </a:spcBef>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defRPr>
            </a:lvl2pPr>
            <a:lvl3pPr marL="1257300" indent="-342900">
              <a:lnSpc>
                <a:spcPct val="150000"/>
              </a:lnSpc>
              <a:spcBef>
                <a:spcPts val="0"/>
              </a:spcBef>
              <a:buFont typeface="Courier New" panose="02070309020205020404" pitchFamily="49" charset="0"/>
              <a:buChar char="o"/>
              <a:defRPr sz="1400">
                <a:latin typeface="Verdana" panose="020B0604030504040204" pitchFamily="34" charset="0"/>
                <a:ea typeface="Verdana" panose="020B0604030504040204" pitchFamily="34" charset="0"/>
                <a:cs typeface="Verdana" panose="020B0604030504040204" pitchFamily="34" charset="0"/>
              </a:defRPr>
            </a:lvl3pPr>
            <a:lvl4pPr marL="1714500" indent="-342900">
              <a:lnSpc>
                <a:spcPct val="150000"/>
              </a:lnSpc>
              <a:spcBef>
                <a:spcPts val="0"/>
              </a:spcBef>
              <a:buFont typeface="Wingdings" panose="05000000000000000000" pitchFamily="2" charset="2"/>
              <a:buChar char="§"/>
              <a:defRPr sz="1300">
                <a:latin typeface="Verdana" panose="020B0604030504040204" pitchFamily="34" charset="0"/>
                <a:ea typeface="Verdana" panose="020B0604030504040204" pitchFamily="34" charset="0"/>
                <a:cs typeface="Verdana" panose="020B0604030504040204" pitchFamily="34" charset="0"/>
              </a:defRPr>
            </a:lvl4pPr>
            <a:lvl5pPr marL="2057400" indent="-228600">
              <a:lnSpc>
                <a:spcPct val="150000"/>
              </a:lnSpc>
              <a:spcBef>
                <a:spcPts val="0"/>
              </a:spcBef>
              <a:buFont typeface="Arial" panose="020B0604020202020204" pitchFamily="34" charset="0"/>
              <a:buChar char="•"/>
              <a:defRPr sz="1100">
                <a:latin typeface="Verdana" panose="020B0604030504040204" pitchFamily="34" charset="0"/>
                <a:ea typeface="Verdana" panose="020B0604030504040204" pitchFamily="34" charset="0"/>
                <a:cs typeface="Verdana" panose="020B0604030504040204" pitchFamily="34" charset="0"/>
              </a:defRPr>
            </a:lvl5pPr>
          </a:lstStyle>
          <a:p>
            <a:pPr lvl="0"/>
            <a:r>
              <a:rPr lang="da-DK"/>
              <a:t>Klik for at indsætte indhold</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2271978580"/>
      </p:ext>
    </p:extLst>
  </p:cSld>
  <p:clrMapOvr>
    <a:masterClrMapping/>
  </p:clrMapOvr>
  <p:transition spd="slow">
    <p:push dir="u"/>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ver Logo Image Dark A">
    <p:spTree>
      <p:nvGrpSpPr>
        <p:cNvPr id="1" name=""/>
        <p:cNvGrpSpPr/>
        <p:nvPr/>
      </p:nvGrpSpPr>
      <p:grpSpPr>
        <a:xfrm>
          <a:off x="0" y="0"/>
          <a:ext cx="0" cy="0"/>
          <a:chOff x="0" y="0"/>
          <a:chExt cx="0" cy="0"/>
        </a:xfrm>
      </p:grpSpPr>
      <p:sp>
        <p:nvSpPr>
          <p:cNvPr id="23" name="object 2">
            <a:extLst>
              <a:ext uri="{FF2B5EF4-FFF2-40B4-BE49-F238E27FC236}">
                <a16:creationId xmlns:a16="http://schemas.microsoft.com/office/drawing/2014/main" id="{A81EE220-AC53-4153-A0FE-1F2219FBF428}"/>
              </a:ext>
            </a:extLst>
          </p:cNvPr>
          <p:cNvSpPr/>
          <p:nvPr userDrawn="1"/>
        </p:nvSpPr>
        <p:spPr>
          <a:xfrm>
            <a:off x="3186569" y="0"/>
            <a:ext cx="5957431" cy="6858000"/>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E4B73B"/>
          </a:solidFill>
        </p:spPr>
        <p:txBody>
          <a:bodyPr wrap="square" lIns="0" tIns="0" rIns="0" bIns="0" rtlCol="0"/>
          <a:lstStyle/>
          <a:p>
            <a:pPr marL="0" marR="0" lvl="0" indent="0"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2F363B"/>
              </a:solidFill>
              <a:effectLst/>
              <a:uLnTx/>
              <a:uFillTx/>
            </a:endParaRPr>
          </a:p>
        </p:txBody>
      </p:sp>
      <p:sp>
        <p:nvSpPr>
          <p:cNvPr id="3" name="Rectangle 2">
            <a:extLst>
              <a:ext uri="{FF2B5EF4-FFF2-40B4-BE49-F238E27FC236}">
                <a16:creationId xmlns:a16="http://schemas.microsoft.com/office/drawing/2014/main" id="{78FF8D86-B4F2-440A-9986-8206DC5C5D54}"/>
              </a:ext>
            </a:extLst>
          </p:cNvPr>
          <p:cNvSpPr/>
          <p:nvPr userDrawn="1"/>
        </p:nvSpPr>
        <p:spPr>
          <a:xfrm>
            <a:off x="0" y="1"/>
            <a:ext cx="7896841" cy="5502275"/>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t" anchorCtr="0"/>
          <a:lstStyle/>
          <a:p>
            <a:pPr algn="l"/>
            <a:endParaRPr lang="da-DK" sz="923" noProof="0">
              <a:solidFill>
                <a:srgbClr val="2F363B"/>
              </a:solidFill>
            </a:endParaRPr>
          </a:p>
        </p:txBody>
      </p:sp>
      <p:sp>
        <p:nvSpPr>
          <p:cNvPr id="13" name="Picture Placeholder 13">
            <a:extLst>
              <a:ext uri="{FF2B5EF4-FFF2-40B4-BE49-F238E27FC236}">
                <a16:creationId xmlns:a16="http://schemas.microsoft.com/office/drawing/2014/main" id="{32CBD7CE-0C91-4290-9606-0942684C4652}"/>
              </a:ext>
            </a:extLst>
          </p:cNvPr>
          <p:cNvSpPr>
            <a:spLocks noGrp="1"/>
          </p:cNvSpPr>
          <p:nvPr>
            <p:ph type="pic" sz="quarter" idx="15"/>
          </p:nvPr>
        </p:nvSpPr>
        <p:spPr>
          <a:xfrm>
            <a:off x="3186570" y="4011118"/>
            <a:ext cx="5957431" cy="2846883"/>
          </a:xfrm>
          <a:solidFill>
            <a:srgbClr val="F3F2F0"/>
          </a:solidFill>
        </p:spPr>
        <p:txBody>
          <a:bodyPr vert="horz" lIns="0" tIns="0" rIns="0" bIns="0" rtlCol="0" anchor="ctr" anchorCtr="0">
            <a:noAutofit/>
          </a:bodyPr>
          <a:lstStyle>
            <a:lvl1pPr algn="ctr">
              <a:defRPr lang="da-DK" dirty="0"/>
            </a:lvl1pPr>
          </a:lstStyle>
          <a:p>
            <a:pPr lvl="0" algn="ctr">
              <a:buNone/>
            </a:pPr>
            <a:r>
              <a:rPr lang="da-DK"/>
              <a:t>Click icon to add picture</a:t>
            </a:r>
          </a:p>
        </p:txBody>
      </p:sp>
      <p:sp>
        <p:nvSpPr>
          <p:cNvPr id="18" name="Subtitle 2">
            <a:extLst>
              <a:ext uri="{FF2B5EF4-FFF2-40B4-BE49-F238E27FC236}">
                <a16:creationId xmlns:a16="http://schemas.microsoft.com/office/drawing/2014/main" id="{28390A0B-0148-4E4A-997F-3FF133263F31}"/>
              </a:ext>
            </a:extLst>
          </p:cNvPr>
          <p:cNvSpPr>
            <a:spLocks noGrp="1"/>
          </p:cNvSpPr>
          <p:nvPr>
            <p:ph type="subTitle" idx="1"/>
          </p:nvPr>
        </p:nvSpPr>
        <p:spPr>
          <a:xfrm>
            <a:off x="249116" y="4011118"/>
            <a:ext cx="2599592" cy="1003221"/>
          </a:xfrm>
        </p:spPr>
        <p:txBody>
          <a:bodyPr rIns="360000" anchor="t" anchorCtr="0">
            <a:noAutofit/>
          </a:bodyPr>
          <a:lstStyle>
            <a:lvl1pPr marL="0" indent="0" algn="l">
              <a:spcBef>
                <a:spcPts val="0"/>
              </a:spcBef>
              <a:buFont typeface="Arial" panose="020B0604020202020204" pitchFamily="34" charset="0"/>
              <a:buChar char="​"/>
              <a:defRPr sz="900">
                <a:solidFill>
                  <a:srgbClr val="F8F5E7"/>
                </a:solidFill>
              </a:defRPr>
            </a:lvl1pPr>
            <a:lvl2pPr marL="0" indent="0" algn="l">
              <a:buFont typeface="Arial" panose="020B0604020202020204" pitchFamily="34" charset="0"/>
              <a:buNone/>
              <a:defRPr sz="825">
                <a:solidFill>
                  <a:srgbClr val="2F363B"/>
                </a:solidFill>
              </a:defRPr>
            </a:lvl2pPr>
            <a:lvl3pPr marL="0" indent="0" algn="l">
              <a:buFont typeface="Arial" panose="020B0604020202020204" pitchFamily="34" charset="0"/>
              <a:buChar char="​"/>
              <a:defRPr sz="1500">
                <a:solidFill>
                  <a:schemeClr val="bg1"/>
                </a:solidFill>
              </a:defRPr>
            </a:lvl3pPr>
            <a:lvl4pPr marL="0" indent="0" algn="l">
              <a:buFont typeface="Arial" panose="020B0604020202020204" pitchFamily="34" charset="0"/>
              <a:buChar char="​"/>
              <a:defRPr sz="1500">
                <a:solidFill>
                  <a:schemeClr val="bg1"/>
                </a:solidFill>
              </a:defRPr>
            </a:lvl4pPr>
            <a:lvl5pPr marL="0" indent="0" algn="l">
              <a:buFont typeface="Arial" panose="020B0604020202020204" pitchFamily="34" charset="0"/>
              <a:buChar char="​"/>
              <a:defRPr sz="1500">
                <a:solidFill>
                  <a:schemeClr val="bg1"/>
                </a:solidFill>
              </a:defRPr>
            </a:lvl5pPr>
            <a:lvl6pPr marL="0" indent="0" algn="l">
              <a:buFont typeface="Arial" panose="020B0604020202020204" pitchFamily="34" charset="0"/>
              <a:buChar char="​"/>
              <a:defRPr sz="1500">
                <a:solidFill>
                  <a:schemeClr val="bg1"/>
                </a:solidFill>
              </a:defRPr>
            </a:lvl6pPr>
            <a:lvl7pPr marL="0" indent="0" algn="l">
              <a:buFont typeface="Arial" panose="020B0604020202020204" pitchFamily="34" charset="0"/>
              <a:buChar char="​"/>
              <a:defRPr sz="1500">
                <a:solidFill>
                  <a:schemeClr val="bg1"/>
                </a:solidFill>
              </a:defRPr>
            </a:lvl7pPr>
            <a:lvl8pPr marL="0" indent="0" algn="l">
              <a:buFont typeface="Arial" panose="020B0604020202020204" pitchFamily="34" charset="0"/>
              <a:buChar char="​"/>
              <a:defRPr sz="1500">
                <a:solidFill>
                  <a:schemeClr val="bg1"/>
                </a:solidFill>
              </a:defRPr>
            </a:lvl8pPr>
            <a:lvl9pPr marL="0" indent="0" algn="l">
              <a:buFont typeface="Arial" panose="020B0604020202020204" pitchFamily="34" charset="0"/>
              <a:buChar char="​"/>
              <a:defRPr sz="1500">
                <a:solidFill>
                  <a:schemeClr val="bg1"/>
                </a:solidFill>
              </a:defRPr>
            </a:lvl9pPr>
          </a:lstStyle>
          <a:p>
            <a:r>
              <a:rPr lang="da-DK"/>
              <a:t>Click to edit Master subtitle style</a:t>
            </a:r>
          </a:p>
        </p:txBody>
      </p:sp>
      <p:sp>
        <p:nvSpPr>
          <p:cNvPr id="10" name="Text Placeholder 7">
            <a:extLst>
              <a:ext uri="{FF2B5EF4-FFF2-40B4-BE49-F238E27FC236}">
                <a16:creationId xmlns:a16="http://schemas.microsoft.com/office/drawing/2014/main" id="{49585976-AA21-42CB-B82F-826F94524238}"/>
              </a:ext>
            </a:extLst>
          </p:cNvPr>
          <p:cNvSpPr>
            <a:spLocks noGrp="1"/>
          </p:cNvSpPr>
          <p:nvPr>
            <p:ph type="body" sz="quarter" idx="13" hasCustomPrompt="1"/>
          </p:nvPr>
        </p:nvSpPr>
        <p:spPr>
          <a:xfrm>
            <a:off x="249116" y="5014338"/>
            <a:ext cx="2599593" cy="210634"/>
          </a:xfrm>
        </p:spPr>
        <p:txBody>
          <a:bodyPr rIns="0" anchor="b" anchorCtr="0"/>
          <a:lstStyle>
            <a:lvl1pPr>
              <a:defRPr sz="831">
                <a:solidFill>
                  <a:srgbClr val="F8F5E7"/>
                </a:solidFill>
              </a:defRPr>
            </a:lvl1pPr>
            <a:lvl5pPr>
              <a:defRPr/>
            </a:lvl5pPr>
          </a:lstStyle>
          <a:p>
            <a:pPr lvl="0"/>
            <a:r>
              <a:rPr lang="da-DK"/>
              <a:t>Date</a:t>
            </a:r>
          </a:p>
        </p:txBody>
      </p:sp>
      <p:sp>
        <p:nvSpPr>
          <p:cNvPr id="20" name="Title 1">
            <a:extLst>
              <a:ext uri="{FF2B5EF4-FFF2-40B4-BE49-F238E27FC236}">
                <a16:creationId xmlns:a16="http://schemas.microsoft.com/office/drawing/2014/main" id="{2F6935FD-E8E7-4B35-B4B1-C7059310FDE5}"/>
              </a:ext>
            </a:extLst>
          </p:cNvPr>
          <p:cNvSpPr>
            <a:spLocks noGrp="1"/>
          </p:cNvSpPr>
          <p:nvPr>
            <p:ph type="ctrTitle"/>
          </p:nvPr>
        </p:nvSpPr>
        <p:spPr>
          <a:xfrm>
            <a:off x="251314" y="539750"/>
            <a:ext cx="5392443" cy="3194064"/>
          </a:xfrm>
        </p:spPr>
        <p:txBody>
          <a:bodyPr anchor="t" anchorCtr="0">
            <a:noAutofit/>
          </a:bodyPr>
          <a:lstStyle>
            <a:lvl1pPr algn="l">
              <a:lnSpc>
                <a:spcPct val="83000"/>
              </a:lnSpc>
              <a:defRPr sz="6000" cap="all" baseline="0">
                <a:solidFill>
                  <a:srgbClr val="F8F5E7"/>
                </a:solidFill>
                <a:latin typeface="Impact" panose="020B0806030902050204" pitchFamily="34" charset="0"/>
              </a:defRPr>
            </a:lvl1pPr>
          </a:lstStyle>
          <a:p>
            <a:r>
              <a:rPr lang="da-DK"/>
              <a:t>Click to edit Master title style</a:t>
            </a:r>
          </a:p>
        </p:txBody>
      </p:sp>
      <p:sp>
        <p:nvSpPr>
          <p:cNvPr id="12" name="Freeform: Shape 11">
            <a:extLst>
              <a:ext uri="{FF2B5EF4-FFF2-40B4-BE49-F238E27FC236}">
                <a16:creationId xmlns:a16="http://schemas.microsoft.com/office/drawing/2014/main" id="{A8E36132-A534-4EFF-8A7F-F188BAB49D88}"/>
              </a:ext>
            </a:extLst>
          </p:cNvPr>
          <p:cNvSpPr/>
          <p:nvPr userDrawn="1">
            <p:custDataLst>
              <p:tags r:id="rId1"/>
            </p:custDataLst>
          </p:nvPr>
        </p:nvSpPr>
        <p:spPr bwMode="auto">
          <a:xfrm rot="5400000">
            <a:off x="8131101" y="799617"/>
            <a:ext cx="1258889" cy="265746"/>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r>
              <a:rPr lang="da-DK" sz="1662"/>
              <a:t> </a:t>
            </a:r>
          </a:p>
        </p:txBody>
      </p:sp>
      <p:sp>
        <p:nvSpPr>
          <p:cNvPr id="14" name="Date_GeneralDate" hidden="1">
            <a:extLst>
              <a:ext uri="{FF2B5EF4-FFF2-40B4-BE49-F238E27FC236}">
                <a16:creationId xmlns:a16="http://schemas.microsoft.com/office/drawing/2014/main" id="{9406085A-C43F-4E5C-98B7-50CF54CDE2E4}"/>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5" name="FLD_PresentationTitle" hidden="1">
            <a:extLst>
              <a:ext uri="{FF2B5EF4-FFF2-40B4-BE49-F238E27FC236}">
                <a16:creationId xmlns:a16="http://schemas.microsoft.com/office/drawing/2014/main" id="{980D4307-1E30-40BF-9A20-A045D172AA96}"/>
              </a:ext>
            </a:extLst>
          </p:cNvPr>
          <p:cNvSpPr>
            <a:spLocks noGrp="1"/>
          </p:cNvSpPr>
          <p:nvPr>
            <p:ph type="ftr" sz="quarter" idx="11"/>
          </p:nvPr>
        </p:nvSpPr>
        <p:spPr>
          <a:xfrm>
            <a:off x="0" y="6912000"/>
            <a:ext cx="0" cy="0"/>
          </a:xfrm>
        </p:spPr>
        <p:txBody>
          <a:bodyPr anchor="t" anchorCtr="0"/>
          <a:lstStyle>
            <a:lvl1pPr algn="l">
              <a:defRPr sz="100">
                <a:noFill/>
              </a:defRPr>
            </a:lvl1pPr>
          </a:lstStyle>
          <a:p>
            <a:endParaRPr lang="da-DK"/>
          </a:p>
        </p:txBody>
      </p:sp>
      <p:sp>
        <p:nvSpPr>
          <p:cNvPr id="16" name="Slide Number Placeholder 5" hidden="1">
            <a:extLst>
              <a:ext uri="{FF2B5EF4-FFF2-40B4-BE49-F238E27FC236}">
                <a16:creationId xmlns:a16="http://schemas.microsoft.com/office/drawing/2014/main" id="{8A49A16C-AA42-42D1-A77B-CEC2D6C356C4}"/>
              </a:ext>
            </a:extLst>
          </p:cNvPr>
          <p:cNvSpPr>
            <a:spLocks noGrp="1"/>
          </p:cNvSpPr>
          <p:nvPr>
            <p:ph type="sldNum" sz="quarter" idx="12"/>
          </p:nvPr>
        </p:nvSpPr>
        <p:spPr>
          <a:xfrm>
            <a:off x="0" y="6912000"/>
            <a:ext cx="0" cy="0"/>
          </a:xfrm>
        </p:spPr>
        <p:txBody>
          <a:bodyPr anchor="t" anchorCtr="0"/>
          <a:lstStyle>
            <a:lvl1pPr>
              <a:defRPr sz="100">
                <a:noFill/>
              </a:defRPr>
            </a:lvl1pPr>
          </a:lstStyle>
          <a:p>
            <a:fld id="{24C8C45C-947F-4981-8B3F-4F32E973C901}" type="slidenum">
              <a:rPr lang="da-DK" smtClean="0"/>
              <a:pPr/>
              <a:t>‹nr.›</a:t>
            </a:fld>
            <a:endParaRPr lang="da-DK"/>
          </a:p>
        </p:txBody>
      </p:sp>
      <p:sp>
        <p:nvSpPr>
          <p:cNvPr id="17" name="TextBox 16">
            <a:extLst>
              <a:ext uri="{FF2B5EF4-FFF2-40B4-BE49-F238E27FC236}">
                <a16:creationId xmlns:a16="http://schemas.microsoft.com/office/drawing/2014/main" id="{98003F94-3A20-45FE-9AD7-1F0518FF10DF}"/>
              </a:ext>
            </a:extLst>
          </p:cNvPr>
          <p:cNvSpPr txBox="1"/>
          <p:nvPr userDrawn="1"/>
        </p:nvSpPr>
        <p:spPr>
          <a:xfrm>
            <a:off x="257472" y="6505496"/>
            <a:ext cx="562284" cy="127856"/>
          </a:xfrm>
          <a:prstGeom prst="rect">
            <a:avLst/>
          </a:prstGeom>
          <a:noFill/>
          <a:ln w="6350">
            <a:noFill/>
            <a:prstDash val="sysDash"/>
          </a:ln>
        </p:spPr>
        <p:txBody>
          <a:bodyPr wrap="square" lIns="0" tIns="0" rIns="0" bIns="0" rtlCol="0">
            <a:spAutoFit/>
          </a:bodyPr>
          <a:lstStyle/>
          <a:p>
            <a:pPr algn="l"/>
            <a:r>
              <a:rPr lang="da-DK" sz="831">
                <a:solidFill>
                  <a:schemeClr val="tx1"/>
                </a:solidFill>
              </a:rPr>
              <a:t>Confidential</a:t>
            </a:r>
          </a:p>
        </p:txBody>
      </p:sp>
    </p:spTree>
    <p:extLst>
      <p:ext uri="{BB962C8B-B14F-4D97-AF65-F5344CB8AC3E}">
        <p14:creationId xmlns:p14="http://schemas.microsoft.com/office/powerpoint/2010/main" val="1821629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ver Logo Image Dark B">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68EEBBF-213D-4D68-A9CE-7CE68854BF37}"/>
              </a:ext>
            </a:extLst>
          </p:cNvPr>
          <p:cNvSpPr/>
          <p:nvPr userDrawn="1"/>
        </p:nvSpPr>
        <p:spPr>
          <a:xfrm>
            <a:off x="2554423" y="0"/>
            <a:ext cx="6589577" cy="6858000"/>
          </a:xfrm>
          <a:prstGeom prst="rect">
            <a:avLst/>
          </a:prstGeom>
          <a:solidFill>
            <a:srgbClr val="E2DED9"/>
          </a:solidFill>
          <a:ln w="25400" cap="flat" cmpd="sng" algn="ctr">
            <a:noFill/>
            <a:prstDash val="solid"/>
          </a:ln>
          <a:effectLst/>
        </p:spPr>
        <p:txBody>
          <a:bodyPr rtlCol="0" anchor="ctr"/>
          <a:lstStyle/>
          <a:p>
            <a:pPr marL="0" marR="0" lvl="0" indent="0" algn="ctr"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98929087-DD0C-46A9-A049-79CBB8A516FF}"/>
              </a:ext>
            </a:extLst>
          </p:cNvPr>
          <p:cNvSpPr/>
          <p:nvPr userDrawn="1"/>
        </p:nvSpPr>
        <p:spPr>
          <a:xfrm>
            <a:off x="0" y="1192710"/>
            <a:ext cx="7896841" cy="5665290"/>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t" anchorCtr="0"/>
          <a:lstStyle/>
          <a:p>
            <a:pPr algn="l"/>
            <a:endParaRPr lang="da-DK" sz="923" noProof="0">
              <a:solidFill>
                <a:srgbClr val="2F363B"/>
              </a:solidFill>
            </a:endParaRPr>
          </a:p>
        </p:txBody>
      </p:sp>
      <p:sp>
        <p:nvSpPr>
          <p:cNvPr id="13" name="Picture Placeholder 13">
            <a:extLst>
              <a:ext uri="{FF2B5EF4-FFF2-40B4-BE49-F238E27FC236}">
                <a16:creationId xmlns:a16="http://schemas.microsoft.com/office/drawing/2014/main" id="{32CBD7CE-0C91-4290-9606-0942684C4652}"/>
              </a:ext>
            </a:extLst>
          </p:cNvPr>
          <p:cNvSpPr>
            <a:spLocks noGrp="1"/>
          </p:cNvSpPr>
          <p:nvPr>
            <p:ph type="pic" sz="quarter" idx="15"/>
          </p:nvPr>
        </p:nvSpPr>
        <p:spPr>
          <a:xfrm>
            <a:off x="5154016" y="2114551"/>
            <a:ext cx="3225054" cy="4743450"/>
          </a:xfrm>
          <a:solidFill>
            <a:srgbClr val="F3F2F0"/>
          </a:solidFill>
        </p:spPr>
        <p:txBody>
          <a:bodyPr vert="horz" lIns="0" tIns="0" rIns="0" bIns="0" rtlCol="0" anchor="ctr" anchorCtr="0">
            <a:noAutofit/>
          </a:bodyPr>
          <a:lstStyle>
            <a:lvl1pPr algn="ctr">
              <a:defRPr lang="da-DK" dirty="0"/>
            </a:lvl1pPr>
          </a:lstStyle>
          <a:p>
            <a:pPr lvl="0" algn="ctr">
              <a:buNone/>
            </a:pPr>
            <a:r>
              <a:rPr lang="da-DK"/>
              <a:t>Click icon to add picture</a:t>
            </a:r>
          </a:p>
        </p:txBody>
      </p:sp>
      <p:sp>
        <p:nvSpPr>
          <p:cNvPr id="18" name="Subtitle 2">
            <a:extLst>
              <a:ext uri="{FF2B5EF4-FFF2-40B4-BE49-F238E27FC236}">
                <a16:creationId xmlns:a16="http://schemas.microsoft.com/office/drawing/2014/main" id="{28390A0B-0148-4E4A-997F-3FF133263F31}"/>
              </a:ext>
            </a:extLst>
          </p:cNvPr>
          <p:cNvSpPr>
            <a:spLocks noGrp="1"/>
          </p:cNvSpPr>
          <p:nvPr>
            <p:ph type="subTitle" idx="1"/>
          </p:nvPr>
        </p:nvSpPr>
        <p:spPr>
          <a:xfrm>
            <a:off x="249116" y="5359205"/>
            <a:ext cx="2599592" cy="970159"/>
          </a:xfrm>
        </p:spPr>
        <p:txBody>
          <a:bodyPr rIns="360000" anchor="t" anchorCtr="0"/>
          <a:lstStyle>
            <a:lvl1pPr marL="0" indent="0" algn="l">
              <a:spcBef>
                <a:spcPts val="0"/>
              </a:spcBef>
              <a:buFont typeface="Arial" panose="020B0604020202020204" pitchFamily="34" charset="0"/>
              <a:buChar char="​"/>
              <a:defRPr sz="900">
                <a:solidFill>
                  <a:srgbClr val="F8F5E7"/>
                </a:solidFill>
              </a:defRPr>
            </a:lvl1pPr>
            <a:lvl2pPr marL="0" indent="0" algn="l">
              <a:buFont typeface="Arial" panose="020B0604020202020204" pitchFamily="34" charset="0"/>
              <a:buNone/>
              <a:defRPr sz="825">
                <a:solidFill>
                  <a:srgbClr val="2F363B"/>
                </a:solidFill>
              </a:defRPr>
            </a:lvl2pPr>
            <a:lvl3pPr marL="0" indent="0" algn="l">
              <a:buFont typeface="Arial" panose="020B0604020202020204" pitchFamily="34" charset="0"/>
              <a:buChar char="​"/>
              <a:defRPr sz="1500">
                <a:solidFill>
                  <a:schemeClr val="bg1"/>
                </a:solidFill>
              </a:defRPr>
            </a:lvl3pPr>
            <a:lvl4pPr marL="0" indent="0" algn="l">
              <a:buFont typeface="Arial" panose="020B0604020202020204" pitchFamily="34" charset="0"/>
              <a:buChar char="​"/>
              <a:defRPr sz="1500">
                <a:solidFill>
                  <a:schemeClr val="bg1"/>
                </a:solidFill>
              </a:defRPr>
            </a:lvl4pPr>
            <a:lvl5pPr marL="0" indent="0" algn="l">
              <a:buFont typeface="Arial" panose="020B0604020202020204" pitchFamily="34" charset="0"/>
              <a:buChar char="​"/>
              <a:defRPr sz="1500">
                <a:solidFill>
                  <a:schemeClr val="bg1"/>
                </a:solidFill>
              </a:defRPr>
            </a:lvl5pPr>
            <a:lvl6pPr marL="0" indent="0" algn="l">
              <a:buFont typeface="Arial" panose="020B0604020202020204" pitchFamily="34" charset="0"/>
              <a:buChar char="​"/>
              <a:defRPr sz="1500">
                <a:solidFill>
                  <a:schemeClr val="bg1"/>
                </a:solidFill>
              </a:defRPr>
            </a:lvl6pPr>
            <a:lvl7pPr marL="0" indent="0" algn="l">
              <a:buFont typeface="Arial" panose="020B0604020202020204" pitchFamily="34" charset="0"/>
              <a:buChar char="​"/>
              <a:defRPr sz="1500">
                <a:solidFill>
                  <a:schemeClr val="bg1"/>
                </a:solidFill>
              </a:defRPr>
            </a:lvl7pPr>
            <a:lvl8pPr marL="0" indent="0" algn="l">
              <a:buFont typeface="Arial" panose="020B0604020202020204" pitchFamily="34" charset="0"/>
              <a:buChar char="​"/>
              <a:defRPr sz="1500">
                <a:solidFill>
                  <a:schemeClr val="bg1"/>
                </a:solidFill>
              </a:defRPr>
            </a:lvl8pPr>
            <a:lvl9pPr marL="0" indent="0" algn="l">
              <a:buFont typeface="Arial" panose="020B0604020202020204" pitchFamily="34" charset="0"/>
              <a:buChar char="​"/>
              <a:defRPr sz="1500">
                <a:solidFill>
                  <a:schemeClr val="bg1"/>
                </a:solidFill>
              </a:defRPr>
            </a:lvl9pPr>
          </a:lstStyle>
          <a:p>
            <a:r>
              <a:rPr lang="da-DK"/>
              <a:t>Click to edit Master subtitle style</a:t>
            </a:r>
          </a:p>
        </p:txBody>
      </p:sp>
      <p:sp>
        <p:nvSpPr>
          <p:cNvPr id="16" name="Text Placeholder 7">
            <a:extLst>
              <a:ext uri="{FF2B5EF4-FFF2-40B4-BE49-F238E27FC236}">
                <a16:creationId xmlns:a16="http://schemas.microsoft.com/office/drawing/2014/main" id="{F7B5D086-4293-476B-B8D0-257542C6E7E9}"/>
              </a:ext>
            </a:extLst>
          </p:cNvPr>
          <p:cNvSpPr>
            <a:spLocks noGrp="1"/>
          </p:cNvSpPr>
          <p:nvPr>
            <p:ph type="body" sz="quarter" idx="13" hasCustomPrompt="1"/>
          </p:nvPr>
        </p:nvSpPr>
        <p:spPr>
          <a:xfrm>
            <a:off x="249116" y="6329364"/>
            <a:ext cx="2599593" cy="268287"/>
          </a:xfrm>
        </p:spPr>
        <p:txBody>
          <a:bodyPr rIns="0" anchor="b" anchorCtr="0"/>
          <a:lstStyle>
            <a:lvl1pPr>
              <a:defRPr sz="831">
                <a:solidFill>
                  <a:srgbClr val="F8F5E7"/>
                </a:solidFill>
              </a:defRPr>
            </a:lvl1pPr>
            <a:lvl5pPr>
              <a:defRPr/>
            </a:lvl5pPr>
          </a:lstStyle>
          <a:p>
            <a:pPr lvl="0"/>
            <a:r>
              <a:rPr lang="da-DK"/>
              <a:t>Date</a:t>
            </a:r>
          </a:p>
        </p:txBody>
      </p:sp>
      <p:sp>
        <p:nvSpPr>
          <p:cNvPr id="19" name="Title 1">
            <a:extLst>
              <a:ext uri="{FF2B5EF4-FFF2-40B4-BE49-F238E27FC236}">
                <a16:creationId xmlns:a16="http://schemas.microsoft.com/office/drawing/2014/main" id="{38211AF6-4BE0-4A99-8CF3-C8D588F5D8BD}"/>
              </a:ext>
            </a:extLst>
          </p:cNvPr>
          <p:cNvSpPr>
            <a:spLocks noGrp="1"/>
          </p:cNvSpPr>
          <p:nvPr>
            <p:ph type="ctrTitle"/>
          </p:nvPr>
        </p:nvSpPr>
        <p:spPr>
          <a:xfrm>
            <a:off x="251314" y="2114551"/>
            <a:ext cx="4447443" cy="2976366"/>
          </a:xfrm>
        </p:spPr>
        <p:txBody>
          <a:bodyPr anchor="t" anchorCtr="0">
            <a:noAutofit/>
          </a:bodyPr>
          <a:lstStyle>
            <a:lvl1pPr algn="l">
              <a:lnSpc>
                <a:spcPct val="83000"/>
              </a:lnSpc>
              <a:defRPr sz="5539" cap="all" baseline="0">
                <a:solidFill>
                  <a:srgbClr val="F8F5E7"/>
                </a:solidFill>
                <a:latin typeface="Impact" panose="020B0806030902050204" pitchFamily="34" charset="0"/>
              </a:defRPr>
            </a:lvl1pPr>
          </a:lstStyle>
          <a:p>
            <a:r>
              <a:rPr lang="da-DK"/>
              <a:t>Click to edit Master title style</a:t>
            </a:r>
          </a:p>
        </p:txBody>
      </p:sp>
      <p:sp>
        <p:nvSpPr>
          <p:cNvPr id="12" name="Freeform: Shape 11">
            <a:extLst>
              <a:ext uri="{FF2B5EF4-FFF2-40B4-BE49-F238E27FC236}">
                <a16:creationId xmlns:a16="http://schemas.microsoft.com/office/drawing/2014/main" id="{C4CB8047-8AE5-4556-9F42-1F69C5AB3EC2}"/>
              </a:ext>
            </a:extLst>
          </p:cNvPr>
          <p:cNvSpPr/>
          <p:nvPr userDrawn="1">
            <p:custDataLst>
              <p:tags r:id="rId1"/>
            </p:custDataLst>
          </p:nvPr>
        </p:nvSpPr>
        <p:spPr bwMode="auto">
          <a:xfrm rot="5400000">
            <a:off x="8131101" y="799617"/>
            <a:ext cx="1258889" cy="265746"/>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r>
              <a:rPr lang="da-DK" sz="1662"/>
              <a:t> </a:t>
            </a:r>
          </a:p>
        </p:txBody>
      </p:sp>
      <p:sp>
        <p:nvSpPr>
          <p:cNvPr id="14" name="Date_GeneralDate" hidden="1">
            <a:extLst>
              <a:ext uri="{FF2B5EF4-FFF2-40B4-BE49-F238E27FC236}">
                <a16:creationId xmlns:a16="http://schemas.microsoft.com/office/drawing/2014/main" id="{55525B1C-6481-4457-B735-0C98074326AB}"/>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5" name="FLD_PresentationTitle" hidden="1">
            <a:extLst>
              <a:ext uri="{FF2B5EF4-FFF2-40B4-BE49-F238E27FC236}">
                <a16:creationId xmlns:a16="http://schemas.microsoft.com/office/drawing/2014/main" id="{E36D8C65-C021-4FD2-B069-8166D08EEAA4}"/>
              </a:ext>
            </a:extLst>
          </p:cNvPr>
          <p:cNvSpPr>
            <a:spLocks noGrp="1"/>
          </p:cNvSpPr>
          <p:nvPr>
            <p:ph type="ftr" sz="quarter" idx="11"/>
          </p:nvPr>
        </p:nvSpPr>
        <p:spPr>
          <a:xfrm>
            <a:off x="0" y="6912000"/>
            <a:ext cx="0" cy="0"/>
          </a:xfrm>
        </p:spPr>
        <p:txBody>
          <a:bodyPr anchor="t" anchorCtr="0"/>
          <a:lstStyle>
            <a:lvl1pPr algn="l">
              <a:defRPr sz="100">
                <a:noFill/>
              </a:defRPr>
            </a:lvl1pPr>
          </a:lstStyle>
          <a:p>
            <a:endParaRPr lang="da-DK"/>
          </a:p>
        </p:txBody>
      </p:sp>
      <p:sp>
        <p:nvSpPr>
          <p:cNvPr id="20" name="Slide Number Placeholder 5" hidden="1">
            <a:extLst>
              <a:ext uri="{FF2B5EF4-FFF2-40B4-BE49-F238E27FC236}">
                <a16:creationId xmlns:a16="http://schemas.microsoft.com/office/drawing/2014/main" id="{C7761D58-7419-42EE-B8DE-E33E4943808D}"/>
              </a:ext>
            </a:extLst>
          </p:cNvPr>
          <p:cNvSpPr>
            <a:spLocks noGrp="1"/>
          </p:cNvSpPr>
          <p:nvPr>
            <p:ph type="sldNum" sz="quarter" idx="12"/>
          </p:nvPr>
        </p:nvSpPr>
        <p:spPr>
          <a:xfrm>
            <a:off x="0" y="6912000"/>
            <a:ext cx="0" cy="0"/>
          </a:xfrm>
        </p:spPr>
        <p:txBody>
          <a:bodyPr anchor="t" anchorCtr="0"/>
          <a:lstStyle>
            <a:lvl1pPr>
              <a:defRPr sz="100">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16380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3" name="object 2">
            <a:extLst>
              <a:ext uri="{FF2B5EF4-FFF2-40B4-BE49-F238E27FC236}">
                <a16:creationId xmlns:a16="http://schemas.microsoft.com/office/drawing/2014/main" id="{A81EE220-AC53-4153-A0FE-1F2219FBF428}"/>
              </a:ext>
            </a:extLst>
          </p:cNvPr>
          <p:cNvSpPr/>
          <p:nvPr userDrawn="1"/>
        </p:nvSpPr>
        <p:spPr>
          <a:xfrm>
            <a:off x="6619874" y="0"/>
            <a:ext cx="2524125" cy="6858000"/>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E0BCA6"/>
          </a:solidFill>
        </p:spPr>
        <p:txBody>
          <a:bodyPr wrap="square" lIns="0" tIns="0" rIns="0" bIns="0" rtlCol="0"/>
          <a:lstStyle/>
          <a:p>
            <a:pPr marL="0" marR="0" lvl="0" indent="0"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1F2023"/>
              </a:solidFill>
              <a:effectLst/>
              <a:uLnTx/>
              <a:uFillTx/>
            </a:endParaRPr>
          </a:p>
        </p:txBody>
      </p:sp>
      <p:sp>
        <p:nvSpPr>
          <p:cNvPr id="24" name="Rectangle 23">
            <a:extLst>
              <a:ext uri="{FF2B5EF4-FFF2-40B4-BE49-F238E27FC236}">
                <a16:creationId xmlns:a16="http://schemas.microsoft.com/office/drawing/2014/main" id="{468EEBBF-213D-4D68-A9CE-7CE68854BF37}"/>
              </a:ext>
            </a:extLst>
          </p:cNvPr>
          <p:cNvSpPr/>
          <p:nvPr userDrawn="1"/>
        </p:nvSpPr>
        <p:spPr>
          <a:xfrm>
            <a:off x="-1" y="1"/>
            <a:ext cx="6619875" cy="1632813"/>
          </a:xfrm>
          <a:prstGeom prst="rect">
            <a:avLst/>
          </a:prstGeom>
          <a:solidFill>
            <a:srgbClr val="F8F5E7"/>
          </a:solidFill>
          <a:ln w="25400" cap="flat" cmpd="sng" algn="ctr">
            <a:noFill/>
            <a:prstDash val="solid"/>
          </a:ln>
          <a:effectLst/>
        </p:spPr>
        <p:txBody>
          <a:bodyPr rtlCol="0" anchor="ctr"/>
          <a:lstStyle/>
          <a:p>
            <a:pPr marL="0" marR="0" lvl="0" indent="0" algn="ctr"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1F2023"/>
              </a:solidFill>
              <a:effectLst/>
              <a:uLnTx/>
              <a:uFillTx/>
              <a:latin typeface="Arial"/>
              <a:ea typeface="+mn-ea"/>
              <a:cs typeface="+mn-cs"/>
            </a:endParaRPr>
          </a:p>
        </p:txBody>
      </p:sp>
      <p:sp>
        <p:nvSpPr>
          <p:cNvPr id="25" name="object 3">
            <a:extLst>
              <a:ext uri="{FF2B5EF4-FFF2-40B4-BE49-F238E27FC236}">
                <a16:creationId xmlns:a16="http://schemas.microsoft.com/office/drawing/2014/main" id="{2F8E5E3C-C8FF-4ABE-B0BE-21762DA69433}"/>
              </a:ext>
            </a:extLst>
          </p:cNvPr>
          <p:cNvSpPr/>
          <p:nvPr userDrawn="1"/>
        </p:nvSpPr>
        <p:spPr>
          <a:xfrm>
            <a:off x="0" y="1355724"/>
            <a:ext cx="7896841" cy="5502276"/>
          </a:xfrm>
          <a:custGeom>
            <a:avLst/>
            <a:gdLst/>
            <a:ahLst/>
            <a:cxnLst/>
            <a:rect l="l" t="t" r="r" b="b"/>
            <a:pathLst>
              <a:path w="16670019" h="10303510">
                <a:moveTo>
                  <a:pt x="0" y="10303351"/>
                </a:moveTo>
                <a:lnTo>
                  <a:pt x="16669649" y="10303351"/>
                </a:lnTo>
                <a:lnTo>
                  <a:pt x="16669649" y="0"/>
                </a:lnTo>
                <a:lnTo>
                  <a:pt x="0" y="0"/>
                </a:lnTo>
                <a:lnTo>
                  <a:pt x="0" y="10303351"/>
                </a:lnTo>
                <a:close/>
              </a:path>
            </a:pathLst>
          </a:custGeom>
          <a:solidFill>
            <a:srgbClr val="E2DED9"/>
          </a:solidFill>
          <a:ln>
            <a:noFill/>
          </a:ln>
        </p:spPr>
        <p:txBody>
          <a:bodyPr wrap="square" lIns="0" tIns="0" rIns="0" bIns="0" rtlCol="0"/>
          <a:lstStyle/>
          <a:p>
            <a:pPr marL="0" marR="0" lvl="0" indent="0"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1F2023"/>
              </a:solidFill>
              <a:effectLst/>
              <a:uLnTx/>
              <a:uFillTx/>
            </a:endParaRPr>
          </a:p>
        </p:txBody>
      </p:sp>
      <p:sp>
        <p:nvSpPr>
          <p:cNvPr id="16" name="Title 1">
            <a:extLst>
              <a:ext uri="{FF2B5EF4-FFF2-40B4-BE49-F238E27FC236}">
                <a16:creationId xmlns:a16="http://schemas.microsoft.com/office/drawing/2014/main" id="{D4352087-9FC5-44CB-9335-2EEFDAC76577}"/>
              </a:ext>
            </a:extLst>
          </p:cNvPr>
          <p:cNvSpPr>
            <a:spLocks noGrp="1"/>
          </p:cNvSpPr>
          <p:nvPr>
            <p:ph type="ctrTitle"/>
          </p:nvPr>
        </p:nvSpPr>
        <p:spPr>
          <a:xfrm>
            <a:off x="249908" y="2138963"/>
            <a:ext cx="5393354" cy="2224886"/>
          </a:xfrm>
        </p:spPr>
        <p:txBody>
          <a:bodyPr anchor="t" anchorCtr="0">
            <a:noAutofit/>
          </a:bodyPr>
          <a:lstStyle>
            <a:lvl1pPr algn="l">
              <a:lnSpc>
                <a:spcPct val="83000"/>
              </a:lnSpc>
              <a:defRPr sz="6000" cap="all" baseline="0">
                <a:solidFill>
                  <a:srgbClr val="30373B"/>
                </a:solidFill>
                <a:latin typeface="Impact" panose="020B0806030902050204" pitchFamily="34" charset="0"/>
              </a:defRPr>
            </a:lvl1pPr>
          </a:lstStyle>
          <a:p>
            <a:r>
              <a:rPr lang="da-DK"/>
              <a:t>Click to edit Master title style</a:t>
            </a:r>
          </a:p>
        </p:txBody>
      </p:sp>
      <p:sp>
        <p:nvSpPr>
          <p:cNvPr id="21" name="Subtitle 2">
            <a:extLst>
              <a:ext uri="{FF2B5EF4-FFF2-40B4-BE49-F238E27FC236}">
                <a16:creationId xmlns:a16="http://schemas.microsoft.com/office/drawing/2014/main" id="{F4872442-83A2-43AD-891C-C24ABE274253}"/>
              </a:ext>
            </a:extLst>
          </p:cNvPr>
          <p:cNvSpPr>
            <a:spLocks noGrp="1"/>
          </p:cNvSpPr>
          <p:nvPr>
            <p:ph type="subTitle" idx="1"/>
          </p:nvPr>
        </p:nvSpPr>
        <p:spPr>
          <a:xfrm>
            <a:off x="249230" y="5463128"/>
            <a:ext cx="5393354" cy="863537"/>
          </a:xfrm>
        </p:spPr>
        <p:txBody>
          <a:bodyPr anchor="b" anchorCtr="0"/>
          <a:lstStyle>
            <a:lvl1pPr marL="0" indent="0" algn="l">
              <a:spcBef>
                <a:spcPts val="0"/>
              </a:spcBef>
              <a:buFont typeface="Arial" panose="020B0604020202020204" pitchFamily="34" charset="0"/>
              <a:buChar char="​"/>
              <a:defRPr sz="831">
                <a:solidFill>
                  <a:srgbClr val="1F2023"/>
                </a:solidFill>
              </a:defRPr>
            </a:lvl1pPr>
            <a:lvl2pPr marL="0" indent="0" algn="l">
              <a:buFont typeface="Arial" panose="020B0604020202020204" pitchFamily="34" charset="0"/>
              <a:buNone/>
              <a:defRPr sz="825">
                <a:solidFill>
                  <a:schemeClr val="accent2"/>
                </a:solidFill>
              </a:defRPr>
            </a:lvl2pPr>
            <a:lvl3pPr marL="0" indent="0" algn="l">
              <a:buFont typeface="Arial" panose="020B0604020202020204" pitchFamily="34" charset="0"/>
              <a:buChar char="​"/>
              <a:defRPr sz="1500">
                <a:solidFill>
                  <a:schemeClr val="bg1"/>
                </a:solidFill>
              </a:defRPr>
            </a:lvl3pPr>
            <a:lvl4pPr marL="0" indent="0" algn="l">
              <a:buFont typeface="Arial" panose="020B0604020202020204" pitchFamily="34" charset="0"/>
              <a:buChar char="​"/>
              <a:defRPr sz="1500">
                <a:solidFill>
                  <a:schemeClr val="bg1"/>
                </a:solidFill>
              </a:defRPr>
            </a:lvl4pPr>
            <a:lvl5pPr marL="0" indent="0" algn="l">
              <a:buFont typeface="Arial" panose="020B0604020202020204" pitchFamily="34" charset="0"/>
              <a:buChar char="​"/>
              <a:defRPr sz="1500">
                <a:solidFill>
                  <a:schemeClr val="bg1"/>
                </a:solidFill>
              </a:defRPr>
            </a:lvl5pPr>
            <a:lvl6pPr marL="0" indent="0" algn="l">
              <a:buFont typeface="Arial" panose="020B0604020202020204" pitchFamily="34" charset="0"/>
              <a:buChar char="​"/>
              <a:defRPr sz="1500">
                <a:solidFill>
                  <a:schemeClr val="bg1"/>
                </a:solidFill>
              </a:defRPr>
            </a:lvl6pPr>
            <a:lvl7pPr marL="0" indent="0" algn="l">
              <a:buFont typeface="Arial" panose="020B0604020202020204" pitchFamily="34" charset="0"/>
              <a:buChar char="​"/>
              <a:defRPr sz="1500">
                <a:solidFill>
                  <a:schemeClr val="bg1"/>
                </a:solidFill>
              </a:defRPr>
            </a:lvl7pPr>
            <a:lvl8pPr marL="0" indent="0" algn="l">
              <a:buFont typeface="Arial" panose="020B0604020202020204" pitchFamily="34" charset="0"/>
              <a:buChar char="​"/>
              <a:defRPr sz="1500">
                <a:solidFill>
                  <a:schemeClr val="bg1"/>
                </a:solidFill>
              </a:defRPr>
            </a:lvl8pPr>
            <a:lvl9pPr marL="0" indent="0" algn="l">
              <a:buFont typeface="Arial" panose="020B0604020202020204" pitchFamily="34" charset="0"/>
              <a:buChar char="​"/>
              <a:defRPr sz="1500">
                <a:solidFill>
                  <a:schemeClr val="bg1"/>
                </a:solidFill>
              </a:defRPr>
            </a:lvl9pPr>
          </a:lstStyle>
          <a:p>
            <a:r>
              <a:rPr lang="da-DK"/>
              <a:t>Click to edit Master subtitle style</a:t>
            </a:r>
          </a:p>
        </p:txBody>
      </p:sp>
      <p:sp>
        <p:nvSpPr>
          <p:cNvPr id="22" name="Text Placeholder 7">
            <a:extLst>
              <a:ext uri="{FF2B5EF4-FFF2-40B4-BE49-F238E27FC236}">
                <a16:creationId xmlns:a16="http://schemas.microsoft.com/office/drawing/2014/main" id="{E1694F14-D4CB-400F-818F-B8F113DF8AE5}"/>
              </a:ext>
            </a:extLst>
          </p:cNvPr>
          <p:cNvSpPr>
            <a:spLocks noGrp="1"/>
          </p:cNvSpPr>
          <p:nvPr>
            <p:ph type="body" sz="quarter" idx="13" hasCustomPrompt="1"/>
          </p:nvPr>
        </p:nvSpPr>
        <p:spPr>
          <a:xfrm>
            <a:off x="249230" y="6387016"/>
            <a:ext cx="5393354" cy="210634"/>
          </a:xfrm>
        </p:spPr>
        <p:txBody>
          <a:bodyPr rIns="0" anchor="b" anchorCtr="0"/>
          <a:lstStyle>
            <a:lvl1pPr>
              <a:defRPr sz="831">
                <a:solidFill>
                  <a:srgbClr val="1F2023"/>
                </a:solidFill>
              </a:defRPr>
            </a:lvl1pPr>
            <a:lvl5pPr>
              <a:defRPr/>
            </a:lvl5pPr>
          </a:lstStyle>
          <a:p>
            <a:pPr lvl="0"/>
            <a:r>
              <a:rPr lang="da-DK"/>
              <a:t>Date</a:t>
            </a:r>
          </a:p>
        </p:txBody>
      </p:sp>
      <p:sp>
        <p:nvSpPr>
          <p:cNvPr id="12" name="Freeform: Shape 11">
            <a:extLst>
              <a:ext uri="{FF2B5EF4-FFF2-40B4-BE49-F238E27FC236}">
                <a16:creationId xmlns:a16="http://schemas.microsoft.com/office/drawing/2014/main" id="{4E4074B2-7DE7-48C5-B126-35D2D5B789C6}"/>
              </a:ext>
            </a:extLst>
          </p:cNvPr>
          <p:cNvSpPr/>
          <p:nvPr userDrawn="1">
            <p:custDataLst>
              <p:tags r:id="rId1"/>
            </p:custDataLst>
          </p:nvPr>
        </p:nvSpPr>
        <p:spPr bwMode="auto">
          <a:xfrm rot="5400000">
            <a:off x="8131101" y="799617"/>
            <a:ext cx="1258889" cy="265746"/>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r>
              <a:rPr lang="da-DK" sz="1662">
                <a:solidFill>
                  <a:srgbClr val="1F2023"/>
                </a:solidFill>
              </a:rPr>
              <a:t> </a:t>
            </a:r>
          </a:p>
        </p:txBody>
      </p:sp>
      <p:sp>
        <p:nvSpPr>
          <p:cNvPr id="13" name="Date_GeneralDate" hidden="1">
            <a:extLst>
              <a:ext uri="{FF2B5EF4-FFF2-40B4-BE49-F238E27FC236}">
                <a16:creationId xmlns:a16="http://schemas.microsoft.com/office/drawing/2014/main" id="{78851DB5-0042-4C2F-91A2-C5610BBF0165}"/>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4" name="FLD_PresentationTitle" hidden="1">
            <a:extLst>
              <a:ext uri="{FF2B5EF4-FFF2-40B4-BE49-F238E27FC236}">
                <a16:creationId xmlns:a16="http://schemas.microsoft.com/office/drawing/2014/main" id="{D30AB5B8-8A8A-4E95-87C2-01B43E2A66C3}"/>
              </a:ext>
            </a:extLst>
          </p:cNvPr>
          <p:cNvSpPr>
            <a:spLocks noGrp="1"/>
          </p:cNvSpPr>
          <p:nvPr>
            <p:ph type="ftr" sz="quarter" idx="11"/>
          </p:nvPr>
        </p:nvSpPr>
        <p:spPr>
          <a:xfrm>
            <a:off x="0" y="6912000"/>
            <a:ext cx="0" cy="0"/>
          </a:xfrm>
        </p:spPr>
        <p:txBody>
          <a:bodyPr anchor="t" anchorCtr="0"/>
          <a:lstStyle>
            <a:lvl1pPr algn="l">
              <a:defRPr sz="100">
                <a:noFill/>
              </a:defRPr>
            </a:lvl1pPr>
          </a:lstStyle>
          <a:p>
            <a:endParaRPr lang="da-DK"/>
          </a:p>
        </p:txBody>
      </p:sp>
      <p:sp>
        <p:nvSpPr>
          <p:cNvPr id="15" name="Slide Number Placeholder 5" hidden="1">
            <a:extLst>
              <a:ext uri="{FF2B5EF4-FFF2-40B4-BE49-F238E27FC236}">
                <a16:creationId xmlns:a16="http://schemas.microsoft.com/office/drawing/2014/main" id="{8C191AA7-E426-428B-A07B-C69D8AA11A03}"/>
              </a:ext>
            </a:extLst>
          </p:cNvPr>
          <p:cNvSpPr>
            <a:spLocks noGrp="1"/>
          </p:cNvSpPr>
          <p:nvPr>
            <p:ph type="sldNum" sz="quarter" idx="12"/>
          </p:nvPr>
        </p:nvSpPr>
        <p:spPr>
          <a:xfrm>
            <a:off x="0" y="6912000"/>
            <a:ext cx="0" cy="0"/>
          </a:xfrm>
        </p:spPr>
        <p:txBody>
          <a:bodyPr anchor="t" anchorCtr="0"/>
          <a:lstStyle>
            <a:lvl1pPr>
              <a:defRPr sz="100">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844692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 Logo Image A">
    <p:spTree>
      <p:nvGrpSpPr>
        <p:cNvPr id="1" name=""/>
        <p:cNvGrpSpPr/>
        <p:nvPr/>
      </p:nvGrpSpPr>
      <p:grpSpPr>
        <a:xfrm>
          <a:off x="0" y="0"/>
          <a:ext cx="0" cy="0"/>
          <a:chOff x="0" y="0"/>
          <a:chExt cx="0" cy="0"/>
        </a:xfrm>
      </p:grpSpPr>
      <p:sp>
        <p:nvSpPr>
          <p:cNvPr id="23" name="object 2">
            <a:extLst>
              <a:ext uri="{FF2B5EF4-FFF2-40B4-BE49-F238E27FC236}">
                <a16:creationId xmlns:a16="http://schemas.microsoft.com/office/drawing/2014/main" id="{A81EE220-AC53-4153-A0FE-1F2219FBF428}"/>
              </a:ext>
            </a:extLst>
          </p:cNvPr>
          <p:cNvSpPr/>
          <p:nvPr userDrawn="1"/>
        </p:nvSpPr>
        <p:spPr>
          <a:xfrm>
            <a:off x="3186569" y="0"/>
            <a:ext cx="5957431" cy="6858000"/>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8AA299"/>
          </a:solidFill>
        </p:spPr>
        <p:txBody>
          <a:bodyPr wrap="square" lIns="0" tIns="0" rIns="0" bIns="0" rtlCol="0"/>
          <a:lstStyle/>
          <a:p>
            <a:pPr marL="0" marR="0" lvl="0" indent="0"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1F2023"/>
              </a:solidFill>
              <a:effectLst/>
              <a:uLnTx/>
              <a:uFillTx/>
            </a:endParaRPr>
          </a:p>
        </p:txBody>
      </p:sp>
      <p:sp>
        <p:nvSpPr>
          <p:cNvPr id="17" name="Rectangle 16">
            <a:extLst>
              <a:ext uri="{FF2B5EF4-FFF2-40B4-BE49-F238E27FC236}">
                <a16:creationId xmlns:a16="http://schemas.microsoft.com/office/drawing/2014/main" id="{3B014E73-AB17-436C-A15E-6880F18048C0}"/>
              </a:ext>
            </a:extLst>
          </p:cNvPr>
          <p:cNvSpPr/>
          <p:nvPr userDrawn="1"/>
        </p:nvSpPr>
        <p:spPr>
          <a:xfrm>
            <a:off x="0" y="1"/>
            <a:ext cx="7896841" cy="5502275"/>
          </a:xfrm>
          <a:prstGeom prst="rect">
            <a:avLst/>
          </a:prstGeom>
          <a:solidFill>
            <a:srgbClr val="F8F5E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t" anchorCtr="0"/>
          <a:lstStyle/>
          <a:p>
            <a:pPr algn="l"/>
            <a:endParaRPr lang="da-DK" sz="923" noProof="0">
              <a:solidFill>
                <a:srgbClr val="1F2023"/>
              </a:solidFill>
            </a:endParaRPr>
          </a:p>
        </p:txBody>
      </p:sp>
      <p:sp>
        <p:nvSpPr>
          <p:cNvPr id="18" name="Title 1">
            <a:extLst>
              <a:ext uri="{FF2B5EF4-FFF2-40B4-BE49-F238E27FC236}">
                <a16:creationId xmlns:a16="http://schemas.microsoft.com/office/drawing/2014/main" id="{13637FDB-F8B7-4F0A-9D10-989B9490783C}"/>
              </a:ext>
            </a:extLst>
          </p:cNvPr>
          <p:cNvSpPr>
            <a:spLocks noGrp="1"/>
          </p:cNvSpPr>
          <p:nvPr>
            <p:ph type="ctrTitle"/>
          </p:nvPr>
        </p:nvSpPr>
        <p:spPr>
          <a:xfrm>
            <a:off x="251314" y="539750"/>
            <a:ext cx="5392443" cy="3194064"/>
          </a:xfrm>
        </p:spPr>
        <p:txBody>
          <a:bodyPr anchor="t" anchorCtr="0">
            <a:noAutofit/>
          </a:bodyPr>
          <a:lstStyle>
            <a:lvl1pPr algn="l">
              <a:lnSpc>
                <a:spcPct val="83000"/>
              </a:lnSpc>
              <a:defRPr sz="6000" cap="all" baseline="0">
                <a:solidFill>
                  <a:srgbClr val="30373B"/>
                </a:solidFill>
                <a:latin typeface="Impact" panose="020B0806030902050204" pitchFamily="34" charset="0"/>
              </a:defRPr>
            </a:lvl1pPr>
          </a:lstStyle>
          <a:p>
            <a:r>
              <a:rPr lang="da-DK"/>
              <a:t>Click to edit Master title style</a:t>
            </a:r>
          </a:p>
        </p:txBody>
      </p:sp>
      <p:sp>
        <p:nvSpPr>
          <p:cNvPr id="3" name="Subtitle 2"/>
          <p:cNvSpPr>
            <a:spLocks noGrp="1"/>
          </p:cNvSpPr>
          <p:nvPr>
            <p:ph type="subTitle" idx="1"/>
          </p:nvPr>
        </p:nvSpPr>
        <p:spPr>
          <a:xfrm>
            <a:off x="251314" y="4011118"/>
            <a:ext cx="2599592" cy="1218483"/>
          </a:xfrm>
        </p:spPr>
        <p:txBody>
          <a:bodyPr rIns="360000" anchor="t" anchorCtr="0"/>
          <a:lstStyle>
            <a:lvl1pPr marL="0" indent="0" algn="l">
              <a:spcBef>
                <a:spcPts val="0"/>
              </a:spcBef>
              <a:buFont typeface="Arial" panose="020B0604020202020204" pitchFamily="34" charset="0"/>
              <a:buChar char="​"/>
              <a:defRPr sz="900">
                <a:solidFill>
                  <a:srgbClr val="1F2023"/>
                </a:solidFill>
              </a:defRPr>
            </a:lvl1pPr>
            <a:lvl2pPr marL="0" indent="0" algn="l">
              <a:buFont typeface="Arial" panose="020B0604020202020204" pitchFamily="34" charset="0"/>
              <a:buNone/>
              <a:defRPr sz="825">
                <a:solidFill>
                  <a:srgbClr val="2F363B"/>
                </a:solidFill>
              </a:defRPr>
            </a:lvl2pPr>
            <a:lvl3pPr marL="0" indent="0" algn="l">
              <a:buFont typeface="Arial" panose="020B0604020202020204" pitchFamily="34" charset="0"/>
              <a:buChar char="​"/>
              <a:defRPr sz="1500">
                <a:solidFill>
                  <a:schemeClr val="bg1"/>
                </a:solidFill>
              </a:defRPr>
            </a:lvl3pPr>
            <a:lvl4pPr marL="0" indent="0" algn="l">
              <a:buFont typeface="Arial" panose="020B0604020202020204" pitchFamily="34" charset="0"/>
              <a:buChar char="​"/>
              <a:defRPr sz="1500">
                <a:solidFill>
                  <a:schemeClr val="bg1"/>
                </a:solidFill>
              </a:defRPr>
            </a:lvl4pPr>
            <a:lvl5pPr marL="0" indent="0" algn="l">
              <a:buFont typeface="Arial" panose="020B0604020202020204" pitchFamily="34" charset="0"/>
              <a:buChar char="​"/>
              <a:defRPr sz="1500">
                <a:solidFill>
                  <a:schemeClr val="bg1"/>
                </a:solidFill>
              </a:defRPr>
            </a:lvl5pPr>
            <a:lvl6pPr marL="0" indent="0" algn="l">
              <a:buFont typeface="Arial" panose="020B0604020202020204" pitchFamily="34" charset="0"/>
              <a:buChar char="​"/>
              <a:defRPr sz="1500">
                <a:solidFill>
                  <a:schemeClr val="bg1"/>
                </a:solidFill>
              </a:defRPr>
            </a:lvl6pPr>
            <a:lvl7pPr marL="0" indent="0" algn="l">
              <a:buFont typeface="Arial" panose="020B0604020202020204" pitchFamily="34" charset="0"/>
              <a:buChar char="​"/>
              <a:defRPr sz="1500">
                <a:solidFill>
                  <a:schemeClr val="bg1"/>
                </a:solidFill>
              </a:defRPr>
            </a:lvl7pPr>
            <a:lvl8pPr marL="0" indent="0" algn="l">
              <a:buFont typeface="Arial" panose="020B0604020202020204" pitchFamily="34" charset="0"/>
              <a:buChar char="​"/>
              <a:defRPr sz="1500">
                <a:solidFill>
                  <a:schemeClr val="bg1"/>
                </a:solidFill>
              </a:defRPr>
            </a:lvl8pPr>
            <a:lvl9pPr marL="0" indent="0" algn="l">
              <a:buFont typeface="Arial" panose="020B0604020202020204" pitchFamily="34" charset="0"/>
              <a:buChar char="​"/>
              <a:defRPr sz="1500">
                <a:solidFill>
                  <a:schemeClr val="bg1"/>
                </a:solidFill>
              </a:defRPr>
            </a:lvl9pPr>
          </a:lstStyle>
          <a:p>
            <a:r>
              <a:rPr lang="da-DK"/>
              <a:t>Click to edit Master subtitle style</a:t>
            </a:r>
          </a:p>
        </p:txBody>
      </p:sp>
      <p:sp>
        <p:nvSpPr>
          <p:cNvPr id="15" name="Text Placeholder 7">
            <a:extLst>
              <a:ext uri="{FF2B5EF4-FFF2-40B4-BE49-F238E27FC236}">
                <a16:creationId xmlns:a16="http://schemas.microsoft.com/office/drawing/2014/main" id="{CA3D093D-0380-470D-91FD-8CF2680FA772}"/>
              </a:ext>
            </a:extLst>
          </p:cNvPr>
          <p:cNvSpPr>
            <a:spLocks noGrp="1"/>
          </p:cNvSpPr>
          <p:nvPr>
            <p:ph type="body" sz="quarter" idx="13" hasCustomPrompt="1"/>
          </p:nvPr>
        </p:nvSpPr>
        <p:spPr>
          <a:xfrm>
            <a:off x="249116" y="5014338"/>
            <a:ext cx="2599593" cy="210634"/>
          </a:xfrm>
        </p:spPr>
        <p:txBody>
          <a:bodyPr rIns="0" anchor="b" anchorCtr="0"/>
          <a:lstStyle>
            <a:lvl1pPr>
              <a:defRPr sz="831">
                <a:solidFill>
                  <a:srgbClr val="1F2023"/>
                </a:solidFill>
              </a:defRPr>
            </a:lvl1pPr>
            <a:lvl5pPr>
              <a:defRPr/>
            </a:lvl5pPr>
          </a:lstStyle>
          <a:p>
            <a:pPr lvl="0"/>
            <a:r>
              <a:rPr lang="da-DK"/>
              <a:t>Date</a:t>
            </a:r>
          </a:p>
        </p:txBody>
      </p:sp>
      <p:sp>
        <p:nvSpPr>
          <p:cNvPr id="13" name="Picture Placeholder 13">
            <a:extLst>
              <a:ext uri="{FF2B5EF4-FFF2-40B4-BE49-F238E27FC236}">
                <a16:creationId xmlns:a16="http://schemas.microsoft.com/office/drawing/2014/main" id="{32CBD7CE-0C91-4290-9606-0942684C4652}"/>
              </a:ext>
            </a:extLst>
          </p:cNvPr>
          <p:cNvSpPr>
            <a:spLocks noGrp="1"/>
          </p:cNvSpPr>
          <p:nvPr>
            <p:ph type="pic" sz="quarter" idx="15"/>
          </p:nvPr>
        </p:nvSpPr>
        <p:spPr>
          <a:xfrm>
            <a:off x="3186569" y="4011118"/>
            <a:ext cx="5957431" cy="2846883"/>
          </a:xfrm>
          <a:solidFill>
            <a:srgbClr val="F3F2F0"/>
          </a:solidFill>
        </p:spPr>
        <p:txBody>
          <a:bodyPr vert="horz" lIns="0" tIns="0" rIns="0" bIns="0" rtlCol="0" anchor="ctr" anchorCtr="0">
            <a:noAutofit/>
          </a:bodyPr>
          <a:lstStyle>
            <a:lvl1pPr algn="ctr">
              <a:defRPr lang="da-DK" dirty="0"/>
            </a:lvl1pPr>
          </a:lstStyle>
          <a:p>
            <a:pPr lvl="0" algn="ctr">
              <a:buNone/>
            </a:pPr>
            <a:r>
              <a:rPr lang="da-DK"/>
              <a:t>Click icon to add picture</a:t>
            </a:r>
          </a:p>
        </p:txBody>
      </p:sp>
      <p:sp>
        <p:nvSpPr>
          <p:cNvPr id="12" name="Freeform: Shape 11">
            <a:extLst>
              <a:ext uri="{FF2B5EF4-FFF2-40B4-BE49-F238E27FC236}">
                <a16:creationId xmlns:a16="http://schemas.microsoft.com/office/drawing/2014/main" id="{B1D3067F-1962-46D9-86B7-08FC94B365B1}"/>
              </a:ext>
            </a:extLst>
          </p:cNvPr>
          <p:cNvSpPr/>
          <p:nvPr userDrawn="1">
            <p:custDataLst>
              <p:tags r:id="rId1"/>
            </p:custDataLst>
          </p:nvPr>
        </p:nvSpPr>
        <p:spPr bwMode="auto">
          <a:xfrm rot="5400000">
            <a:off x="8131101" y="799617"/>
            <a:ext cx="1258889" cy="265746"/>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r>
              <a:rPr lang="da-DK" sz="1662">
                <a:solidFill>
                  <a:srgbClr val="1F2023"/>
                </a:solidFill>
              </a:rPr>
              <a:t> </a:t>
            </a:r>
          </a:p>
        </p:txBody>
      </p:sp>
      <p:sp>
        <p:nvSpPr>
          <p:cNvPr id="14" name="Date_GeneralDate" hidden="1">
            <a:extLst>
              <a:ext uri="{FF2B5EF4-FFF2-40B4-BE49-F238E27FC236}">
                <a16:creationId xmlns:a16="http://schemas.microsoft.com/office/drawing/2014/main" id="{36AF7DCB-7B08-4B67-89C6-197E386CB34C}"/>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6" name="FLD_PresentationTitle" hidden="1">
            <a:extLst>
              <a:ext uri="{FF2B5EF4-FFF2-40B4-BE49-F238E27FC236}">
                <a16:creationId xmlns:a16="http://schemas.microsoft.com/office/drawing/2014/main" id="{2CD592E1-AE74-4CC3-838F-BCDDFF7EC8DD}"/>
              </a:ext>
            </a:extLst>
          </p:cNvPr>
          <p:cNvSpPr>
            <a:spLocks noGrp="1"/>
          </p:cNvSpPr>
          <p:nvPr>
            <p:ph type="ftr" sz="quarter" idx="11"/>
          </p:nvPr>
        </p:nvSpPr>
        <p:spPr>
          <a:xfrm>
            <a:off x="0" y="6912000"/>
            <a:ext cx="0" cy="0"/>
          </a:xfrm>
        </p:spPr>
        <p:txBody>
          <a:bodyPr anchor="t" anchorCtr="0"/>
          <a:lstStyle>
            <a:lvl1pPr algn="l">
              <a:defRPr sz="100">
                <a:noFill/>
              </a:defRPr>
            </a:lvl1pPr>
          </a:lstStyle>
          <a:p>
            <a:endParaRPr lang="da-DK"/>
          </a:p>
        </p:txBody>
      </p:sp>
      <p:sp>
        <p:nvSpPr>
          <p:cNvPr id="19" name="Slide Number Placeholder 5" hidden="1">
            <a:extLst>
              <a:ext uri="{FF2B5EF4-FFF2-40B4-BE49-F238E27FC236}">
                <a16:creationId xmlns:a16="http://schemas.microsoft.com/office/drawing/2014/main" id="{BD316983-99AE-467A-81A9-261F469719E7}"/>
              </a:ext>
            </a:extLst>
          </p:cNvPr>
          <p:cNvSpPr>
            <a:spLocks noGrp="1"/>
          </p:cNvSpPr>
          <p:nvPr>
            <p:ph type="sldNum" sz="quarter" idx="12"/>
          </p:nvPr>
        </p:nvSpPr>
        <p:spPr>
          <a:xfrm>
            <a:off x="0" y="6912000"/>
            <a:ext cx="0" cy="0"/>
          </a:xfrm>
        </p:spPr>
        <p:txBody>
          <a:bodyPr anchor="t" anchorCtr="0"/>
          <a:lstStyle>
            <a:lvl1pPr>
              <a:defRPr sz="100">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3703449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 Logo Image B">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68EEBBF-213D-4D68-A9CE-7CE68854BF37}"/>
              </a:ext>
            </a:extLst>
          </p:cNvPr>
          <p:cNvSpPr/>
          <p:nvPr userDrawn="1"/>
        </p:nvSpPr>
        <p:spPr>
          <a:xfrm>
            <a:off x="2554423" y="2"/>
            <a:ext cx="6589577" cy="6857999"/>
          </a:xfrm>
          <a:prstGeom prst="rect">
            <a:avLst/>
          </a:prstGeom>
          <a:solidFill>
            <a:srgbClr val="40615F"/>
          </a:solidFill>
          <a:ln w="25400" cap="flat" cmpd="sng" algn="ctr">
            <a:noFill/>
            <a:prstDash val="solid"/>
          </a:ln>
          <a:effectLst/>
        </p:spPr>
        <p:txBody>
          <a:bodyPr rtlCol="0" anchor="ctr"/>
          <a:lstStyle/>
          <a:p>
            <a:pPr marL="0" marR="0" lvl="0" indent="0" algn="ctr"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1F2023"/>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22B6603F-4155-4540-8188-E26BD0148E04}"/>
              </a:ext>
            </a:extLst>
          </p:cNvPr>
          <p:cNvSpPr/>
          <p:nvPr userDrawn="1"/>
        </p:nvSpPr>
        <p:spPr>
          <a:xfrm>
            <a:off x="0" y="1192710"/>
            <a:ext cx="7896841" cy="5665290"/>
          </a:xfrm>
          <a:prstGeom prst="rect">
            <a:avLst/>
          </a:prstGeom>
          <a:solidFill>
            <a:srgbClr val="F8F5E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t" anchorCtr="0"/>
          <a:lstStyle/>
          <a:p>
            <a:pPr algn="l"/>
            <a:endParaRPr lang="da-DK" sz="923" noProof="0">
              <a:solidFill>
                <a:srgbClr val="1F2023"/>
              </a:solidFill>
            </a:endParaRPr>
          </a:p>
        </p:txBody>
      </p:sp>
      <p:sp>
        <p:nvSpPr>
          <p:cNvPr id="16" name="Subtitle 2">
            <a:extLst>
              <a:ext uri="{FF2B5EF4-FFF2-40B4-BE49-F238E27FC236}">
                <a16:creationId xmlns:a16="http://schemas.microsoft.com/office/drawing/2014/main" id="{D91FE0B5-9691-44AE-8658-63DACE043914}"/>
              </a:ext>
            </a:extLst>
          </p:cNvPr>
          <p:cNvSpPr>
            <a:spLocks noGrp="1"/>
          </p:cNvSpPr>
          <p:nvPr>
            <p:ph type="subTitle" idx="1"/>
          </p:nvPr>
        </p:nvSpPr>
        <p:spPr>
          <a:xfrm>
            <a:off x="249116" y="5359205"/>
            <a:ext cx="2599592" cy="970159"/>
          </a:xfrm>
        </p:spPr>
        <p:txBody>
          <a:bodyPr rIns="360000" anchor="t" anchorCtr="0"/>
          <a:lstStyle>
            <a:lvl1pPr marL="0" indent="0" algn="l">
              <a:spcBef>
                <a:spcPts val="0"/>
              </a:spcBef>
              <a:buFont typeface="Arial" panose="020B0604020202020204" pitchFamily="34" charset="0"/>
              <a:buChar char="​"/>
              <a:defRPr sz="900">
                <a:solidFill>
                  <a:srgbClr val="1F2023"/>
                </a:solidFill>
              </a:defRPr>
            </a:lvl1pPr>
            <a:lvl2pPr marL="0" indent="0" algn="l">
              <a:buFont typeface="Arial" panose="020B0604020202020204" pitchFamily="34" charset="0"/>
              <a:buNone/>
              <a:defRPr sz="825">
                <a:solidFill>
                  <a:srgbClr val="2F363B"/>
                </a:solidFill>
              </a:defRPr>
            </a:lvl2pPr>
            <a:lvl3pPr marL="0" indent="0" algn="l">
              <a:buFont typeface="Arial" panose="020B0604020202020204" pitchFamily="34" charset="0"/>
              <a:buChar char="​"/>
              <a:defRPr sz="1500">
                <a:solidFill>
                  <a:schemeClr val="bg1"/>
                </a:solidFill>
              </a:defRPr>
            </a:lvl3pPr>
            <a:lvl4pPr marL="0" indent="0" algn="l">
              <a:buFont typeface="Arial" panose="020B0604020202020204" pitchFamily="34" charset="0"/>
              <a:buChar char="​"/>
              <a:defRPr sz="1500">
                <a:solidFill>
                  <a:schemeClr val="bg1"/>
                </a:solidFill>
              </a:defRPr>
            </a:lvl4pPr>
            <a:lvl5pPr marL="0" indent="0" algn="l">
              <a:buFont typeface="Arial" panose="020B0604020202020204" pitchFamily="34" charset="0"/>
              <a:buChar char="​"/>
              <a:defRPr sz="1500">
                <a:solidFill>
                  <a:schemeClr val="bg1"/>
                </a:solidFill>
              </a:defRPr>
            </a:lvl5pPr>
            <a:lvl6pPr marL="0" indent="0" algn="l">
              <a:buFont typeface="Arial" panose="020B0604020202020204" pitchFamily="34" charset="0"/>
              <a:buChar char="​"/>
              <a:defRPr sz="1500">
                <a:solidFill>
                  <a:schemeClr val="bg1"/>
                </a:solidFill>
              </a:defRPr>
            </a:lvl6pPr>
            <a:lvl7pPr marL="0" indent="0" algn="l">
              <a:buFont typeface="Arial" panose="020B0604020202020204" pitchFamily="34" charset="0"/>
              <a:buChar char="​"/>
              <a:defRPr sz="1500">
                <a:solidFill>
                  <a:schemeClr val="bg1"/>
                </a:solidFill>
              </a:defRPr>
            </a:lvl7pPr>
            <a:lvl8pPr marL="0" indent="0" algn="l">
              <a:buFont typeface="Arial" panose="020B0604020202020204" pitchFamily="34" charset="0"/>
              <a:buChar char="​"/>
              <a:defRPr sz="1500">
                <a:solidFill>
                  <a:schemeClr val="bg1"/>
                </a:solidFill>
              </a:defRPr>
            </a:lvl8pPr>
            <a:lvl9pPr marL="0" indent="0" algn="l">
              <a:buFont typeface="Arial" panose="020B0604020202020204" pitchFamily="34" charset="0"/>
              <a:buChar char="​"/>
              <a:defRPr sz="1500">
                <a:solidFill>
                  <a:schemeClr val="bg1"/>
                </a:solidFill>
              </a:defRPr>
            </a:lvl9pPr>
          </a:lstStyle>
          <a:p>
            <a:r>
              <a:rPr lang="da-DK"/>
              <a:t>Click to edit Master subtitle style</a:t>
            </a:r>
          </a:p>
        </p:txBody>
      </p:sp>
      <p:sp>
        <p:nvSpPr>
          <p:cNvPr id="17" name="Text Placeholder 7">
            <a:extLst>
              <a:ext uri="{FF2B5EF4-FFF2-40B4-BE49-F238E27FC236}">
                <a16:creationId xmlns:a16="http://schemas.microsoft.com/office/drawing/2014/main" id="{B0209D8F-BA6F-43E8-8163-332BF66A1716}"/>
              </a:ext>
            </a:extLst>
          </p:cNvPr>
          <p:cNvSpPr>
            <a:spLocks noGrp="1"/>
          </p:cNvSpPr>
          <p:nvPr>
            <p:ph type="body" sz="quarter" idx="13" hasCustomPrompt="1"/>
          </p:nvPr>
        </p:nvSpPr>
        <p:spPr>
          <a:xfrm>
            <a:off x="249116" y="6329364"/>
            <a:ext cx="2599593" cy="268287"/>
          </a:xfrm>
        </p:spPr>
        <p:txBody>
          <a:bodyPr rIns="0" anchor="b" anchorCtr="0"/>
          <a:lstStyle>
            <a:lvl1pPr>
              <a:defRPr sz="831">
                <a:solidFill>
                  <a:srgbClr val="1F2023"/>
                </a:solidFill>
              </a:defRPr>
            </a:lvl1pPr>
            <a:lvl5pPr>
              <a:defRPr/>
            </a:lvl5pPr>
          </a:lstStyle>
          <a:p>
            <a:pPr lvl="0"/>
            <a:r>
              <a:rPr lang="da-DK"/>
              <a:t>Date</a:t>
            </a:r>
          </a:p>
        </p:txBody>
      </p:sp>
      <p:sp>
        <p:nvSpPr>
          <p:cNvPr id="19" name="Picture Placeholder 13">
            <a:extLst>
              <a:ext uri="{FF2B5EF4-FFF2-40B4-BE49-F238E27FC236}">
                <a16:creationId xmlns:a16="http://schemas.microsoft.com/office/drawing/2014/main" id="{FF4E0258-33E3-4EA6-82D5-DF8741A7A7DA}"/>
              </a:ext>
            </a:extLst>
          </p:cNvPr>
          <p:cNvSpPr>
            <a:spLocks noGrp="1"/>
          </p:cNvSpPr>
          <p:nvPr>
            <p:ph type="pic" sz="quarter" idx="15"/>
          </p:nvPr>
        </p:nvSpPr>
        <p:spPr>
          <a:xfrm>
            <a:off x="5154016" y="2114551"/>
            <a:ext cx="3225054" cy="4743448"/>
          </a:xfrm>
          <a:solidFill>
            <a:srgbClr val="F3F2F0"/>
          </a:solidFill>
        </p:spPr>
        <p:txBody>
          <a:bodyPr vert="horz" lIns="0" tIns="0" rIns="0" bIns="0" rtlCol="0" anchor="ctr" anchorCtr="0">
            <a:noAutofit/>
          </a:bodyPr>
          <a:lstStyle>
            <a:lvl1pPr algn="ctr">
              <a:defRPr lang="da-DK" dirty="0"/>
            </a:lvl1pPr>
          </a:lstStyle>
          <a:p>
            <a:pPr lvl="0" algn="ctr">
              <a:buNone/>
            </a:pPr>
            <a:r>
              <a:rPr lang="da-DK"/>
              <a:t>Click icon to add picture</a:t>
            </a:r>
          </a:p>
        </p:txBody>
      </p:sp>
      <p:sp>
        <p:nvSpPr>
          <p:cNvPr id="20" name="Title 1">
            <a:extLst>
              <a:ext uri="{FF2B5EF4-FFF2-40B4-BE49-F238E27FC236}">
                <a16:creationId xmlns:a16="http://schemas.microsoft.com/office/drawing/2014/main" id="{0EBAF0D6-94B2-4C1D-A1F8-F94F8FD39F51}"/>
              </a:ext>
            </a:extLst>
          </p:cNvPr>
          <p:cNvSpPr>
            <a:spLocks noGrp="1"/>
          </p:cNvSpPr>
          <p:nvPr>
            <p:ph type="ctrTitle"/>
          </p:nvPr>
        </p:nvSpPr>
        <p:spPr>
          <a:xfrm>
            <a:off x="250462" y="2114551"/>
            <a:ext cx="4447443" cy="2976366"/>
          </a:xfrm>
        </p:spPr>
        <p:txBody>
          <a:bodyPr anchor="t" anchorCtr="0">
            <a:noAutofit/>
          </a:bodyPr>
          <a:lstStyle>
            <a:lvl1pPr algn="l">
              <a:lnSpc>
                <a:spcPct val="83000"/>
              </a:lnSpc>
              <a:defRPr sz="5539" cap="all" baseline="0">
                <a:solidFill>
                  <a:srgbClr val="30373B"/>
                </a:solidFill>
                <a:latin typeface="Impact" panose="020B0806030902050204" pitchFamily="34" charset="0"/>
              </a:defRPr>
            </a:lvl1pPr>
          </a:lstStyle>
          <a:p>
            <a:r>
              <a:rPr lang="da-DK"/>
              <a:t>Click to edit Master title style</a:t>
            </a:r>
          </a:p>
        </p:txBody>
      </p:sp>
      <p:sp>
        <p:nvSpPr>
          <p:cNvPr id="12" name="Freeform: Shape 11">
            <a:extLst>
              <a:ext uri="{FF2B5EF4-FFF2-40B4-BE49-F238E27FC236}">
                <a16:creationId xmlns:a16="http://schemas.microsoft.com/office/drawing/2014/main" id="{EF6276E3-5B28-4A6A-B1CA-832827DD36EB}"/>
              </a:ext>
            </a:extLst>
          </p:cNvPr>
          <p:cNvSpPr/>
          <p:nvPr userDrawn="1">
            <p:custDataLst>
              <p:tags r:id="rId1"/>
            </p:custDataLst>
          </p:nvPr>
        </p:nvSpPr>
        <p:spPr bwMode="auto">
          <a:xfrm rot="5400000">
            <a:off x="8131101" y="799617"/>
            <a:ext cx="1258889" cy="265746"/>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rgbClr val="FCFBF5"/>
          </a:solidFill>
          <a:ln>
            <a:noFill/>
          </a:ln>
        </p:spPr>
        <p:txBody>
          <a:bodyPr vert="horz" wrap="square" lIns="84406" tIns="42203" rIns="84406" bIns="42203" numCol="1" anchor="t" anchorCtr="0" compatLnSpc="1">
            <a:prstTxWarp prst="textNoShape">
              <a:avLst/>
            </a:prstTxWarp>
            <a:noAutofit/>
          </a:bodyPr>
          <a:lstStyle/>
          <a:p>
            <a:r>
              <a:rPr lang="da-DK" sz="1662">
                <a:solidFill>
                  <a:srgbClr val="1F2023"/>
                </a:solidFill>
              </a:rPr>
              <a:t> </a:t>
            </a:r>
          </a:p>
        </p:txBody>
      </p:sp>
      <p:sp>
        <p:nvSpPr>
          <p:cNvPr id="13" name="Date_GeneralDate" hidden="1">
            <a:extLst>
              <a:ext uri="{FF2B5EF4-FFF2-40B4-BE49-F238E27FC236}">
                <a16:creationId xmlns:a16="http://schemas.microsoft.com/office/drawing/2014/main" id="{3D746332-4FED-48AA-8EA3-E32A610EAB2E}"/>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4" name="FLD_PresentationTitle" hidden="1">
            <a:extLst>
              <a:ext uri="{FF2B5EF4-FFF2-40B4-BE49-F238E27FC236}">
                <a16:creationId xmlns:a16="http://schemas.microsoft.com/office/drawing/2014/main" id="{F84058E3-5063-469B-85AD-813BDB17DDC0}"/>
              </a:ext>
            </a:extLst>
          </p:cNvPr>
          <p:cNvSpPr>
            <a:spLocks noGrp="1"/>
          </p:cNvSpPr>
          <p:nvPr>
            <p:ph type="ftr" sz="quarter" idx="11"/>
          </p:nvPr>
        </p:nvSpPr>
        <p:spPr>
          <a:xfrm>
            <a:off x="0" y="6912000"/>
            <a:ext cx="0" cy="0"/>
          </a:xfrm>
        </p:spPr>
        <p:txBody>
          <a:bodyPr anchor="t" anchorCtr="0"/>
          <a:lstStyle>
            <a:lvl1pPr algn="l">
              <a:defRPr sz="100">
                <a:noFill/>
              </a:defRPr>
            </a:lvl1pPr>
          </a:lstStyle>
          <a:p>
            <a:endParaRPr lang="da-DK"/>
          </a:p>
        </p:txBody>
      </p:sp>
      <p:sp>
        <p:nvSpPr>
          <p:cNvPr id="15" name="Slide Number Placeholder 5" hidden="1">
            <a:extLst>
              <a:ext uri="{FF2B5EF4-FFF2-40B4-BE49-F238E27FC236}">
                <a16:creationId xmlns:a16="http://schemas.microsoft.com/office/drawing/2014/main" id="{41578D3E-544A-47FC-970D-96B403E372B6}"/>
              </a:ext>
            </a:extLst>
          </p:cNvPr>
          <p:cNvSpPr>
            <a:spLocks noGrp="1"/>
          </p:cNvSpPr>
          <p:nvPr>
            <p:ph type="sldNum" sz="quarter" idx="12"/>
          </p:nvPr>
        </p:nvSpPr>
        <p:spPr>
          <a:xfrm>
            <a:off x="0" y="6912000"/>
            <a:ext cx="0" cy="0"/>
          </a:xfrm>
        </p:spPr>
        <p:txBody>
          <a:bodyPr anchor="t" anchorCtr="0"/>
          <a:lstStyle>
            <a:lvl1pPr>
              <a:defRPr sz="100">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716099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50462" y="1628647"/>
            <a:ext cx="8644303" cy="4689475"/>
          </a:xfrm>
        </p:spPr>
        <p:txBody>
          <a:bodyPr rIns="0">
            <a:noAutofit/>
          </a:bodyPr>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text styles</a:t>
            </a:r>
          </a:p>
          <a:p>
            <a:pPr lvl="1"/>
            <a:r>
              <a:rPr lang="da-DK" noProof="0"/>
              <a:t>Second level</a:t>
            </a:r>
          </a:p>
          <a:p>
            <a:pPr lvl="2"/>
            <a:r>
              <a:rPr lang="da-DK" noProof="0"/>
              <a:t>Third level</a:t>
            </a:r>
          </a:p>
          <a:p>
            <a:pPr lvl="3"/>
            <a:r>
              <a:rPr lang="da-DK" noProof="0"/>
              <a:t>Fourth level</a:t>
            </a:r>
          </a:p>
          <a:p>
            <a:pPr lvl="4"/>
            <a:r>
              <a:rPr lang="da-DK" noProof="0"/>
              <a:t>Fifth level</a:t>
            </a:r>
          </a:p>
        </p:txBody>
      </p:sp>
      <p:sp>
        <p:nvSpPr>
          <p:cNvPr id="7" name="Text Placeholder 12">
            <a:extLst>
              <a:ext uri="{FF2B5EF4-FFF2-40B4-BE49-F238E27FC236}">
                <a16:creationId xmlns:a16="http://schemas.microsoft.com/office/drawing/2014/main" id="{DA03DEA2-B734-4E1A-989A-B985B71743C5}"/>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2" name="Title 1">
            <a:extLst>
              <a:ext uri="{FF2B5EF4-FFF2-40B4-BE49-F238E27FC236}">
                <a16:creationId xmlns:a16="http://schemas.microsoft.com/office/drawing/2014/main" id="{6BB2F81A-A979-4992-A111-276940B6A507}"/>
              </a:ext>
            </a:extLst>
          </p:cNvPr>
          <p:cNvSpPr>
            <a:spLocks noGrp="1"/>
          </p:cNvSpPr>
          <p:nvPr>
            <p:ph type="title"/>
          </p:nvPr>
        </p:nvSpPr>
        <p:spPr>
          <a:xfrm>
            <a:off x="251314" y="272257"/>
            <a:ext cx="7606283" cy="692336"/>
          </a:xfrm>
        </p:spPr>
        <p:txBody>
          <a:bodyPr/>
          <a:lstStyle>
            <a:lvl1pPr>
              <a:defRPr>
                <a:solidFill>
                  <a:srgbClr val="1F2023"/>
                </a:solidFill>
              </a:defRPr>
            </a:lvl1pPr>
          </a:lstStyle>
          <a:p>
            <a:r>
              <a:rPr lang="da-DK"/>
              <a:t>Click to edit Master title style</a:t>
            </a:r>
          </a:p>
        </p:txBody>
      </p:sp>
      <p:sp>
        <p:nvSpPr>
          <p:cNvPr id="4" name="Text Placeholder 3">
            <a:extLst>
              <a:ext uri="{FF2B5EF4-FFF2-40B4-BE49-F238E27FC236}">
                <a16:creationId xmlns:a16="http://schemas.microsoft.com/office/drawing/2014/main" id="{2DEE1D38-B652-484A-AA0A-9748447612D5}"/>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0" name="Date_GeneralDate" hidden="1">
            <a:extLst>
              <a:ext uri="{FF2B5EF4-FFF2-40B4-BE49-F238E27FC236}">
                <a16:creationId xmlns:a16="http://schemas.microsoft.com/office/drawing/2014/main" id="{C71981A8-4E99-413F-87D3-97DDE53F37BF}"/>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3" name="Slide Number Placeholder 2">
            <a:extLst>
              <a:ext uri="{FF2B5EF4-FFF2-40B4-BE49-F238E27FC236}">
                <a16:creationId xmlns:a16="http://schemas.microsoft.com/office/drawing/2014/main" id="{4E6A4146-CA24-4116-B69E-80F8FF1B7F26}"/>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1458337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Light">
    <p:spTree>
      <p:nvGrpSpPr>
        <p:cNvPr id="1" name=""/>
        <p:cNvGrpSpPr/>
        <p:nvPr/>
      </p:nvGrpSpPr>
      <p:grpSpPr>
        <a:xfrm>
          <a:off x="0" y="0"/>
          <a:ext cx="0" cy="0"/>
          <a:chOff x="0" y="0"/>
          <a:chExt cx="0" cy="0"/>
        </a:xfrm>
      </p:grpSpPr>
      <p:sp>
        <p:nvSpPr>
          <p:cNvPr id="11" name="Rectangle 1">
            <a:extLst>
              <a:ext uri="{FF2B5EF4-FFF2-40B4-BE49-F238E27FC236}">
                <a16:creationId xmlns:a16="http://schemas.microsoft.com/office/drawing/2014/main" id="{ED07D2CD-9B04-4C57-A9D6-B77ACEE0EB56}"/>
              </a:ext>
            </a:extLst>
          </p:cNvPr>
          <p:cNvSpPr/>
          <p:nvPr userDrawn="1"/>
        </p:nvSpPr>
        <p:spPr>
          <a:xfrm>
            <a:off x="0" y="0"/>
            <a:ext cx="9144000" cy="6858000"/>
          </a:xfrm>
          <a:prstGeom prst="rect">
            <a:avLst/>
          </a:prstGeom>
          <a:solidFill>
            <a:srgbClr val="EEEBE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t" anchorCtr="0" forceAA="0" compatLnSpc="1">
            <a:prstTxWarp prst="textNoShape">
              <a:avLst/>
            </a:prstTxWarp>
            <a:noAutofit/>
          </a:bodyPr>
          <a:lstStyle/>
          <a:p>
            <a:pPr algn="l"/>
            <a:endParaRPr lang="da-DK" sz="923" noProof="0">
              <a:solidFill>
                <a:srgbClr val="1F2023"/>
              </a:solidFill>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50462" y="1628647"/>
            <a:ext cx="8644303" cy="4689475"/>
          </a:xfrm>
        </p:spPr>
        <p:txBody>
          <a:bodyPr rIns="0">
            <a:noAutofit/>
          </a:bodyPr>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text styles</a:t>
            </a:r>
          </a:p>
          <a:p>
            <a:pPr lvl="1"/>
            <a:r>
              <a:rPr lang="da-DK" noProof="0"/>
              <a:t>Second level</a:t>
            </a:r>
          </a:p>
          <a:p>
            <a:pPr lvl="2"/>
            <a:r>
              <a:rPr lang="da-DK" noProof="0"/>
              <a:t>Third level</a:t>
            </a:r>
          </a:p>
          <a:p>
            <a:pPr lvl="3"/>
            <a:r>
              <a:rPr lang="da-DK" noProof="0"/>
              <a:t>Fourth level</a:t>
            </a:r>
          </a:p>
          <a:p>
            <a:pPr lvl="4"/>
            <a:r>
              <a:rPr lang="da-DK" noProof="0"/>
              <a:t>Fifth level</a:t>
            </a:r>
          </a:p>
        </p:txBody>
      </p:sp>
      <p:sp>
        <p:nvSpPr>
          <p:cNvPr id="7" name="Text Placeholder 12">
            <a:extLst>
              <a:ext uri="{FF2B5EF4-FFF2-40B4-BE49-F238E27FC236}">
                <a16:creationId xmlns:a16="http://schemas.microsoft.com/office/drawing/2014/main" id="{DA03DEA2-B734-4E1A-989A-B985B71743C5}"/>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2" name="Title 1">
            <a:extLst>
              <a:ext uri="{FF2B5EF4-FFF2-40B4-BE49-F238E27FC236}">
                <a16:creationId xmlns:a16="http://schemas.microsoft.com/office/drawing/2014/main" id="{6BB2F81A-A979-4992-A111-276940B6A507}"/>
              </a:ext>
            </a:extLst>
          </p:cNvPr>
          <p:cNvSpPr>
            <a:spLocks noGrp="1"/>
          </p:cNvSpPr>
          <p:nvPr>
            <p:ph type="title"/>
          </p:nvPr>
        </p:nvSpPr>
        <p:spPr>
          <a:xfrm>
            <a:off x="251314" y="272257"/>
            <a:ext cx="7606283" cy="692336"/>
          </a:xfrm>
        </p:spPr>
        <p:txBody>
          <a:bodyPr/>
          <a:lstStyle>
            <a:lvl1pPr>
              <a:defRPr>
                <a:solidFill>
                  <a:srgbClr val="1F2023"/>
                </a:solidFill>
              </a:defRPr>
            </a:lvl1pPr>
          </a:lstStyle>
          <a:p>
            <a:r>
              <a:rPr lang="da-DK"/>
              <a:t>Click to edit Master title style</a:t>
            </a:r>
          </a:p>
        </p:txBody>
      </p:sp>
      <p:sp>
        <p:nvSpPr>
          <p:cNvPr id="4" name="Text Placeholder 3">
            <a:extLst>
              <a:ext uri="{FF2B5EF4-FFF2-40B4-BE49-F238E27FC236}">
                <a16:creationId xmlns:a16="http://schemas.microsoft.com/office/drawing/2014/main" id="{2DEE1D38-B652-484A-AA0A-9748447612D5}"/>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4" name="Freeform: Shape 21">
            <a:extLst>
              <a:ext uri="{FF2B5EF4-FFF2-40B4-BE49-F238E27FC236}">
                <a16:creationId xmlns:a16="http://schemas.microsoft.com/office/drawing/2014/main" id="{00C678A1-BF2C-44A8-B098-7D1A8D4CF191}"/>
              </a:ext>
            </a:extLst>
          </p:cNvPr>
          <p:cNvSpPr/>
          <p:nvPr userDrawn="1">
            <p:custDataLst>
              <p:tags r:id="rId1"/>
            </p:custDataLst>
          </p:nvPr>
        </p:nvSpPr>
        <p:spPr bwMode="auto">
          <a:xfrm rot="5400000">
            <a:off x="8646962" y="406758"/>
            <a:ext cx="350168" cy="142743"/>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endParaRPr lang="da-DK" sz="1662"/>
          </a:p>
        </p:txBody>
      </p:sp>
      <p:sp>
        <p:nvSpPr>
          <p:cNvPr id="15" name="Date_GeneralDate" hidden="1">
            <a:extLst>
              <a:ext uri="{FF2B5EF4-FFF2-40B4-BE49-F238E27FC236}">
                <a16:creationId xmlns:a16="http://schemas.microsoft.com/office/drawing/2014/main" id="{9D0EE7E6-6F87-4154-8F56-AD5EE507B020}"/>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3" name="Slide Number Placeholder 2">
            <a:extLst>
              <a:ext uri="{FF2B5EF4-FFF2-40B4-BE49-F238E27FC236}">
                <a16:creationId xmlns:a16="http://schemas.microsoft.com/office/drawing/2014/main" id="{43B7B4E4-0F52-4D12-8AB4-A081882E74FA}"/>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1417554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Colo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D13ED75-03D3-4C55-BEDE-F1C0F8F4CFEF}"/>
              </a:ext>
            </a:extLst>
          </p:cNvPr>
          <p:cNvSpPr/>
          <p:nvPr userDrawn="1"/>
        </p:nvSpPr>
        <p:spPr>
          <a:xfrm>
            <a:off x="0" y="2"/>
            <a:ext cx="9144000" cy="6857999"/>
          </a:xfrm>
          <a:prstGeom prst="rect">
            <a:avLst/>
          </a:prstGeom>
          <a:solidFill>
            <a:srgbClr val="30373B"/>
          </a:solidFill>
          <a:ln w="25400" cap="flat" cmpd="sng" algn="ctr">
            <a:noFill/>
            <a:prstDash val="solid"/>
          </a:ln>
          <a:effectLst/>
        </p:spPr>
        <p:txBody>
          <a:bodyPr rtlCol="0" anchor="ctr"/>
          <a:lstStyle/>
          <a:p>
            <a:pPr marL="0" marR="0" lvl="0" indent="0" algn="ctr"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1F2023"/>
              </a:solidFill>
              <a:effectLst/>
              <a:uLnTx/>
              <a:uFillTx/>
              <a:latin typeface="Arial"/>
              <a:ea typeface="+mn-ea"/>
              <a:cs typeface="+mn-cs"/>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50462" y="1628647"/>
            <a:ext cx="8644303" cy="4689475"/>
          </a:xfrm>
        </p:spPr>
        <p:txBody>
          <a:bodyPr rIns="0"/>
          <a:lstStyle>
            <a:lvl1pPr>
              <a:defRPr>
                <a:solidFill>
                  <a:srgbClr val="F8F5E7"/>
                </a:solidFill>
              </a:defRPr>
            </a:lvl1pPr>
            <a:lvl2pPr>
              <a:defRPr>
                <a:solidFill>
                  <a:srgbClr val="F8F5E7"/>
                </a:solidFill>
              </a:defRPr>
            </a:lvl2pPr>
            <a:lvl3pPr>
              <a:defRPr>
                <a:solidFill>
                  <a:srgbClr val="F8F5E7"/>
                </a:solidFill>
              </a:defRPr>
            </a:lvl3pPr>
            <a:lvl4pPr>
              <a:defRPr>
                <a:solidFill>
                  <a:srgbClr val="F8F5E7"/>
                </a:solidFill>
              </a:defRPr>
            </a:lvl4pPr>
            <a:lvl5pPr>
              <a:defRPr>
                <a:solidFill>
                  <a:srgbClr val="F8F5E7"/>
                </a:solidFill>
              </a:defRPr>
            </a:lvl5pPr>
            <a:lvl6pPr>
              <a:defRPr>
                <a:solidFill>
                  <a:srgbClr val="F8F5E7"/>
                </a:solidFill>
              </a:defRPr>
            </a:lvl6pPr>
            <a:lvl7pPr>
              <a:defRPr>
                <a:solidFill>
                  <a:srgbClr val="F8F5E7"/>
                </a:solidFill>
              </a:defRPr>
            </a:lvl7pPr>
            <a:lvl8pPr>
              <a:defRPr>
                <a:solidFill>
                  <a:srgbClr val="F8F5E7"/>
                </a:solidFill>
              </a:defRPr>
            </a:lvl8pPr>
            <a:lvl9pPr>
              <a:defRPr>
                <a:solidFill>
                  <a:srgbClr val="F8F5E7"/>
                </a:solidFill>
              </a:defRPr>
            </a:lvl9pPr>
          </a:lstStyle>
          <a:p>
            <a:pPr lvl="0"/>
            <a:r>
              <a:rPr lang="da-DK" noProof="0"/>
              <a:t>Edit Master text style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Text Placeholder 12">
            <a:extLst>
              <a:ext uri="{FF2B5EF4-FFF2-40B4-BE49-F238E27FC236}">
                <a16:creationId xmlns:a16="http://schemas.microsoft.com/office/drawing/2014/main" id="{DA03DEA2-B734-4E1A-989A-B985B71743C5}"/>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F8F5E7"/>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F8F5E7"/>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F8F5E7"/>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F8F5E7"/>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2" name="Title 1">
            <a:extLst>
              <a:ext uri="{FF2B5EF4-FFF2-40B4-BE49-F238E27FC236}">
                <a16:creationId xmlns:a16="http://schemas.microsoft.com/office/drawing/2014/main" id="{6BB2F81A-A979-4992-A111-276940B6A507}"/>
              </a:ext>
            </a:extLst>
          </p:cNvPr>
          <p:cNvSpPr>
            <a:spLocks noGrp="1"/>
          </p:cNvSpPr>
          <p:nvPr>
            <p:ph type="title"/>
          </p:nvPr>
        </p:nvSpPr>
        <p:spPr>
          <a:xfrm>
            <a:off x="251314" y="272257"/>
            <a:ext cx="7606283" cy="692336"/>
          </a:xfrm>
        </p:spPr>
        <p:txBody>
          <a:bodyPr>
            <a:noAutofit/>
          </a:bodyPr>
          <a:lstStyle>
            <a:lvl1pPr>
              <a:defRPr>
                <a:solidFill>
                  <a:srgbClr val="F8F5E7"/>
                </a:solidFill>
              </a:defRPr>
            </a:lvl1pPr>
          </a:lstStyle>
          <a:p>
            <a:r>
              <a:rPr lang="da-DK"/>
              <a:t>Click to edit Master title style</a:t>
            </a:r>
          </a:p>
        </p:txBody>
      </p:sp>
      <p:sp>
        <p:nvSpPr>
          <p:cNvPr id="4" name="Text Placeholder 3">
            <a:extLst>
              <a:ext uri="{FF2B5EF4-FFF2-40B4-BE49-F238E27FC236}">
                <a16:creationId xmlns:a16="http://schemas.microsoft.com/office/drawing/2014/main" id="{2DEE1D38-B652-484A-AA0A-9748447612D5}"/>
              </a:ext>
            </a:extLst>
          </p:cNvPr>
          <p:cNvSpPr>
            <a:spLocks noGrp="1"/>
          </p:cNvSpPr>
          <p:nvPr>
            <p:ph type="body" sz="quarter" idx="14" hasCustomPrompt="1"/>
          </p:nvPr>
        </p:nvSpPr>
        <p:spPr>
          <a:xfrm>
            <a:off x="6654815" y="6504110"/>
            <a:ext cx="1826642" cy="106116"/>
          </a:xfrm>
        </p:spPr>
        <p:txBody>
          <a:bodyPr rIns="0"/>
          <a:lstStyle>
            <a:lvl1pPr algn="r">
              <a:defRPr sz="600">
                <a:solidFill>
                  <a:srgbClr val="F8F5E7"/>
                </a:solidFill>
              </a:defRPr>
            </a:lvl1pPr>
            <a:lvl2pPr>
              <a:defRPr sz="600"/>
            </a:lvl2pPr>
            <a:lvl3pPr>
              <a:defRPr sz="600"/>
            </a:lvl3pPr>
            <a:lvl4pPr>
              <a:defRPr sz="600"/>
            </a:lvl4pPr>
            <a:lvl5pPr>
              <a:defRPr sz="600"/>
            </a:lvl5pPr>
          </a:lstStyle>
          <a:p>
            <a:pPr lvl="0"/>
            <a:r>
              <a:rPr lang="da-DK"/>
              <a:t>Tracker</a:t>
            </a:r>
          </a:p>
        </p:txBody>
      </p:sp>
      <p:sp>
        <p:nvSpPr>
          <p:cNvPr id="14" name="Freeform: Shape 13">
            <a:extLst>
              <a:ext uri="{FF2B5EF4-FFF2-40B4-BE49-F238E27FC236}">
                <a16:creationId xmlns:a16="http://schemas.microsoft.com/office/drawing/2014/main" id="{BB1C1348-B6E2-4EA8-8EA4-11925D5339C3}"/>
              </a:ext>
            </a:extLst>
          </p:cNvPr>
          <p:cNvSpPr/>
          <p:nvPr userDrawn="1">
            <p:custDataLst>
              <p:tags r:id="rId1"/>
            </p:custDataLst>
          </p:nvPr>
        </p:nvSpPr>
        <p:spPr bwMode="auto">
          <a:xfrm rot="5400000">
            <a:off x="8646962" y="406758"/>
            <a:ext cx="350168" cy="142743"/>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bg1"/>
          </a:solidFill>
          <a:ln>
            <a:noFill/>
          </a:ln>
        </p:spPr>
        <p:txBody>
          <a:bodyPr vert="horz" wrap="square" lIns="84406" tIns="42203" rIns="84406" bIns="42203" numCol="1" anchor="t" anchorCtr="0" compatLnSpc="1">
            <a:prstTxWarp prst="textNoShape">
              <a:avLst/>
            </a:prstTxWarp>
            <a:noAutofit/>
          </a:bodyPr>
          <a:lstStyle/>
          <a:p>
            <a:endParaRPr lang="da-DK" sz="1662"/>
          </a:p>
        </p:txBody>
      </p:sp>
      <p:sp>
        <p:nvSpPr>
          <p:cNvPr id="15" name="Date_GeneralDate" hidden="1">
            <a:extLst>
              <a:ext uri="{FF2B5EF4-FFF2-40B4-BE49-F238E27FC236}">
                <a16:creationId xmlns:a16="http://schemas.microsoft.com/office/drawing/2014/main" id="{4207D1EA-57BB-4882-8533-FB5A90B4EDDE}"/>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3" name="Slide Number Placeholder 2">
            <a:extLst>
              <a:ext uri="{FF2B5EF4-FFF2-40B4-BE49-F238E27FC236}">
                <a16:creationId xmlns:a16="http://schemas.microsoft.com/office/drawing/2014/main" id="{027397BF-43AE-4FA9-B3AF-B3153466E2CE}"/>
              </a:ext>
            </a:extLst>
          </p:cNvPr>
          <p:cNvSpPr>
            <a:spLocks noGrp="1"/>
          </p:cNvSpPr>
          <p:nvPr>
            <p:ph type="sldNum" sz="quarter" idx="16"/>
          </p:nvPr>
        </p:nvSpPr>
        <p:spPr/>
        <p:txBody>
          <a:bodyPr/>
          <a:lstStyle>
            <a:lvl1pPr>
              <a:defRPr>
                <a:solidFill>
                  <a:srgbClr val="F8F5E7"/>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1477099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50463" y="1628647"/>
            <a:ext cx="4191119" cy="4689474"/>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text styles</a:t>
            </a:r>
          </a:p>
          <a:p>
            <a:pPr lvl="1"/>
            <a:r>
              <a:rPr lang="da-DK" noProof="0"/>
              <a:t>Second level</a:t>
            </a:r>
          </a:p>
          <a:p>
            <a:pPr lvl="2"/>
            <a:r>
              <a:rPr lang="da-DK" noProof="0"/>
              <a:t>Third level</a:t>
            </a:r>
          </a:p>
          <a:p>
            <a:pPr lvl="3"/>
            <a:r>
              <a:rPr lang="da-DK" noProof="0"/>
              <a:t>Fourth level</a:t>
            </a:r>
          </a:p>
          <a:p>
            <a:pPr lvl="4"/>
            <a:r>
              <a:rPr lang="da-DK" noProof="0"/>
              <a:t>Fifth level</a:t>
            </a:r>
          </a:p>
        </p:txBody>
      </p:sp>
      <p:sp>
        <p:nvSpPr>
          <p:cNvPr id="10" name="Title 1">
            <a:extLst>
              <a:ext uri="{FF2B5EF4-FFF2-40B4-BE49-F238E27FC236}">
                <a16:creationId xmlns:a16="http://schemas.microsoft.com/office/drawing/2014/main" id="{97A9E787-61B5-4260-BC71-92D5DEB35268}"/>
              </a:ext>
            </a:extLst>
          </p:cNvPr>
          <p:cNvSpPr>
            <a:spLocks noGrp="1"/>
          </p:cNvSpPr>
          <p:nvPr>
            <p:ph type="title"/>
          </p:nvPr>
        </p:nvSpPr>
        <p:spPr>
          <a:xfrm>
            <a:off x="251314" y="272257"/>
            <a:ext cx="7606283" cy="692336"/>
          </a:xfrm>
        </p:spPr>
        <p:txBody>
          <a:bodyPr>
            <a:noAutofit/>
          </a:bodyPr>
          <a:lstStyle>
            <a:lvl1pPr>
              <a:defRPr>
                <a:solidFill>
                  <a:srgbClr val="1F2023"/>
                </a:solidFill>
              </a:defRPr>
            </a:lvl1pPr>
          </a:lstStyle>
          <a:p>
            <a:r>
              <a:rPr lang="da-DK"/>
              <a:t>Click to edit Master title style</a:t>
            </a:r>
          </a:p>
        </p:txBody>
      </p:sp>
      <p:sp>
        <p:nvSpPr>
          <p:cNvPr id="11" name="Text Placeholder 12">
            <a:extLst>
              <a:ext uri="{FF2B5EF4-FFF2-40B4-BE49-F238E27FC236}">
                <a16:creationId xmlns:a16="http://schemas.microsoft.com/office/drawing/2014/main" id="{95833392-58BF-48C2-B298-2E1AF269A67D}"/>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3" name="Text Placeholder 3">
            <a:extLst>
              <a:ext uri="{FF2B5EF4-FFF2-40B4-BE49-F238E27FC236}">
                <a16:creationId xmlns:a16="http://schemas.microsoft.com/office/drawing/2014/main" id="{8B1FBC85-E132-41F0-AED2-E8AFB9F92624}"/>
              </a:ext>
            </a:extLst>
          </p:cNvPr>
          <p:cNvSpPr>
            <a:spLocks noGrp="1"/>
          </p:cNvSpPr>
          <p:nvPr>
            <p:ph type="body" sz="quarter" idx="15"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6" name="Content Placeholder 2">
            <a:extLst>
              <a:ext uri="{FF2B5EF4-FFF2-40B4-BE49-F238E27FC236}">
                <a16:creationId xmlns:a16="http://schemas.microsoft.com/office/drawing/2014/main" id="{AACDC629-F4C4-4E34-8615-03DAA38947D9}"/>
              </a:ext>
            </a:extLst>
          </p:cNvPr>
          <p:cNvSpPr>
            <a:spLocks noGrp="1"/>
          </p:cNvSpPr>
          <p:nvPr>
            <p:ph idx="16"/>
          </p:nvPr>
        </p:nvSpPr>
        <p:spPr>
          <a:xfrm>
            <a:off x="4702301" y="1633409"/>
            <a:ext cx="4189654" cy="4689474"/>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text styles</a:t>
            </a:r>
          </a:p>
          <a:p>
            <a:pPr lvl="1"/>
            <a:r>
              <a:rPr lang="da-DK" noProof="0"/>
              <a:t>Second level</a:t>
            </a:r>
          </a:p>
          <a:p>
            <a:pPr lvl="2"/>
            <a:r>
              <a:rPr lang="da-DK" noProof="0"/>
              <a:t>Third level</a:t>
            </a:r>
          </a:p>
          <a:p>
            <a:pPr lvl="3"/>
            <a:r>
              <a:rPr lang="da-DK" noProof="0"/>
              <a:t>Fourth level</a:t>
            </a:r>
          </a:p>
          <a:p>
            <a:pPr lvl="4"/>
            <a:r>
              <a:rPr lang="da-DK" noProof="0"/>
              <a:t>Fifth level</a:t>
            </a:r>
          </a:p>
        </p:txBody>
      </p:sp>
      <p:sp>
        <p:nvSpPr>
          <p:cNvPr id="17" name="Date_GeneralDate" hidden="1">
            <a:extLst>
              <a:ext uri="{FF2B5EF4-FFF2-40B4-BE49-F238E27FC236}">
                <a16:creationId xmlns:a16="http://schemas.microsoft.com/office/drawing/2014/main" id="{D9DF96F7-16E4-4798-B632-8C0B52A9F0AE}"/>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3" name="Slide Number Placeholder 2">
            <a:extLst>
              <a:ext uri="{FF2B5EF4-FFF2-40B4-BE49-F238E27FC236}">
                <a16:creationId xmlns:a16="http://schemas.microsoft.com/office/drawing/2014/main" id="{FB514C9D-0B69-4E39-95D6-B5BDF3F28EA3}"/>
              </a:ext>
            </a:extLst>
          </p:cNvPr>
          <p:cNvSpPr>
            <a:spLocks noGrp="1"/>
          </p:cNvSpPr>
          <p:nvPr>
            <p:ph type="sldNum" sz="quarter" idx="18"/>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927136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51314" y="1629570"/>
            <a:ext cx="6419850" cy="4689474"/>
          </a:xfrm>
        </p:spPr>
        <p:txBody>
          <a:bodyPr rIns="0">
            <a:noAutofit/>
          </a:bodyPr>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text styles</a:t>
            </a:r>
          </a:p>
          <a:p>
            <a:pPr lvl="1"/>
            <a:r>
              <a:rPr lang="da-DK" noProof="0"/>
              <a:t>Second level</a:t>
            </a:r>
          </a:p>
          <a:p>
            <a:pPr lvl="2"/>
            <a:r>
              <a:rPr lang="da-DK" noProof="0"/>
              <a:t>Third level</a:t>
            </a:r>
          </a:p>
          <a:p>
            <a:pPr lvl="3"/>
            <a:r>
              <a:rPr lang="da-DK" noProof="0"/>
              <a:t>Fourth level</a:t>
            </a:r>
          </a:p>
          <a:p>
            <a:pPr lvl="4"/>
            <a:r>
              <a:rPr lang="da-DK" noProof="0"/>
              <a:t>Fifth level</a:t>
            </a:r>
          </a:p>
        </p:txBody>
      </p:sp>
      <p:sp>
        <p:nvSpPr>
          <p:cNvPr id="10" name="Title 1">
            <a:extLst>
              <a:ext uri="{FF2B5EF4-FFF2-40B4-BE49-F238E27FC236}">
                <a16:creationId xmlns:a16="http://schemas.microsoft.com/office/drawing/2014/main" id="{491C5999-EC85-4330-9F46-B0688F0B19DF}"/>
              </a:ext>
            </a:extLst>
          </p:cNvPr>
          <p:cNvSpPr>
            <a:spLocks noGrp="1"/>
          </p:cNvSpPr>
          <p:nvPr>
            <p:ph type="title"/>
          </p:nvPr>
        </p:nvSpPr>
        <p:spPr>
          <a:xfrm>
            <a:off x="251314" y="272257"/>
            <a:ext cx="7606283" cy="692336"/>
          </a:xfrm>
        </p:spPr>
        <p:txBody>
          <a:bodyPr>
            <a:noAutofit/>
          </a:bodyPr>
          <a:lstStyle>
            <a:lvl1pPr>
              <a:defRPr>
                <a:solidFill>
                  <a:srgbClr val="1F2023"/>
                </a:solidFill>
              </a:defRPr>
            </a:lvl1pPr>
          </a:lstStyle>
          <a:p>
            <a:r>
              <a:rPr lang="da-DK"/>
              <a:t>Click to edit Master title style</a:t>
            </a:r>
          </a:p>
        </p:txBody>
      </p:sp>
      <p:sp>
        <p:nvSpPr>
          <p:cNvPr id="11" name="Text Placeholder 12">
            <a:extLst>
              <a:ext uri="{FF2B5EF4-FFF2-40B4-BE49-F238E27FC236}">
                <a16:creationId xmlns:a16="http://schemas.microsoft.com/office/drawing/2014/main" id="{E3DCC377-0280-401A-965D-56293C16EC32}"/>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4" name="Text Placeholder 3">
            <a:extLst>
              <a:ext uri="{FF2B5EF4-FFF2-40B4-BE49-F238E27FC236}">
                <a16:creationId xmlns:a16="http://schemas.microsoft.com/office/drawing/2014/main" id="{9EDDAF85-3BF3-423A-AAA1-867083C13F51}"/>
              </a:ext>
            </a:extLst>
          </p:cNvPr>
          <p:cNvSpPr>
            <a:spLocks noGrp="1"/>
          </p:cNvSpPr>
          <p:nvPr>
            <p:ph type="body" sz="quarter" idx="15"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8" name="Content Placeholder 2">
            <a:extLst>
              <a:ext uri="{FF2B5EF4-FFF2-40B4-BE49-F238E27FC236}">
                <a16:creationId xmlns:a16="http://schemas.microsoft.com/office/drawing/2014/main" id="{0DCD6769-8933-4028-9ACD-431F38F7D409}"/>
              </a:ext>
            </a:extLst>
          </p:cNvPr>
          <p:cNvSpPr>
            <a:spLocks noGrp="1"/>
          </p:cNvSpPr>
          <p:nvPr>
            <p:ph idx="16"/>
          </p:nvPr>
        </p:nvSpPr>
        <p:spPr>
          <a:xfrm>
            <a:off x="6919545" y="1627189"/>
            <a:ext cx="1973874" cy="4689474"/>
          </a:xfrm>
        </p:spPr>
        <p:txBody>
          <a:bodyPr rIns="0">
            <a:noAutofit/>
          </a:bodyPr>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text styles</a:t>
            </a:r>
          </a:p>
          <a:p>
            <a:pPr lvl="1"/>
            <a:r>
              <a:rPr lang="da-DK" noProof="0"/>
              <a:t>Second level</a:t>
            </a:r>
          </a:p>
          <a:p>
            <a:pPr lvl="2"/>
            <a:r>
              <a:rPr lang="da-DK" noProof="0"/>
              <a:t>Third level</a:t>
            </a:r>
          </a:p>
          <a:p>
            <a:pPr lvl="3"/>
            <a:r>
              <a:rPr lang="da-DK" noProof="0"/>
              <a:t>Fourth level</a:t>
            </a:r>
          </a:p>
          <a:p>
            <a:pPr lvl="4"/>
            <a:r>
              <a:rPr lang="da-DK" noProof="0"/>
              <a:t>Fifth level</a:t>
            </a:r>
          </a:p>
        </p:txBody>
      </p:sp>
      <p:sp>
        <p:nvSpPr>
          <p:cNvPr id="13" name="Date_GeneralDate" hidden="1">
            <a:extLst>
              <a:ext uri="{FF2B5EF4-FFF2-40B4-BE49-F238E27FC236}">
                <a16:creationId xmlns:a16="http://schemas.microsoft.com/office/drawing/2014/main" id="{E8EC64DB-194A-4D45-A9E9-C2C0A37B016C}"/>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3" name="Slide Number Placeholder 2">
            <a:extLst>
              <a:ext uri="{FF2B5EF4-FFF2-40B4-BE49-F238E27FC236}">
                <a16:creationId xmlns:a16="http://schemas.microsoft.com/office/drawing/2014/main" id="{2F224526-0D14-43D9-9CC9-7B7CBD40B43C}"/>
              </a:ext>
            </a:extLst>
          </p:cNvPr>
          <p:cNvSpPr>
            <a:spLocks noGrp="1"/>
          </p:cNvSpPr>
          <p:nvPr>
            <p:ph type="sldNum" sz="quarter" idx="18"/>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282965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yout 3A (titel, 2 objekter)">
    <p:spTree>
      <p:nvGrpSpPr>
        <p:cNvPr id="1" name=""/>
        <p:cNvGrpSpPr/>
        <p:nvPr/>
      </p:nvGrpSpPr>
      <p:grpSpPr>
        <a:xfrm>
          <a:off x="0" y="0"/>
          <a:ext cx="0" cy="0"/>
          <a:chOff x="0" y="0"/>
          <a:chExt cx="0" cy="0"/>
        </a:xfrm>
      </p:grpSpPr>
      <p:sp>
        <p:nvSpPr>
          <p:cNvPr id="13" name="Pladsholder til indhold 2"/>
          <p:cNvSpPr>
            <a:spLocks noGrp="1"/>
          </p:cNvSpPr>
          <p:nvPr>
            <p:ph idx="11" hasCustomPrompt="1"/>
          </p:nvPr>
        </p:nvSpPr>
        <p:spPr>
          <a:xfrm>
            <a:off x="4650600" y="1445966"/>
            <a:ext cx="3960000" cy="4348553"/>
          </a:xfrm>
          <a:prstGeom prst="rect">
            <a:avLst/>
          </a:prstGeom>
        </p:spPr>
        <p:txBody>
          <a:bodyPr>
            <a:normAutofit/>
          </a:bodyPr>
          <a:lstStyle>
            <a:lvl1pPr marL="0" indent="0">
              <a:lnSpc>
                <a:spcPct val="150000"/>
              </a:lnSpc>
              <a:spcBef>
                <a:spcPts val="0"/>
              </a:spcBef>
              <a:buNone/>
              <a:defRPr sz="1800">
                <a:latin typeface="Verdana" panose="020B0604030504040204" pitchFamily="34" charset="0"/>
                <a:ea typeface="Verdana" panose="020B0604030504040204" pitchFamily="34" charset="0"/>
                <a:cs typeface="Verdana" panose="020B0604030504040204" pitchFamily="34" charset="0"/>
              </a:defRPr>
            </a:lvl1pPr>
            <a:lvl2pPr marL="800100" indent="-342900">
              <a:lnSpc>
                <a:spcPct val="150000"/>
              </a:lnSpc>
              <a:spcBef>
                <a:spcPts val="0"/>
              </a:spcBef>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defRPr>
            </a:lvl2pPr>
            <a:lvl3pPr marL="1257300" indent="-342900">
              <a:lnSpc>
                <a:spcPct val="150000"/>
              </a:lnSpc>
              <a:spcBef>
                <a:spcPts val="0"/>
              </a:spcBef>
              <a:buFont typeface="Courier New" panose="02070309020205020404" pitchFamily="49" charset="0"/>
              <a:buChar char="o"/>
              <a:defRPr sz="1400">
                <a:latin typeface="Verdana" panose="020B0604030504040204" pitchFamily="34" charset="0"/>
                <a:ea typeface="Verdana" panose="020B0604030504040204" pitchFamily="34" charset="0"/>
                <a:cs typeface="Verdana" panose="020B0604030504040204" pitchFamily="34" charset="0"/>
              </a:defRPr>
            </a:lvl3pPr>
            <a:lvl4pPr marL="1714500" indent="-342900">
              <a:lnSpc>
                <a:spcPct val="150000"/>
              </a:lnSpc>
              <a:spcBef>
                <a:spcPts val="0"/>
              </a:spcBef>
              <a:buFont typeface="Wingdings" panose="05000000000000000000" pitchFamily="2" charset="2"/>
              <a:buChar char="§"/>
              <a:defRPr sz="1300">
                <a:latin typeface="Verdana" panose="020B0604030504040204" pitchFamily="34" charset="0"/>
                <a:ea typeface="Verdana" panose="020B0604030504040204" pitchFamily="34" charset="0"/>
                <a:cs typeface="Verdana" panose="020B0604030504040204" pitchFamily="34" charset="0"/>
              </a:defRPr>
            </a:lvl4pPr>
            <a:lvl5pPr marL="2057400" indent="-228600">
              <a:lnSpc>
                <a:spcPct val="150000"/>
              </a:lnSpc>
              <a:spcBef>
                <a:spcPts val="0"/>
              </a:spcBef>
              <a:buFont typeface="Arial" panose="020B0604020202020204" pitchFamily="34" charset="0"/>
              <a:buChar char="•"/>
              <a:defRPr sz="1100">
                <a:latin typeface="Verdana" panose="020B0604030504040204" pitchFamily="34" charset="0"/>
                <a:ea typeface="Verdana" panose="020B0604030504040204" pitchFamily="34" charset="0"/>
                <a:cs typeface="Verdana" panose="020B0604030504040204" pitchFamily="34" charset="0"/>
              </a:defRPr>
            </a:lvl5pPr>
          </a:lstStyle>
          <a:p>
            <a:pPr lvl="0"/>
            <a:r>
              <a:rPr lang="da-DK"/>
              <a:t>Klik for at indsætte indhold</a:t>
            </a:r>
          </a:p>
        </p:txBody>
      </p:sp>
      <p:sp>
        <p:nvSpPr>
          <p:cNvPr id="3" name="Title 1"/>
          <p:cNvSpPr>
            <a:spLocks noGrp="1"/>
          </p:cNvSpPr>
          <p:nvPr>
            <p:ph type="title" hasCustomPrompt="1"/>
          </p:nvPr>
        </p:nvSpPr>
        <p:spPr>
          <a:xfrm>
            <a:off x="628650" y="365127"/>
            <a:ext cx="7981950" cy="689476"/>
          </a:xfrm>
          <a:prstGeom prst="rect">
            <a:avLst/>
          </a:prstGeom>
          <a:noFill/>
        </p:spPr>
        <p:txBody>
          <a:bodyPr anchor="b">
            <a:normAutofit/>
          </a:bodyPr>
          <a:lstStyle>
            <a:lvl1pPr>
              <a:defRPr sz="2400" b="1" cap="all" baseline="0">
                <a:solidFill>
                  <a:srgbClr val="00B0F0"/>
                </a:solidFill>
                <a:latin typeface="Verdana" panose="020B0604030504040204" pitchFamily="34" charset="0"/>
                <a:ea typeface="Verdana" panose="020B0604030504040204" pitchFamily="34" charset="0"/>
                <a:cs typeface="Verdana" panose="020B0604030504040204" pitchFamily="34" charset="0"/>
              </a:defRPr>
            </a:lvl1pPr>
          </a:lstStyle>
          <a:p>
            <a:r>
              <a:rPr lang="da-DK"/>
              <a:t>KLIK FOR AT indsætte overskrift</a:t>
            </a:r>
          </a:p>
        </p:txBody>
      </p:sp>
      <p:sp>
        <p:nvSpPr>
          <p:cNvPr id="9" name="Pladsholder til diasnummer 5"/>
          <p:cNvSpPr txBox="1">
            <a:spLocks/>
          </p:cNvSpPr>
          <p:nvPr userDrawn="1"/>
        </p:nvSpPr>
        <p:spPr>
          <a:xfrm>
            <a:off x="4124325" y="6248194"/>
            <a:ext cx="990600" cy="297265"/>
          </a:xfrm>
          <a:prstGeom prst="rect">
            <a:avLst/>
          </a:prstGeom>
        </p:spPr>
        <p:txBody>
          <a:bodyPr/>
          <a:lstStyle>
            <a:defPPr>
              <a:defRPr lang="da-DK"/>
            </a:defPPr>
            <a:lvl1pPr marL="0" algn="r" defTabSz="914400" rtl="0" eaLnBrk="1" latinLnBrk="0" hangingPunct="1">
              <a:defRPr sz="1400" kern="1200">
                <a:solidFill>
                  <a:schemeClr val="accent6"/>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900" b="0">
                <a:solidFill>
                  <a:schemeClr val="tx1"/>
                </a:solidFill>
                <a:latin typeface="Verdana" panose="020B0604030504040204" pitchFamily="34" charset="0"/>
                <a:ea typeface="Verdana" panose="020B0604030504040204" pitchFamily="34" charset="0"/>
                <a:cs typeface="Verdana" panose="020B0604030504040204" pitchFamily="34" charset="0"/>
              </a:rPr>
              <a:t>Side </a:t>
            </a:r>
            <a:fld id="{C7AC859A-AE19-4543-AC75-3D2F5ABF6574}" type="slidenum">
              <a:rPr lang="da-DK" sz="900" b="0" smtClean="0">
                <a:solidFill>
                  <a:schemeClr val="tx1"/>
                </a:solidFill>
                <a:latin typeface="Verdana" panose="020B0604030504040204" pitchFamily="34" charset="0"/>
                <a:ea typeface="Verdana" panose="020B0604030504040204" pitchFamily="34" charset="0"/>
                <a:cs typeface="Verdana" panose="020B0604030504040204" pitchFamily="34" charset="0"/>
              </a:rPr>
              <a:pPr algn="ctr"/>
              <a:t>‹nr.›</a:t>
            </a:fld>
            <a:endParaRPr lang="da-DK" sz="900" b="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Pladsholder til indhold 2"/>
          <p:cNvSpPr>
            <a:spLocks noGrp="1"/>
          </p:cNvSpPr>
          <p:nvPr>
            <p:ph idx="10" hasCustomPrompt="1"/>
          </p:nvPr>
        </p:nvSpPr>
        <p:spPr>
          <a:xfrm>
            <a:off x="628650" y="1445966"/>
            <a:ext cx="3960000" cy="4348553"/>
          </a:xfrm>
          <a:prstGeom prst="rect">
            <a:avLst/>
          </a:prstGeom>
        </p:spPr>
        <p:txBody>
          <a:bodyPr>
            <a:normAutofit/>
          </a:bodyPr>
          <a:lstStyle>
            <a:lvl1pPr marL="0" indent="0">
              <a:lnSpc>
                <a:spcPct val="150000"/>
              </a:lnSpc>
              <a:spcBef>
                <a:spcPts val="0"/>
              </a:spcBef>
              <a:buNone/>
              <a:defRPr sz="1800">
                <a:latin typeface="Verdana" panose="020B0604030504040204" pitchFamily="34" charset="0"/>
                <a:ea typeface="Verdana" panose="020B0604030504040204" pitchFamily="34" charset="0"/>
                <a:cs typeface="Verdana" panose="020B0604030504040204" pitchFamily="34" charset="0"/>
              </a:defRPr>
            </a:lvl1pPr>
            <a:lvl2pPr marL="800100" indent="-342900">
              <a:lnSpc>
                <a:spcPct val="150000"/>
              </a:lnSpc>
              <a:spcBef>
                <a:spcPts val="0"/>
              </a:spcBef>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defRPr>
            </a:lvl2pPr>
            <a:lvl3pPr marL="1257300" indent="-342900">
              <a:lnSpc>
                <a:spcPct val="150000"/>
              </a:lnSpc>
              <a:spcBef>
                <a:spcPts val="0"/>
              </a:spcBef>
              <a:buFont typeface="Courier New" panose="02070309020205020404" pitchFamily="49" charset="0"/>
              <a:buChar char="o"/>
              <a:defRPr sz="1400">
                <a:latin typeface="Verdana" panose="020B0604030504040204" pitchFamily="34" charset="0"/>
                <a:ea typeface="Verdana" panose="020B0604030504040204" pitchFamily="34" charset="0"/>
                <a:cs typeface="Verdana" panose="020B0604030504040204" pitchFamily="34" charset="0"/>
              </a:defRPr>
            </a:lvl3pPr>
            <a:lvl4pPr marL="1714500" indent="-342900">
              <a:lnSpc>
                <a:spcPct val="150000"/>
              </a:lnSpc>
              <a:spcBef>
                <a:spcPts val="0"/>
              </a:spcBef>
              <a:buFont typeface="Wingdings" panose="05000000000000000000" pitchFamily="2" charset="2"/>
              <a:buChar char="§"/>
              <a:defRPr sz="1300">
                <a:latin typeface="Verdana" panose="020B0604030504040204" pitchFamily="34" charset="0"/>
                <a:ea typeface="Verdana" panose="020B0604030504040204" pitchFamily="34" charset="0"/>
                <a:cs typeface="Verdana" panose="020B0604030504040204" pitchFamily="34" charset="0"/>
              </a:defRPr>
            </a:lvl4pPr>
            <a:lvl5pPr marL="2057400" indent="-228600">
              <a:lnSpc>
                <a:spcPct val="150000"/>
              </a:lnSpc>
              <a:spcBef>
                <a:spcPts val="0"/>
              </a:spcBef>
              <a:buFont typeface="Arial" panose="020B0604020202020204" pitchFamily="34" charset="0"/>
              <a:buChar char="•"/>
              <a:defRPr sz="1100">
                <a:latin typeface="Verdana" panose="020B0604030504040204" pitchFamily="34" charset="0"/>
                <a:ea typeface="Verdana" panose="020B0604030504040204" pitchFamily="34" charset="0"/>
                <a:cs typeface="Verdana" panose="020B0604030504040204" pitchFamily="34" charset="0"/>
              </a:defRPr>
            </a:lvl5pPr>
          </a:lstStyle>
          <a:p>
            <a:pPr lvl="0"/>
            <a:r>
              <a:rPr lang="da-DK"/>
              <a:t>Klik for at indsætte indhold</a:t>
            </a:r>
          </a:p>
        </p:txBody>
      </p:sp>
    </p:spTree>
    <p:extLst>
      <p:ext uri="{BB962C8B-B14F-4D97-AF65-F5344CB8AC3E}">
        <p14:creationId xmlns:p14="http://schemas.microsoft.com/office/powerpoint/2010/main" val="274669446"/>
      </p:ext>
    </p:extLst>
  </p:cSld>
  <p:clrMapOvr>
    <a:masterClrMapping/>
  </p:clrMapOvr>
  <p:transition spd="slow">
    <p:push dir="u"/>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EAAE5C6-2755-4F4E-A878-43F56B65E9BB}"/>
              </a:ext>
            </a:extLst>
          </p:cNvPr>
          <p:cNvSpPr>
            <a:spLocks noGrp="1"/>
          </p:cNvSpPr>
          <p:nvPr>
            <p:ph type="title"/>
          </p:nvPr>
        </p:nvSpPr>
        <p:spPr>
          <a:xfrm>
            <a:off x="251314" y="272257"/>
            <a:ext cx="7606283" cy="692336"/>
          </a:xfrm>
        </p:spPr>
        <p:txBody>
          <a:bodyPr>
            <a:noAutofit/>
          </a:bodyPr>
          <a:lstStyle>
            <a:lvl1pPr>
              <a:defRPr>
                <a:solidFill>
                  <a:srgbClr val="1F2023"/>
                </a:solidFill>
              </a:defRPr>
            </a:lvl1pPr>
          </a:lstStyle>
          <a:p>
            <a:r>
              <a:rPr lang="da-DK"/>
              <a:t>Click to edit Master title style</a:t>
            </a:r>
          </a:p>
        </p:txBody>
      </p:sp>
      <p:sp>
        <p:nvSpPr>
          <p:cNvPr id="8" name="Text Placeholder 12">
            <a:extLst>
              <a:ext uri="{FF2B5EF4-FFF2-40B4-BE49-F238E27FC236}">
                <a16:creationId xmlns:a16="http://schemas.microsoft.com/office/drawing/2014/main" id="{134F504F-A2DE-4572-9711-6650D6AA4E27}"/>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1" name="Text Placeholder 3">
            <a:extLst>
              <a:ext uri="{FF2B5EF4-FFF2-40B4-BE49-F238E27FC236}">
                <a16:creationId xmlns:a16="http://schemas.microsoft.com/office/drawing/2014/main" id="{79240DFA-E6CC-48C6-9045-36E6CF1B045E}"/>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0" name="Date_GeneralDate" hidden="1">
            <a:extLst>
              <a:ext uri="{FF2B5EF4-FFF2-40B4-BE49-F238E27FC236}">
                <a16:creationId xmlns:a16="http://schemas.microsoft.com/office/drawing/2014/main" id="{3612FFCC-B791-4D3E-A268-282FC899CB72}"/>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3" name="Slide Number Placeholder 2">
            <a:extLst>
              <a:ext uri="{FF2B5EF4-FFF2-40B4-BE49-F238E27FC236}">
                <a16:creationId xmlns:a16="http://schemas.microsoft.com/office/drawing/2014/main" id="{FAFD44B2-57DA-41D6-B086-CFC394858A0C}"/>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1155026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Layout A">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51314" y="1629570"/>
            <a:ext cx="4196861" cy="4689475"/>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text styles</a:t>
            </a:r>
          </a:p>
          <a:p>
            <a:pPr lvl="1"/>
            <a:r>
              <a:rPr lang="da-DK" noProof="0"/>
              <a:t>Second level</a:t>
            </a:r>
          </a:p>
          <a:p>
            <a:pPr lvl="2"/>
            <a:r>
              <a:rPr lang="da-DK" noProof="0"/>
              <a:t>Third level</a:t>
            </a:r>
          </a:p>
          <a:p>
            <a:pPr lvl="3"/>
            <a:r>
              <a:rPr lang="da-DK" noProof="0"/>
              <a:t>Fourth level</a:t>
            </a:r>
          </a:p>
          <a:p>
            <a:pPr lvl="4"/>
            <a:r>
              <a:rPr lang="da-DK" noProof="0"/>
              <a:t>Fifth level</a:t>
            </a:r>
          </a:p>
        </p:txBody>
      </p:sp>
      <p:sp>
        <p:nvSpPr>
          <p:cNvPr id="10" name="Picture Placeholder 13">
            <a:extLst>
              <a:ext uri="{FF2B5EF4-FFF2-40B4-BE49-F238E27FC236}">
                <a16:creationId xmlns:a16="http://schemas.microsoft.com/office/drawing/2014/main" id="{96EDC17A-116C-4E16-A3DE-2E5F4B894B8C}"/>
              </a:ext>
            </a:extLst>
          </p:cNvPr>
          <p:cNvSpPr>
            <a:spLocks noGrp="1"/>
          </p:cNvSpPr>
          <p:nvPr>
            <p:ph type="pic" sz="quarter" idx="15"/>
          </p:nvPr>
        </p:nvSpPr>
        <p:spPr>
          <a:xfrm>
            <a:off x="4696561" y="269877"/>
            <a:ext cx="3947744" cy="3568047"/>
          </a:xfrm>
          <a:solidFill>
            <a:srgbClr val="F3F2F0"/>
          </a:solidFill>
        </p:spPr>
        <p:txBody>
          <a:bodyPr rIns="0" anchor="ctr" anchorCtr="0"/>
          <a:lstStyle>
            <a:lvl1pPr marL="0" indent="0" algn="ctr">
              <a:buNone/>
              <a:defRPr>
                <a:solidFill>
                  <a:srgbClr val="1F2023"/>
                </a:solidFill>
              </a:defRPr>
            </a:lvl1pPr>
          </a:lstStyle>
          <a:p>
            <a:r>
              <a:rPr lang="da-DK"/>
              <a:t>Click icon to add picture</a:t>
            </a:r>
          </a:p>
        </p:txBody>
      </p:sp>
      <p:sp>
        <p:nvSpPr>
          <p:cNvPr id="11" name="Title 1">
            <a:extLst>
              <a:ext uri="{FF2B5EF4-FFF2-40B4-BE49-F238E27FC236}">
                <a16:creationId xmlns:a16="http://schemas.microsoft.com/office/drawing/2014/main" id="{71B800F5-D353-40A2-B9C9-A29ACB6135C1}"/>
              </a:ext>
            </a:extLst>
          </p:cNvPr>
          <p:cNvSpPr>
            <a:spLocks noGrp="1"/>
          </p:cNvSpPr>
          <p:nvPr>
            <p:ph type="title"/>
          </p:nvPr>
        </p:nvSpPr>
        <p:spPr>
          <a:xfrm>
            <a:off x="251314" y="272257"/>
            <a:ext cx="4196860" cy="692336"/>
          </a:xfrm>
        </p:spPr>
        <p:txBody>
          <a:bodyPr/>
          <a:lstStyle>
            <a:lvl1pPr>
              <a:defRPr>
                <a:solidFill>
                  <a:srgbClr val="1F2023"/>
                </a:solidFill>
              </a:defRPr>
            </a:lvl1pPr>
          </a:lstStyle>
          <a:p>
            <a:r>
              <a:rPr lang="da-DK"/>
              <a:t>Click to edit Master title style</a:t>
            </a:r>
          </a:p>
        </p:txBody>
      </p:sp>
      <p:sp>
        <p:nvSpPr>
          <p:cNvPr id="12" name="Text Placeholder 12">
            <a:extLst>
              <a:ext uri="{FF2B5EF4-FFF2-40B4-BE49-F238E27FC236}">
                <a16:creationId xmlns:a16="http://schemas.microsoft.com/office/drawing/2014/main" id="{9B2F0609-B28D-4E90-9A79-7A5ED798D973}"/>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6" name="Text Placeholder 3">
            <a:extLst>
              <a:ext uri="{FF2B5EF4-FFF2-40B4-BE49-F238E27FC236}">
                <a16:creationId xmlns:a16="http://schemas.microsoft.com/office/drawing/2014/main" id="{AB449F3A-748D-4A5A-BF30-2662AC65CBFF}"/>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20" name="Content Placeholder 2">
            <a:extLst>
              <a:ext uri="{FF2B5EF4-FFF2-40B4-BE49-F238E27FC236}">
                <a16:creationId xmlns:a16="http://schemas.microsoft.com/office/drawing/2014/main" id="{8C5BF74F-DDC9-4227-9B0E-E848E85850DD}"/>
              </a:ext>
            </a:extLst>
          </p:cNvPr>
          <p:cNvSpPr>
            <a:spLocks noGrp="1"/>
          </p:cNvSpPr>
          <p:nvPr>
            <p:ph idx="17"/>
          </p:nvPr>
        </p:nvSpPr>
        <p:spPr>
          <a:xfrm>
            <a:off x="4696558" y="4110811"/>
            <a:ext cx="4196861" cy="2205853"/>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text styles</a:t>
            </a:r>
          </a:p>
          <a:p>
            <a:pPr lvl="1"/>
            <a:r>
              <a:rPr lang="da-DK" noProof="0"/>
              <a:t>Second level</a:t>
            </a:r>
          </a:p>
          <a:p>
            <a:pPr lvl="2"/>
            <a:r>
              <a:rPr lang="da-DK" noProof="0"/>
              <a:t>Third level</a:t>
            </a:r>
          </a:p>
          <a:p>
            <a:pPr lvl="3"/>
            <a:r>
              <a:rPr lang="da-DK" noProof="0"/>
              <a:t>Fourth level</a:t>
            </a:r>
          </a:p>
          <a:p>
            <a:pPr lvl="4"/>
            <a:r>
              <a:rPr lang="da-DK" noProof="0"/>
              <a:t>Fifth level</a:t>
            </a:r>
          </a:p>
        </p:txBody>
      </p:sp>
      <p:sp>
        <p:nvSpPr>
          <p:cNvPr id="14" name="Date_GeneralDate" hidden="1">
            <a:extLst>
              <a:ext uri="{FF2B5EF4-FFF2-40B4-BE49-F238E27FC236}">
                <a16:creationId xmlns:a16="http://schemas.microsoft.com/office/drawing/2014/main" id="{BB51C436-51CA-47BE-8C5C-B668EA83CBE2}"/>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3" name="Slide Number Placeholder 2">
            <a:extLst>
              <a:ext uri="{FF2B5EF4-FFF2-40B4-BE49-F238E27FC236}">
                <a16:creationId xmlns:a16="http://schemas.microsoft.com/office/drawing/2014/main" id="{692C2E3A-3C6A-4BFF-B08C-5903ED77ED48}"/>
              </a:ext>
            </a:extLst>
          </p:cNvPr>
          <p:cNvSpPr>
            <a:spLocks noGrp="1"/>
          </p:cNvSpPr>
          <p:nvPr>
            <p:ph type="sldNum" sz="quarter" idx="19"/>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144625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ustom Layout B">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6712821-3480-4567-B81B-23EDA2374ED8}"/>
              </a:ext>
            </a:extLst>
          </p:cNvPr>
          <p:cNvSpPr/>
          <p:nvPr userDrawn="1"/>
        </p:nvSpPr>
        <p:spPr>
          <a:xfrm>
            <a:off x="5202176" y="2301552"/>
            <a:ext cx="3941825" cy="4556449"/>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t" anchorCtr="0" forceAA="0" compatLnSpc="1">
            <a:prstTxWarp prst="textNoShape">
              <a:avLst/>
            </a:prstTxWarp>
            <a:noAutofit/>
          </a:bodyPr>
          <a:lstStyle/>
          <a:p>
            <a:pPr algn="l"/>
            <a:endParaRPr lang="da-DK" sz="923" noProof="0">
              <a:solidFill>
                <a:srgbClr val="1F2023"/>
              </a:solidFill>
            </a:endParaRPr>
          </a:p>
        </p:txBody>
      </p:sp>
      <p:sp>
        <p:nvSpPr>
          <p:cNvPr id="10" name="Picture Placeholder 13">
            <a:extLst>
              <a:ext uri="{FF2B5EF4-FFF2-40B4-BE49-F238E27FC236}">
                <a16:creationId xmlns:a16="http://schemas.microsoft.com/office/drawing/2014/main" id="{96EDC17A-116C-4E16-A3DE-2E5F4B894B8C}"/>
              </a:ext>
            </a:extLst>
          </p:cNvPr>
          <p:cNvSpPr>
            <a:spLocks noGrp="1"/>
          </p:cNvSpPr>
          <p:nvPr>
            <p:ph type="pic" sz="quarter" idx="15"/>
          </p:nvPr>
        </p:nvSpPr>
        <p:spPr>
          <a:xfrm>
            <a:off x="4696560" y="1627189"/>
            <a:ext cx="4196860" cy="4689475"/>
          </a:xfrm>
          <a:solidFill>
            <a:srgbClr val="F3F2F0"/>
          </a:solidFill>
        </p:spPr>
        <p:txBody>
          <a:bodyPr rIns="0" anchor="ctr" anchorCtr="0"/>
          <a:lstStyle>
            <a:lvl1pPr marL="0" indent="0" algn="ctr">
              <a:buNone/>
              <a:defRPr>
                <a:solidFill>
                  <a:srgbClr val="1F2023"/>
                </a:solidFill>
              </a:defRPr>
            </a:lvl1pPr>
          </a:lstStyle>
          <a:p>
            <a:r>
              <a:rPr lang="da-DK"/>
              <a:t>Click icon to add picture</a:t>
            </a: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51314" y="1629570"/>
            <a:ext cx="4196861" cy="4689475"/>
          </a:xfrm>
        </p:spPr>
        <p:txBody>
          <a:bodyPr rIns="0">
            <a:noAutofit/>
          </a:bodyPr>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text styles</a:t>
            </a:r>
          </a:p>
          <a:p>
            <a:pPr lvl="1"/>
            <a:r>
              <a:rPr lang="da-DK" noProof="0"/>
              <a:t>Second level</a:t>
            </a:r>
          </a:p>
          <a:p>
            <a:pPr lvl="2"/>
            <a:r>
              <a:rPr lang="da-DK" noProof="0"/>
              <a:t>Third level</a:t>
            </a:r>
          </a:p>
          <a:p>
            <a:pPr lvl="3"/>
            <a:r>
              <a:rPr lang="da-DK" noProof="0"/>
              <a:t>Fourth level</a:t>
            </a:r>
          </a:p>
          <a:p>
            <a:pPr lvl="4"/>
            <a:r>
              <a:rPr lang="da-DK" noProof="0"/>
              <a:t>Fifth level</a:t>
            </a:r>
          </a:p>
        </p:txBody>
      </p:sp>
      <p:sp>
        <p:nvSpPr>
          <p:cNvPr id="11" name="Title 1">
            <a:extLst>
              <a:ext uri="{FF2B5EF4-FFF2-40B4-BE49-F238E27FC236}">
                <a16:creationId xmlns:a16="http://schemas.microsoft.com/office/drawing/2014/main" id="{974DEA22-79A0-4DFC-AA38-DAC569B1F7B6}"/>
              </a:ext>
            </a:extLst>
          </p:cNvPr>
          <p:cNvSpPr>
            <a:spLocks noGrp="1"/>
          </p:cNvSpPr>
          <p:nvPr>
            <p:ph type="title"/>
          </p:nvPr>
        </p:nvSpPr>
        <p:spPr>
          <a:xfrm>
            <a:off x="251314" y="272257"/>
            <a:ext cx="7606283" cy="692336"/>
          </a:xfrm>
        </p:spPr>
        <p:txBody>
          <a:bodyPr/>
          <a:lstStyle>
            <a:lvl1pPr>
              <a:defRPr>
                <a:solidFill>
                  <a:srgbClr val="1F2023"/>
                </a:solidFill>
              </a:defRPr>
            </a:lvl1pPr>
          </a:lstStyle>
          <a:p>
            <a:r>
              <a:rPr lang="da-DK"/>
              <a:t>Click to edit Master title style</a:t>
            </a:r>
          </a:p>
        </p:txBody>
      </p:sp>
      <p:sp>
        <p:nvSpPr>
          <p:cNvPr id="12" name="Text Placeholder 12">
            <a:extLst>
              <a:ext uri="{FF2B5EF4-FFF2-40B4-BE49-F238E27FC236}">
                <a16:creationId xmlns:a16="http://schemas.microsoft.com/office/drawing/2014/main" id="{2FBC88B6-08B7-43F9-8247-DD84EEDEFA98}"/>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5" name="Text Placeholder 3">
            <a:extLst>
              <a:ext uri="{FF2B5EF4-FFF2-40B4-BE49-F238E27FC236}">
                <a16:creationId xmlns:a16="http://schemas.microsoft.com/office/drawing/2014/main" id="{CCE0DF6D-B57F-49F8-9638-8524ECED6BEB}"/>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4" name="Date_GeneralDate" hidden="1">
            <a:extLst>
              <a:ext uri="{FF2B5EF4-FFF2-40B4-BE49-F238E27FC236}">
                <a16:creationId xmlns:a16="http://schemas.microsoft.com/office/drawing/2014/main" id="{507B51D4-B972-4CB7-9F33-F08FA8F0F7F4}"/>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3" name="Slide Number Placeholder 2">
            <a:extLst>
              <a:ext uri="{FF2B5EF4-FFF2-40B4-BE49-F238E27FC236}">
                <a16:creationId xmlns:a16="http://schemas.microsoft.com/office/drawing/2014/main" id="{168019F6-1589-4647-AB04-EB7348B9A6B8}"/>
              </a:ext>
            </a:extLst>
          </p:cNvPr>
          <p:cNvSpPr>
            <a:spLocks noGrp="1"/>
          </p:cNvSpPr>
          <p:nvPr>
            <p:ph type="sldNum" sz="quarter" idx="17"/>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3055529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Background 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410D80-6244-43D7-9BCA-4FF4C69D0B08}"/>
              </a:ext>
            </a:extLst>
          </p:cNvPr>
          <p:cNvSpPr/>
          <p:nvPr userDrawn="1"/>
        </p:nvSpPr>
        <p:spPr>
          <a:xfrm>
            <a:off x="0" y="1627188"/>
            <a:ext cx="7854462" cy="5230812"/>
          </a:xfrm>
          <a:prstGeom prst="rect">
            <a:avLst/>
          </a:prstGeom>
          <a:solidFill>
            <a:srgbClr val="EEEBE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t" anchorCtr="0" forceAA="0" compatLnSpc="1">
            <a:prstTxWarp prst="textNoShape">
              <a:avLst/>
            </a:prstTxWarp>
            <a:noAutofit/>
          </a:bodyPr>
          <a:lstStyle/>
          <a:p>
            <a:pPr algn="l"/>
            <a:endParaRPr lang="da-DK" sz="923" noProof="0">
              <a:solidFill>
                <a:srgbClr val="1F2023"/>
              </a:solidFill>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51314" y="1878016"/>
            <a:ext cx="7347438" cy="4452807"/>
          </a:xfrm>
        </p:spPr>
        <p:txBody>
          <a:bodyPr rIns="0">
            <a:noAutofit/>
          </a:bodyPr>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text styles</a:t>
            </a:r>
          </a:p>
          <a:p>
            <a:pPr lvl="1"/>
            <a:r>
              <a:rPr lang="da-DK" noProof="0"/>
              <a:t>Second level</a:t>
            </a:r>
          </a:p>
          <a:p>
            <a:pPr lvl="2"/>
            <a:r>
              <a:rPr lang="da-DK" noProof="0"/>
              <a:t>Third level</a:t>
            </a:r>
          </a:p>
          <a:p>
            <a:pPr lvl="3"/>
            <a:r>
              <a:rPr lang="da-DK" noProof="0"/>
              <a:t>Fourth level</a:t>
            </a:r>
          </a:p>
          <a:p>
            <a:pPr lvl="4"/>
            <a:r>
              <a:rPr lang="da-DK" noProof="0"/>
              <a:t>Fifth level</a:t>
            </a:r>
          </a:p>
        </p:txBody>
      </p:sp>
      <p:sp>
        <p:nvSpPr>
          <p:cNvPr id="10" name="Title 1">
            <a:extLst>
              <a:ext uri="{FF2B5EF4-FFF2-40B4-BE49-F238E27FC236}">
                <a16:creationId xmlns:a16="http://schemas.microsoft.com/office/drawing/2014/main" id="{A2471E64-BD71-4B4B-BFD1-295764AE215A}"/>
              </a:ext>
            </a:extLst>
          </p:cNvPr>
          <p:cNvSpPr>
            <a:spLocks noGrp="1"/>
          </p:cNvSpPr>
          <p:nvPr>
            <p:ph type="title"/>
          </p:nvPr>
        </p:nvSpPr>
        <p:spPr>
          <a:xfrm>
            <a:off x="251314" y="272257"/>
            <a:ext cx="7606283" cy="692336"/>
          </a:xfrm>
        </p:spPr>
        <p:txBody>
          <a:bodyPr/>
          <a:lstStyle>
            <a:lvl1pPr>
              <a:defRPr>
                <a:solidFill>
                  <a:srgbClr val="1F2023"/>
                </a:solidFill>
              </a:defRPr>
            </a:lvl1pPr>
          </a:lstStyle>
          <a:p>
            <a:r>
              <a:rPr lang="da-DK"/>
              <a:t>Click to edit Master title style</a:t>
            </a:r>
          </a:p>
        </p:txBody>
      </p:sp>
      <p:sp>
        <p:nvSpPr>
          <p:cNvPr id="12" name="Text Placeholder 12">
            <a:extLst>
              <a:ext uri="{FF2B5EF4-FFF2-40B4-BE49-F238E27FC236}">
                <a16:creationId xmlns:a16="http://schemas.microsoft.com/office/drawing/2014/main" id="{EC4B4692-BEB0-4AB7-A6CB-4D48CDD6012E}"/>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3" name="Text Placeholder 3">
            <a:extLst>
              <a:ext uri="{FF2B5EF4-FFF2-40B4-BE49-F238E27FC236}">
                <a16:creationId xmlns:a16="http://schemas.microsoft.com/office/drawing/2014/main" id="{57D850F3-3BBF-4220-B296-16FF2A55D696}"/>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4" name="Date_GeneralDate" hidden="1">
            <a:extLst>
              <a:ext uri="{FF2B5EF4-FFF2-40B4-BE49-F238E27FC236}">
                <a16:creationId xmlns:a16="http://schemas.microsoft.com/office/drawing/2014/main" id="{AB6B870D-1CE6-4711-AA2F-67484020C690}"/>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4" name="Slide Number Placeholder 3">
            <a:extLst>
              <a:ext uri="{FF2B5EF4-FFF2-40B4-BE49-F238E27FC236}">
                <a16:creationId xmlns:a16="http://schemas.microsoft.com/office/drawing/2014/main" id="{5BF69B46-652D-482F-89B4-8310DAB593F9}"/>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445006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Background B">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410D80-6244-43D7-9BCA-4FF4C69D0B08}"/>
              </a:ext>
            </a:extLst>
          </p:cNvPr>
          <p:cNvSpPr/>
          <p:nvPr userDrawn="1"/>
        </p:nvSpPr>
        <p:spPr>
          <a:xfrm>
            <a:off x="0" y="1627188"/>
            <a:ext cx="7854462" cy="5230812"/>
          </a:xfrm>
          <a:prstGeom prst="rect">
            <a:avLst/>
          </a:prstGeom>
          <a:solidFill>
            <a:srgbClr val="ECD7CA"/>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t" anchorCtr="0" forceAA="0" compatLnSpc="1">
            <a:prstTxWarp prst="textNoShape">
              <a:avLst/>
            </a:prstTxWarp>
            <a:noAutofit/>
          </a:bodyPr>
          <a:lstStyle/>
          <a:p>
            <a:pPr algn="l"/>
            <a:endParaRPr lang="da-DK" sz="923" noProof="0">
              <a:solidFill>
                <a:srgbClr val="1F2023"/>
              </a:solidFill>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51314" y="1878016"/>
            <a:ext cx="7347438" cy="4452807"/>
          </a:xfrm>
        </p:spPr>
        <p:txBody>
          <a:bodyPr rIns="0">
            <a:noAutofit/>
          </a:bodyPr>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text styles</a:t>
            </a:r>
          </a:p>
          <a:p>
            <a:pPr lvl="1"/>
            <a:r>
              <a:rPr lang="da-DK" noProof="0"/>
              <a:t>Second level</a:t>
            </a:r>
          </a:p>
          <a:p>
            <a:pPr lvl="2"/>
            <a:r>
              <a:rPr lang="da-DK" noProof="0"/>
              <a:t>Third level</a:t>
            </a:r>
          </a:p>
          <a:p>
            <a:pPr lvl="3"/>
            <a:r>
              <a:rPr lang="da-DK" noProof="0"/>
              <a:t>Fourth level</a:t>
            </a:r>
          </a:p>
          <a:p>
            <a:pPr lvl="4"/>
            <a:r>
              <a:rPr lang="da-DK" noProof="0"/>
              <a:t>Fifth level</a:t>
            </a:r>
          </a:p>
        </p:txBody>
      </p:sp>
      <p:sp>
        <p:nvSpPr>
          <p:cNvPr id="10" name="Title 1">
            <a:extLst>
              <a:ext uri="{FF2B5EF4-FFF2-40B4-BE49-F238E27FC236}">
                <a16:creationId xmlns:a16="http://schemas.microsoft.com/office/drawing/2014/main" id="{82B2B732-F934-41CD-B172-1038DE5EC931}"/>
              </a:ext>
            </a:extLst>
          </p:cNvPr>
          <p:cNvSpPr>
            <a:spLocks noGrp="1"/>
          </p:cNvSpPr>
          <p:nvPr>
            <p:ph type="title"/>
          </p:nvPr>
        </p:nvSpPr>
        <p:spPr>
          <a:xfrm>
            <a:off x="251314" y="272257"/>
            <a:ext cx="7606283" cy="692336"/>
          </a:xfrm>
        </p:spPr>
        <p:txBody>
          <a:bodyPr/>
          <a:lstStyle>
            <a:lvl1pPr>
              <a:defRPr>
                <a:solidFill>
                  <a:srgbClr val="1F2023"/>
                </a:solidFill>
              </a:defRPr>
            </a:lvl1pPr>
          </a:lstStyle>
          <a:p>
            <a:r>
              <a:rPr lang="da-DK"/>
              <a:t>Click to edit Master title style</a:t>
            </a:r>
          </a:p>
        </p:txBody>
      </p:sp>
      <p:sp>
        <p:nvSpPr>
          <p:cNvPr id="15" name="Text Placeholder 12">
            <a:extLst>
              <a:ext uri="{FF2B5EF4-FFF2-40B4-BE49-F238E27FC236}">
                <a16:creationId xmlns:a16="http://schemas.microsoft.com/office/drawing/2014/main" id="{0AB81D70-4F8C-4F7F-A726-48723613AF50}"/>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3" name="Text Placeholder 3">
            <a:extLst>
              <a:ext uri="{FF2B5EF4-FFF2-40B4-BE49-F238E27FC236}">
                <a16:creationId xmlns:a16="http://schemas.microsoft.com/office/drawing/2014/main" id="{83109406-CC86-44FA-B86E-528712007487}"/>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2" name="Date_GeneralDate" hidden="1">
            <a:extLst>
              <a:ext uri="{FF2B5EF4-FFF2-40B4-BE49-F238E27FC236}">
                <a16:creationId xmlns:a16="http://schemas.microsoft.com/office/drawing/2014/main" id="{33AAD9F2-E9EA-4CC5-9E0B-C9272E54E053}"/>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4" name="Slide Number Placeholder 3">
            <a:extLst>
              <a:ext uri="{FF2B5EF4-FFF2-40B4-BE49-F238E27FC236}">
                <a16:creationId xmlns:a16="http://schemas.microsoft.com/office/drawing/2014/main" id="{13BD3D8E-3F70-42AB-AC3A-86109EE7EB10}"/>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275775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Background C">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410D80-6244-43D7-9BCA-4FF4C69D0B08}"/>
              </a:ext>
            </a:extLst>
          </p:cNvPr>
          <p:cNvSpPr/>
          <p:nvPr userDrawn="1"/>
        </p:nvSpPr>
        <p:spPr>
          <a:xfrm>
            <a:off x="0" y="1627188"/>
            <a:ext cx="7854462" cy="5230812"/>
          </a:xfrm>
          <a:prstGeom prst="rect">
            <a:avLst/>
          </a:prstGeom>
          <a:solidFill>
            <a:srgbClr val="B9C7C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t" anchorCtr="0" forceAA="0" compatLnSpc="1">
            <a:prstTxWarp prst="textNoShape">
              <a:avLst/>
            </a:prstTxWarp>
            <a:noAutofit/>
          </a:bodyPr>
          <a:lstStyle/>
          <a:p>
            <a:pPr algn="l"/>
            <a:endParaRPr lang="da-DK" sz="923" noProof="0">
              <a:solidFill>
                <a:srgbClr val="1F2023"/>
              </a:solidFill>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51314" y="1878016"/>
            <a:ext cx="7347438" cy="4452807"/>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text styles</a:t>
            </a:r>
          </a:p>
          <a:p>
            <a:pPr lvl="1"/>
            <a:r>
              <a:rPr lang="da-DK" noProof="0"/>
              <a:t>Second level</a:t>
            </a:r>
          </a:p>
          <a:p>
            <a:pPr lvl="2"/>
            <a:r>
              <a:rPr lang="da-DK" noProof="0"/>
              <a:t>Third level</a:t>
            </a:r>
          </a:p>
          <a:p>
            <a:pPr lvl="3"/>
            <a:r>
              <a:rPr lang="da-DK" noProof="0"/>
              <a:t>Fourth level</a:t>
            </a:r>
          </a:p>
          <a:p>
            <a:pPr lvl="4"/>
            <a:r>
              <a:rPr lang="da-DK" noProof="0"/>
              <a:t>Fifth level</a:t>
            </a:r>
          </a:p>
        </p:txBody>
      </p:sp>
      <p:sp>
        <p:nvSpPr>
          <p:cNvPr id="10" name="Title 1">
            <a:extLst>
              <a:ext uri="{FF2B5EF4-FFF2-40B4-BE49-F238E27FC236}">
                <a16:creationId xmlns:a16="http://schemas.microsoft.com/office/drawing/2014/main" id="{ABB2E20B-892D-4EA3-8AD4-FC00FED28DF5}"/>
              </a:ext>
            </a:extLst>
          </p:cNvPr>
          <p:cNvSpPr>
            <a:spLocks noGrp="1"/>
          </p:cNvSpPr>
          <p:nvPr>
            <p:ph type="title"/>
          </p:nvPr>
        </p:nvSpPr>
        <p:spPr>
          <a:xfrm>
            <a:off x="251314" y="272257"/>
            <a:ext cx="7606283" cy="692336"/>
          </a:xfrm>
        </p:spPr>
        <p:txBody>
          <a:bodyPr/>
          <a:lstStyle>
            <a:lvl1pPr>
              <a:defRPr>
                <a:solidFill>
                  <a:srgbClr val="1F2023"/>
                </a:solidFill>
              </a:defRPr>
            </a:lvl1pPr>
          </a:lstStyle>
          <a:p>
            <a:r>
              <a:rPr lang="da-DK"/>
              <a:t>Click to edit Master title style</a:t>
            </a:r>
          </a:p>
        </p:txBody>
      </p:sp>
      <p:sp>
        <p:nvSpPr>
          <p:cNvPr id="15" name="Text Placeholder 12">
            <a:extLst>
              <a:ext uri="{FF2B5EF4-FFF2-40B4-BE49-F238E27FC236}">
                <a16:creationId xmlns:a16="http://schemas.microsoft.com/office/drawing/2014/main" id="{DE12DCE5-1D70-40FE-A12D-BC9D827D4FAB}"/>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3" name="Text Placeholder 3">
            <a:extLst>
              <a:ext uri="{FF2B5EF4-FFF2-40B4-BE49-F238E27FC236}">
                <a16:creationId xmlns:a16="http://schemas.microsoft.com/office/drawing/2014/main" id="{E99217A5-C5F1-43F0-8D37-FD2D14569447}"/>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2" name="Date_GeneralDate" hidden="1">
            <a:extLst>
              <a:ext uri="{FF2B5EF4-FFF2-40B4-BE49-F238E27FC236}">
                <a16:creationId xmlns:a16="http://schemas.microsoft.com/office/drawing/2014/main" id="{529B4580-A937-4A89-A972-47BC0D3F835B}"/>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3" name="Footer Placeholder 2">
            <a:extLst>
              <a:ext uri="{FF2B5EF4-FFF2-40B4-BE49-F238E27FC236}">
                <a16:creationId xmlns:a16="http://schemas.microsoft.com/office/drawing/2014/main" id="{ED2FAE7D-ABCC-4801-8BEE-8B5F61F45843}"/>
              </a:ext>
            </a:extLst>
          </p:cNvPr>
          <p:cNvSpPr>
            <a:spLocks noGrp="1"/>
          </p:cNvSpPr>
          <p:nvPr>
            <p:ph type="ftr" sz="quarter" idx="15"/>
          </p:nvPr>
        </p:nvSpPr>
        <p:spPr/>
        <p:txBody>
          <a:bodyPr/>
          <a:lstStyle/>
          <a:p>
            <a:endParaRPr lang="da-DK"/>
          </a:p>
        </p:txBody>
      </p:sp>
      <p:sp>
        <p:nvSpPr>
          <p:cNvPr id="4" name="Slide Number Placeholder 3">
            <a:extLst>
              <a:ext uri="{FF2B5EF4-FFF2-40B4-BE49-F238E27FC236}">
                <a16:creationId xmlns:a16="http://schemas.microsoft.com/office/drawing/2014/main" id="{D336920C-1808-4426-A4CF-7913DEDE1B7E}"/>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4054369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Background 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410D80-6244-43D7-9BCA-4FF4C69D0B08}"/>
              </a:ext>
            </a:extLst>
          </p:cNvPr>
          <p:cNvSpPr/>
          <p:nvPr userDrawn="1"/>
        </p:nvSpPr>
        <p:spPr>
          <a:xfrm>
            <a:off x="0" y="1627188"/>
            <a:ext cx="7855399" cy="5230812"/>
          </a:xfrm>
          <a:prstGeom prst="rect">
            <a:avLst/>
          </a:prstGeom>
          <a:solidFill>
            <a:srgbClr val="FBF9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t" anchorCtr="0" forceAA="0" compatLnSpc="1">
            <a:prstTxWarp prst="textNoShape">
              <a:avLst/>
            </a:prstTxWarp>
            <a:noAutofit/>
          </a:bodyPr>
          <a:lstStyle/>
          <a:p>
            <a:pPr algn="l"/>
            <a:endParaRPr lang="da-DK" sz="923" noProof="0">
              <a:solidFill>
                <a:srgbClr val="1F2023"/>
              </a:solidFill>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51314" y="1878016"/>
            <a:ext cx="7347438" cy="4452807"/>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text styles</a:t>
            </a:r>
          </a:p>
          <a:p>
            <a:pPr lvl="1"/>
            <a:r>
              <a:rPr lang="da-DK" noProof="0"/>
              <a:t>Second level</a:t>
            </a:r>
          </a:p>
          <a:p>
            <a:pPr lvl="2"/>
            <a:r>
              <a:rPr lang="da-DK" noProof="0"/>
              <a:t>Third level</a:t>
            </a:r>
          </a:p>
          <a:p>
            <a:pPr lvl="3"/>
            <a:r>
              <a:rPr lang="da-DK" noProof="0"/>
              <a:t>Fourth level</a:t>
            </a:r>
          </a:p>
          <a:p>
            <a:pPr lvl="4"/>
            <a:r>
              <a:rPr lang="da-DK" noProof="0"/>
              <a:t>Fifth level</a:t>
            </a:r>
          </a:p>
        </p:txBody>
      </p:sp>
      <p:sp>
        <p:nvSpPr>
          <p:cNvPr id="10" name="Title 1">
            <a:extLst>
              <a:ext uri="{FF2B5EF4-FFF2-40B4-BE49-F238E27FC236}">
                <a16:creationId xmlns:a16="http://schemas.microsoft.com/office/drawing/2014/main" id="{28CE8CB5-0C5C-4F82-93BB-A3CC2466A32C}"/>
              </a:ext>
            </a:extLst>
          </p:cNvPr>
          <p:cNvSpPr>
            <a:spLocks noGrp="1"/>
          </p:cNvSpPr>
          <p:nvPr>
            <p:ph type="title"/>
          </p:nvPr>
        </p:nvSpPr>
        <p:spPr>
          <a:xfrm>
            <a:off x="251314" y="272257"/>
            <a:ext cx="7606283" cy="692336"/>
          </a:xfrm>
        </p:spPr>
        <p:txBody>
          <a:bodyPr/>
          <a:lstStyle>
            <a:lvl1pPr>
              <a:defRPr>
                <a:solidFill>
                  <a:srgbClr val="1F2023"/>
                </a:solidFill>
              </a:defRPr>
            </a:lvl1pPr>
          </a:lstStyle>
          <a:p>
            <a:r>
              <a:rPr lang="da-DK"/>
              <a:t>Click to edit Master title style</a:t>
            </a:r>
          </a:p>
        </p:txBody>
      </p:sp>
      <p:sp>
        <p:nvSpPr>
          <p:cNvPr id="15" name="Text Placeholder 12">
            <a:extLst>
              <a:ext uri="{FF2B5EF4-FFF2-40B4-BE49-F238E27FC236}">
                <a16:creationId xmlns:a16="http://schemas.microsoft.com/office/drawing/2014/main" id="{3C651A19-21C7-43A0-87F7-B33CAB065148}"/>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3" name="Text Placeholder 3">
            <a:extLst>
              <a:ext uri="{FF2B5EF4-FFF2-40B4-BE49-F238E27FC236}">
                <a16:creationId xmlns:a16="http://schemas.microsoft.com/office/drawing/2014/main" id="{C10B5418-1C83-44F1-AB0B-3628C15B4C2A}"/>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2" name="Date_GeneralDate" hidden="1">
            <a:extLst>
              <a:ext uri="{FF2B5EF4-FFF2-40B4-BE49-F238E27FC236}">
                <a16:creationId xmlns:a16="http://schemas.microsoft.com/office/drawing/2014/main" id="{1DDF63FA-A507-49EB-8773-728F33759C3A}"/>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4" name="Slide Number Placeholder 3">
            <a:extLst>
              <a:ext uri="{FF2B5EF4-FFF2-40B4-BE49-F238E27FC236}">
                <a16:creationId xmlns:a16="http://schemas.microsoft.com/office/drawing/2014/main" id="{131EB060-B99B-4AD0-B877-816B35C30B1C}"/>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1946007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clution box vertical">
    <p:spTree>
      <p:nvGrpSpPr>
        <p:cNvPr id="1" name=""/>
        <p:cNvGrpSpPr/>
        <p:nvPr/>
      </p:nvGrpSpPr>
      <p:grpSpPr>
        <a:xfrm>
          <a:off x="0" y="0"/>
          <a:ext cx="0" cy="0"/>
          <a:chOff x="0" y="0"/>
          <a:chExt cx="0" cy="0"/>
        </a:xfrm>
      </p:grpSpPr>
      <p:sp>
        <p:nvSpPr>
          <p:cNvPr id="15" name="Rektangel 14">
            <a:extLst>
              <a:ext uri="{FF2B5EF4-FFF2-40B4-BE49-F238E27FC236}">
                <a16:creationId xmlns:a16="http://schemas.microsoft.com/office/drawing/2014/main" id="{30A3B4BE-E8CF-4315-A7DB-E771E6EF198E}"/>
              </a:ext>
            </a:extLst>
          </p:cNvPr>
          <p:cNvSpPr/>
          <p:nvPr userDrawn="1"/>
        </p:nvSpPr>
        <p:spPr>
          <a:xfrm>
            <a:off x="6598523" y="1627190"/>
            <a:ext cx="2545477" cy="5230800"/>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9692" tIns="99692" rIns="99692" bIns="99692" rtlCol="0" anchor="t" anchorCtr="0">
            <a:noAutofit/>
          </a:bodyPr>
          <a:lstStyle/>
          <a:p>
            <a:pPr algn="l"/>
            <a:endParaRPr lang="da-DK" sz="1015" noProof="0" err="1">
              <a:solidFill>
                <a:srgbClr val="2F363B"/>
              </a:solidFill>
            </a:endParaRPr>
          </a:p>
        </p:txBody>
      </p:sp>
      <p:sp>
        <p:nvSpPr>
          <p:cNvPr id="7" name="Title 1">
            <a:extLst>
              <a:ext uri="{FF2B5EF4-FFF2-40B4-BE49-F238E27FC236}">
                <a16:creationId xmlns:a16="http://schemas.microsoft.com/office/drawing/2014/main" id="{7EAAE5C6-2755-4F4E-A878-43F56B65E9BB}"/>
              </a:ext>
            </a:extLst>
          </p:cNvPr>
          <p:cNvSpPr>
            <a:spLocks noGrp="1"/>
          </p:cNvSpPr>
          <p:nvPr>
            <p:ph type="title"/>
          </p:nvPr>
        </p:nvSpPr>
        <p:spPr>
          <a:xfrm>
            <a:off x="251314" y="272257"/>
            <a:ext cx="7606283" cy="692336"/>
          </a:xfrm>
        </p:spPr>
        <p:txBody>
          <a:bodyPr/>
          <a:lstStyle>
            <a:lvl1pPr>
              <a:defRPr>
                <a:solidFill>
                  <a:srgbClr val="1F2023"/>
                </a:solidFill>
              </a:defRPr>
            </a:lvl1pPr>
          </a:lstStyle>
          <a:p>
            <a:r>
              <a:rPr lang="da-DK"/>
              <a:t>Click to edit Master title style</a:t>
            </a:r>
          </a:p>
        </p:txBody>
      </p:sp>
      <p:sp>
        <p:nvSpPr>
          <p:cNvPr id="4" name="Pladsholder til tekst 2">
            <a:extLst>
              <a:ext uri="{FF2B5EF4-FFF2-40B4-BE49-F238E27FC236}">
                <a16:creationId xmlns:a16="http://schemas.microsoft.com/office/drawing/2014/main" id="{0191184A-EA12-4A43-A548-EF516D82ECDE}"/>
              </a:ext>
            </a:extLst>
          </p:cNvPr>
          <p:cNvSpPr>
            <a:spLocks noGrp="1"/>
          </p:cNvSpPr>
          <p:nvPr>
            <p:ph type="body" sz="quarter" idx="15"/>
          </p:nvPr>
        </p:nvSpPr>
        <p:spPr>
          <a:xfrm>
            <a:off x="6738879" y="1778174"/>
            <a:ext cx="2153074" cy="4538489"/>
          </a:xfrm>
        </p:spPr>
        <p:txBody>
          <a:body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p>
        </p:txBody>
      </p:sp>
      <p:sp>
        <p:nvSpPr>
          <p:cNvPr id="8" name="Text Placeholder 12">
            <a:extLst>
              <a:ext uri="{FF2B5EF4-FFF2-40B4-BE49-F238E27FC236}">
                <a16:creationId xmlns:a16="http://schemas.microsoft.com/office/drawing/2014/main" id="{134F504F-A2DE-4572-9711-6650D6AA4E27}"/>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1" name="Text Placeholder 3">
            <a:extLst>
              <a:ext uri="{FF2B5EF4-FFF2-40B4-BE49-F238E27FC236}">
                <a16:creationId xmlns:a16="http://schemas.microsoft.com/office/drawing/2014/main" id="{79240DFA-E6CC-48C6-9045-36E6CF1B045E}"/>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9" name="Date_GeneralDate" hidden="1">
            <a:extLst>
              <a:ext uri="{FF2B5EF4-FFF2-40B4-BE49-F238E27FC236}">
                <a16:creationId xmlns:a16="http://schemas.microsoft.com/office/drawing/2014/main" id="{6908E312-5010-42EE-8694-8788FA4ED6FC}"/>
              </a:ext>
            </a:extLst>
          </p:cNvPr>
          <p:cNvSpPr>
            <a:spLocks noGrp="1"/>
          </p:cNvSpPr>
          <p:nvPr>
            <p:ph type="dt" sz="half" idx="10"/>
          </p:nvPr>
        </p:nvSpPr>
        <p:spPr>
          <a:xfrm>
            <a:off x="249115" y="6978509"/>
            <a:ext cx="0" cy="0"/>
          </a:xfrm>
        </p:spPr>
        <p:txBody>
          <a:bodyPr/>
          <a:lstStyle>
            <a:lvl1pPr algn="l">
              <a:defRPr sz="100" cap="all" spc="150" baseline="0">
                <a:solidFill>
                  <a:schemeClr val="bg2"/>
                </a:solidFill>
              </a:defRPr>
            </a:lvl1pPr>
          </a:lstStyle>
          <a:p>
            <a:endParaRPr lang="da-DK"/>
          </a:p>
        </p:txBody>
      </p:sp>
      <p:sp>
        <p:nvSpPr>
          <p:cNvPr id="3" name="Slide Number Placeholder 2">
            <a:extLst>
              <a:ext uri="{FF2B5EF4-FFF2-40B4-BE49-F238E27FC236}">
                <a16:creationId xmlns:a16="http://schemas.microsoft.com/office/drawing/2014/main" id="{B345BF24-A340-4EFE-A60A-07551737EEC3}"/>
              </a:ext>
            </a:extLst>
          </p:cNvPr>
          <p:cNvSpPr>
            <a:spLocks noGrp="1"/>
          </p:cNvSpPr>
          <p:nvPr>
            <p:ph type="sldNum" sz="quarter" idx="17"/>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161775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clution box horisontal">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8C0BC593-88F5-4BB6-A4DB-DF070A7F512A}"/>
              </a:ext>
            </a:extLst>
          </p:cNvPr>
          <p:cNvSpPr/>
          <p:nvPr userDrawn="1"/>
        </p:nvSpPr>
        <p:spPr>
          <a:xfrm>
            <a:off x="0" y="5063872"/>
            <a:ext cx="9145108" cy="1792800"/>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9692" tIns="99692" rIns="99692" bIns="99692" rtlCol="0" anchor="t" anchorCtr="0">
            <a:noAutofit/>
          </a:bodyPr>
          <a:lstStyle/>
          <a:p>
            <a:pPr algn="l"/>
            <a:endParaRPr lang="da-DK" sz="1015" noProof="0" err="1">
              <a:solidFill>
                <a:srgbClr val="2F363B"/>
              </a:solidFill>
            </a:endParaRPr>
          </a:p>
        </p:txBody>
      </p:sp>
      <p:sp>
        <p:nvSpPr>
          <p:cNvPr id="7" name="Title 1">
            <a:extLst>
              <a:ext uri="{FF2B5EF4-FFF2-40B4-BE49-F238E27FC236}">
                <a16:creationId xmlns:a16="http://schemas.microsoft.com/office/drawing/2014/main" id="{7EAAE5C6-2755-4F4E-A878-43F56B65E9BB}"/>
              </a:ext>
            </a:extLst>
          </p:cNvPr>
          <p:cNvSpPr>
            <a:spLocks noGrp="1"/>
          </p:cNvSpPr>
          <p:nvPr>
            <p:ph type="title"/>
          </p:nvPr>
        </p:nvSpPr>
        <p:spPr>
          <a:xfrm>
            <a:off x="251314" y="272257"/>
            <a:ext cx="7606283" cy="692336"/>
          </a:xfrm>
        </p:spPr>
        <p:txBody>
          <a:bodyPr/>
          <a:lstStyle>
            <a:lvl1pPr>
              <a:defRPr>
                <a:solidFill>
                  <a:srgbClr val="1F2023"/>
                </a:solidFill>
              </a:defRPr>
            </a:lvl1pPr>
          </a:lstStyle>
          <a:p>
            <a:r>
              <a:rPr lang="da-DK"/>
              <a:t>Click to edit Master title style</a:t>
            </a:r>
          </a:p>
        </p:txBody>
      </p:sp>
      <p:sp>
        <p:nvSpPr>
          <p:cNvPr id="15" name="Pladsholder til tekst 2">
            <a:extLst>
              <a:ext uri="{FF2B5EF4-FFF2-40B4-BE49-F238E27FC236}">
                <a16:creationId xmlns:a16="http://schemas.microsoft.com/office/drawing/2014/main" id="{70307FA8-343A-49F8-8A05-FF81EEFEA35E}"/>
              </a:ext>
            </a:extLst>
          </p:cNvPr>
          <p:cNvSpPr>
            <a:spLocks noGrp="1"/>
          </p:cNvSpPr>
          <p:nvPr>
            <p:ph type="body" sz="quarter" idx="15"/>
          </p:nvPr>
        </p:nvSpPr>
        <p:spPr>
          <a:xfrm>
            <a:off x="249115" y="5214857"/>
            <a:ext cx="4196862" cy="1101807"/>
          </a:xfrm>
        </p:spPr>
        <p:txBody>
          <a:body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p>
        </p:txBody>
      </p:sp>
      <p:sp>
        <p:nvSpPr>
          <p:cNvPr id="16" name="Pladsholder til tekst 3">
            <a:extLst>
              <a:ext uri="{FF2B5EF4-FFF2-40B4-BE49-F238E27FC236}">
                <a16:creationId xmlns:a16="http://schemas.microsoft.com/office/drawing/2014/main" id="{FCCEAA0A-BD2E-414E-B8BD-A9A06D2A59CC}"/>
              </a:ext>
            </a:extLst>
          </p:cNvPr>
          <p:cNvSpPr>
            <a:spLocks noGrp="1"/>
          </p:cNvSpPr>
          <p:nvPr>
            <p:ph type="body" sz="quarter" idx="16"/>
          </p:nvPr>
        </p:nvSpPr>
        <p:spPr>
          <a:xfrm>
            <a:off x="4696559" y="5214857"/>
            <a:ext cx="4196862" cy="1101807"/>
          </a:xfrm>
        </p:spPr>
        <p:txBody>
          <a:body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p>
        </p:txBody>
      </p:sp>
      <p:sp>
        <p:nvSpPr>
          <p:cNvPr id="8" name="Text Placeholder 12">
            <a:extLst>
              <a:ext uri="{FF2B5EF4-FFF2-40B4-BE49-F238E27FC236}">
                <a16:creationId xmlns:a16="http://schemas.microsoft.com/office/drawing/2014/main" id="{134F504F-A2DE-4572-9711-6650D6AA4E27}"/>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1" name="Text Placeholder 3">
            <a:extLst>
              <a:ext uri="{FF2B5EF4-FFF2-40B4-BE49-F238E27FC236}">
                <a16:creationId xmlns:a16="http://schemas.microsoft.com/office/drawing/2014/main" id="{79240DFA-E6CC-48C6-9045-36E6CF1B045E}"/>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9" name="Date_GeneralDate" hidden="1">
            <a:extLst>
              <a:ext uri="{FF2B5EF4-FFF2-40B4-BE49-F238E27FC236}">
                <a16:creationId xmlns:a16="http://schemas.microsoft.com/office/drawing/2014/main" id="{6908E312-5010-42EE-8694-8788FA4ED6FC}"/>
              </a:ext>
            </a:extLst>
          </p:cNvPr>
          <p:cNvSpPr>
            <a:spLocks noGrp="1"/>
          </p:cNvSpPr>
          <p:nvPr>
            <p:ph type="dt" sz="half" idx="10"/>
          </p:nvPr>
        </p:nvSpPr>
        <p:spPr>
          <a:xfrm>
            <a:off x="249115" y="6978509"/>
            <a:ext cx="0" cy="0"/>
          </a:xfrm>
        </p:spPr>
        <p:txBody>
          <a:bodyPr/>
          <a:lstStyle>
            <a:lvl1pPr algn="l">
              <a:defRPr sz="100" cap="all" spc="150" baseline="0">
                <a:solidFill>
                  <a:schemeClr val="bg2"/>
                </a:solidFill>
              </a:defRPr>
            </a:lvl1pPr>
          </a:lstStyle>
          <a:p>
            <a:endParaRPr lang="da-DK"/>
          </a:p>
        </p:txBody>
      </p:sp>
      <p:sp>
        <p:nvSpPr>
          <p:cNvPr id="4" name="Slide Number Placeholder 3">
            <a:extLst>
              <a:ext uri="{FF2B5EF4-FFF2-40B4-BE49-F238E27FC236}">
                <a16:creationId xmlns:a16="http://schemas.microsoft.com/office/drawing/2014/main" id="{CDFF99D5-022F-468E-9756-5F144EB2F95B}"/>
              </a:ext>
            </a:extLst>
          </p:cNvPr>
          <p:cNvSpPr>
            <a:spLocks noGrp="1"/>
          </p:cNvSpPr>
          <p:nvPr>
            <p:ph type="sldNum" sz="quarter" idx="18"/>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3805329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ivider Small Dark">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CBA12CA-ADA2-4F73-9B88-D50DC1FCE512}"/>
              </a:ext>
            </a:extLst>
          </p:cNvPr>
          <p:cNvSpPr/>
          <p:nvPr userDrawn="1"/>
        </p:nvSpPr>
        <p:spPr>
          <a:xfrm>
            <a:off x="503565" y="3313867"/>
            <a:ext cx="6441522" cy="3544135"/>
          </a:xfrm>
          <a:prstGeom prst="rect">
            <a:avLst/>
          </a:prstGeom>
          <a:solidFill>
            <a:srgbClr val="E0BCA6"/>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6462" tIns="66462" rIns="66462" bIns="66462" numCol="1" spcCol="0" rtlCol="0" fromWordArt="0" anchor="ctr" anchorCtr="0" forceAA="0" compatLnSpc="1">
            <a:prstTxWarp prst="textNoShape">
              <a:avLst/>
            </a:prstTxWarp>
            <a:noAutofit/>
          </a:bodyPr>
          <a:lstStyle/>
          <a:p>
            <a:pPr algn="ctr"/>
            <a:endParaRPr lang="da-DK" sz="1015" noProof="0" err="1">
              <a:solidFill>
                <a:schemeClr val="tx1"/>
              </a:solidFill>
            </a:endParaRPr>
          </a:p>
        </p:txBody>
      </p:sp>
      <p:sp>
        <p:nvSpPr>
          <p:cNvPr id="2" name="Rectangle 1">
            <a:extLst>
              <a:ext uri="{FF2B5EF4-FFF2-40B4-BE49-F238E27FC236}">
                <a16:creationId xmlns:a16="http://schemas.microsoft.com/office/drawing/2014/main" id="{ECA92447-F633-484C-865A-7E00514C7F7C}"/>
              </a:ext>
            </a:extLst>
          </p:cNvPr>
          <p:cNvSpPr/>
          <p:nvPr userDrawn="1"/>
        </p:nvSpPr>
        <p:spPr>
          <a:xfrm>
            <a:off x="1" y="2136618"/>
            <a:ext cx="6075571" cy="4721382"/>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algn="l"/>
            <a:endParaRPr lang="da-DK" sz="923" noProof="0">
              <a:solidFill>
                <a:srgbClr val="2F363B"/>
              </a:solidFill>
            </a:endParaRPr>
          </a:p>
        </p:txBody>
      </p:sp>
      <p:sp>
        <p:nvSpPr>
          <p:cNvPr id="11" name="Title 1">
            <a:extLst>
              <a:ext uri="{FF2B5EF4-FFF2-40B4-BE49-F238E27FC236}">
                <a16:creationId xmlns:a16="http://schemas.microsoft.com/office/drawing/2014/main" id="{CDAB66FF-3B85-4BEC-B050-88BADAE9CC43}"/>
              </a:ext>
            </a:extLst>
          </p:cNvPr>
          <p:cNvSpPr>
            <a:spLocks noGrp="1"/>
          </p:cNvSpPr>
          <p:nvPr>
            <p:ph type="title" hasCustomPrompt="1"/>
          </p:nvPr>
        </p:nvSpPr>
        <p:spPr>
          <a:xfrm>
            <a:off x="249115" y="3313865"/>
            <a:ext cx="4196862" cy="3002799"/>
          </a:xfrm>
          <a:solidFill>
            <a:srgbClr val="30373B"/>
          </a:solidFill>
        </p:spPr>
        <p:txBody>
          <a:bodyPr lIns="0" tIns="0" rIns="0"/>
          <a:lstStyle>
            <a:lvl1pPr>
              <a:lnSpc>
                <a:spcPct val="83000"/>
              </a:lnSpc>
              <a:defRPr sz="4431" cap="all" baseline="0">
                <a:solidFill>
                  <a:srgbClr val="F8F5E7"/>
                </a:solidFill>
                <a:latin typeface="Impact" panose="020B0806030902050204" pitchFamily="34" charset="0"/>
              </a:defRPr>
            </a:lvl1pPr>
          </a:lstStyle>
          <a:p>
            <a:r>
              <a:rPr lang="da-DK"/>
              <a:t>CLICK TO EDIT MASTER TITLE STYLE</a:t>
            </a:r>
          </a:p>
        </p:txBody>
      </p:sp>
      <p:sp>
        <p:nvSpPr>
          <p:cNvPr id="17" name="Freeform: Shape 16">
            <a:extLst>
              <a:ext uri="{FF2B5EF4-FFF2-40B4-BE49-F238E27FC236}">
                <a16:creationId xmlns:a16="http://schemas.microsoft.com/office/drawing/2014/main" id="{54A347B2-2B04-4976-8493-17E06C8319C5}"/>
              </a:ext>
            </a:extLst>
          </p:cNvPr>
          <p:cNvSpPr/>
          <p:nvPr userDrawn="1">
            <p:custDataLst>
              <p:tags r:id="rId1"/>
            </p:custDataLst>
          </p:nvPr>
        </p:nvSpPr>
        <p:spPr bwMode="auto">
          <a:xfrm rot="5400000">
            <a:off x="8646962" y="406758"/>
            <a:ext cx="350168" cy="142743"/>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endParaRPr lang="da-DK" sz="1662"/>
          </a:p>
        </p:txBody>
      </p:sp>
      <p:sp>
        <p:nvSpPr>
          <p:cNvPr id="16" name="Date_GeneralDate" hidden="1">
            <a:extLst>
              <a:ext uri="{FF2B5EF4-FFF2-40B4-BE49-F238E27FC236}">
                <a16:creationId xmlns:a16="http://schemas.microsoft.com/office/drawing/2014/main" id="{EBCC8B2D-A669-40E9-8FE9-23DB9EFDC1CA}"/>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5" name="Text Placeholder 12">
            <a:extLst>
              <a:ext uri="{FF2B5EF4-FFF2-40B4-BE49-F238E27FC236}">
                <a16:creationId xmlns:a16="http://schemas.microsoft.com/office/drawing/2014/main" id="{84A24983-3FE3-44E0-B262-30F59419DD24}"/>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8" name="Text Placeholder 3">
            <a:extLst>
              <a:ext uri="{FF2B5EF4-FFF2-40B4-BE49-F238E27FC236}">
                <a16:creationId xmlns:a16="http://schemas.microsoft.com/office/drawing/2014/main" id="{BFBB7034-9D4A-4ED7-8413-EED87722C6C4}"/>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4" name="Subtitle 2">
            <a:extLst>
              <a:ext uri="{FF2B5EF4-FFF2-40B4-BE49-F238E27FC236}">
                <a16:creationId xmlns:a16="http://schemas.microsoft.com/office/drawing/2014/main" id="{D7F13B33-C34D-4F21-8983-11FD85501158}"/>
              </a:ext>
            </a:extLst>
          </p:cNvPr>
          <p:cNvSpPr>
            <a:spLocks noGrp="1"/>
          </p:cNvSpPr>
          <p:nvPr>
            <p:ph type="subTitle" idx="1" hasCustomPrompt="1"/>
          </p:nvPr>
        </p:nvSpPr>
        <p:spPr>
          <a:xfrm>
            <a:off x="249231" y="2635200"/>
            <a:ext cx="4197046" cy="446400"/>
          </a:xfrm>
        </p:spPr>
        <p:txBody>
          <a:bodyPr rIns="0" anchor="b" anchorCtr="0"/>
          <a:lstStyle>
            <a:lvl1pPr marL="0" indent="0" algn="l">
              <a:spcBef>
                <a:spcPts val="0"/>
              </a:spcBef>
              <a:buFont typeface="Arial" panose="020B0604020202020204" pitchFamily="34" charset="0"/>
              <a:buChar char="​"/>
              <a:defRPr sz="2585">
                <a:solidFill>
                  <a:srgbClr val="F8F5E7"/>
                </a:solidFill>
              </a:defRPr>
            </a:lvl1pPr>
            <a:lvl2pPr marL="0" indent="0" algn="l">
              <a:buFont typeface="Arial" panose="020B0604020202020204" pitchFamily="34" charset="0"/>
              <a:buNone/>
              <a:defRPr sz="825">
                <a:solidFill>
                  <a:schemeClr val="accent2"/>
                </a:solidFill>
              </a:defRPr>
            </a:lvl2pPr>
            <a:lvl3pPr marL="0" indent="0" algn="l">
              <a:buFont typeface="Arial" panose="020B0604020202020204" pitchFamily="34" charset="0"/>
              <a:buChar char="​"/>
              <a:defRPr sz="1500">
                <a:solidFill>
                  <a:schemeClr val="bg1"/>
                </a:solidFill>
              </a:defRPr>
            </a:lvl3pPr>
            <a:lvl4pPr marL="0" indent="0" algn="l">
              <a:buFont typeface="Arial" panose="020B0604020202020204" pitchFamily="34" charset="0"/>
              <a:buChar char="​"/>
              <a:defRPr sz="1500">
                <a:solidFill>
                  <a:schemeClr val="bg1"/>
                </a:solidFill>
              </a:defRPr>
            </a:lvl4pPr>
            <a:lvl5pPr marL="0" indent="0" algn="l">
              <a:buFont typeface="Arial" panose="020B0604020202020204" pitchFamily="34" charset="0"/>
              <a:buChar char="​"/>
              <a:defRPr sz="1500">
                <a:solidFill>
                  <a:schemeClr val="bg1"/>
                </a:solidFill>
              </a:defRPr>
            </a:lvl5pPr>
            <a:lvl6pPr marL="0" indent="0" algn="l">
              <a:buFont typeface="Arial" panose="020B0604020202020204" pitchFamily="34" charset="0"/>
              <a:buChar char="​"/>
              <a:defRPr sz="1500">
                <a:solidFill>
                  <a:schemeClr val="bg1"/>
                </a:solidFill>
              </a:defRPr>
            </a:lvl6pPr>
            <a:lvl7pPr marL="0" indent="0" algn="l">
              <a:buFont typeface="Arial" panose="020B0604020202020204" pitchFamily="34" charset="0"/>
              <a:buChar char="​"/>
              <a:defRPr sz="1500">
                <a:solidFill>
                  <a:schemeClr val="bg1"/>
                </a:solidFill>
              </a:defRPr>
            </a:lvl7pPr>
            <a:lvl8pPr marL="0" indent="0" algn="l">
              <a:buFont typeface="Arial" panose="020B0604020202020204" pitchFamily="34" charset="0"/>
              <a:buChar char="​"/>
              <a:defRPr sz="1500">
                <a:solidFill>
                  <a:schemeClr val="bg1"/>
                </a:solidFill>
              </a:defRPr>
            </a:lvl8pPr>
            <a:lvl9pPr marL="0" indent="0" algn="l">
              <a:buFont typeface="Arial" panose="020B0604020202020204" pitchFamily="34" charset="0"/>
              <a:buChar char="​"/>
              <a:defRPr sz="1500">
                <a:solidFill>
                  <a:schemeClr val="bg1"/>
                </a:solidFill>
              </a:defRPr>
            </a:lvl9pPr>
          </a:lstStyle>
          <a:p>
            <a:r>
              <a:rPr lang="da-DK"/>
              <a:t>01</a:t>
            </a:r>
          </a:p>
        </p:txBody>
      </p:sp>
      <p:sp>
        <p:nvSpPr>
          <p:cNvPr id="4" name="Slide Number Placeholder 3">
            <a:extLst>
              <a:ext uri="{FF2B5EF4-FFF2-40B4-BE49-F238E27FC236}">
                <a16:creationId xmlns:a16="http://schemas.microsoft.com/office/drawing/2014/main" id="{042984A7-EECD-405F-BAB4-53C13531963F}"/>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3131876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yout 3B (titel, undertitel, 2 objek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365127"/>
            <a:ext cx="7981950" cy="689476"/>
          </a:xfrm>
          <a:prstGeom prst="rect">
            <a:avLst/>
          </a:prstGeom>
          <a:noFill/>
        </p:spPr>
        <p:txBody>
          <a:bodyPr anchor="b">
            <a:normAutofit/>
          </a:bodyPr>
          <a:lstStyle>
            <a:lvl1pPr>
              <a:defRPr sz="2400" b="1" cap="all" baseline="0">
                <a:solidFill>
                  <a:srgbClr val="00B0F0"/>
                </a:solidFill>
                <a:latin typeface="Verdana" panose="020B0604030504040204" pitchFamily="34" charset="0"/>
                <a:ea typeface="Verdana" panose="020B0604030504040204" pitchFamily="34" charset="0"/>
                <a:cs typeface="Verdana" panose="020B0604030504040204" pitchFamily="34" charset="0"/>
              </a:defRPr>
            </a:lvl1pPr>
          </a:lstStyle>
          <a:p>
            <a:r>
              <a:rPr lang="da-DK"/>
              <a:t>KLIK FOR AT Indsætte Overskrift</a:t>
            </a:r>
          </a:p>
        </p:txBody>
      </p:sp>
      <p:sp>
        <p:nvSpPr>
          <p:cNvPr id="12" name="Undertitel 2"/>
          <p:cNvSpPr>
            <a:spLocks noGrp="1"/>
          </p:cNvSpPr>
          <p:nvPr>
            <p:ph type="subTitle" idx="11" hasCustomPrompt="1"/>
          </p:nvPr>
        </p:nvSpPr>
        <p:spPr>
          <a:xfrm>
            <a:off x="628650" y="1054601"/>
            <a:ext cx="7981950" cy="391367"/>
          </a:xfrm>
          <a:prstGeom prst="rect">
            <a:avLst/>
          </a:prstGeom>
          <a:noFill/>
        </p:spPr>
        <p:txBody>
          <a:bodyPr anchor="ctr">
            <a:noAutofit/>
          </a:bodyPr>
          <a:lstStyle>
            <a:lvl1pPr marL="0" indent="0" algn="l">
              <a:buNone/>
              <a:defRPr sz="1800" b="1" i="0" u="none" baseline="0">
                <a:solidFill>
                  <a:schemeClr val="accent3">
                    <a:lumMod val="50000"/>
                  </a:schemeClr>
                </a:solidFill>
                <a:effectLst/>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indsætte underoverskrift</a:t>
            </a:r>
          </a:p>
        </p:txBody>
      </p:sp>
      <p:sp>
        <p:nvSpPr>
          <p:cNvPr id="13" name="Pladsholder til diasnummer 5"/>
          <p:cNvSpPr txBox="1">
            <a:spLocks/>
          </p:cNvSpPr>
          <p:nvPr userDrawn="1"/>
        </p:nvSpPr>
        <p:spPr>
          <a:xfrm>
            <a:off x="4124325" y="6248194"/>
            <a:ext cx="990600" cy="297265"/>
          </a:xfrm>
          <a:prstGeom prst="rect">
            <a:avLst/>
          </a:prstGeom>
        </p:spPr>
        <p:txBody>
          <a:bodyPr/>
          <a:lstStyle>
            <a:defPPr>
              <a:defRPr lang="da-DK"/>
            </a:defPPr>
            <a:lvl1pPr marL="0" algn="r" defTabSz="914400" rtl="0" eaLnBrk="1" latinLnBrk="0" hangingPunct="1">
              <a:defRPr sz="1400" kern="1200">
                <a:solidFill>
                  <a:schemeClr val="accent6"/>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900" b="0">
                <a:solidFill>
                  <a:schemeClr val="tx1"/>
                </a:solidFill>
                <a:latin typeface="Verdana" panose="020B0604030504040204" pitchFamily="34" charset="0"/>
                <a:ea typeface="Verdana" panose="020B0604030504040204" pitchFamily="34" charset="0"/>
                <a:cs typeface="Verdana" panose="020B0604030504040204" pitchFamily="34" charset="0"/>
              </a:rPr>
              <a:t>Side </a:t>
            </a:r>
            <a:fld id="{C7AC859A-AE19-4543-AC75-3D2F5ABF6574}" type="slidenum">
              <a:rPr lang="da-DK" sz="900" b="0" smtClean="0">
                <a:solidFill>
                  <a:schemeClr val="tx1"/>
                </a:solidFill>
                <a:latin typeface="Verdana" panose="020B0604030504040204" pitchFamily="34" charset="0"/>
                <a:ea typeface="Verdana" panose="020B0604030504040204" pitchFamily="34" charset="0"/>
                <a:cs typeface="Verdana" panose="020B0604030504040204" pitchFamily="34" charset="0"/>
              </a:rPr>
              <a:pPr algn="ctr"/>
              <a:t>‹nr.›</a:t>
            </a:fld>
            <a:endParaRPr lang="da-DK" sz="900" b="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17" name="Pladsholder til indhold 2"/>
          <p:cNvSpPr>
            <a:spLocks noGrp="1"/>
          </p:cNvSpPr>
          <p:nvPr>
            <p:ph idx="12" hasCustomPrompt="1"/>
          </p:nvPr>
        </p:nvSpPr>
        <p:spPr>
          <a:xfrm>
            <a:off x="4650600" y="1445966"/>
            <a:ext cx="3960000" cy="4348553"/>
          </a:xfrm>
          <a:prstGeom prst="rect">
            <a:avLst/>
          </a:prstGeom>
        </p:spPr>
        <p:txBody>
          <a:bodyPr>
            <a:normAutofit/>
          </a:bodyPr>
          <a:lstStyle>
            <a:lvl1pPr marL="0" indent="0">
              <a:lnSpc>
                <a:spcPct val="150000"/>
              </a:lnSpc>
              <a:spcBef>
                <a:spcPts val="0"/>
              </a:spcBef>
              <a:buNone/>
              <a:defRPr sz="1800">
                <a:latin typeface="Verdana" panose="020B0604030504040204" pitchFamily="34" charset="0"/>
                <a:ea typeface="Verdana" panose="020B0604030504040204" pitchFamily="34" charset="0"/>
                <a:cs typeface="Verdana" panose="020B0604030504040204" pitchFamily="34" charset="0"/>
              </a:defRPr>
            </a:lvl1pPr>
            <a:lvl2pPr marL="800100" indent="-342900">
              <a:lnSpc>
                <a:spcPct val="150000"/>
              </a:lnSpc>
              <a:spcBef>
                <a:spcPts val="0"/>
              </a:spcBef>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defRPr>
            </a:lvl2pPr>
            <a:lvl3pPr marL="1257300" indent="-342900">
              <a:lnSpc>
                <a:spcPct val="150000"/>
              </a:lnSpc>
              <a:spcBef>
                <a:spcPts val="0"/>
              </a:spcBef>
              <a:buFont typeface="Courier New" panose="02070309020205020404" pitchFamily="49" charset="0"/>
              <a:buChar char="o"/>
              <a:defRPr sz="1400">
                <a:latin typeface="Verdana" panose="020B0604030504040204" pitchFamily="34" charset="0"/>
                <a:ea typeface="Verdana" panose="020B0604030504040204" pitchFamily="34" charset="0"/>
                <a:cs typeface="Verdana" panose="020B0604030504040204" pitchFamily="34" charset="0"/>
              </a:defRPr>
            </a:lvl3pPr>
            <a:lvl4pPr marL="1714500" indent="-342900">
              <a:lnSpc>
                <a:spcPct val="150000"/>
              </a:lnSpc>
              <a:spcBef>
                <a:spcPts val="0"/>
              </a:spcBef>
              <a:buFont typeface="Wingdings" panose="05000000000000000000" pitchFamily="2" charset="2"/>
              <a:buChar char="§"/>
              <a:defRPr sz="1300">
                <a:latin typeface="Verdana" panose="020B0604030504040204" pitchFamily="34" charset="0"/>
                <a:ea typeface="Verdana" panose="020B0604030504040204" pitchFamily="34" charset="0"/>
                <a:cs typeface="Verdana" panose="020B0604030504040204" pitchFamily="34" charset="0"/>
              </a:defRPr>
            </a:lvl4pPr>
            <a:lvl5pPr marL="2057400" indent="-228600">
              <a:lnSpc>
                <a:spcPct val="150000"/>
              </a:lnSpc>
              <a:spcBef>
                <a:spcPts val="0"/>
              </a:spcBef>
              <a:buFont typeface="Arial" panose="020B0604020202020204" pitchFamily="34" charset="0"/>
              <a:buChar char="•"/>
              <a:defRPr sz="1100">
                <a:latin typeface="Verdana" panose="020B0604030504040204" pitchFamily="34" charset="0"/>
                <a:ea typeface="Verdana" panose="020B0604030504040204" pitchFamily="34" charset="0"/>
                <a:cs typeface="Verdana" panose="020B0604030504040204" pitchFamily="34" charset="0"/>
              </a:defRPr>
            </a:lvl5pPr>
          </a:lstStyle>
          <a:p>
            <a:pPr lvl="0"/>
            <a:r>
              <a:rPr lang="da-DK"/>
              <a:t>Klik for at indsætte indhold</a:t>
            </a:r>
          </a:p>
        </p:txBody>
      </p:sp>
      <p:sp>
        <p:nvSpPr>
          <p:cNvPr id="18" name="Pladsholder til indhold 2"/>
          <p:cNvSpPr>
            <a:spLocks noGrp="1"/>
          </p:cNvSpPr>
          <p:nvPr>
            <p:ph idx="10" hasCustomPrompt="1"/>
          </p:nvPr>
        </p:nvSpPr>
        <p:spPr>
          <a:xfrm>
            <a:off x="628650" y="1445966"/>
            <a:ext cx="3960000" cy="4348553"/>
          </a:xfrm>
          <a:prstGeom prst="rect">
            <a:avLst/>
          </a:prstGeom>
        </p:spPr>
        <p:txBody>
          <a:bodyPr>
            <a:normAutofit/>
          </a:bodyPr>
          <a:lstStyle>
            <a:lvl1pPr marL="0" indent="0">
              <a:lnSpc>
                <a:spcPct val="150000"/>
              </a:lnSpc>
              <a:spcBef>
                <a:spcPts val="0"/>
              </a:spcBef>
              <a:buNone/>
              <a:defRPr sz="1800">
                <a:latin typeface="Verdana" panose="020B0604030504040204" pitchFamily="34" charset="0"/>
                <a:ea typeface="Verdana" panose="020B0604030504040204" pitchFamily="34" charset="0"/>
                <a:cs typeface="Verdana" panose="020B0604030504040204" pitchFamily="34" charset="0"/>
              </a:defRPr>
            </a:lvl1pPr>
            <a:lvl2pPr marL="800100" indent="-342900">
              <a:lnSpc>
                <a:spcPct val="150000"/>
              </a:lnSpc>
              <a:spcBef>
                <a:spcPts val="0"/>
              </a:spcBef>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defRPr>
            </a:lvl2pPr>
            <a:lvl3pPr marL="1257300" indent="-342900">
              <a:lnSpc>
                <a:spcPct val="150000"/>
              </a:lnSpc>
              <a:spcBef>
                <a:spcPts val="0"/>
              </a:spcBef>
              <a:buFont typeface="Courier New" panose="02070309020205020404" pitchFamily="49" charset="0"/>
              <a:buChar char="o"/>
              <a:defRPr sz="1400">
                <a:latin typeface="Verdana" panose="020B0604030504040204" pitchFamily="34" charset="0"/>
                <a:ea typeface="Verdana" panose="020B0604030504040204" pitchFamily="34" charset="0"/>
                <a:cs typeface="Verdana" panose="020B0604030504040204" pitchFamily="34" charset="0"/>
              </a:defRPr>
            </a:lvl3pPr>
            <a:lvl4pPr marL="1714500" indent="-342900">
              <a:lnSpc>
                <a:spcPct val="150000"/>
              </a:lnSpc>
              <a:spcBef>
                <a:spcPts val="0"/>
              </a:spcBef>
              <a:buFont typeface="Wingdings" panose="05000000000000000000" pitchFamily="2" charset="2"/>
              <a:buChar char="§"/>
              <a:defRPr sz="1300">
                <a:latin typeface="Verdana" panose="020B0604030504040204" pitchFamily="34" charset="0"/>
                <a:ea typeface="Verdana" panose="020B0604030504040204" pitchFamily="34" charset="0"/>
                <a:cs typeface="Verdana" panose="020B0604030504040204" pitchFamily="34" charset="0"/>
              </a:defRPr>
            </a:lvl4pPr>
            <a:lvl5pPr marL="2057400" indent="-228600">
              <a:lnSpc>
                <a:spcPct val="150000"/>
              </a:lnSpc>
              <a:spcBef>
                <a:spcPts val="0"/>
              </a:spcBef>
              <a:buFont typeface="Arial" panose="020B0604020202020204" pitchFamily="34" charset="0"/>
              <a:buChar char="•"/>
              <a:defRPr sz="1100">
                <a:latin typeface="Verdana" panose="020B0604030504040204" pitchFamily="34" charset="0"/>
                <a:ea typeface="Verdana" panose="020B0604030504040204" pitchFamily="34" charset="0"/>
                <a:cs typeface="Verdana" panose="020B0604030504040204" pitchFamily="34" charset="0"/>
              </a:defRPr>
            </a:lvl5pPr>
          </a:lstStyle>
          <a:p>
            <a:pPr lvl="0"/>
            <a:r>
              <a:rPr lang="da-DK"/>
              <a:t>Klik for at indsætte indhold</a:t>
            </a:r>
          </a:p>
        </p:txBody>
      </p:sp>
    </p:spTree>
    <p:extLst>
      <p:ext uri="{BB962C8B-B14F-4D97-AF65-F5344CB8AC3E}">
        <p14:creationId xmlns:p14="http://schemas.microsoft.com/office/powerpoint/2010/main" val="3772957845"/>
      </p:ext>
    </p:extLst>
  </p:cSld>
  <p:clrMapOvr>
    <a:masterClrMapping/>
  </p:clrMapOvr>
  <p:transition spd="slow">
    <p:push dir="u"/>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ivider Smal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E59AFDB-E223-470E-8D22-64189D0DE859}"/>
              </a:ext>
            </a:extLst>
          </p:cNvPr>
          <p:cNvSpPr/>
          <p:nvPr userDrawn="1"/>
        </p:nvSpPr>
        <p:spPr>
          <a:xfrm>
            <a:off x="503565" y="3313867"/>
            <a:ext cx="6441522" cy="3544135"/>
          </a:xfrm>
          <a:prstGeom prst="rect">
            <a:avLst/>
          </a:prstGeom>
          <a:solidFill>
            <a:srgbClr val="8AA29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6462" tIns="66462" rIns="66462" bIns="66462" numCol="1" spcCol="0" rtlCol="0" fromWordArt="0" anchor="ctr" anchorCtr="0" forceAA="0" compatLnSpc="1">
            <a:prstTxWarp prst="textNoShape">
              <a:avLst/>
            </a:prstTxWarp>
            <a:noAutofit/>
          </a:bodyPr>
          <a:lstStyle/>
          <a:p>
            <a:pPr algn="ctr"/>
            <a:endParaRPr lang="da-DK" sz="1015" noProof="0" err="1">
              <a:solidFill>
                <a:srgbClr val="1F2023"/>
              </a:solidFill>
            </a:endParaRPr>
          </a:p>
        </p:txBody>
      </p:sp>
      <p:sp>
        <p:nvSpPr>
          <p:cNvPr id="19" name="Rectangle 18">
            <a:extLst>
              <a:ext uri="{FF2B5EF4-FFF2-40B4-BE49-F238E27FC236}">
                <a16:creationId xmlns:a16="http://schemas.microsoft.com/office/drawing/2014/main" id="{C3AEB493-9A07-4D62-BC33-B44675629FCD}"/>
              </a:ext>
            </a:extLst>
          </p:cNvPr>
          <p:cNvSpPr/>
          <p:nvPr userDrawn="1"/>
        </p:nvSpPr>
        <p:spPr>
          <a:xfrm>
            <a:off x="1" y="2136618"/>
            <a:ext cx="6075571" cy="4721382"/>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algn="l"/>
            <a:endParaRPr lang="da-DK" sz="923" noProof="0">
              <a:solidFill>
                <a:srgbClr val="2F363B"/>
              </a:solidFill>
            </a:endParaRPr>
          </a:p>
        </p:txBody>
      </p:sp>
      <p:sp>
        <p:nvSpPr>
          <p:cNvPr id="11" name="Title 1">
            <a:extLst>
              <a:ext uri="{FF2B5EF4-FFF2-40B4-BE49-F238E27FC236}">
                <a16:creationId xmlns:a16="http://schemas.microsoft.com/office/drawing/2014/main" id="{4A400803-DD4C-4741-BA21-295DF4FBBDD6}"/>
              </a:ext>
            </a:extLst>
          </p:cNvPr>
          <p:cNvSpPr>
            <a:spLocks noGrp="1"/>
          </p:cNvSpPr>
          <p:nvPr>
            <p:ph type="title" hasCustomPrompt="1"/>
          </p:nvPr>
        </p:nvSpPr>
        <p:spPr>
          <a:xfrm>
            <a:off x="249115" y="3313864"/>
            <a:ext cx="4196862" cy="3002800"/>
          </a:xfrm>
          <a:noFill/>
        </p:spPr>
        <p:txBody>
          <a:bodyPr lIns="0" tIns="0" rIns="0"/>
          <a:lstStyle>
            <a:lvl1pPr>
              <a:lnSpc>
                <a:spcPct val="83000"/>
              </a:lnSpc>
              <a:defRPr sz="4431" cap="all" baseline="0">
                <a:solidFill>
                  <a:srgbClr val="30373B"/>
                </a:solidFill>
                <a:latin typeface="Impact" panose="020B0806030902050204" pitchFamily="34" charset="0"/>
              </a:defRPr>
            </a:lvl1pPr>
          </a:lstStyle>
          <a:p>
            <a:r>
              <a:rPr lang="da-DK"/>
              <a:t>CLICK TO EDIT MASTER TITLE STYLE</a:t>
            </a:r>
          </a:p>
        </p:txBody>
      </p:sp>
      <p:sp>
        <p:nvSpPr>
          <p:cNvPr id="16" name="Freeform: Shape 15">
            <a:extLst>
              <a:ext uri="{FF2B5EF4-FFF2-40B4-BE49-F238E27FC236}">
                <a16:creationId xmlns:a16="http://schemas.microsoft.com/office/drawing/2014/main" id="{84026F2F-C254-4600-867F-F877C37EA6DD}"/>
              </a:ext>
            </a:extLst>
          </p:cNvPr>
          <p:cNvSpPr/>
          <p:nvPr userDrawn="1">
            <p:custDataLst>
              <p:tags r:id="rId1"/>
            </p:custDataLst>
          </p:nvPr>
        </p:nvSpPr>
        <p:spPr bwMode="auto">
          <a:xfrm rot="5400000">
            <a:off x="8646962" y="406758"/>
            <a:ext cx="350168" cy="142743"/>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endParaRPr lang="da-DK" sz="1662">
              <a:solidFill>
                <a:srgbClr val="30373B"/>
              </a:solidFill>
            </a:endParaRPr>
          </a:p>
        </p:txBody>
      </p:sp>
      <p:sp>
        <p:nvSpPr>
          <p:cNvPr id="15" name="Date_GeneralDate" hidden="1">
            <a:extLst>
              <a:ext uri="{FF2B5EF4-FFF2-40B4-BE49-F238E27FC236}">
                <a16:creationId xmlns:a16="http://schemas.microsoft.com/office/drawing/2014/main" id="{468647FE-6C52-44F1-BA7A-3E3EAE4AEFBB}"/>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4" name="Text Placeholder 12">
            <a:extLst>
              <a:ext uri="{FF2B5EF4-FFF2-40B4-BE49-F238E27FC236}">
                <a16:creationId xmlns:a16="http://schemas.microsoft.com/office/drawing/2014/main" id="{86543865-3BC1-4935-95C1-E497FFC75495}"/>
              </a:ext>
            </a:extLst>
          </p:cNvPr>
          <p:cNvSpPr>
            <a:spLocks noGrp="1"/>
          </p:cNvSpPr>
          <p:nvPr>
            <p:ph type="body" sz="quarter" idx="17"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8" name="Text Placeholder 3">
            <a:extLst>
              <a:ext uri="{FF2B5EF4-FFF2-40B4-BE49-F238E27FC236}">
                <a16:creationId xmlns:a16="http://schemas.microsoft.com/office/drawing/2014/main" id="{5A4369CD-5E24-463F-81D4-A841AD784848}"/>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3" name="Subtitle 2">
            <a:extLst>
              <a:ext uri="{FF2B5EF4-FFF2-40B4-BE49-F238E27FC236}">
                <a16:creationId xmlns:a16="http://schemas.microsoft.com/office/drawing/2014/main" id="{82CA8D50-15A3-40DF-841C-92CF977F081A}"/>
              </a:ext>
            </a:extLst>
          </p:cNvPr>
          <p:cNvSpPr>
            <a:spLocks noGrp="1"/>
          </p:cNvSpPr>
          <p:nvPr>
            <p:ph type="subTitle" idx="1" hasCustomPrompt="1"/>
          </p:nvPr>
        </p:nvSpPr>
        <p:spPr>
          <a:xfrm>
            <a:off x="249231" y="2635200"/>
            <a:ext cx="4197046" cy="446400"/>
          </a:xfrm>
        </p:spPr>
        <p:txBody>
          <a:bodyPr rIns="0" anchor="b" anchorCtr="0"/>
          <a:lstStyle>
            <a:lvl1pPr marL="0" indent="0" algn="l">
              <a:spcBef>
                <a:spcPts val="0"/>
              </a:spcBef>
              <a:buFont typeface="Arial" panose="020B0604020202020204" pitchFamily="34" charset="0"/>
              <a:buChar char="​"/>
              <a:defRPr sz="2585">
                <a:solidFill>
                  <a:srgbClr val="30373B"/>
                </a:solidFill>
              </a:defRPr>
            </a:lvl1pPr>
            <a:lvl2pPr marL="0" indent="0" algn="l">
              <a:buFont typeface="Arial" panose="020B0604020202020204" pitchFamily="34" charset="0"/>
              <a:buNone/>
              <a:defRPr sz="825">
                <a:solidFill>
                  <a:schemeClr val="accent2"/>
                </a:solidFill>
              </a:defRPr>
            </a:lvl2pPr>
            <a:lvl3pPr marL="0" indent="0" algn="l">
              <a:buFont typeface="Arial" panose="020B0604020202020204" pitchFamily="34" charset="0"/>
              <a:buChar char="​"/>
              <a:defRPr sz="1500">
                <a:solidFill>
                  <a:schemeClr val="bg1"/>
                </a:solidFill>
              </a:defRPr>
            </a:lvl3pPr>
            <a:lvl4pPr marL="0" indent="0" algn="l">
              <a:buFont typeface="Arial" panose="020B0604020202020204" pitchFamily="34" charset="0"/>
              <a:buChar char="​"/>
              <a:defRPr sz="1500">
                <a:solidFill>
                  <a:schemeClr val="bg1"/>
                </a:solidFill>
              </a:defRPr>
            </a:lvl4pPr>
            <a:lvl5pPr marL="0" indent="0" algn="l">
              <a:buFont typeface="Arial" panose="020B0604020202020204" pitchFamily="34" charset="0"/>
              <a:buChar char="​"/>
              <a:defRPr sz="1500">
                <a:solidFill>
                  <a:schemeClr val="bg1"/>
                </a:solidFill>
              </a:defRPr>
            </a:lvl5pPr>
            <a:lvl6pPr marL="0" indent="0" algn="l">
              <a:buFont typeface="Arial" panose="020B0604020202020204" pitchFamily="34" charset="0"/>
              <a:buChar char="​"/>
              <a:defRPr sz="1500">
                <a:solidFill>
                  <a:schemeClr val="bg1"/>
                </a:solidFill>
              </a:defRPr>
            </a:lvl6pPr>
            <a:lvl7pPr marL="0" indent="0" algn="l">
              <a:buFont typeface="Arial" panose="020B0604020202020204" pitchFamily="34" charset="0"/>
              <a:buChar char="​"/>
              <a:defRPr sz="1500">
                <a:solidFill>
                  <a:schemeClr val="bg1"/>
                </a:solidFill>
              </a:defRPr>
            </a:lvl7pPr>
            <a:lvl8pPr marL="0" indent="0" algn="l">
              <a:buFont typeface="Arial" panose="020B0604020202020204" pitchFamily="34" charset="0"/>
              <a:buChar char="​"/>
              <a:defRPr sz="1500">
                <a:solidFill>
                  <a:schemeClr val="bg1"/>
                </a:solidFill>
              </a:defRPr>
            </a:lvl8pPr>
            <a:lvl9pPr marL="0" indent="0" algn="l">
              <a:buFont typeface="Arial" panose="020B0604020202020204" pitchFamily="34" charset="0"/>
              <a:buChar char="​"/>
              <a:defRPr sz="1500">
                <a:solidFill>
                  <a:schemeClr val="bg1"/>
                </a:solidFill>
              </a:defRPr>
            </a:lvl9pPr>
          </a:lstStyle>
          <a:p>
            <a:r>
              <a:rPr lang="da-DK"/>
              <a:t>01</a:t>
            </a:r>
          </a:p>
        </p:txBody>
      </p:sp>
      <p:sp>
        <p:nvSpPr>
          <p:cNvPr id="3" name="Slide Number Placeholder 2">
            <a:extLst>
              <a:ext uri="{FF2B5EF4-FFF2-40B4-BE49-F238E27FC236}">
                <a16:creationId xmlns:a16="http://schemas.microsoft.com/office/drawing/2014/main" id="{25C0E862-40D8-4D47-A174-74D53B5BA046}"/>
              </a:ext>
            </a:extLst>
          </p:cNvPr>
          <p:cNvSpPr>
            <a:spLocks noGrp="1"/>
          </p:cNvSpPr>
          <p:nvPr>
            <p:ph type="sldNum" sz="quarter" idx="19"/>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282362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Image Dark">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40B7F21-6889-46F7-BB5C-8FDE3B947050}"/>
              </a:ext>
            </a:extLst>
          </p:cNvPr>
          <p:cNvSpPr/>
          <p:nvPr userDrawn="1"/>
        </p:nvSpPr>
        <p:spPr>
          <a:xfrm>
            <a:off x="0" y="0"/>
            <a:ext cx="6590388" cy="5498510"/>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algn="l"/>
            <a:endParaRPr lang="da-DK" sz="923" noProof="0">
              <a:solidFill>
                <a:srgbClr val="2F363B"/>
              </a:solidFill>
            </a:endParaRPr>
          </a:p>
        </p:txBody>
      </p:sp>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251313" y="1558808"/>
            <a:ext cx="4447442" cy="3942085"/>
          </a:xfrm>
          <a:noFill/>
        </p:spPr>
        <p:txBody>
          <a:bodyPr lIns="0" tIns="0" rIns="0"/>
          <a:lstStyle>
            <a:lvl1pPr>
              <a:defRPr sz="6646" cap="all" baseline="0">
                <a:solidFill>
                  <a:srgbClr val="F8F5E7"/>
                </a:solidFill>
                <a:latin typeface="Impact" panose="020B0806030902050204" pitchFamily="34" charset="0"/>
              </a:defRPr>
            </a:lvl1pPr>
          </a:lstStyle>
          <a:p>
            <a:r>
              <a:rPr lang="da-DK"/>
              <a:t>CLICK TO EDIT MASTER TITLE STYLE</a:t>
            </a:r>
          </a:p>
        </p:txBody>
      </p:sp>
      <p:sp>
        <p:nvSpPr>
          <p:cNvPr id="20" name="Picture Placeholder 19">
            <a:extLst>
              <a:ext uri="{FF2B5EF4-FFF2-40B4-BE49-F238E27FC236}">
                <a16:creationId xmlns:a16="http://schemas.microsoft.com/office/drawing/2014/main" id="{D28A0F75-809B-475F-9625-965368680003}"/>
              </a:ext>
            </a:extLst>
          </p:cNvPr>
          <p:cNvSpPr>
            <a:spLocks noGrp="1"/>
          </p:cNvSpPr>
          <p:nvPr>
            <p:ph type="pic" sz="quarter" idx="17"/>
          </p:nvPr>
        </p:nvSpPr>
        <p:spPr>
          <a:xfrm>
            <a:off x="4696557" y="3313867"/>
            <a:ext cx="4447444" cy="3544134"/>
          </a:xfrm>
          <a:custGeom>
            <a:avLst/>
            <a:gdLst>
              <a:gd name="connsiteX0" fmla="*/ 2051650 w 4818064"/>
              <a:gd name="connsiteY0" fmla="*/ 0 h 3544134"/>
              <a:gd name="connsiteX1" fmla="*/ 4818064 w 4818064"/>
              <a:gd name="connsiteY1" fmla="*/ 0 h 3544134"/>
              <a:gd name="connsiteX2" fmla="*/ 4818064 w 4818064"/>
              <a:gd name="connsiteY2" fmla="*/ 3544134 h 3544134"/>
              <a:gd name="connsiteX3" fmla="*/ 0 w 4818064"/>
              <a:gd name="connsiteY3" fmla="*/ 3544134 h 3544134"/>
              <a:gd name="connsiteX4" fmla="*/ 0 w 4818064"/>
              <a:gd name="connsiteY4" fmla="*/ 2184643 h 3544134"/>
              <a:gd name="connsiteX5" fmla="*/ 2051650 w 4818064"/>
              <a:gd name="connsiteY5" fmla="*/ 2184643 h 3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18064" h="3544134">
                <a:moveTo>
                  <a:pt x="2051650" y="0"/>
                </a:moveTo>
                <a:lnTo>
                  <a:pt x="4818064" y="0"/>
                </a:lnTo>
                <a:lnTo>
                  <a:pt x="4818064" y="3544134"/>
                </a:lnTo>
                <a:lnTo>
                  <a:pt x="0" y="3544134"/>
                </a:lnTo>
                <a:lnTo>
                  <a:pt x="0" y="2184643"/>
                </a:lnTo>
                <a:lnTo>
                  <a:pt x="2051650" y="2184643"/>
                </a:lnTo>
                <a:close/>
              </a:path>
            </a:pathLst>
          </a:custGeom>
          <a:solidFill>
            <a:srgbClr val="F3F2F0"/>
          </a:solidFill>
        </p:spPr>
        <p:txBody>
          <a:bodyPr wrap="square" tIns="0" rIns="792000" anchor="ctr" anchorCtr="0">
            <a:noAutofit/>
          </a:bodyPr>
          <a:lstStyle>
            <a:lvl1pPr marL="0" indent="0" algn="r">
              <a:buNone/>
              <a:defRPr>
                <a:solidFill>
                  <a:schemeClr val="tx1"/>
                </a:solidFill>
              </a:defRPr>
            </a:lvl1pPr>
          </a:lstStyle>
          <a:p>
            <a:r>
              <a:rPr lang="da-DK"/>
              <a:t>Click icon to add picture</a:t>
            </a:r>
          </a:p>
        </p:txBody>
      </p:sp>
      <p:sp>
        <p:nvSpPr>
          <p:cNvPr id="12" name="Date_GeneralDate" hidden="1">
            <a:extLst>
              <a:ext uri="{FF2B5EF4-FFF2-40B4-BE49-F238E27FC236}">
                <a16:creationId xmlns:a16="http://schemas.microsoft.com/office/drawing/2014/main" id="{72F84A8E-04B6-4AFB-8124-0C737CA3AA61}"/>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1" name="Text Placeholder 12">
            <a:extLst>
              <a:ext uri="{FF2B5EF4-FFF2-40B4-BE49-F238E27FC236}">
                <a16:creationId xmlns:a16="http://schemas.microsoft.com/office/drawing/2014/main" id="{2A57E2F6-7A9F-41E2-8D7F-40B6A933644F}"/>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5" name="Text Placeholder 3">
            <a:extLst>
              <a:ext uri="{FF2B5EF4-FFF2-40B4-BE49-F238E27FC236}">
                <a16:creationId xmlns:a16="http://schemas.microsoft.com/office/drawing/2014/main" id="{A869A39D-F552-456B-98AA-EA2E96DAAF78}"/>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0" name="Subtitle 2">
            <a:extLst>
              <a:ext uri="{FF2B5EF4-FFF2-40B4-BE49-F238E27FC236}">
                <a16:creationId xmlns:a16="http://schemas.microsoft.com/office/drawing/2014/main" id="{CFF4527F-65EB-4F46-A2FA-0DBCB954E07E}"/>
              </a:ext>
            </a:extLst>
          </p:cNvPr>
          <p:cNvSpPr>
            <a:spLocks noGrp="1"/>
          </p:cNvSpPr>
          <p:nvPr>
            <p:ph type="subTitle" idx="1" hasCustomPrompt="1"/>
          </p:nvPr>
        </p:nvSpPr>
        <p:spPr>
          <a:xfrm>
            <a:off x="251429" y="986400"/>
            <a:ext cx="4197046" cy="446400"/>
          </a:xfrm>
        </p:spPr>
        <p:txBody>
          <a:bodyPr rIns="0" anchor="b" anchorCtr="0"/>
          <a:lstStyle>
            <a:lvl1pPr marL="0" indent="0" algn="l">
              <a:spcBef>
                <a:spcPts val="0"/>
              </a:spcBef>
              <a:buFont typeface="Arial" panose="020B0604020202020204" pitchFamily="34" charset="0"/>
              <a:buChar char="​"/>
              <a:defRPr sz="2585">
                <a:solidFill>
                  <a:srgbClr val="F8F5E7"/>
                </a:solidFill>
              </a:defRPr>
            </a:lvl1pPr>
            <a:lvl2pPr marL="0" indent="0" algn="l">
              <a:buFont typeface="Arial" panose="020B0604020202020204" pitchFamily="34" charset="0"/>
              <a:buNone/>
              <a:defRPr sz="825">
                <a:solidFill>
                  <a:schemeClr val="accent2"/>
                </a:solidFill>
              </a:defRPr>
            </a:lvl2pPr>
            <a:lvl3pPr marL="0" indent="0" algn="l">
              <a:buFont typeface="Arial" panose="020B0604020202020204" pitchFamily="34" charset="0"/>
              <a:buChar char="​"/>
              <a:defRPr sz="1500">
                <a:solidFill>
                  <a:schemeClr val="bg1"/>
                </a:solidFill>
              </a:defRPr>
            </a:lvl3pPr>
            <a:lvl4pPr marL="0" indent="0" algn="l">
              <a:buFont typeface="Arial" panose="020B0604020202020204" pitchFamily="34" charset="0"/>
              <a:buChar char="​"/>
              <a:defRPr sz="1500">
                <a:solidFill>
                  <a:schemeClr val="bg1"/>
                </a:solidFill>
              </a:defRPr>
            </a:lvl4pPr>
            <a:lvl5pPr marL="0" indent="0" algn="l">
              <a:buFont typeface="Arial" panose="020B0604020202020204" pitchFamily="34" charset="0"/>
              <a:buChar char="​"/>
              <a:defRPr sz="1500">
                <a:solidFill>
                  <a:schemeClr val="bg1"/>
                </a:solidFill>
              </a:defRPr>
            </a:lvl5pPr>
            <a:lvl6pPr marL="0" indent="0" algn="l">
              <a:buFont typeface="Arial" panose="020B0604020202020204" pitchFamily="34" charset="0"/>
              <a:buChar char="​"/>
              <a:defRPr sz="1500">
                <a:solidFill>
                  <a:schemeClr val="bg1"/>
                </a:solidFill>
              </a:defRPr>
            </a:lvl6pPr>
            <a:lvl7pPr marL="0" indent="0" algn="l">
              <a:buFont typeface="Arial" panose="020B0604020202020204" pitchFamily="34" charset="0"/>
              <a:buChar char="​"/>
              <a:defRPr sz="1500">
                <a:solidFill>
                  <a:schemeClr val="bg1"/>
                </a:solidFill>
              </a:defRPr>
            </a:lvl7pPr>
            <a:lvl8pPr marL="0" indent="0" algn="l">
              <a:buFont typeface="Arial" panose="020B0604020202020204" pitchFamily="34" charset="0"/>
              <a:buChar char="​"/>
              <a:defRPr sz="1500">
                <a:solidFill>
                  <a:schemeClr val="bg1"/>
                </a:solidFill>
              </a:defRPr>
            </a:lvl8pPr>
            <a:lvl9pPr marL="0" indent="0" algn="l">
              <a:buFont typeface="Arial" panose="020B0604020202020204" pitchFamily="34" charset="0"/>
              <a:buChar char="​"/>
              <a:defRPr sz="1500">
                <a:solidFill>
                  <a:schemeClr val="bg1"/>
                </a:solidFill>
              </a:defRPr>
            </a:lvl9pPr>
          </a:lstStyle>
          <a:p>
            <a:r>
              <a:rPr lang="da-DK"/>
              <a:t>01</a:t>
            </a:r>
          </a:p>
        </p:txBody>
      </p:sp>
      <p:sp>
        <p:nvSpPr>
          <p:cNvPr id="4" name="Slide Number Placeholder 3">
            <a:extLst>
              <a:ext uri="{FF2B5EF4-FFF2-40B4-BE49-F238E27FC236}">
                <a16:creationId xmlns:a16="http://schemas.microsoft.com/office/drawing/2014/main" id="{401D3056-0F2E-493A-8B51-789863A38B52}"/>
              </a:ext>
            </a:extLst>
          </p:cNvPr>
          <p:cNvSpPr>
            <a:spLocks noGrp="1"/>
          </p:cNvSpPr>
          <p:nvPr>
            <p:ph type="sldNum" sz="quarter" idx="19"/>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3867444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Image ">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40B7F21-6889-46F7-BB5C-8FDE3B947050}"/>
              </a:ext>
            </a:extLst>
          </p:cNvPr>
          <p:cNvSpPr/>
          <p:nvPr userDrawn="1"/>
        </p:nvSpPr>
        <p:spPr>
          <a:xfrm>
            <a:off x="0" y="0"/>
            <a:ext cx="6590388" cy="5498510"/>
          </a:xfrm>
          <a:prstGeom prst="rect">
            <a:avLst/>
          </a:prstGeom>
          <a:solidFill>
            <a:srgbClr val="F8F5E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algn="l"/>
            <a:endParaRPr lang="da-DK" sz="923" noProof="0">
              <a:solidFill>
                <a:srgbClr val="2F363B"/>
              </a:solidFill>
            </a:endParaRPr>
          </a:p>
        </p:txBody>
      </p:sp>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251313" y="1556427"/>
            <a:ext cx="4447442" cy="3942085"/>
          </a:xfrm>
          <a:noFill/>
        </p:spPr>
        <p:txBody>
          <a:bodyPr lIns="0" tIns="0" rIns="0"/>
          <a:lstStyle>
            <a:lvl1pPr>
              <a:defRPr sz="6646" cap="all" baseline="0">
                <a:solidFill>
                  <a:srgbClr val="30373B"/>
                </a:solidFill>
                <a:latin typeface="Impact" panose="020B0806030902050204" pitchFamily="34" charset="0"/>
              </a:defRPr>
            </a:lvl1pPr>
          </a:lstStyle>
          <a:p>
            <a:r>
              <a:rPr lang="da-DK"/>
              <a:t>CLICK TO EDIT MASTER TITLE STYLE</a:t>
            </a:r>
          </a:p>
        </p:txBody>
      </p:sp>
      <p:sp>
        <p:nvSpPr>
          <p:cNvPr id="16" name="Picture Placeholder 15">
            <a:extLst>
              <a:ext uri="{FF2B5EF4-FFF2-40B4-BE49-F238E27FC236}">
                <a16:creationId xmlns:a16="http://schemas.microsoft.com/office/drawing/2014/main" id="{A59E3657-65EB-4AC9-A889-2F2DCA5DEF14}"/>
              </a:ext>
            </a:extLst>
          </p:cNvPr>
          <p:cNvSpPr>
            <a:spLocks noGrp="1"/>
          </p:cNvSpPr>
          <p:nvPr>
            <p:ph type="pic" sz="quarter" idx="17"/>
          </p:nvPr>
        </p:nvSpPr>
        <p:spPr>
          <a:xfrm>
            <a:off x="4696557" y="3313867"/>
            <a:ext cx="4447444" cy="3544134"/>
          </a:xfrm>
          <a:custGeom>
            <a:avLst/>
            <a:gdLst>
              <a:gd name="connsiteX0" fmla="*/ 2051650 w 4818064"/>
              <a:gd name="connsiteY0" fmla="*/ 0 h 3544134"/>
              <a:gd name="connsiteX1" fmla="*/ 4818064 w 4818064"/>
              <a:gd name="connsiteY1" fmla="*/ 0 h 3544134"/>
              <a:gd name="connsiteX2" fmla="*/ 4818064 w 4818064"/>
              <a:gd name="connsiteY2" fmla="*/ 3544134 h 3544134"/>
              <a:gd name="connsiteX3" fmla="*/ 0 w 4818064"/>
              <a:gd name="connsiteY3" fmla="*/ 3544134 h 3544134"/>
              <a:gd name="connsiteX4" fmla="*/ 0 w 4818064"/>
              <a:gd name="connsiteY4" fmla="*/ 2184643 h 3544134"/>
              <a:gd name="connsiteX5" fmla="*/ 2051650 w 4818064"/>
              <a:gd name="connsiteY5" fmla="*/ 2184643 h 3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18064" h="3544134">
                <a:moveTo>
                  <a:pt x="2051650" y="0"/>
                </a:moveTo>
                <a:lnTo>
                  <a:pt x="4818064" y="0"/>
                </a:lnTo>
                <a:lnTo>
                  <a:pt x="4818064" y="3544134"/>
                </a:lnTo>
                <a:lnTo>
                  <a:pt x="0" y="3544134"/>
                </a:lnTo>
                <a:lnTo>
                  <a:pt x="0" y="2184643"/>
                </a:lnTo>
                <a:lnTo>
                  <a:pt x="2051650" y="2184643"/>
                </a:lnTo>
                <a:close/>
              </a:path>
            </a:pathLst>
          </a:custGeom>
          <a:solidFill>
            <a:srgbClr val="F3F2F0"/>
          </a:solidFill>
        </p:spPr>
        <p:txBody>
          <a:bodyPr wrap="square" tIns="0" rIns="792000" anchor="ctr" anchorCtr="0">
            <a:noAutofit/>
          </a:bodyPr>
          <a:lstStyle>
            <a:lvl1pPr marL="0" indent="0" algn="r">
              <a:buNone/>
              <a:defRPr>
                <a:solidFill>
                  <a:schemeClr val="tx1"/>
                </a:solidFill>
              </a:defRPr>
            </a:lvl1pPr>
          </a:lstStyle>
          <a:p>
            <a:r>
              <a:rPr lang="da-DK"/>
              <a:t>Click icon to add picture</a:t>
            </a:r>
          </a:p>
        </p:txBody>
      </p:sp>
      <p:sp>
        <p:nvSpPr>
          <p:cNvPr id="12" name="Date_GeneralDate" hidden="1">
            <a:extLst>
              <a:ext uri="{FF2B5EF4-FFF2-40B4-BE49-F238E27FC236}">
                <a16:creationId xmlns:a16="http://schemas.microsoft.com/office/drawing/2014/main" id="{3B47F6AE-B5F8-41F1-A04D-A62B205BB83C}"/>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1" name="Text Placeholder 12">
            <a:extLst>
              <a:ext uri="{FF2B5EF4-FFF2-40B4-BE49-F238E27FC236}">
                <a16:creationId xmlns:a16="http://schemas.microsoft.com/office/drawing/2014/main" id="{AAD0613F-D90D-4B42-8B85-F0BFD67C758A}"/>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5" name="Text Placeholder 3">
            <a:extLst>
              <a:ext uri="{FF2B5EF4-FFF2-40B4-BE49-F238E27FC236}">
                <a16:creationId xmlns:a16="http://schemas.microsoft.com/office/drawing/2014/main" id="{A39019BB-4948-420F-B138-15E662A37A78}"/>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0" name="Subtitle 2">
            <a:extLst>
              <a:ext uri="{FF2B5EF4-FFF2-40B4-BE49-F238E27FC236}">
                <a16:creationId xmlns:a16="http://schemas.microsoft.com/office/drawing/2014/main" id="{6D2429F2-5800-4003-9624-72D1351D36D7}"/>
              </a:ext>
            </a:extLst>
          </p:cNvPr>
          <p:cNvSpPr>
            <a:spLocks noGrp="1"/>
          </p:cNvSpPr>
          <p:nvPr>
            <p:ph type="subTitle" idx="1" hasCustomPrompt="1"/>
          </p:nvPr>
        </p:nvSpPr>
        <p:spPr>
          <a:xfrm>
            <a:off x="251429" y="986400"/>
            <a:ext cx="4197046" cy="446400"/>
          </a:xfrm>
        </p:spPr>
        <p:txBody>
          <a:bodyPr rIns="0" anchor="b" anchorCtr="0"/>
          <a:lstStyle>
            <a:lvl1pPr marL="0" indent="0" algn="l">
              <a:spcBef>
                <a:spcPts val="0"/>
              </a:spcBef>
              <a:buFont typeface="Arial" panose="020B0604020202020204" pitchFamily="34" charset="0"/>
              <a:buChar char="​"/>
              <a:defRPr sz="2585">
                <a:solidFill>
                  <a:srgbClr val="30373B"/>
                </a:solidFill>
              </a:defRPr>
            </a:lvl1pPr>
            <a:lvl2pPr marL="0" indent="0" algn="l">
              <a:buFont typeface="Arial" panose="020B0604020202020204" pitchFamily="34" charset="0"/>
              <a:buNone/>
              <a:defRPr sz="825">
                <a:solidFill>
                  <a:schemeClr val="accent2"/>
                </a:solidFill>
              </a:defRPr>
            </a:lvl2pPr>
            <a:lvl3pPr marL="0" indent="0" algn="l">
              <a:buFont typeface="Arial" panose="020B0604020202020204" pitchFamily="34" charset="0"/>
              <a:buChar char="​"/>
              <a:defRPr sz="1500">
                <a:solidFill>
                  <a:schemeClr val="bg1"/>
                </a:solidFill>
              </a:defRPr>
            </a:lvl3pPr>
            <a:lvl4pPr marL="0" indent="0" algn="l">
              <a:buFont typeface="Arial" panose="020B0604020202020204" pitchFamily="34" charset="0"/>
              <a:buChar char="​"/>
              <a:defRPr sz="1500">
                <a:solidFill>
                  <a:schemeClr val="bg1"/>
                </a:solidFill>
              </a:defRPr>
            </a:lvl4pPr>
            <a:lvl5pPr marL="0" indent="0" algn="l">
              <a:buFont typeface="Arial" panose="020B0604020202020204" pitchFamily="34" charset="0"/>
              <a:buChar char="​"/>
              <a:defRPr sz="1500">
                <a:solidFill>
                  <a:schemeClr val="bg1"/>
                </a:solidFill>
              </a:defRPr>
            </a:lvl5pPr>
            <a:lvl6pPr marL="0" indent="0" algn="l">
              <a:buFont typeface="Arial" panose="020B0604020202020204" pitchFamily="34" charset="0"/>
              <a:buChar char="​"/>
              <a:defRPr sz="1500">
                <a:solidFill>
                  <a:schemeClr val="bg1"/>
                </a:solidFill>
              </a:defRPr>
            </a:lvl6pPr>
            <a:lvl7pPr marL="0" indent="0" algn="l">
              <a:buFont typeface="Arial" panose="020B0604020202020204" pitchFamily="34" charset="0"/>
              <a:buChar char="​"/>
              <a:defRPr sz="1500">
                <a:solidFill>
                  <a:schemeClr val="bg1"/>
                </a:solidFill>
              </a:defRPr>
            </a:lvl7pPr>
            <a:lvl8pPr marL="0" indent="0" algn="l">
              <a:buFont typeface="Arial" panose="020B0604020202020204" pitchFamily="34" charset="0"/>
              <a:buChar char="​"/>
              <a:defRPr sz="1500">
                <a:solidFill>
                  <a:schemeClr val="bg1"/>
                </a:solidFill>
              </a:defRPr>
            </a:lvl8pPr>
            <a:lvl9pPr marL="0" indent="0" algn="l">
              <a:buFont typeface="Arial" panose="020B0604020202020204" pitchFamily="34" charset="0"/>
              <a:buChar char="​"/>
              <a:defRPr sz="1500">
                <a:solidFill>
                  <a:schemeClr val="bg1"/>
                </a:solidFill>
              </a:defRPr>
            </a:lvl9pPr>
          </a:lstStyle>
          <a:p>
            <a:r>
              <a:rPr lang="da-DK"/>
              <a:t>01</a:t>
            </a:r>
          </a:p>
        </p:txBody>
      </p:sp>
      <p:sp>
        <p:nvSpPr>
          <p:cNvPr id="4" name="Slide Number Placeholder 3">
            <a:extLst>
              <a:ext uri="{FF2B5EF4-FFF2-40B4-BE49-F238E27FC236}">
                <a16:creationId xmlns:a16="http://schemas.microsoft.com/office/drawing/2014/main" id="{DCE64759-2434-4F35-9832-FAFEE9F69885}"/>
              </a:ext>
            </a:extLst>
          </p:cNvPr>
          <p:cNvSpPr>
            <a:spLocks noGrp="1"/>
          </p:cNvSpPr>
          <p:nvPr>
            <p:ph type="sldNum" sz="quarter" idx="19"/>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3457231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Dark">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40B7F21-6889-46F7-BB5C-8FDE3B947050}"/>
              </a:ext>
            </a:extLst>
          </p:cNvPr>
          <p:cNvSpPr/>
          <p:nvPr userDrawn="1"/>
        </p:nvSpPr>
        <p:spPr>
          <a:xfrm>
            <a:off x="2" y="0"/>
            <a:ext cx="9143998" cy="6858000"/>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nchorCtr="0"/>
          <a:lstStyle/>
          <a:p>
            <a:pPr algn="l"/>
            <a:endParaRPr lang="da-DK" sz="750" noProof="0">
              <a:solidFill>
                <a:srgbClr val="2F363B"/>
              </a:solidFill>
            </a:endParaRPr>
          </a:p>
        </p:txBody>
      </p:sp>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1013400" y="2228850"/>
            <a:ext cx="7117200" cy="2823894"/>
          </a:xfrm>
          <a:noFill/>
        </p:spPr>
        <p:txBody>
          <a:bodyPr lIns="0" tIns="0" rIns="0"/>
          <a:lstStyle>
            <a:lvl1pPr>
              <a:defRPr sz="5400" cap="all" baseline="0">
                <a:solidFill>
                  <a:srgbClr val="F8F5E7"/>
                </a:solidFill>
                <a:latin typeface="Impact" panose="020B0806030902050204" pitchFamily="34" charset="0"/>
              </a:defRPr>
            </a:lvl1pPr>
          </a:lstStyle>
          <a:p>
            <a:r>
              <a:rPr lang="da-DK"/>
              <a:t>CLICK TO EDIT MASTER TITLE STYLE</a:t>
            </a:r>
          </a:p>
        </p:txBody>
      </p:sp>
      <p:sp>
        <p:nvSpPr>
          <p:cNvPr id="23" name="Freeform: Shape 13">
            <a:extLst>
              <a:ext uri="{FF2B5EF4-FFF2-40B4-BE49-F238E27FC236}">
                <a16:creationId xmlns:a16="http://schemas.microsoft.com/office/drawing/2014/main" id="{F1E411B7-9176-498E-B9E2-2DE05B18027B}"/>
              </a:ext>
            </a:extLst>
          </p:cNvPr>
          <p:cNvSpPr/>
          <p:nvPr userDrawn="1">
            <p:custDataLst>
              <p:tags r:id="rId1"/>
            </p:custDataLst>
          </p:nvPr>
        </p:nvSpPr>
        <p:spPr bwMode="auto">
          <a:xfrm rot="5400000">
            <a:off x="8646962" y="406758"/>
            <a:ext cx="350168" cy="142743"/>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bg1"/>
          </a:solidFill>
          <a:ln>
            <a:noFill/>
          </a:ln>
        </p:spPr>
        <p:txBody>
          <a:bodyPr vert="horz" wrap="square" lIns="84406" tIns="42203" rIns="84406" bIns="42203" numCol="1" anchor="t" anchorCtr="0" compatLnSpc="1">
            <a:prstTxWarp prst="textNoShape">
              <a:avLst/>
            </a:prstTxWarp>
            <a:noAutofit/>
          </a:bodyPr>
          <a:lstStyle/>
          <a:p>
            <a:endParaRPr lang="da-DK" sz="1662"/>
          </a:p>
        </p:txBody>
      </p:sp>
      <p:sp>
        <p:nvSpPr>
          <p:cNvPr id="10" name="Date_GeneralDate" hidden="1">
            <a:extLst>
              <a:ext uri="{FF2B5EF4-FFF2-40B4-BE49-F238E27FC236}">
                <a16:creationId xmlns:a16="http://schemas.microsoft.com/office/drawing/2014/main" id="{2FE83F57-F57F-4919-AE4C-5C6E98678D7E}"/>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1" name="Text Placeholder 12">
            <a:extLst>
              <a:ext uri="{FF2B5EF4-FFF2-40B4-BE49-F238E27FC236}">
                <a16:creationId xmlns:a16="http://schemas.microsoft.com/office/drawing/2014/main" id="{63D9665C-B7E6-4B35-A0AB-230AA73AD9C2}"/>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FCFBF5"/>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2" name="Text Placeholder 3">
            <a:extLst>
              <a:ext uri="{FF2B5EF4-FFF2-40B4-BE49-F238E27FC236}">
                <a16:creationId xmlns:a16="http://schemas.microsoft.com/office/drawing/2014/main" id="{EE8482A2-DDB8-496F-B351-4888137FB932}"/>
              </a:ext>
            </a:extLst>
          </p:cNvPr>
          <p:cNvSpPr>
            <a:spLocks noGrp="1"/>
          </p:cNvSpPr>
          <p:nvPr>
            <p:ph type="body" sz="quarter" idx="14" hasCustomPrompt="1"/>
          </p:nvPr>
        </p:nvSpPr>
        <p:spPr>
          <a:xfrm>
            <a:off x="6654815" y="6504110"/>
            <a:ext cx="1826642" cy="106116"/>
          </a:xfrm>
        </p:spPr>
        <p:txBody>
          <a:bodyPr rIns="0"/>
          <a:lstStyle>
            <a:lvl1pPr algn="r">
              <a:defRPr sz="600">
                <a:solidFill>
                  <a:srgbClr val="FCFBF5"/>
                </a:solidFill>
              </a:defRPr>
            </a:lvl1pPr>
            <a:lvl2pPr>
              <a:defRPr sz="600"/>
            </a:lvl2pPr>
            <a:lvl3pPr>
              <a:defRPr sz="600"/>
            </a:lvl3pPr>
            <a:lvl4pPr>
              <a:defRPr sz="600"/>
            </a:lvl4pPr>
            <a:lvl5pPr>
              <a:defRPr sz="600"/>
            </a:lvl5pPr>
          </a:lstStyle>
          <a:p>
            <a:pPr lvl="0"/>
            <a:r>
              <a:rPr lang="da-DK"/>
              <a:t>Tracker</a:t>
            </a:r>
          </a:p>
        </p:txBody>
      </p:sp>
      <p:sp>
        <p:nvSpPr>
          <p:cNvPr id="4" name="Slide Number Placeholder 3">
            <a:extLst>
              <a:ext uri="{FF2B5EF4-FFF2-40B4-BE49-F238E27FC236}">
                <a16:creationId xmlns:a16="http://schemas.microsoft.com/office/drawing/2014/main" id="{3948511A-16FF-45B6-B942-4E672461EC48}"/>
              </a:ext>
            </a:extLst>
          </p:cNvPr>
          <p:cNvSpPr>
            <a:spLocks noGrp="1"/>
          </p:cNvSpPr>
          <p:nvPr>
            <p:ph type="sldNum" sz="quarter" idx="16"/>
          </p:nvPr>
        </p:nvSpPr>
        <p:spPr/>
        <p:txBody>
          <a:bodyPr/>
          <a:lstStyle>
            <a:lvl1pPr>
              <a:defRPr>
                <a:solidFill>
                  <a:srgbClr val="F8F5E7"/>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648476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1013400" y="2228850"/>
            <a:ext cx="7117200" cy="2823894"/>
          </a:xfrm>
          <a:noFill/>
        </p:spPr>
        <p:txBody>
          <a:bodyPr lIns="0" tIns="0" rIns="0"/>
          <a:lstStyle>
            <a:lvl1pPr>
              <a:defRPr sz="5400" cap="all" baseline="0">
                <a:solidFill>
                  <a:schemeClr val="tx1"/>
                </a:solidFill>
                <a:latin typeface="Impact" panose="020B0806030902050204" pitchFamily="34" charset="0"/>
              </a:defRPr>
            </a:lvl1pPr>
          </a:lstStyle>
          <a:p>
            <a:r>
              <a:rPr lang="da-DK"/>
              <a:t>CLICK TO EDIT MASTER TITLE STYLE</a:t>
            </a:r>
          </a:p>
        </p:txBody>
      </p:sp>
      <p:sp>
        <p:nvSpPr>
          <p:cNvPr id="7" name="Date_GeneralDate" hidden="1">
            <a:extLst>
              <a:ext uri="{FF2B5EF4-FFF2-40B4-BE49-F238E27FC236}">
                <a16:creationId xmlns:a16="http://schemas.microsoft.com/office/drawing/2014/main" id="{BF234924-99E7-45C1-8DE2-61303ACA7E4C}"/>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8" name="Text Placeholder 12">
            <a:extLst>
              <a:ext uri="{FF2B5EF4-FFF2-40B4-BE49-F238E27FC236}">
                <a16:creationId xmlns:a16="http://schemas.microsoft.com/office/drawing/2014/main" id="{D009E80D-2147-4BBB-8420-968C489EF2BC}"/>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2" name="Text Placeholder 3">
            <a:extLst>
              <a:ext uri="{FF2B5EF4-FFF2-40B4-BE49-F238E27FC236}">
                <a16:creationId xmlns:a16="http://schemas.microsoft.com/office/drawing/2014/main" id="{19322F81-C609-45A5-8EA6-B775EFE3646B}"/>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4" name="Slide Number Placeholder 3">
            <a:extLst>
              <a:ext uri="{FF2B5EF4-FFF2-40B4-BE49-F238E27FC236}">
                <a16:creationId xmlns:a16="http://schemas.microsoft.com/office/drawing/2014/main" id="{A8A3FD5E-C07C-4F93-A097-1EBC8076414A}"/>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4119811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 Background Dark Text">
    <p:spTree>
      <p:nvGrpSpPr>
        <p:cNvPr id="1" name=""/>
        <p:cNvGrpSpPr/>
        <p:nvPr/>
      </p:nvGrpSpPr>
      <p:grpSpPr>
        <a:xfrm>
          <a:off x="0" y="0"/>
          <a:ext cx="0" cy="0"/>
          <a:chOff x="0" y="0"/>
          <a:chExt cx="0" cy="0"/>
        </a:xfrm>
      </p:grpSpPr>
      <p:sp>
        <p:nvSpPr>
          <p:cNvPr id="8" name="Picture Placeholder 13">
            <a:extLst>
              <a:ext uri="{FF2B5EF4-FFF2-40B4-BE49-F238E27FC236}">
                <a16:creationId xmlns:a16="http://schemas.microsoft.com/office/drawing/2014/main" id="{C4CFC32D-2211-4E39-9B91-7B77BE0D1016}"/>
              </a:ext>
            </a:extLst>
          </p:cNvPr>
          <p:cNvSpPr>
            <a:spLocks noGrp="1"/>
          </p:cNvSpPr>
          <p:nvPr>
            <p:ph type="pic" sz="quarter" idx="15"/>
          </p:nvPr>
        </p:nvSpPr>
        <p:spPr>
          <a:xfrm>
            <a:off x="0" y="1"/>
            <a:ext cx="9144001" cy="6858000"/>
          </a:xfrm>
          <a:solidFill>
            <a:srgbClr val="F3F2F0"/>
          </a:solidFill>
        </p:spPr>
        <p:txBody>
          <a:bodyPr vert="horz" lIns="0" tIns="0" rIns="0" bIns="0" rtlCol="0" anchor="ctr" anchorCtr="0">
            <a:noAutofit/>
          </a:bodyPr>
          <a:lstStyle>
            <a:lvl1pPr algn="ctr">
              <a:defRPr lang="da-DK" dirty="0"/>
            </a:lvl1pPr>
          </a:lstStyle>
          <a:p>
            <a:pPr lvl="0" algn="ctr">
              <a:buNone/>
            </a:pPr>
            <a:r>
              <a:rPr lang="da-DK"/>
              <a:t>Click icon to add picture</a:t>
            </a:r>
          </a:p>
        </p:txBody>
      </p:sp>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251313" y="272256"/>
            <a:ext cx="8174391" cy="1912010"/>
          </a:xfrm>
          <a:noFill/>
        </p:spPr>
        <p:txBody>
          <a:bodyPr lIns="0" tIns="0" rIns="0"/>
          <a:lstStyle>
            <a:lvl1pPr>
              <a:defRPr sz="6646" cap="all" baseline="0">
                <a:solidFill>
                  <a:srgbClr val="30373B"/>
                </a:solidFill>
                <a:latin typeface="Impact" panose="020B0806030902050204" pitchFamily="34" charset="0"/>
              </a:defRPr>
            </a:lvl1pPr>
          </a:lstStyle>
          <a:p>
            <a:r>
              <a:rPr lang="da-DK"/>
              <a:t>CLICK TO EDIT MASTER TITLE STYLE</a:t>
            </a:r>
          </a:p>
        </p:txBody>
      </p:sp>
      <p:sp>
        <p:nvSpPr>
          <p:cNvPr id="10" name="Date_GeneralDate" hidden="1">
            <a:extLst>
              <a:ext uri="{FF2B5EF4-FFF2-40B4-BE49-F238E27FC236}">
                <a16:creationId xmlns:a16="http://schemas.microsoft.com/office/drawing/2014/main" id="{C412D601-3FD7-4BFF-9C9F-D4F2C92A6EB6}"/>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9" name="Text Placeholder 12">
            <a:extLst>
              <a:ext uri="{FF2B5EF4-FFF2-40B4-BE49-F238E27FC236}">
                <a16:creationId xmlns:a16="http://schemas.microsoft.com/office/drawing/2014/main" id="{A2E889C3-04FC-42E7-9F88-55398FDB0629}"/>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4" name="Text Placeholder 3">
            <a:extLst>
              <a:ext uri="{FF2B5EF4-FFF2-40B4-BE49-F238E27FC236}">
                <a16:creationId xmlns:a16="http://schemas.microsoft.com/office/drawing/2014/main" id="{B5D1C3CB-C715-45E0-AC5A-42E060646A36}"/>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1" name="Text Placeholder logo">
            <a:extLst>
              <a:ext uri="{FF2B5EF4-FFF2-40B4-BE49-F238E27FC236}">
                <a16:creationId xmlns:a16="http://schemas.microsoft.com/office/drawing/2014/main" id="{B45C3F2C-0AAF-4C1C-82CA-594BFBB854DE}"/>
              </a:ext>
            </a:extLst>
          </p:cNvPr>
          <p:cNvSpPr>
            <a:spLocks noGrp="1"/>
          </p:cNvSpPr>
          <p:nvPr>
            <p:ph type="body" sz="quarter" idx="16" hasCustomPrompt="1"/>
          </p:nvPr>
        </p:nvSpPr>
        <p:spPr>
          <a:xfrm>
            <a:off x="8750526" y="303045"/>
            <a:ext cx="142892" cy="349200"/>
          </a:xfrm>
          <a:blipFill>
            <a:blip r:embed="rId2"/>
            <a:stretch>
              <a:fillRect/>
            </a:stretch>
          </a:blipFill>
        </p:spPr>
        <p:txBody>
          <a:bodyPr/>
          <a:lstStyle>
            <a:lvl1pPr>
              <a:defRPr sz="100">
                <a:noFill/>
              </a:defRPr>
            </a:lvl1pPr>
          </a:lstStyle>
          <a:p>
            <a:pPr lvl="0"/>
            <a:r>
              <a:rPr lang="da-DK"/>
              <a:t>.</a:t>
            </a:r>
          </a:p>
        </p:txBody>
      </p:sp>
      <p:sp>
        <p:nvSpPr>
          <p:cNvPr id="4" name="Slide Number Placeholder 3">
            <a:extLst>
              <a:ext uri="{FF2B5EF4-FFF2-40B4-BE49-F238E27FC236}">
                <a16:creationId xmlns:a16="http://schemas.microsoft.com/office/drawing/2014/main" id="{91989B45-362C-495F-8268-6B2F030FE9D4}"/>
              </a:ext>
            </a:extLst>
          </p:cNvPr>
          <p:cNvSpPr>
            <a:spLocks noGrp="1"/>
          </p:cNvSpPr>
          <p:nvPr>
            <p:ph type="sldNum" sz="quarter" idx="18"/>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92554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 Background">
    <p:spTree>
      <p:nvGrpSpPr>
        <p:cNvPr id="1" name=""/>
        <p:cNvGrpSpPr/>
        <p:nvPr/>
      </p:nvGrpSpPr>
      <p:grpSpPr>
        <a:xfrm>
          <a:off x="0" y="0"/>
          <a:ext cx="0" cy="0"/>
          <a:chOff x="0" y="0"/>
          <a:chExt cx="0" cy="0"/>
        </a:xfrm>
      </p:grpSpPr>
      <p:sp>
        <p:nvSpPr>
          <p:cNvPr id="8" name="Picture Placeholder 13">
            <a:extLst>
              <a:ext uri="{FF2B5EF4-FFF2-40B4-BE49-F238E27FC236}">
                <a16:creationId xmlns:a16="http://schemas.microsoft.com/office/drawing/2014/main" id="{C4CFC32D-2211-4E39-9B91-7B77BE0D1016}"/>
              </a:ext>
            </a:extLst>
          </p:cNvPr>
          <p:cNvSpPr>
            <a:spLocks noGrp="1"/>
          </p:cNvSpPr>
          <p:nvPr>
            <p:ph type="pic" sz="quarter" idx="15"/>
          </p:nvPr>
        </p:nvSpPr>
        <p:spPr>
          <a:xfrm>
            <a:off x="0" y="1"/>
            <a:ext cx="9144001" cy="6858000"/>
          </a:xfrm>
          <a:solidFill>
            <a:srgbClr val="F3F2F0"/>
          </a:solidFill>
        </p:spPr>
        <p:txBody>
          <a:bodyPr vert="horz" lIns="0" tIns="0" rIns="0" bIns="0" rtlCol="0" anchor="ctr" anchorCtr="0">
            <a:noAutofit/>
          </a:bodyPr>
          <a:lstStyle>
            <a:lvl1pPr algn="ctr">
              <a:defRPr lang="da-DK" dirty="0"/>
            </a:lvl1pPr>
          </a:lstStyle>
          <a:p>
            <a:pPr lvl="0" algn="ctr">
              <a:buNone/>
            </a:pPr>
            <a:r>
              <a:rPr lang="da-DK"/>
              <a:t>Click icon to add picture</a:t>
            </a:r>
          </a:p>
        </p:txBody>
      </p:sp>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251313" y="272256"/>
            <a:ext cx="8174391" cy="1912010"/>
          </a:xfrm>
          <a:noFill/>
        </p:spPr>
        <p:txBody>
          <a:bodyPr lIns="0" tIns="0" rIns="0"/>
          <a:lstStyle>
            <a:lvl1pPr>
              <a:defRPr sz="6646" cap="all" baseline="0">
                <a:solidFill>
                  <a:schemeClr val="bg1"/>
                </a:solidFill>
                <a:latin typeface="Impact" panose="020B0806030902050204" pitchFamily="34" charset="0"/>
              </a:defRPr>
            </a:lvl1pPr>
          </a:lstStyle>
          <a:p>
            <a:r>
              <a:rPr lang="da-DK"/>
              <a:t>CLICK TO EDIT MASTER TITLE STYLE</a:t>
            </a:r>
          </a:p>
        </p:txBody>
      </p:sp>
      <p:sp>
        <p:nvSpPr>
          <p:cNvPr id="10" name="Date_GeneralDate" hidden="1">
            <a:extLst>
              <a:ext uri="{FF2B5EF4-FFF2-40B4-BE49-F238E27FC236}">
                <a16:creationId xmlns:a16="http://schemas.microsoft.com/office/drawing/2014/main" id="{0FAE2377-E2B0-4140-9CCB-1BC962EBB0E6}"/>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9" name="Text Placeholder 12">
            <a:extLst>
              <a:ext uri="{FF2B5EF4-FFF2-40B4-BE49-F238E27FC236}">
                <a16:creationId xmlns:a16="http://schemas.microsoft.com/office/drawing/2014/main" id="{B0E5CE65-C7F7-444F-9BE6-F6063981EECD}"/>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4" name="Text Placeholder 3">
            <a:extLst>
              <a:ext uri="{FF2B5EF4-FFF2-40B4-BE49-F238E27FC236}">
                <a16:creationId xmlns:a16="http://schemas.microsoft.com/office/drawing/2014/main" id="{F4EBC252-42D9-4131-8D13-05AF660AEB4E}"/>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11" name="Text Placeholder logo">
            <a:extLst>
              <a:ext uri="{FF2B5EF4-FFF2-40B4-BE49-F238E27FC236}">
                <a16:creationId xmlns:a16="http://schemas.microsoft.com/office/drawing/2014/main" id="{5A77E448-2BE3-48C5-ABC0-77F3894ECCFD}"/>
              </a:ext>
            </a:extLst>
          </p:cNvPr>
          <p:cNvSpPr>
            <a:spLocks noGrp="1"/>
          </p:cNvSpPr>
          <p:nvPr>
            <p:ph type="body" sz="quarter" idx="16" hasCustomPrompt="1"/>
          </p:nvPr>
        </p:nvSpPr>
        <p:spPr>
          <a:xfrm>
            <a:off x="8750526" y="303045"/>
            <a:ext cx="142892" cy="349200"/>
          </a:xfrm>
          <a:blipFill>
            <a:blip r:embed="rId2"/>
            <a:stretch>
              <a:fillRect/>
            </a:stretch>
          </a:blipFill>
        </p:spPr>
        <p:txBody>
          <a:bodyPr/>
          <a:lstStyle>
            <a:lvl1pPr>
              <a:defRPr sz="100">
                <a:noFill/>
              </a:defRPr>
            </a:lvl1pPr>
          </a:lstStyle>
          <a:p>
            <a:pPr lvl="0"/>
            <a:r>
              <a:rPr lang="da-DK"/>
              <a:t>.</a:t>
            </a:r>
          </a:p>
        </p:txBody>
      </p:sp>
      <p:sp>
        <p:nvSpPr>
          <p:cNvPr id="3" name="Footer Placeholder 2" hidden="1">
            <a:extLst>
              <a:ext uri="{FF2B5EF4-FFF2-40B4-BE49-F238E27FC236}">
                <a16:creationId xmlns:a16="http://schemas.microsoft.com/office/drawing/2014/main" id="{69F993DF-A131-47DA-A899-6B31FEA20EA7}"/>
              </a:ext>
            </a:extLst>
          </p:cNvPr>
          <p:cNvSpPr>
            <a:spLocks noGrp="1"/>
          </p:cNvSpPr>
          <p:nvPr>
            <p:ph type="ftr" sz="quarter" idx="17"/>
          </p:nvPr>
        </p:nvSpPr>
        <p:spPr/>
        <p:txBody>
          <a:bodyPr/>
          <a:lstStyle/>
          <a:p>
            <a:endParaRPr lang="da-DK"/>
          </a:p>
        </p:txBody>
      </p:sp>
      <p:sp>
        <p:nvSpPr>
          <p:cNvPr id="4" name="Slide Number Placeholder 3">
            <a:extLst>
              <a:ext uri="{FF2B5EF4-FFF2-40B4-BE49-F238E27FC236}">
                <a16:creationId xmlns:a16="http://schemas.microsoft.com/office/drawing/2014/main" id="{6649B62B-4750-405D-8758-4F7AF1C686AA}"/>
              </a:ext>
            </a:extLst>
          </p:cNvPr>
          <p:cNvSpPr>
            <a:spLocks noGrp="1"/>
          </p:cNvSpPr>
          <p:nvPr>
            <p:ph type="sldNum" sz="quarter" idx="18"/>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344286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ation Dark">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E631477-0A36-48AD-8A86-6B33026F533B}"/>
              </a:ext>
            </a:extLst>
          </p:cNvPr>
          <p:cNvSpPr/>
          <p:nvPr userDrawn="1"/>
        </p:nvSpPr>
        <p:spPr>
          <a:xfrm>
            <a:off x="0" y="269875"/>
            <a:ext cx="6075570" cy="5148792"/>
          </a:xfrm>
          <a:prstGeom prst="rect">
            <a:avLst/>
          </a:prstGeom>
          <a:solidFill>
            <a:srgbClr val="3037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46" noProof="0"/>
          </a:p>
        </p:txBody>
      </p:sp>
      <p:sp>
        <p:nvSpPr>
          <p:cNvPr id="13" name="Text Placeholder 13">
            <a:extLst>
              <a:ext uri="{FF2B5EF4-FFF2-40B4-BE49-F238E27FC236}">
                <a16:creationId xmlns:a16="http://schemas.microsoft.com/office/drawing/2014/main" id="{38767680-C6C8-4860-8F6A-B5FF8B3542D0}"/>
              </a:ext>
            </a:extLst>
          </p:cNvPr>
          <p:cNvSpPr>
            <a:spLocks noGrp="1"/>
          </p:cNvSpPr>
          <p:nvPr>
            <p:ph type="body" sz="quarter" idx="16"/>
          </p:nvPr>
        </p:nvSpPr>
        <p:spPr>
          <a:xfrm>
            <a:off x="250382" y="2092693"/>
            <a:ext cx="4201456" cy="2249014"/>
          </a:xfrm>
        </p:spPr>
        <p:txBody>
          <a:bodyPr/>
          <a:lstStyle>
            <a:lvl1pPr marL="0" indent="0">
              <a:spcBef>
                <a:spcPts val="0"/>
              </a:spcBef>
              <a:buFont typeface="Arial" panose="020B0604020202020204" pitchFamily="34" charset="0"/>
              <a:buChar char="​"/>
              <a:defRPr sz="2585">
                <a:solidFill>
                  <a:srgbClr val="F8F5E7"/>
                </a:solidFill>
              </a:defRPr>
            </a:lvl1pPr>
          </a:lstStyle>
          <a:p>
            <a:pPr lvl="0"/>
            <a:r>
              <a:rPr lang="da-DK"/>
              <a:t>Edit Master text styles</a:t>
            </a:r>
          </a:p>
        </p:txBody>
      </p:sp>
      <p:sp>
        <p:nvSpPr>
          <p:cNvPr id="4" name="Rectangle 3">
            <a:extLst>
              <a:ext uri="{FF2B5EF4-FFF2-40B4-BE49-F238E27FC236}">
                <a16:creationId xmlns:a16="http://schemas.microsoft.com/office/drawing/2014/main" id="{2B2C56D2-784D-4432-A938-43418D6C4B85}"/>
              </a:ext>
            </a:extLst>
          </p:cNvPr>
          <p:cNvSpPr/>
          <p:nvPr userDrawn="1"/>
        </p:nvSpPr>
        <p:spPr>
          <a:xfrm>
            <a:off x="0" y="1"/>
            <a:ext cx="4445977" cy="1296785"/>
          </a:xfrm>
          <a:prstGeom prst="rect">
            <a:avLst/>
          </a:prstGeom>
          <a:solidFill>
            <a:srgbClr val="E0BCA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algn="l">
              <a:buNone/>
            </a:pPr>
            <a:endParaRPr lang="da-DK" sz="923" noProof="0">
              <a:solidFill>
                <a:srgbClr val="2F363B"/>
              </a:solidFill>
            </a:endParaRPr>
          </a:p>
        </p:txBody>
      </p:sp>
      <p:sp>
        <p:nvSpPr>
          <p:cNvPr id="18" name="Text Placeholder 13">
            <a:extLst>
              <a:ext uri="{FF2B5EF4-FFF2-40B4-BE49-F238E27FC236}">
                <a16:creationId xmlns:a16="http://schemas.microsoft.com/office/drawing/2014/main" id="{E95E46A2-7940-4BAC-9759-942AABFED48A}"/>
              </a:ext>
            </a:extLst>
          </p:cNvPr>
          <p:cNvSpPr>
            <a:spLocks noGrp="1"/>
          </p:cNvSpPr>
          <p:nvPr>
            <p:ph type="body" sz="quarter" idx="17" hasCustomPrompt="1"/>
          </p:nvPr>
        </p:nvSpPr>
        <p:spPr>
          <a:xfrm>
            <a:off x="249116" y="4611581"/>
            <a:ext cx="4201456" cy="555412"/>
          </a:xfrm>
        </p:spPr>
        <p:txBody>
          <a:bodyPr anchor="b" anchorCtr="0"/>
          <a:lstStyle>
            <a:lvl1pPr marL="0" indent="0">
              <a:spcBef>
                <a:spcPts val="0"/>
              </a:spcBef>
              <a:buFont typeface="Arial" panose="020B0604020202020204" pitchFamily="34" charset="0"/>
              <a:buChar char="​"/>
              <a:defRPr sz="1015">
                <a:solidFill>
                  <a:srgbClr val="F8F5E7"/>
                </a:solidFill>
              </a:defRPr>
            </a:lvl1pPr>
          </a:lstStyle>
          <a:p>
            <a:pPr lvl="0"/>
            <a:r>
              <a:rPr lang="da-DK"/>
              <a:t>Name</a:t>
            </a:r>
          </a:p>
        </p:txBody>
      </p:sp>
      <p:sp>
        <p:nvSpPr>
          <p:cNvPr id="3" name="TextBox 2">
            <a:extLst>
              <a:ext uri="{FF2B5EF4-FFF2-40B4-BE49-F238E27FC236}">
                <a16:creationId xmlns:a16="http://schemas.microsoft.com/office/drawing/2014/main" id="{8EE78B38-E2FC-4D90-ABDF-B7665592C118}"/>
              </a:ext>
            </a:extLst>
          </p:cNvPr>
          <p:cNvSpPr txBox="1"/>
          <p:nvPr userDrawn="1"/>
        </p:nvSpPr>
        <p:spPr>
          <a:xfrm>
            <a:off x="227085" y="490565"/>
            <a:ext cx="1870515" cy="1363771"/>
          </a:xfrm>
          <a:prstGeom prst="rect">
            <a:avLst/>
          </a:prstGeom>
          <a:noFill/>
          <a:ln w="6350">
            <a:noFill/>
            <a:prstDash val="sysDash"/>
          </a:ln>
        </p:spPr>
        <p:txBody>
          <a:bodyPr wrap="square" lIns="0" tIns="0" rIns="0" bIns="0" rtlCol="0">
            <a:spAutoFit/>
          </a:bodyPr>
          <a:lstStyle/>
          <a:p>
            <a:pPr algn="l">
              <a:buFontTx/>
              <a:buNone/>
            </a:pPr>
            <a:r>
              <a:rPr lang="da-DK" sz="8862">
                <a:solidFill>
                  <a:srgbClr val="F8F5E7"/>
                </a:solidFill>
                <a:latin typeface="Impact" panose="020B0806030902050204" pitchFamily="34" charset="0"/>
              </a:rPr>
              <a:t>«</a:t>
            </a:r>
          </a:p>
        </p:txBody>
      </p:sp>
      <p:sp>
        <p:nvSpPr>
          <p:cNvPr id="14" name="Date_GeneralDate" hidden="1">
            <a:extLst>
              <a:ext uri="{FF2B5EF4-FFF2-40B4-BE49-F238E27FC236}">
                <a16:creationId xmlns:a16="http://schemas.microsoft.com/office/drawing/2014/main" id="{7DC1B9B1-594B-4FB6-921D-AD66151CE698}"/>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5" name="Text Placeholder 12">
            <a:extLst>
              <a:ext uri="{FF2B5EF4-FFF2-40B4-BE49-F238E27FC236}">
                <a16:creationId xmlns:a16="http://schemas.microsoft.com/office/drawing/2014/main" id="{824DB0EB-3C91-4347-ADB0-707482766440}"/>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21" name="Text Placeholder 3">
            <a:extLst>
              <a:ext uri="{FF2B5EF4-FFF2-40B4-BE49-F238E27FC236}">
                <a16:creationId xmlns:a16="http://schemas.microsoft.com/office/drawing/2014/main" id="{6ECB54CD-9A70-47F7-9C35-1CCC5948569B}"/>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5" name="Slide Number Placeholder 4">
            <a:extLst>
              <a:ext uri="{FF2B5EF4-FFF2-40B4-BE49-F238E27FC236}">
                <a16:creationId xmlns:a16="http://schemas.microsoft.com/office/drawing/2014/main" id="{F54DBE1D-B808-4F9C-95DF-F47CE31FB0C1}"/>
              </a:ext>
            </a:extLst>
          </p:cNvPr>
          <p:cNvSpPr>
            <a:spLocks noGrp="1"/>
          </p:cNvSpPr>
          <p:nvPr>
            <p:ph type="sldNum" sz="quarter" idx="19"/>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4066375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otation">
    <p:spTree>
      <p:nvGrpSpPr>
        <p:cNvPr id="1" name=""/>
        <p:cNvGrpSpPr/>
        <p:nvPr/>
      </p:nvGrpSpPr>
      <p:grpSpPr>
        <a:xfrm>
          <a:off x="0" y="0"/>
          <a:ext cx="0" cy="0"/>
          <a:chOff x="0" y="0"/>
          <a:chExt cx="0" cy="0"/>
        </a:xfrm>
      </p:grpSpPr>
      <p:sp>
        <p:nvSpPr>
          <p:cNvPr id="13" name="Text Placeholder 13">
            <a:extLst>
              <a:ext uri="{FF2B5EF4-FFF2-40B4-BE49-F238E27FC236}">
                <a16:creationId xmlns:a16="http://schemas.microsoft.com/office/drawing/2014/main" id="{38767680-C6C8-4860-8F6A-B5FF8B3542D0}"/>
              </a:ext>
            </a:extLst>
          </p:cNvPr>
          <p:cNvSpPr>
            <a:spLocks noGrp="1"/>
          </p:cNvSpPr>
          <p:nvPr>
            <p:ph type="body" sz="quarter" idx="16"/>
          </p:nvPr>
        </p:nvSpPr>
        <p:spPr>
          <a:xfrm>
            <a:off x="250382" y="2092693"/>
            <a:ext cx="4201456" cy="2249014"/>
          </a:xfrm>
        </p:spPr>
        <p:txBody>
          <a:bodyPr/>
          <a:lstStyle>
            <a:lvl1pPr marL="0" indent="0">
              <a:spcBef>
                <a:spcPts val="0"/>
              </a:spcBef>
              <a:buFont typeface="Arial" panose="020B0604020202020204" pitchFamily="34" charset="0"/>
              <a:buChar char="​"/>
              <a:defRPr sz="2585">
                <a:solidFill>
                  <a:srgbClr val="30373B"/>
                </a:solidFill>
              </a:defRPr>
            </a:lvl1pPr>
          </a:lstStyle>
          <a:p>
            <a:pPr lvl="0"/>
            <a:r>
              <a:rPr lang="da-DK"/>
              <a:t>Edit Master text styles</a:t>
            </a:r>
          </a:p>
        </p:txBody>
      </p:sp>
      <p:sp>
        <p:nvSpPr>
          <p:cNvPr id="4" name="Rectangle 3">
            <a:extLst>
              <a:ext uri="{FF2B5EF4-FFF2-40B4-BE49-F238E27FC236}">
                <a16:creationId xmlns:a16="http://schemas.microsoft.com/office/drawing/2014/main" id="{2B2C56D2-784D-4432-A938-43418D6C4B85}"/>
              </a:ext>
            </a:extLst>
          </p:cNvPr>
          <p:cNvSpPr/>
          <p:nvPr userDrawn="1"/>
        </p:nvSpPr>
        <p:spPr>
          <a:xfrm>
            <a:off x="0" y="1"/>
            <a:ext cx="4445977" cy="1296785"/>
          </a:xfrm>
          <a:prstGeom prst="rect">
            <a:avLst/>
          </a:prstGeom>
          <a:solidFill>
            <a:srgbClr val="F8F5E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algn="l">
              <a:buNone/>
            </a:pPr>
            <a:endParaRPr lang="da-DK" sz="923" noProof="0">
              <a:solidFill>
                <a:srgbClr val="2F363B"/>
              </a:solidFill>
            </a:endParaRPr>
          </a:p>
        </p:txBody>
      </p:sp>
      <p:sp>
        <p:nvSpPr>
          <p:cNvPr id="18" name="Text Placeholder 13">
            <a:extLst>
              <a:ext uri="{FF2B5EF4-FFF2-40B4-BE49-F238E27FC236}">
                <a16:creationId xmlns:a16="http://schemas.microsoft.com/office/drawing/2014/main" id="{E95E46A2-7940-4BAC-9759-942AABFED48A}"/>
              </a:ext>
            </a:extLst>
          </p:cNvPr>
          <p:cNvSpPr>
            <a:spLocks noGrp="1"/>
          </p:cNvSpPr>
          <p:nvPr>
            <p:ph type="body" sz="quarter" idx="17" hasCustomPrompt="1"/>
          </p:nvPr>
        </p:nvSpPr>
        <p:spPr>
          <a:xfrm>
            <a:off x="249116" y="4611581"/>
            <a:ext cx="4201456" cy="555412"/>
          </a:xfrm>
        </p:spPr>
        <p:txBody>
          <a:bodyPr anchor="b" anchorCtr="0"/>
          <a:lstStyle>
            <a:lvl1pPr marL="0" indent="0">
              <a:spcBef>
                <a:spcPts val="0"/>
              </a:spcBef>
              <a:buFont typeface="Arial" panose="020B0604020202020204" pitchFamily="34" charset="0"/>
              <a:buChar char="​"/>
              <a:defRPr sz="1015">
                <a:solidFill>
                  <a:srgbClr val="30373B"/>
                </a:solidFill>
              </a:defRPr>
            </a:lvl1pPr>
          </a:lstStyle>
          <a:p>
            <a:pPr lvl="0"/>
            <a:r>
              <a:rPr lang="da-DK"/>
              <a:t>Name</a:t>
            </a:r>
          </a:p>
        </p:txBody>
      </p:sp>
      <p:sp>
        <p:nvSpPr>
          <p:cNvPr id="3" name="TextBox 2">
            <a:extLst>
              <a:ext uri="{FF2B5EF4-FFF2-40B4-BE49-F238E27FC236}">
                <a16:creationId xmlns:a16="http://schemas.microsoft.com/office/drawing/2014/main" id="{8EE78B38-E2FC-4D90-ABDF-B7665592C118}"/>
              </a:ext>
            </a:extLst>
          </p:cNvPr>
          <p:cNvSpPr txBox="1"/>
          <p:nvPr userDrawn="1"/>
        </p:nvSpPr>
        <p:spPr>
          <a:xfrm>
            <a:off x="227085" y="490565"/>
            <a:ext cx="1870515" cy="1363771"/>
          </a:xfrm>
          <a:prstGeom prst="rect">
            <a:avLst/>
          </a:prstGeom>
          <a:noFill/>
          <a:ln w="6350">
            <a:noFill/>
            <a:prstDash val="sysDash"/>
          </a:ln>
        </p:spPr>
        <p:txBody>
          <a:bodyPr wrap="square" lIns="0" tIns="0" rIns="0" bIns="0" rtlCol="0">
            <a:spAutoFit/>
          </a:bodyPr>
          <a:lstStyle/>
          <a:p>
            <a:pPr algn="l">
              <a:buFontTx/>
              <a:buNone/>
            </a:pPr>
            <a:r>
              <a:rPr lang="da-DK" sz="8862">
                <a:solidFill>
                  <a:srgbClr val="30373B"/>
                </a:solidFill>
                <a:latin typeface="Impact" panose="020B0806030902050204" pitchFamily="34" charset="0"/>
              </a:rPr>
              <a:t>«</a:t>
            </a:r>
          </a:p>
        </p:txBody>
      </p:sp>
      <p:sp>
        <p:nvSpPr>
          <p:cNvPr id="14" name="Date_GeneralDate" hidden="1">
            <a:extLst>
              <a:ext uri="{FF2B5EF4-FFF2-40B4-BE49-F238E27FC236}">
                <a16:creationId xmlns:a16="http://schemas.microsoft.com/office/drawing/2014/main" id="{C23B4461-AF34-409D-AC22-EE0AAD2CC060}"/>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1" name="Text Placeholder 12">
            <a:extLst>
              <a:ext uri="{FF2B5EF4-FFF2-40B4-BE49-F238E27FC236}">
                <a16:creationId xmlns:a16="http://schemas.microsoft.com/office/drawing/2014/main" id="{1844B6E8-8E61-4F73-8ECC-3DB3BF126AC8}"/>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5" name="Text Placeholder 3">
            <a:extLst>
              <a:ext uri="{FF2B5EF4-FFF2-40B4-BE49-F238E27FC236}">
                <a16:creationId xmlns:a16="http://schemas.microsoft.com/office/drawing/2014/main" id="{FF55D92C-F4F7-4894-8533-8FB723220318}"/>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5" name="Slide Number Placeholder 4">
            <a:extLst>
              <a:ext uri="{FF2B5EF4-FFF2-40B4-BE49-F238E27FC236}">
                <a16:creationId xmlns:a16="http://schemas.microsoft.com/office/drawing/2014/main" id="{F1FD7064-E991-459F-9E03-93947AAF70A8}"/>
              </a:ext>
            </a:extLst>
          </p:cNvPr>
          <p:cNvSpPr>
            <a:spLocks noGrp="1"/>
          </p:cNvSpPr>
          <p:nvPr>
            <p:ph type="sldNum" sz="quarter" idx="19"/>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03253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8" name="Date_GeneralDate" hidden="1">
            <a:extLst>
              <a:ext uri="{FF2B5EF4-FFF2-40B4-BE49-F238E27FC236}">
                <a16:creationId xmlns:a16="http://schemas.microsoft.com/office/drawing/2014/main" id="{BE0C3A60-B315-4CCC-948B-3A28762D247E}"/>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7" name="Text Placeholder 12">
            <a:extLst>
              <a:ext uri="{FF2B5EF4-FFF2-40B4-BE49-F238E27FC236}">
                <a16:creationId xmlns:a16="http://schemas.microsoft.com/office/drawing/2014/main" id="{8D6D355F-17E4-46C1-8D5B-B53A3E5021ED}"/>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0" name="Text Placeholder 3">
            <a:extLst>
              <a:ext uri="{FF2B5EF4-FFF2-40B4-BE49-F238E27FC236}">
                <a16:creationId xmlns:a16="http://schemas.microsoft.com/office/drawing/2014/main" id="{F613617F-0213-43C0-8BC6-F7C548D77CD0}"/>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3" name="Slide Number Placeholder 2">
            <a:extLst>
              <a:ext uri="{FF2B5EF4-FFF2-40B4-BE49-F238E27FC236}">
                <a16:creationId xmlns:a16="http://schemas.microsoft.com/office/drawing/2014/main" id="{148AFCF3-5C90-4343-BEA2-DFD9EF9DB62A}"/>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3564616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slide">
    <p:bg>
      <p:bgPr>
        <a:solidFill>
          <a:schemeClr val="bg1"/>
        </a:solidFill>
        <a:effectLst/>
      </p:bgPr>
    </p:bg>
    <p:spTree>
      <p:nvGrpSpPr>
        <p:cNvPr id="1" name=""/>
        <p:cNvGrpSpPr/>
        <p:nvPr/>
      </p:nvGrpSpPr>
      <p:grpSpPr>
        <a:xfrm>
          <a:off x="0" y="0"/>
          <a:ext cx="0" cy="0"/>
          <a:chOff x="0" y="0"/>
          <a:chExt cx="0" cy="0"/>
        </a:xfrm>
      </p:grpSpPr>
      <p:sp>
        <p:nvSpPr>
          <p:cNvPr id="32" name="Rektangel 31"/>
          <p:cNvSpPr/>
          <p:nvPr userDrawn="1"/>
        </p:nvSpPr>
        <p:spPr>
          <a:xfrm>
            <a:off x="0" y="3869559"/>
            <a:ext cx="9144000" cy="53503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da-DK">
              <a:solidFill>
                <a:srgbClr val="8DC26A"/>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Rektangel 25"/>
          <p:cNvSpPr/>
          <p:nvPr userDrawn="1"/>
        </p:nvSpPr>
        <p:spPr>
          <a:xfrm>
            <a:off x="-1" y="2574288"/>
            <a:ext cx="9144000" cy="127299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da-DK">
              <a:solidFill>
                <a:srgbClr val="8DC26A"/>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Titel 23"/>
          <p:cNvSpPr>
            <a:spLocks noGrp="1"/>
          </p:cNvSpPr>
          <p:nvPr>
            <p:ph type="title" hasCustomPrompt="1"/>
          </p:nvPr>
        </p:nvSpPr>
        <p:spPr>
          <a:xfrm>
            <a:off x="628649" y="2831740"/>
            <a:ext cx="7886700" cy="984321"/>
          </a:xfrm>
          <a:prstGeom prst="rect">
            <a:avLst/>
          </a:prstGeom>
        </p:spPr>
        <p:txBody>
          <a:bodyPr anchor="ctr"/>
          <a:lstStyle>
            <a:lvl1pPr algn="l">
              <a:defRPr sz="3200" b="1" cap="all" spc="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da-DK"/>
              <a:t>TITEL PÅ KAPITEL</a:t>
            </a:r>
          </a:p>
        </p:txBody>
      </p:sp>
      <p:sp>
        <p:nvSpPr>
          <p:cNvPr id="10" name="Pladsholder til diasnummer 5"/>
          <p:cNvSpPr txBox="1">
            <a:spLocks/>
          </p:cNvSpPr>
          <p:nvPr userDrawn="1"/>
        </p:nvSpPr>
        <p:spPr>
          <a:xfrm>
            <a:off x="4124325" y="6248194"/>
            <a:ext cx="990600" cy="297265"/>
          </a:xfrm>
          <a:prstGeom prst="rect">
            <a:avLst/>
          </a:prstGeom>
        </p:spPr>
        <p:txBody>
          <a:bodyPr/>
          <a:lstStyle>
            <a:defPPr>
              <a:defRPr lang="da-DK"/>
            </a:defPPr>
            <a:lvl1pPr marL="0" algn="r" defTabSz="914400" rtl="0" eaLnBrk="1" latinLnBrk="0" hangingPunct="1">
              <a:defRPr sz="1400" kern="1200">
                <a:solidFill>
                  <a:schemeClr val="accent6"/>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200" b="0">
                <a:solidFill>
                  <a:schemeClr val="tx1"/>
                </a:solidFill>
                <a:latin typeface="Verdana" panose="020B0604030504040204" pitchFamily="34" charset="0"/>
                <a:ea typeface="Verdana" panose="020B0604030504040204" pitchFamily="34" charset="0"/>
                <a:cs typeface="Verdana" panose="020B0604030504040204" pitchFamily="34" charset="0"/>
              </a:rPr>
              <a:t>Side </a:t>
            </a:r>
            <a:fld id="{C7AC859A-AE19-4543-AC75-3D2F5ABF6574}" type="slidenum">
              <a:rPr lang="da-DK" sz="1200" b="0" smtClean="0">
                <a:solidFill>
                  <a:schemeClr val="tx1"/>
                </a:solidFill>
                <a:latin typeface="Verdana" panose="020B0604030504040204" pitchFamily="34" charset="0"/>
                <a:ea typeface="Verdana" panose="020B0604030504040204" pitchFamily="34" charset="0"/>
                <a:cs typeface="Verdana" panose="020B0604030504040204" pitchFamily="34" charset="0"/>
              </a:rPr>
              <a:pPr algn="ctr"/>
              <a:t>‹nr.›</a:t>
            </a:fld>
            <a:endParaRPr lang="da-DK" sz="1200" b="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33" name="Rektangel 32"/>
          <p:cNvSpPr/>
          <p:nvPr userDrawn="1"/>
        </p:nvSpPr>
        <p:spPr>
          <a:xfrm>
            <a:off x="-1" y="4445540"/>
            <a:ext cx="9144000" cy="22859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da-DK">
              <a:solidFill>
                <a:srgbClr val="8DC26A"/>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567183666"/>
      </p:ext>
    </p:extLst>
  </p:cSld>
  <p:clrMapOvr>
    <a:masterClrMapping/>
  </p:clrMapOvr>
  <p:transition spd="slow">
    <p:push dir="u"/>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Grid">
    <p:spTree>
      <p:nvGrpSpPr>
        <p:cNvPr id="1" name=""/>
        <p:cNvGrpSpPr/>
        <p:nvPr/>
      </p:nvGrpSpPr>
      <p:grpSpPr>
        <a:xfrm>
          <a:off x="0" y="0"/>
          <a:ext cx="0" cy="0"/>
          <a:chOff x="0" y="0"/>
          <a:chExt cx="0" cy="0"/>
        </a:xfrm>
      </p:grpSpPr>
      <p:sp>
        <p:nvSpPr>
          <p:cNvPr id="7" name="Freeform: Shape 4">
            <a:extLst>
              <a:ext uri="{FF2B5EF4-FFF2-40B4-BE49-F238E27FC236}">
                <a16:creationId xmlns:a16="http://schemas.microsoft.com/office/drawing/2014/main" id="{14CC84DE-7E96-42BC-842C-0FB1DFA971FA}"/>
              </a:ext>
            </a:extLst>
          </p:cNvPr>
          <p:cNvSpPr/>
          <p:nvPr userDrawn="1"/>
        </p:nvSpPr>
        <p:spPr>
          <a:xfrm>
            <a:off x="249115" y="280736"/>
            <a:ext cx="8644304" cy="6327775"/>
          </a:xfrm>
          <a:custGeom>
            <a:avLst/>
            <a:gdLst>
              <a:gd name="connsiteX0" fmla="*/ 2157895 w 9586368"/>
              <a:gd name="connsiteY0" fmla="*/ 6461491 h 6479439"/>
              <a:gd name="connsiteX1" fmla="*/ 2167802 w 9586368"/>
              <a:gd name="connsiteY1" fmla="*/ 6461491 h 6479439"/>
              <a:gd name="connsiteX2" fmla="*/ 2171820 w 9586368"/>
              <a:gd name="connsiteY2" fmla="*/ 6465529 h 6479439"/>
              <a:gd name="connsiteX3" fmla="*/ 2171820 w 9586368"/>
              <a:gd name="connsiteY3" fmla="*/ 6475400 h 6479439"/>
              <a:gd name="connsiteX4" fmla="*/ 2167802 w 9586368"/>
              <a:gd name="connsiteY4" fmla="*/ 6479439 h 6479439"/>
              <a:gd name="connsiteX5" fmla="*/ 2157895 w 9586368"/>
              <a:gd name="connsiteY5" fmla="*/ 6479439 h 6479439"/>
              <a:gd name="connsiteX6" fmla="*/ 2153871 w 9586368"/>
              <a:gd name="connsiteY6" fmla="*/ 6475400 h 6479439"/>
              <a:gd name="connsiteX7" fmla="*/ 2153871 w 9586368"/>
              <a:gd name="connsiteY7" fmla="*/ 6465529 h 6479439"/>
              <a:gd name="connsiteX8" fmla="*/ 1918509 w 9586368"/>
              <a:gd name="connsiteY8" fmla="*/ 6461491 h 6479439"/>
              <a:gd name="connsiteX9" fmla="*/ 1928419 w 9586368"/>
              <a:gd name="connsiteY9" fmla="*/ 6461491 h 6479439"/>
              <a:gd name="connsiteX10" fmla="*/ 1932437 w 9586368"/>
              <a:gd name="connsiteY10" fmla="*/ 6465529 h 6479439"/>
              <a:gd name="connsiteX11" fmla="*/ 1932437 w 9586368"/>
              <a:gd name="connsiteY11" fmla="*/ 6475400 h 6479439"/>
              <a:gd name="connsiteX12" fmla="*/ 1928419 w 9586368"/>
              <a:gd name="connsiteY12" fmla="*/ 6479439 h 6479439"/>
              <a:gd name="connsiteX13" fmla="*/ 1918509 w 9586368"/>
              <a:gd name="connsiteY13" fmla="*/ 6479439 h 6479439"/>
              <a:gd name="connsiteX14" fmla="*/ 1914490 w 9586368"/>
              <a:gd name="connsiteY14" fmla="*/ 6475400 h 6479439"/>
              <a:gd name="connsiteX15" fmla="*/ 1914490 w 9586368"/>
              <a:gd name="connsiteY15" fmla="*/ 6465529 h 6479439"/>
              <a:gd name="connsiteX16" fmla="*/ 1679200 w 9586368"/>
              <a:gd name="connsiteY16" fmla="*/ 6461491 h 6479439"/>
              <a:gd name="connsiteX17" fmla="*/ 1689110 w 9586368"/>
              <a:gd name="connsiteY17" fmla="*/ 6461491 h 6479439"/>
              <a:gd name="connsiteX18" fmla="*/ 1693128 w 9586368"/>
              <a:gd name="connsiteY18" fmla="*/ 6465529 h 6479439"/>
              <a:gd name="connsiteX19" fmla="*/ 1693128 w 9586368"/>
              <a:gd name="connsiteY19" fmla="*/ 6475400 h 6479439"/>
              <a:gd name="connsiteX20" fmla="*/ 1689110 w 9586368"/>
              <a:gd name="connsiteY20" fmla="*/ 6479439 h 6479439"/>
              <a:gd name="connsiteX21" fmla="*/ 1679200 w 9586368"/>
              <a:gd name="connsiteY21" fmla="*/ 6479439 h 6479439"/>
              <a:gd name="connsiteX22" fmla="*/ 1675180 w 9586368"/>
              <a:gd name="connsiteY22" fmla="*/ 6475400 h 6479439"/>
              <a:gd name="connsiteX23" fmla="*/ 1675180 w 9586368"/>
              <a:gd name="connsiteY23" fmla="*/ 6465529 h 6479439"/>
              <a:gd name="connsiteX24" fmla="*/ 1439885 w 9586368"/>
              <a:gd name="connsiteY24" fmla="*/ 6461491 h 6479439"/>
              <a:gd name="connsiteX25" fmla="*/ 1449795 w 9586368"/>
              <a:gd name="connsiteY25" fmla="*/ 6461491 h 6479439"/>
              <a:gd name="connsiteX26" fmla="*/ 1453813 w 9586368"/>
              <a:gd name="connsiteY26" fmla="*/ 6465529 h 6479439"/>
              <a:gd name="connsiteX27" fmla="*/ 1453813 w 9586368"/>
              <a:gd name="connsiteY27" fmla="*/ 6475400 h 6479439"/>
              <a:gd name="connsiteX28" fmla="*/ 1449795 w 9586368"/>
              <a:gd name="connsiteY28" fmla="*/ 6479439 h 6479439"/>
              <a:gd name="connsiteX29" fmla="*/ 1439885 w 9586368"/>
              <a:gd name="connsiteY29" fmla="*/ 6479439 h 6479439"/>
              <a:gd name="connsiteX30" fmla="*/ 1435865 w 9586368"/>
              <a:gd name="connsiteY30" fmla="*/ 6475400 h 6479439"/>
              <a:gd name="connsiteX31" fmla="*/ 1435865 w 9586368"/>
              <a:gd name="connsiteY31" fmla="*/ 6465529 h 6479439"/>
              <a:gd name="connsiteX32" fmla="*/ 1200570 w 9586368"/>
              <a:gd name="connsiteY32" fmla="*/ 6461491 h 6479439"/>
              <a:gd name="connsiteX33" fmla="*/ 1210480 w 9586368"/>
              <a:gd name="connsiteY33" fmla="*/ 6461491 h 6479439"/>
              <a:gd name="connsiteX34" fmla="*/ 1214498 w 9586368"/>
              <a:gd name="connsiteY34" fmla="*/ 6465529 h 6479439"/>
              <a:gd name="connsiteX35" fmla="*/ 1214498 w 9586368"/>
              <a:gd name="connsiteY35" fmla="*/ 6475400 h 6479439"/>
              <a:gd name="connsiteX36" fmla="*/ 1210480 w 9586368"/>
              <a:gd name="connsiteY36" fmla="*/ 6479439 h 6479439"/>
              <a:gd name="connsiteX37" fmla="*/ 1200570 w 9586368"/>
              <a:gd name="connsiteY37" fmla="*/ 6479439 h 6479439"/>
              <a:gd name="connsiteX38" fmla="*/ 1196551 w 9586368"/>
              <a:gd name="connsiteY38" fmla="*/ 6475400 h 6479439"/>
              <a:gd name="connsiteX39" fmla="*/ 1196551 w 9586368"/>
              <a:gd name="connsiteY39" fmla="*/ 6465529 h 6479439"/>
              <a:gd name="connsiteX40" fmla="*/ 961257 w 9586368"/>
              <a:gd name="connsiteY40" fmla="*/ 6461491 h 6479439"/>
              <a:gd name="connsiteX41" fmla="*/ 971167 w 9586368"/>
              <a:gd name="connsiteY41" fmla="*/ 6461491 h 6479439"/>
              <a:gd name="connsiteX42" fmla="*/ 975186 w 9586368"/>
              <a:gd name="connsiteY42" fmla="*/ 6465529 h 6479439"/>
              <a:gd name="connsiteX43" fmla="*/ 975186 w 9586368"/>
              <a:gd name="connsiteY43" fmla="*/ 6475400 h 6479439"/>
              <a:gd name="connsiteX44" fmla="*/ 971167 w 9586368"/>
              <a:gd name="connsiteY44" fmla="*/ 6479439 h 6479439"/>
              <a:gd name="connsiteX45" fmla="*/ 961257 w 9586368"/>
              <a:gd name="connsiteY45" fmla="*/ 6479439 h 6479439"/>
              <a:gd name="connsiteX46" fmla="*/ 957238 w 9586368"/>
              <a:gd name="connsiteY46" fmla="*/ 6475400 h 6479439"/>
              <a:gd name="connsiteX47" fmla="*/ 957238 w 9586368"/>
              <a:gd name="connsiteY47" fmla="*/ 6465529 h 6479439"/>
              <a:gd name="connsiteX48" fmla="*/ 9572438 w 9586368"/>
              <a:gd name="connsiteY48" fmla="*/ 6461440 h 6479439"/>
              <a:gd name="connsiteX49" fmla="*/ 9582349 w 9586368"/>
              <a:gd name="connsiteY49" fmla="*/ 6461440 h 6479439"/>
              <a:gd name="connsiteX50" fmla="*/ 9586368 w 9586368"/>
              <a:gd name="connsiteY50" fmla="*/ 6465478 h 6479439"/>
              <a:gd name="connsiteX51" fmla="*/ 9586368 w 9586368"/>
              <a:gd name="connsiteY51" fmla="*/ 6475349 h 6479439"/>
              <a:gd name="connsiteX52" fmla="*/ 9582349 w 9586368"/>
              <a:gd name="connsiteY52" fmla="*/ 6479388 h 6479439"/>
              <a:gd name="connsiteX53" fmla="*/ 9572438 w 9586368"/>
              <a:gd name="connsiteY53" fmla="*/ 6479388 h 6479439"/>
              <a:gd name="connsiteX54" fmla="*/ 9568419 w 9586368"/>
              <a:gd name="connsiteY54" fmla="*/ 6475349 h 6479439"/>
              <a:gd name="connsiteX55" fmla="*/ 9568419 w 9586368"/>
              <a:gd name="connsiteY55" fmla="*/ 6465478 h 6479439"/>
              <a:gd name="connsiteX56" fmla="*/ 9333125 w 9586368"/>
              <a:gd name="connsiteY56" fmla="*/ 6461440 h 6479439"/>
              <a:gd name="connsiteX57" fmla="*/ 9343036 w 9586368"/>
              <a:gd name="connsiteY57" fmla="*/ 6461440 h 6479439"/>
              <a:gd name="connsiteX58" fmla="*/ 9347055 w 9586368"/>
              <a:gd name="connsiteY58" fmla="*/ 6465478 h 6479439"/>
              <a:gd name="connsiteX59" fmla="*/ 9347055 w 9586368"/>
              <a:gd name="connsiteY59" fmla="*/ 6475349 h 6479439"/>
              <a:gd name="connsiteX60" fmla="*/ 9343036 w 9586368"/>
              <a:gd name="connsiteY60" fmla="*/ 6479388 h 6479439"/>
              <a:gd name="connsiteX61" fmla="*/ 9333125 w 9586368"/>
              <a:gd name="connsiteY61" fmla="*/ 6479388 h 6479439"/>
              <a:gd name="connsiteX62" fmla="*/ 9329106 w 9586368"/>
              <a:gd name="connsiteY62" fmla="*/ 6475349 h 6479439"/>
              <a:gd name="connsiteX63" fmla="*/ 9329106 w 9586368"/>
              <a:gd name="connsiteY63" fmla="*/ 6465478 h 6479439"/>
              <a:gd name="connsiteX64" fmla="*/ 9093811 w 9586368"/>
              <a:gd name="connsiteY64" fmla="*/ 6461440 h 6479439"/>
              <a:gd name="connsiteX65" fmla="*/ 9103722 w 9586368"/>
              <a:gd name="connsiteY65" fmla="*/ 6461440 h 6479439"/>
              <a:gd name="connsiteX66" fmla="*/ 9107741 w 9586368"/>
              <a:gd name="connsiteY66" fmla="*/ 6465478 h 6479439"/>
              <a:gd name="connsiteX67" fmla="*/ 9107741 w 9586368"/>
              <a:gd name="connsiteY67" fmla="*/ 6475349 h 6479439"/>
              <a:gd name="connsiteX68" fmla="*/ 9103722 w 9586368"/>
              <a:gd name="connsiteY68" fmla="*/ 6479388 h 6479439"/>
              <a:gd name="connsiteX69" fmla="*/ 9093811 w 9586368"/>
              <a:gd name="connsiteY69" fmla="*/ 6479388 h 6479439"/>
              <a:gd name="connsiteX70" fmla="*/ 9089792 w 9586368"/>
              <a:gd name="connsiteY70" fmla="*/ 6475349 h 6479439"/>
              <a:gd name="connsiteX71" fmla="*/ 9089792 w 9586368"/>
              <a:gd name="connsiteY71" fmla="*/ 6465478 h 6479439"/>
              <a:gd name="connsiteX72" fmla="*/ 8854496 w 9586368"/>
              <a:gd name="connsiteY72" fmla="*/ 6461440 h 6479439"/>
              <a:gd name="connsiteX73" fmla="*/ 8864407 w 9586368"/>
              <a:gd name="connsiteY73" fmla="*/ 6461440 h 6479439"/>
              <a:gd name="connsiteX74" fmla="*/ 8868426 w 9586368"/>
              <a:gd name="connsiteY74" fmla="*/ 6465478 h 6479439"/>
              <a:gd name="connsiteX75" fmla="*/ 8868426 w 9586368"/>
              <a:gd name="connsiteY75" fmla="*/ 6475349 h 6479439"/>
              <a:gd name="connsiteX76" fmla="*/ 8864407 w 9586368"/>
              <a:gd name="connsiteY76" fmla="*/ 6479388 h 6479439"/>
              <a:gd name="connsiteX77" fmla="*/ 8854496 w 9586368"/>
              <a:gd name="connsiteY77" fmla="*/ 6479388 h 6479439"/>
              <a:gd name="connsiteX78" fmla="*/ 8850477 w 9586368"/>
              <a:gd name="connsiteY78" fmla="*/ 6475349 h 6479439"/>
              <a:gd name="connsiteX79" fmla="*/ 8850477 w 9586368"/>
              <a:gd name="connsiteY79" fmla="*/ 6465478 h 6479439"/>
              <a:gd name="connsiteX80" fmla="*/ 8615184 w 9586368"/>
              <a:gd name="connsiteY80" fmla="*/ 6461440 h 6479439"/>
              <a:gd name="connsiteX81" fmla="*/ 8625095 w 9586368"/>
              <a:gd name="connsiteY81" fmla="*/ 6461440 h 6479439"/>
              <a:gd name="connsiteX82" fmla="*/ 8629114 w 9586368"/>
              <a:gd name="connsiteY82" fmla="*/ 6465478 h 6479439"/>
              <a:gd name="connsiteX83" fmla="*/ 8629114 w 9586368"/>
              <a:gd name="connsiteY83" fmla="*/ 6475349 h 6479439"/>
              <a:gd name="connsiteX84" fmla="*/ 8625095 w 9586368"/>
              <a:gd name="connsiteY84" fmla="*/ 6479388 h 6479439"/>
              <a:gd name="connsiteX85" fmla="*/ 8615184 w 9586368"/>
              <a:gd name="connsiteY85" fmla="*/ 6479388 h 6479439"/>
              <a:gd name="connsiteX86" fmla="*/ 8611165 w 9586368"/>
              <a:gd name="connsiteY86" fmla="*/ 6475349 h 6479439"/>
              <a:gd name="connsiteX87" fmla="*/ 8611165 w 9586368"/>
              <a:gd name="connsiteY87" fmla="*/ 6465478 h 6479439"/>
              <a:gd name="connsiteX88" fmla="*/ 8375869 w 9586368"/>
              <a:gd name="connsiteY88" fmla="*/ 6461440 h 6479439"/>
              <a:gd name="connsiteX89" fmla="*/ 8385779 w 9586368"/>
              <a:gd name="connsiteY89" fmla="*/ 6461440 h 6479439"/>
              <a:gd name="connsiteX90" fmla="*/ 8389799 w 9586368"/>
              <a:gd name="connsiteY90" fmla="*/ 6465478 h 6479439"/>
              <a:gd name="connsiteX91" fmla="*/ 8389799 w 9586368"/>
              <a:gd name="connsiteY91" fmla="*/ 6475349 h 6479439"/>
              <a:gd name="connsiteX92" fmla="*/ 8385779 w 9586368"/>
              <a:gd name="connsiteY92" fmla="*/ 6479388 h 6479439"/>
              <a:gd name="connsiteX93" fmla="*/ 8375869 w 9586368"/>
              <a:gd name="connsiteY93" fmla="*/ 6479388 h 6479439"/>
              <a:gd name="connsiteX94" fmla="*/ 8371850 w 9586368"/>
              <a:gd name="connsiteY94" fmla="*/ 6475349 h 6479439"/>
              <a:gd name="connsiteX95" fmla="*/ 8371850 w 9586368"/>
              <a:gd name="connsiteY95" fmla="*/ 6465478 h 6479439"/>
              <a:gd name="connsiteX96" fmla="*/ 8136553 w 9586368"/>
              <a:gd name="connsiteY96" fmla="*/ 6461440 h 6479439"/>
              <a:gd name="connsiteX97" fmla="*/ 8146464 w 9586368"/>
              <a:gd name="connsiteY97" fmla="*/ 6461440 h 6479439"/>
              <a:gd name="connsiteX98" fmla="*/ 8150483 w 9586368"/>
              <a:gd name="connsiteY98" fmla="*/ 6465478 h 6479439"/>
              <a:gd name="connsiteX99" fmla="*/ 8150483 w 9586368"/>
              <a:gd name="connsiteY99" fmla="*/ 6475349 h 6479439"/>
              <a:gd name="connsiteX100" fmla="*/ 8146464 w 9586368"/>
              <a:gd name="connsiteY100" fmla="*/ 6479388 h 6479439"/>
              <a:gd name="connsiteX101" fmla="*/ 8136553 w 9586368"/>
              <a:gd name="connsiteY101" fmla="*/ 6479388 h 6479439"/>
              <a:gd name="connsiteX102" fmla="*/ 8132534 w 9586368"/>
              <a:gd name="connsiteY102" fmla="*/ 6475349 h 6479439"/>
              <a:gd name="connsiteX103" fmla="*/ 8132534 w 9586368"/>
              <a:gd name="connsiteY103" fmla="*/ 6465478 h 6479439"/>
              <a:gd name="connsiteX104" fmla="*/ 7897241 w 9586368"/>
              <a:gd name="connsiteY104" fmla="*/ 6461440 h 6479439"/>
              <a:gd name="connsiteX105" fmla="*/ 7907151 w 9586368"/>
              <a:gd name="connsiteY105" fmla="*/ 6461440 h 6479439"/>
              <a:gd name="connsiteX106" fmla="*/ 7911170 w 9586368"/>
              <a:gd name="connsiteY106" fmla="*/ 6465478 h 6479439"/>
              <a:gd name="connsiteX107" fmla="*/ 7911170 w 9586368"/>
              <a:gd name="connsiteY107" fmla="*/ 6475349 h 6479439"/>
              <a:gd name="connsiteX108" fmla="*/ 7907151 w 9586368"/>
              <a:gd name="connsiteY108" fmla="*/ 6479388 h 6479439"/>
              <a:gd name="connsiteX109" fmla="*/ 7897241 w 9586368"/>
              <a:gd name="connsiteY109" fmla="*/ 6479388 h 6479439"/>
              <a:gd name="connsiteX110" fmla="*/ 7893222 w 9586368"/>
              <a:gd name="connsiteY110" fmla="*/ 6475349 h 6479439"/>
              <a:gd name="connsiteX111" fmla="*/ 7893222 w 9586368"/>
              <a:gd name="connsiteY111" fmla="*/ 6465478 h 6479439"/>
              <a:gd name="connsiteX112" fmla="*/ 7657926 w 9586368"/>
              <a:gd name="connsiteY112" fmla="*/ 6461440 h 6479439"/>
              <a:gd name="connsiteX113" fmla="*/ 7667836 w 9586368"/>
              <a:gd name="connsiteY113" fmla="*/ 6461440 h 6479439"/>
              <a:gd name="connsiteX114" fmla="*/ 7671855 w 9586368"/>
              <a:gd name="connsiteY114" fmla="*/ 6465478 h 6479439"/>
              <a:gd name="connsiteX115" fmla="*/ 7671855 w 9586368"/>
              <a:gd name="connsiteY115" fmla="*/ 6475349 h 6479439"/>
              <a:gd name="connsiteX116" fmla="*/ 7667836 w 9586368"/>
              <a:gd name="connsiteY116" fmla="*/ 6479388 h 6479439"/>
              <a:gd name="connsiteX117" fmla="*/ 7657926 w 9586368"/>
              <a:gd name="connsiteY117" fmla="*/ 6479388 h 6479439"/>
              <a:gd name="connsiteX118" fmla="*/ 7653906 w 9586368"/>
              <a:gd name="connsiteY118" fmla="*/ 6475349 h 6479439"/>
              <a:gd name="connsiteX119" fmla="*/ 7653906 w 9586368"/>
              <a:gd name="connsiteY119" fmla="*/ 6465478 h 6479439"/>
              <a:gd name="connsiteX120" fmla="*/ 7418611 w 9586368"/>
              <a:gd name="connsiteY120" fmla="*/ 6461440 h 6479439"/>
              <a:gd name="connsiteX121" fmla="*/ 7428521 w 9586368"/>
              <a:gd name="connsiteY121" fmla="*/ 6461440 h 6479439"/>
              <a:gd name="connsiteX122" fmla="*/ 7432540 w 9586368"/>
              <a:gd name="connsiteY122" fmla="*/ 6465478 h 6479439"/>
              <a:gd name="connsiteX123" fmla="*/ 7432540 w 9586368"/>
              <a:gd name="connsiteY123" fmla="*/ 6475349 h 6479439"/>
              <a:gd name="connsiteX124" fmla="*/ 7428521 w 9586368"/>
              <a:gd name="connsiteY124" fmla="*/ 6479388 h 6479439"/>
              <a:gd name="connsiteX125" fmla="*/ 7418611 w 9586368"/>
              <a:gd name="connsiteY125" fmla="*/ 6479388 h 6479439"/>
              <a:gd name="connsiteX126" fmla="*/ 7414592 w 9586368"/>
              <a:gd name="connsiteY126" fmla="*/ 6475349 h 6479439"/>
              <a:gd name="connsiteX127" fmla="*/ 7414592 w 9586368"/>
              <a:gd name="connsiteY127" fmla="*/ 6465478 h 6479439"/>
              <a:gd name="connsiteX128" fmla="*/ 7179298 w 9586368"/>
              <a:gd name="connsiteY128" fmla="*/ 6461440 h 6479439"/>
              <a:gd name="connsiteX129" fmla="*/ 7189209 w 9586368"/>
              <a:gd name="connsiteY129" fmla="*/ 6461440 h 6479439"/>
              <a:gd name="connsiteX130" fmla="*/ 7193228 w 9586368"/>
              <a:gd name="connsiteY130" fmla="*/ 6465478 h 6479439"/>
              <a:gd name="connsiteX131" fmla="*/ 7193228 w 9586368"/>
              <a:gd name="connsiteY131" fmla="*/ 6475349 h 6479439"/>
              <a:gd name="connsiteX132" fmla="*/ 7189209 w 9586368"/>
              <a:gd name="connsiteY132" fmla="*/ 6479388 h 6479439"/>
              <a:gd name="connsiteX133" fmla="*/ 7179298 w 9586368"/>
              <a:gd name="connsiteY133" fmla="*/ 6479388 h 6479439"/>
              <a:gd name="connsiteX134" fmla="*/ 7175279 w 9586368"/>
              <a:gd name="connsiteY134" fmla="*/ 6475349 h 6479439"/>
              <a:gd name="connsiteX135" fmla="*/ 7175279 w 9586368"/>
              <a:gd name="connsiteY135" fmla="*/ 6465478 h 6479439"/>
              <a:gd name="connsiteX136" fmla="*/ 6939983 w 9586368"/>
              <a:gd name="connsiteY136" fmla="*/ 6461440 h 6479439"/>
              <a:gd name="connsiteX137" fmla="*/ 6949894 w 9586368"/>
              <a:gd name="connsiteY137" fmla="*/ 6461440 h 6479439"/>
              <a:gd name="connsiteX138" fmla="*/ 6953913 w 9586368"/>
              <a:gd name="connsiteY138" fmla="*/ 6465478 h 6479439"/>
              <a:gd name="connsiteX139" fmla="*/ 6953913 w 9586368"/>
              <a:gd name="connsiteY139" fmla="*/ 6475349 h 6479439"/>
              <a:gd name="connsiteX140" fmla="*/ 6949894 w 9586368"/>
              <a:gd name="connsiteY140" fmla="*/ 6479388 h 6479439"/>
              <a:gd name="connsiteX141" fmla="*/ 6939983 w 9586368"/>
              <a:gd name="connsiteY141" fmla="*/ 6479388 h 6479439"/>
              <a:gd name="connsiteX142" fmla="*/ 6935964 w 9586368"/>
              <a:gd name="connsiteY142" fmla="*/ 6475349 h 6479439"/>
              <a:gd name="connsiteX143" fmla="*/ 6935964 w 9586368"/>
              <a:gd name="connsiteY143" fmla="*/ 6465478 h 6479439"/>
              <a:gd name="connsiteX144" fmla="*/ 6700670 w 9586368"/>
              <a:gd name="connsiteY144" fmla="*/ 6461440 h 6479439"/>
              <a:gd name="connsiteX145" fmla="*/ 6710581 w 9586368"/>
              <a:gd name="connsiteY145" fmla="*/ 6461440 h 6479439"/>
              <a:gd name="connsiteX146" fmla="*/ 6714600 w 9586368"/>
              <a:gd name="connsiteY146" fmla="*/ 6465478 h 6479439"/>
              <a:gd name="connsiteX147" fmla="*/ 6714600 w 9586368"/>
              <a:gd name="connsiteY147" fmla="*/ 6475349 h 6479439"/>
              <a:gd name="connsiteX148" fmla="*/ 6710581 w 9586368"/>
              <a:gd name="connsiteY148" fmla="*/ 6479388 h 6479439"/>
              <a:gd name="connsiteX149" fmla="*/ 6700670 w 9586368"/>
              <a:gd name="connsiteY149" fmla="*/ 6479388 h 6479439"/>
              <a:gd name="connsiteX150" fmla="*/ 6696651 w 9586368"/>
              <a:gd name="connsiteY150" fmla="*/ 6475349 h 6479439"/>
              <a:gd name="connsiteX151" fmla="*/ 6696651 w 9586368"/>
              <a:gd name="connsiteY151" fmla="*/ 6465478 h 6479439"/>
              <a:gd name="connsiteX152" fmla="*/ 6461356 w 9586368"/>
              <a:gd name="connsiteY152" fmla="*/ 6461440 h 6479439"/>
              <a:gd name="connsiteX153" fmla="*/ 6471266 w 9586368"/>
              <a:gd name="connsiteY153" fmla="*/ 6461440 h 6479439"/>
              <a:gd name="connsiteX154" fmla="*/ 6475285 w 9586368"/>
              <a:gd name="connsiteY154" fmla="*/ 6465478 h 6479439"/>
              <a:gd name="connsiteX155" fmla="*/ 6475285 w 9586368"/>
              <a:gd name="connsiteY155" fmla="*/ 6475349 h 6479439"/>
              <a:gd name="connsiteX156" fmla="*/ 6471266 w 9586368"/>
              <a:gd name="connsiteY156" fmla="*/ 6479388 h 6479439"/>
              <a:gd name="connsiteX157" fmla="*/ 6461356 w 9586368"/>
              <a:gd name="connsiteY157" fmla="*/ 6479388 h 6479439"/>
              <a:gd name="connsiteX158" fmla="*/ 6457337 w 9586368"/>
              <a:gd name="connsiteY158" fmla="*/ 6475349 h 6479439"/>
              <a:gd name="connsiteX159" fmla="*/ 6457337 w 9586368"/>
              <a:gd name="connsiteY159" fmla="*/ 6465478 h 6479439"/>
              <a:gd name="connsiteX160" fmla="*/ 6222042 w 9586368"/>
              <a:gd name="connsiteY160" fmla="*/ 6461440 h 6479439"/>
              <a:gd name="connsiteX161" fmla="*/ 6231952 w 9586368"/>
              <a:gd name="connsiteY161" fmla="*/ 6461440 h 6479439"/>
              <a:gd name="connsiteX162" fmla="*/ 6235971 w 9586368"/>
              <a:gd name="connsiteY162" fmla="*/ 6465478 h 6479439"/>
              <a:gd name="connsiteX163" fmla="*/ 6235971 w 9586368"/>
              <a:gd name="connsiteY163" fmla="*/ 6475349 h 6479439"/>
              <a:gd name="connsiteX164" fmla="*/ 6231952 w 9586368"/>
              <a:gd name="connsiteY164" fmla="*/ 6479388 h 6479439"/>
              <a:gd name="connsiteX165" fmla="*/ 6222042 w 9586368"/>
              <a:gd name="connsiteY165" fmla="*/ 6479388 h 6479439"/>
              <a:gd name="connsiteX166" fmla="*/ 6218023 w 9586368"/>
              <a:gd name="connsiteY166" fmla="*/ 6475349 h 6479439"/>
              <a:gd name="connsiteX167" fmla="*/ 6218023 w 9586368"/>
              <a:gd name="connsiteY167" fmla="*/ 6465478 h 6479439"/>
              <a:gd name="connsiteX168" fmla="*/ 5982729 w 9586368"/>
              <a:gd name="connsiteY168" fmla="*/ 6461440 h 6479439"/>
              <a:gd name="connsiteX169" fmla="*/ 5992639 w 9586368"/>
              <a:gd name="connsiteY169" fmla="*/ 6461440 h 6479439"/>
              <a:gd name="connsiteX170" fmla="*/ 5996658 w 9586368"/>
              <a:gd name="connsiteY170" fmla="*/ 6465478 h 6479439"/>
              <a:gd name="connsiteX171" fmla="*/ 5996658 w 9586368"/>
              <a:gd name="connsiteY171" fmla="*/ 6475349 h 6479439"/>
              <a:gd name="connsiteX172" fmla="*/ 5992639 w 9586368"/>
              <a:gd name="connsiteY172" fmla="*/ 6479388 h 6479439"/>
              <a:gd name="connsiteX173" fmla="*/ 5982729 w 9586368"/>
              <a:gd name="connsiteY173" fmla="*/ 6479388 h 6479439"/>
              <a:gd name="connsiteX174" fmla="*/ 5978710 w 9586368"/>
              <a:gd name="connsiteY174" fmla="*/ 6475349 h 6479439"/>
              <a:gd name="connsiteX175" fmla="*/ 5978710 w 9586368"/>
              <a:gd name="connsiteY175" fmla="*/ 6465478 h 6479439"/>
              <a:gd name="connsiteX176" fmla="*/ 5743412 w 9586368"/>
              <a:gd name="connsiteY176" fmla="*/ 6461440 h 6479439"/>
              <a:gd name="connsiteX177" fmla="*/ 5753323 w 9586368"/>
              <a:gd name="connsiteY177" fmla="*/ 6461440 h 6479439"/>
              <a:gd name="connsiteX178" fmla="*/ 5757342 w 9586368"/>
              <a:gd name="connsiteY178" fmla="*/ 6465478 h 6479439"/>
              <a:gd name="connsiteX179" fmla="*/ 5757342 w 9586368"/>
              <a:gd name="connsiteY179" fmla="*/ 6475349 h 6479439"/>
              <a:gd name="connsiteX180" fmla="*/ 5753323 w 9586368"/>
              <a:gd name="connsiteY180" fmla="*/ 6479388 h 6479439"/>
              <a:gd name="connsiteX181" fmla="*/ 5743412 w 9586368"/>
              <a:gd name="connsiteY181" fmla="*/ 6479388 h 6479439"/>
              <a:gd name="connsiteX182" fmla="*/ 5739393 w 9586368"/>
              <a:gd name="connsiteY182" fmla="*/ 6475349 h 6479439"/>
              <a:gd name="connsiteX183" fmla="*/ 5739393 w 9586368"/>
              <a:gd name="connsiteY183" fmla="*/ 6465478 h 6479439"/>
              <a:gd name="connsiteX184" fmla="*/ 5504099 w 9586368"/>
              <a:gd name="connsiteY184" fmla="*/ 6461440 h 6479439"/>
              <a:gd name="connsiteX185" fmla="*/ 5514010 w 9586368"/>
              <a:gd name="connsiteY185" fmla="*/ 6461440 h 6479439"/>
              <a:gd name="connsiteX186" fmla="*/ 5518029 w 9586368"/>
              <a:gd name="connsiteY186" fmla="*/ 6465478 h 6479439"/>
              <a:gd name="connsiteX187" fmla="*/ 5518029 w 9586368"/>
              <a:gd name="connsiteY187" fmla="*/ 6475349 h 6479439"/>
              <a:gd name="connsiteX188" fmla="*/ 5514010 w 9586368"/>
              <a:gd name="connsiteY188" fmla="*/ 6479388 h 6479439"/>
              <a:gd name="connsiteX189" fmla="*/ 5504099 w 9586368"/>
              <a:gd name="connsiteY189" fmla="*/ 6479388 h 6479439"/>
              <a:gd name="connsiteX190" fmla="*/ 5500080 w 9586368"/>
              <a:gd name="connsiteY190" fmla="*/ 6475349 h 6479439"/>
              <a:gd name="connsiteX191" fmla="*/ 5500080 w 9586368"/>
              <a:gd name="connsiteY191" fmla="*/ 6465478 h 6479439"/>
              <a:gd name="connsiteX192" fmla="*/ 5264784 w 9586368"/>
              <a:gd name="connsiteY192" fmla="*/ 6461440 h 6479439"/>
              <a:gd name="connsiteX193" fmla="*/ 5274694 w 9586368"/>
              <a:gd name="connsiteY193" fmla="*/ 6461440 h 6479439"/>
              <a:gd name="connsiteX194" fmla="*/ 5278713 w 9586368"/>
              <a:gd name="connsiteY194" fmla="*/ 6465478 h 6479439"/>
              <a:gd name="connsiteX195" fmla="*/ 5278713 w 9586368"/>
              <a:gd name="connsiteY195" fmla="*/ 6475349 h 6479439"/>
              <a:gd name="connsiteX196" fmla="*/ 5274694 w 9586368"/>
              <a:gd name="connsiteY196" fmla="*/ 6479388 h 6479439"/>
              <a:gd name="connsiteX197" fmla="*/ 5264784 w 9586368"/>
              <a:gd name="connsiteY197" fmla="*/ 6479388 h 6479439"/>
              <a:gd name="connsiteX198" fmla="*/ 5260765 w 9586368"/>
              <a:gd name="connsiteY198" fmla="*/ 6475349 h 6479439"/>
              <a:gd name="connsiteX199" fmla="*/ 5260765 w 9586368"/>
              <a:gd name="connsiteY199" fmla="*/ 6465478 h 6479439"/>
              <a:gd name="connsiteX200" fmla="*/ 5025470 w 9586368"/>
              <a:gd name="connsiteY200" fmla="*/ 6461440 h 6479439"/>
              <a:gd name="connsiteX201" fmla="*/ 5035381 w 9586368"/>
              <a:gd name="connsiteY201" fmla="*/ 6461440 h 6479439"/>
              <a:gd name="connsiteX202" fmla="*/ 5039400 w 9586368"/>
              <a:gd name="connsiteY202" fmla="*/ 6465478 h 6479439"/>
              <a:gd name="connsiteX203" fmla="*/ 5039400 w 9586368"/>
              <a:gd name="connsiteY203" fmla="*/ 6475349 h 6479439"/>
              <a:gd name="connsiteX204" fmla="*/ 5035381 w 9586368"/>
              <a:gd name="connsiteY204" fmla="*/ 6479388 h 6479439"/>
              <a:gd name="connsiteX205" fmla="*/ 5025470 w 9586368"/>
              <a:gd name="connsiteY205" fmla="*/ 6479388 h 6479439"/>
              <a:gd name="connsiteX206" fmla="*/ 5021451 w 9586368"/>
              <a:gd name="connsiteY206" fmla="*/ 6475349 h 6479439"/>
              <a:gd name="connsiteX207" fmla="*/ 5021451 w 9586368"/>
              <a:gd name="connsiteY207" fmla="*/ 6465478 h 6479439"/>
              <a:gd name="connsiteX208" fmla="*/ 4786241 w 9586368"/>
              <a:gd name="connsiteY208" fmla="*/ 6461440 h 6479439"/>
              <a:gd name="connsiteX209" fmla="*/ 4796152 w 9586368"/>
              <a:gd name="connsiteY209" fmla="*/ 6461440 h 6479439"/>
              <a:gd name="connsiteX210" fmla="*/ 4800171 w 9586368"/>
              <a:gd name="connsiteY210" fmla="*/ 6465478 h 6479439"/>
              <a:gd name="connsiteX211" fmla="*/ 4800171 w 9586368"/>
              <a:gd name="connsiteY211" fmla="*/ 6475349 h 6479439"/>
              <a:gd name="connsiteX212" fmla="*/ 4796152 w 9586368"/>
              <a:gd name="connsiteY212" fmla="*/ 6479388 h 6479439"/>
              <a:gd name="connsiteX213" fmla="*/ 4786241 w 9586368"/>
              <a:gd name="connsiteY213" fmla="*/ 6479388 h 6479439"/>
              <a:gd name="connsiteX214" fmla="*/ 4782224 w 9586368"/>
              <a:gd name="connsiteY214" fmla="*/ 6475349 h 6479439"/>
              <a:gd name="connsiteX215" fmla="*/ 4782224 w 9586368"/>
              <a:gd name="connsiteY215" fmla="*/ 6465478 h 6479439"/>
              <a:gd name="connsiteX216" fmla="*/ 4546929 w 9586368"/>
              <a:gd name="connsiteY216" fmla="*/ 6461440 h 6479439"/>
              <a:gd name="connsiteX217" fmla="*/ 4556840 w 9586368"/>
              <a:gd name="connsiteY217" fmla="*/ 6461440 h 6479439"/>
              <a:gd name="connsiteX218" fmla="*/ 4560859 w 9586368"/>
              <a:gd name="connsiteY218" fmla="*/ 6465478 h 6479439"/>
              <a:gd name="connsiteX219" fmla="*/ 4560859 w 9586368"/>
              <a:gd name="connsiteY219" fmla="*/ 6475349 h 6479439"/>
              <a:gd name="connsiteX220" fmla="*/ 4556840 w 9586368"/>
              <a:gd name="connsiteY220" fmla="*/ 6479388 h 6479439"/>
              <a:gd name="connsiteX221" fmla="*/ 4546929 w 9586368"/>
              <a:gd name="connsiteY221" fmla="*/ 6479388 h 6479439"/>
              <a:gd name="connsiteX222" fmla="*/ 4542910 w 9586368"/>
              <a:gd name="connsiteY222" fmla="*/ 6475349 h 6479439"/>
              <a:gd name="connsiteX223" fmla="*/ 4542910 w 9586368"/>
              <a:gd name="connsiteY223" fmla="*/ 6465478 h 6479439"/>
              <a:gd name="connsiteX224" fmla="*/ 4307612 w 9586368"/>
              <a:gd name="connsiteY224" fmla="*/ 6461440 h 6479439"/>
              <a:gd name="connsiteX225" fmla="*/ 4317523 w 9586368"/>
              <a:gd name="connsiteY225" fmla="*/ 6461440 h 6479439"/>
              <a:gd name="connsiteX226" fmla="*/ 4321543 w 9586368"/>
              <a:gd name="connsiteY226" fmla="*/ 6465478 h 6479439"/>
              <a:gd name="connsiteX227" fmla="*/ 4321543 w 9586368"/>
              <a:gd name="connsiteY227" fmla="*/ 6475349 h 6479439"/>
              <a:gd name="connsiteX228" fmla="*/ 4317523 w 9586368"/>
              <a:gd name="connsiteY228" fmla="*/ 6479388 h 6479439"/>
              <a:gd name="connsiteX229" fmla="*/ 4307612 w 9586368"/>
              <a:gd name="connsiteY229" fmla="*/ 6479388 h 6479439"/>
              <a:gd name="connsiteX230" fmla="*/ 4303595 w 9586368"/>
              <a:gd name="connsiteY230" fmla="*/ 6475349 h 6479439"/>
              <a:gd name="connsiteX231" fmla="*/ 4303595 w 9586368"/>
              <a:gd name="connsiteY231" fmla="*/ 6465478 h 6479439"/>
              <a:gd name="connsiteX232" fmla="*/ 4068297 w 9586368"/>
              <a:gd name="connsiteY232" fmla="*/ 6461440 h 6479439"/>
              <a:gd name="connsiteX233" fmla="*/ 4078210 w 9586368"/>
              <a:gd name="connsiteY233" fmla="*/ 6461440 h 6479439"/>
              <a:gd name="connsiteX234" fmla="*/ 4082229 w 9586368"/>
              <a:gd name="connsiteY234" fmla="*/ 6465478 h 6479439"/>
              <a:gd name="connsiteX235" fmla="*/ 4082229 w 9586368"/>
              <a:gd name="connsiteY235" fmla="*/ 6475349 h 6479439"/>
              <a:gd name="connsiteX236" fmla="*/ 4078210 w 9586368"/>
              <a:gd name="connsiteY236" fmla="*/ 6479388 h 6479439"/>
              <a:gd name="connsiteX237" fmla="*/ 4068297 w 9586368"/>
              <a:gd name="connsiteY237" fmla="*/ 6479388 h 6479439"/>
              <a:gd name="connsiteX238" fmla="*/ 4064278 w 9586368"/>
              <a:gd name="connsiteY238" fmla="*/ 6475349 h 6479439"/>
              <a:gd name="connsiteX239" fmla="*/ 4064278 w 9586368"/>
              <a:gd name="connsiteY239" fmla="*/ 6465478 h 6479439"/>
              <a:gd name="connsiteX240" fmla="*/ 3828990 w 9586368"/>
              <a:gd name="connsiteY240" fmla="*/ 6461440 h 6479439"/>
              <a:gd name="connsiteX241" fmla="*/ 3838899 w 9586368"/>
              <a:gd name="connsiteY241" fmla="*/ 6461440 h 6479439"/>
              <a:gd name="connsiteX242" fmla="*/ 3842917 w 9586368"/>
              <a:gd name="connsiteY242" fmla="*/ 6465478 h 6479439"/>
              <a:gd name="connsiteX243" fmla="*/ 3842917 w 9586368"/>
              <a:gd name="connsiteY243" fmla="*/ 6475349 h 6479439"/>
              <a:gd name="connsiteX244" fmla="*/ 3838899 w 9586368"/>
              <a:gd name="connsiteY244" fmla="*/ 6479388 h 6479439"/>
              <a:gd name="connsiteX245" fmla="*/ 3828990 w 9586368"/>
              <a:gd name="connsiteY245" fmla="*/ 6479388 h 6479439"/>
              <a:gd name="connsiteX246" fmla="*/ 3824971 w 9586368"/>
              <a:gd name="connsiteY246" fmla="*/ 6475349 h 6479439"/>
              <a:gd name="connsiteX247" fmla="*/ 3824971 w 9586368"/>
              <a:gd name="connsiteY247" fmla="*/ 6465478 h 6479439"/>
              <a:gd name="connsiteX248" fmla="*/ 3589676 w 9586368"/>
              <a:gd name="connsiteY248" fmla="*/ 6461440 h 6479439"/>
              <a:gd name="connsiteX249" fmla="*/ 3599585 w 9586368"/>
              <a:gd name="connsiteY249" fmla="*/ 6461440 h 6479439"/>
              <a:gd name="connsiteX250" fmla="*/ 3603604 w 9586368"/>
              <a:gd name="connsiteY250" fmla="*/ 6465478 h 6479439"/>
              <a:gd name="connsiteX251" fmla="*/ 3603604 w 9586368"/>
              <a:gd name="connsiteY251" fmla="*/ 6475349 h 6479439"/>
              <a:gd name="connsiteX252" fmla="*/ 3599585 w 9586368"/>
              <a:gd name="connsiteY252" fmla="*/ 6479388 h 6479439"/>
              <a:gd name="connsiteX253" fmla="*/ 3589676 w 9586368"/>
              <a:gd name="connsiteY253" fmla="*/ 6479388 h 6479439"/>
              <a:gd name="connsiteX254" fmla="*/ 3585657 w 9586368"/>
              <a:gd name="connsiteY254" fmla="*/ 6475349 h 6479439"/>
              <a:gd name="connsiteX255" fmla="*/ 3585657 w 9586368"/>
              <a:gd name="connsiteY255" fmla="*/ 6465478 h 6479439"/>
              <a:gd name="connsiteX256" fmla="*/ 3350359 w 9586368"/>
              <a:gd name="connsiteY256" fmla="*/ 6461440 h 6479439"/>
              <a:gd name="connsiteX257" fmla="*/ 3360268 w 9586368"/>
              <a:gd name="connsiteY257" fmla="*/ 6461440 h 6479439"/>
              <a:gd name="connsiteX258" fmla="*/ 3364287 w 9586368"/>
              <a:gd name="connsiteY258" fmla="*/ 6465478 h 6479439"/>
              <a:gd name="connsiteX259" fmla="*/ 3364287 w 9586368"/>
              <a:gd name="connsiteY259" fmla="*/ 6475349 h 6479439"/>
              <a:gd name="connsiteX260" fmla="*/ 3360268 w 9586368"/>
              <a:gd name="connsiteY260" fmla="*/ 6479388 h 6479439"/>
              <a:gd name="connsiteX261" fmla="*/ 3350359 w 9586368"/>
              <a:gd name="connsiteY261" fmla="*/ 6479388 h 6479439"/>
              <a:gd name="connsiteX262" fmla="*/ 3346340 w 9586368"/>
              <a:gd name="connsiteY262" fmla="*/ 6475349 h 6479439"/>
              <a:gd name="connsiteX263" fmla="*/ 3346340 w 9586368"/>
              <a:gd name="connsiteY263" fmla="*/ 6465478 h 6479439"/>
              <a:gd name="connsiteX264" fmla="*/ 3111048 w 9586368"/>
              <a:gd name="connsiteY264" fmla="*/ 6461440 h 6479439"/>
              <a:gd name="connsiteX265" fmla="*/ 3120959 w 9586368"/>
              <a:gd name="connsiteY265" fmla="*/ 6461440 h 6479439"/>
              <a:gd name="connsiteX266" fmla="*/ 3124977 w 9586368"/>
              <a:gd name="connsiteY266" fmla="*/ 6465478 h 6479439"/>
              <a:gd name="connsiteX267" fmla="*/ 3124977 w 9586368"/>
              <a:gd name="connsiteY267" fmla="*/ 6475349 h 6479439"/>
              <a:gd name="connsiteX268" fmla="*/ 3120959 w 9586368"/>
              <a:gd name="connsiteY268" fmla="*/ 6479388 h 6479439"/>
              <a:gd name="connsiteX269" fmla="*/ 3111048 w 9586368"/>
              <a:gd name="connsiteY269" fmla="*/ 6479388 h 6479439"/>
              <a:gd name="connsiteX270" fmla="*/ 3107029 w 9586368"/>
              <a:gd name="connsiteY270" fmla="*/ 6475349 h 6479439"/>
              <a:gd name="connsiteX271" fmla="*/ 3107029 w 9586368"/>
              <a:gd name="connsiteY271" fmla="*/ 6465478 h 6479439"/>
              <a:gd name="connsiteX272" fmla="*/ 2871737 w 9586368"/>
              <a:gd name="connsiteY272" fmla="*/ 6461440 h 6479439"/>
              <a:gd name="connsiteX273" fmla="*/ 2881646 w 9586368"/>
              <a:gd name="connsiteY273" fmla="*/ 6461440 h 6479439"/>
              <a:gd name="connsiteX274" fmla="*/ 2885666 w 9586368"/>
              <a:gd name="connsiteY274" fmla="*/ 6465478 h 6479439"/>
              <a:gd name="connsiteX275" fmla="*/ 2885666 w 9586368"/>
              <a:gd name="connsiteY275" fmla="*/ 6475349 h 6479439"/>
              <a:gd name="connsiteX276" fmla="*/ 2881646 w 9586368"/>
              <a:gd name="connsiteY276" fmla="*/ 6479388 h 6479439"/>
              <a:gd name="connsiteX277" fmla="*/ 2871737 w 9586368"/>
              <a:gd name="connsiteY277" fmla="*/ 6479388 h 6479439"/>
              <a:gd name="connsiteX278" fmla="*/ 2867717 w 9586368"/>
              <a:gd name="connsiteY278" fmla="*/ 6475349 h 6479439"/>
              <a:gd name="connsiteX279" fmla="*/ 2867717 w 9586368"/>
              <a:gd name="connsiteY279" fmla="*/ 6465478 h 6479439"/>
              <a:gd name="connsiteX280" fmla="*/ 2632423 w 9586368"/>
              <a:gd name="connsiteY280" fmla="*/ 6461440 h 6479439"/>
              <a:gd name="connsiteX281" fmla="*/ 2642334 w 9586368"/>
              <a:gd name="connsiteY281" fmla="*/ 6461440 h 6479439"/>
              <a:gd name="connsiteX282" fmla="*/ 2646352 w 9586368"/>
              <a:gd name="connsiteY282" fmla="*/ 6465478 h 6479439"/>
              <a:gd name="connsiteX283" fmla="*/ 2646352 w 9586368"/>
              <a:gd name="connsiteY283" fmla="*/ 6475349 h 6479439"/>
              <a:gd name="connsiteX284" fmla="*/ 2642334 w 9586368"/>
              <a:gd name="connsiteY284" fmla="*/ 6479388 h 6479439"/>
              <a:gd name="connsiteX285" fmla="*/ 2632423 w 9586368"/>
              <a:gd name="connsiteY285" fmla="*/ 6479388 h 6479439"/>
              <a:gd name="connsiteX286" fmla="*/ 2628404 w 9586368"/>
              <a:gd name="connsiteY286" fmla="*/ 6475349 h 6479439"/>
              <a:gd name="connsiteX287" fmla="*/ 2628404 w 9586368"/>
              <a:gd name="connsiteY287" fmla="*/ 6465478 h 6479439"/>
              <a:gd name="connsiteX288" fmla="*/ 2393104 w 9586368"/>
              <a:gd name="connsiteY288" fmla="*/ 6461440 h 6479439"/>
              <a:gd name="connsiteX289" fmla="*/ 2403015 w 9586368"/>
              <a:gd name="connsiteY289" fmla="*/ 6461440 h 6479439"/>
              <a:gd name="connsiteX290" fmla="*/ 2407034 w 9586368"/>
              <a:gd name="connsiteY290" fmla="*/ 6465478 h 6479439"/>
              <a:gd name="connsiteX291" fmla="*/ 2407034 w 9586368"/>
              <a:gd name="connsiteY291" fmla="*/ 6475349 h 6479439"/>
              <a:gd name="connsiteX292" fmla="*/ 2403015 w 9586368"/>
              <a:gd name="connsiteY292" fmla="*/ 6479388 h 6479439"/>
              <a:gd name="connsiteX293" fmla="*/ 2393104 w 9586368"/>
              <a:gd name="connsiteY293" fmla="*/ 6479388 h 6479439"/>
              <a:gd name="connsiteX294" fmla="*/ 2389087 w 9586368"/>
              <a:gd name="connsiteY294" fmla="*/ 6475349 h 6479439"/>
              <a:gd name="connsiteX295" fmla="*/ 2389087 w 9586368"/>
              <a:gd name="connsiteY295" fmla="*/ 6465478 h 6479439"/>
              <a:gd name="connsiteX296" fmla="*/ 721958 w 9586368"/>
              <a:gd name="connsiteY296" fmla="*/ 6461440 h 6479439"/>
              <a:gd name="connsiteX297" fmla="*/ 731868 w 9586368"/>
              <a:gd name="connsiteY297" fmla="*/ 6461440 h 6479439"/>
              <a:gd name="connsiteX298" fmla="*/ 735887 w 9586368"/>
              <a:gd name="connsiteY298" fmla="*/ 6465478 h 6479439"/>
              <a:gd name="connsiteX299" fmla="*/ 735887 w 9586368"/>
              <a:gd name="connsiteY299" fmla="*/ 6475349 h 6479439"/>
              <a:gd name="connsiteX300" fmla="*/ 731868 w 9586368"/>
              <a:gd name="connsiteY300" fmla="*/ 6479388 h 6479439"/>
              <a:gd name="connsiteX301" fmla="*/ 721958 w 9586368"/>
              <a:gd name="connsiteY301" fmla="*/ 6479388 h 6479439"/>
              <a:gd name="connsiteX302" fmla="*/ 717939 w 9586368"/>
              <a:gd name="connsiteY302" fmla="*/ 6475349 h 6479439"/>
              <a:gd name="connsiteX303" fmla="*/ 717939 w 9586368"/>
              <a:gd name="connsiteY303" fmla="*/ 6465478 h 6479439"/>
              <a:gd name="connsiteX304" fmla="*/ 482646 w 9586368"/>
              <a:gd name="connsiteY304" fmla="*/ 6461440 h 6479439"/>
              <a:gd name="connsiteX305" fmla="*/ 492556 w 9586368"/>
              <a:gd name="connsiteY305" fmla="*/ 6461440 h 6479439"/>
              <a:gd name="connsiteX306" fmla="*/ 496575 w 9586368"/>
              <a:gd name="connsiteY306" fmla="*/ 6465478 h 6479439"/>
              <a:gd name="connsiteX307" fmla="*/ 496575 w 9586368"/>
              <a:gd name="connsiteY307" fmla="*/ 6475349 h 6479439"/>
              <a:gd name="connsiteX308" fmla="*/ 492556 w 9586368"/>
              <a:gd name="connsiteY308" fmla="*/ 6479388 h 6479439"/>
              <a:gd name="connsiteX309" fmla="*/ 482646 w 9586368"/>
              <a:gd name="connsiteY309" fmla="*/ 6479388 h 6479439"/>
              <a:gd name="connsiteX310" fmla="*/ 478627 w 9586368"/>
              <a:gd name="connsiteY310" fmla="*/ 6475349 h 6479439"/>
              <a:gd name="connsiteX311" fmla="*/ 478627 w 9586368"/>
              <a:gd name="connsiteY311" fmla="*/ 6465478 h 6479439"/>
              <a:gd name="connsiteX312" fmla="*/ 243332 w 9586368"/>
              <a:gd name="connsiteY312" fmla="*/ 6461440 h 6479439"/>
              <a:gd name="connsiteX313" fmla="*/ 253242 w 9586368"/>
              <a:gd name="connsiteY313" fmla="*/ 6461440 h 6479439"/>
              <a:gd name="connsiteX314" fmla="*/ 257261 w 9586368"/>
              <a:gd name="connsiteY314" fmla="*/ 6465478 h 6479439"/>
              <a:gd name="connsiteX315" fmla="*/ 257261 w 9586368"/>
              <a:gd name="connsiteY315" fmla="*/ 6475349 h 6479439"/>
              <a:gd name="connsiteX316" fmla="*/ 253242 w 9586368"/>
              <a:gd name="connsiteY316" fmla="*/ 6479388 h 6479439"/>
              <a:gd name="connsiteX317" fmla="*/ 243332 w 9586368"/>
              <a:gd name="connsiteY317" fmla="*/ 6479388 h 6479439"/>
              <a:gd name="connsiteX318" fmla="*/ 239313 w 9586368"/>
              <a:gd name="connsiteY318" fmla="*/ 6475349 h 6479439"/>
              <a:gd name="connsiteX319" fmla="*/ 239313 w 9586368"/>
              <a:gd name="connsiteY319" fmla="*/ 6465478 h 6479439"/>
              <a:gd name="connsiteX320" fmla="*/ 4019 w 9586368"/>
              <a:gd name="connsiteY320" fmla="*/ 6461440 h 6479439"/>
              <a:gd name="connsiteX321" fmla="*/ 13929 w 9586368"/>
              <a:gd name="connsiteY321" fmla="*/ 6461440 h 6479439"/>
              <a:gd name="connsiteX322" fmla="*/ 17949 w 9586368"/>
              <a:gd name="connsiteY322" fmla="*/ 6465478 h 6479439"/>
              <a:gd name="connsiteX323" fmla="*/ 17949 w 9586368"/>
              <a:gd name="connsiteY323" fmla="*/ 6475349 h 6479439"/>
              <a:gd name="connsiteX324" fmla="*/ 13929 w 9586368"/>
              <a:gd name="connsiteY324" fmla="*/ 6479388 h 6479439"/>
              <a:gd name="connsiteX325" fmla="*/ 4019 w 9586368"/>
              <a:gd name="connsiteY325" fmla="*/ 6479388 h 6479439"/>
              <a:gd name="connsiteX326" fmla="*/ 0 w 9586368"/>
              <a:gd name="connsiteY326" fmla="*/ 6475349 h 6479439"/>
              <a:gd name="connsiteX327" fmla="*/ 0 w 9586368"/>
              <a:gd name="connsiteY327" fmla="*/ 6465478 h 6479439"/>
              <a:gd name="connsiteX328" fmla="*/ 9572438 w 9586368"/>
              <a:gd name="connsiteY328" fmla="*/ 6222160 h 6479439"/>
              <a:gd name="connsiteX329" fmla="*/ 9582349 w 9586368"/>
              <a:gd name="connsiteY329" fmla="*/ 6222160 h 6479439"/>
              <a:gd name="connsiteX330" fmla="*/ 9586368 w 9586368"/>
              <a:gd name="connsiteY330" fmla="*/ 6226198 h 6479439"/>
              <a:gd name="connsiteX331" fmla="*/ 9586368 w 9586368"/>
              <a:gd name="connsiteY331" fmla="*/ 6236069 h 6479439"/>
              <a:gd name="connsiteX332" fmla="*/ 9582349 w 9586368"/>
              <a:gd name="connsiteY332" fmla="*/ 6240109 h 6479439"/>
              <a:gd name="connsiteX333" fmla="*/ 9572438 w 9586368"/>
              <a:gd name="connsiteY333" fmla="*/ 6240109 h 6479439"/>
              <a:gd name="connsiteX334" fmla="*/ 9568419 w 9586368"/>
              <a:gd name="connsiteY334" fmla="*/ 6236069 h 6479439"/>
              <a:gd name="connsiteX335" fmla="*/ 9568419 w 9586368"/>
              <a:gd name="connsiteY335" fmla="*/ 6226198 h 6479439"/>
              <a:gd name="connsiteX336" fmla="*/ 9333125 w 9586368"/>
              <a:gd name="connsiteY336" fmla="*/ 6222160 h 6479439"/>
              <a:gd name="connsiteX337" fmla="*/ 9343036 w 9586368"/>
              <a:gd name="connsiteY337" fmla="*/ 6222160 h 6479439"/>
              <a:gd name="connsiteX338" fmla="*/ 9347055 w 9586368"/>
              <a:gd name="connsiteY338" fmla="*/ 6226198 h 6479439"/>
              <a:gd name="connsiteX339" fmla="*/ 9347055 w 9586368"/>
              <a:gd name="connsiteY339" fmla="*/ 6236069 h 6479439"/>
              <a:gd name="connsiteX340" fmla="*/ 9343036 w 9586368"/>
              <a:gd name="connsiteY340" fmla="*/ 6240109 h 6479439"/>
              <a:gd name="connsiteX341" fmla="*/ 9333125 w 9586368"/>
              <a:gd name="connsiteY341" fmla="*/ 6240109 h 6479439"/>
              <a:gd name="connsiteX342" fmla="*/ 9329106 w 9586368"/>
              <a:gd name="connsiteY342" fmla="*/ 6236069 h 6479439"/>
              <a:gd name="connsiteX343" fmla="*/ 9329106 w 9586368"/>
              <a:gd name="connsiteY343" fmla="*/ 6226198 h 6479439"/>
              <a:gd name="connsiteX344" fmla="*/ 9093811 w 9586368"/>
              <a:gd name="connsiteY344" fmla="*/ 6222160 h 6479439"/>
              <a:gd name="connsiteX345" fmla="*/ 9103722 w 9586368"/>
              <a:gd name="connsiteY345" fmla="*/ 6222160 h 6479439"/>
              <a:gd name="connsiteX346" fmla="*/ 9107741 w 9586368"/>
              <a:gd name="connsiteY346" fmla="*/ 6226198 h 6479439"/>
              <a:gd name="connsiteX347" fmla="*/ 9107741 w 9586368"/>
              <a:gd name="connsiteY347" fmla="*/ 6236069 h 6479439"/>
              <a:gd name="connsiteX348" fmla="*/ 9103722 w 9586368"/>
              <a:gd name="connsiteY348" fmla="*/ 6240109 h 6479439"/>
              <a:gd name="connsiteX349" fmla="*/ 9093811 w 9586368"/>
              <a:gd name="connsiteY349" fmla="*/ 6240109 h 6479439"/>
              <a:gd name="connsiteX350" fmla="*/ 9089792 w 9586368"/>
              <a:gd name="connsiteY350" fmla="*/ 6236069 h 6479439"/>
              <a:gd name="connsiteX351" fmla="*/ 9089792 w 9586368"/>
              <a:gd name="connsiteY351" fmla="*/ 6226198 h 6479439"/>
              <a:gd name="connsiteX352" fmla="*/ 8854496 w 9586368"/>
              <a:gd name="connsiteY352" fmla="*/ 6222160 h 6479439"/>
              <a:gd name="connsiteX353" fmla="*/ 8864407 w 9586368"/>
              <a:gd name="connsiteY353" fmla="*/ 6222160 h 6479439"/>
              <a:gd name="connsiteX354" fmla="*/ 8868426 w 9586368"/>
              <a:gd name="connsiteY354" fmla="*/ 6226198 h 6479439"/>
              <a:gd name="connsiteX355" fmla="*/ 8868426 w 9586368"/>
              <a:gd name="connsiteY355" fmla="*/ 6236069 h 6479439"/>
              <a:gd name="connsiteX356" fmla="*/ 8864407 w 9586368"/>
              <a:gd name="connsiteY356" fmla="*/ 6240109 h 6479439"/>
              <a:gd name="connsiteX357" fmla="*/ 8854496 w 9586368"/>
              <a:gd name="connsiteY357" fmla="*/ 6240109 h 6479439"/>
              <a:gd name="connsiteX358" fmla="*/ 8850477 w 9586368"/>
              <a:gd name="connsiteY358" fmla="*/ 6236069 h 6479439"/>
              <a:gd name="connsiteX359" fmla="*/ 8850477 w 9586368"/>
              <a:gd name="connsiteY359" fmla="*/ 6226198 h 6479439"/>
              <a:gd name="connsiteX360" fmla="*/ 8615184 w 9586368"/>
              <a:gd name="connsiteY360" fmla="*/ 6222160 h 6479439"/>
              <a:gd name="connsiteX361" fmla="*/ 8625095 w 9586368"/>
              <a:gd name="connsiteY361" fmla="*/ 6222160 h 6479439"/>
              <a:gd name="connsiteX362" fmla="*/ 8629114 w 9586368"/>
              <a:gd name="connsiteY362" fmla="*/ 6226198 h 6479439"/>
              <a:gd name="connsiteX363" fmla="*/ 8629114 w 9586368"/>
              <a:gd name="connsiteY363" fmla="*/ 6236069 h 6479439"/>
              <a:gd name="connsiteX364" fmla="*/ 8625095 w 9586368"/>
              <a:gd name="connsiteY364" fmla="*/ 6240109 h 6479439"/>
              <a:gd name="connsiteX365" fmla="*/ 8615184 w 9586368"/>
              <a:gd name="connsiteY365" fmla="*/ 6240109 h 6479439"/>
              <a:gd name="connsiteX366" fmla="*/ 8611165 w 9586368"/>
              <a:gd name="connsiteY366" fmla="*/ 6236069 h 6479439"/>
              <a:gd name="connsiteX367" fmla="*/ 8611165 w 9586368"/>
              <a:gd name="connsiteY367" fmla="*/ 6226198 h 6479439"/>
              <a:gd name="connsiteX368" fmla="*/ 8375869 w 9586368"/>
              <a:gd name="connsiteY368" fmla="*/ 6222160 h 6479439"/>
              <a:gd name="connsiteX369" fmla="*/ 8385779 w 9586368"/>
              <a:gd name="connsiteY369" fmla="*/ 6222160 h 6479439"/>
              <a:gd name="connsiteX370" fmla="*/ 8389799 w 9586368"/>
              <a:gd name="connsiteY370" fmla="*/ 6226198 h 6479439"/>
              <a:gd name="connsiteX371" fmla="*/ 8389799 w 9586368"/>
              <a:gd name="connsiteY371" fmla="*/ 6236069 h 6479439"/>
              <a:gd name="connsiteX372" fmla="*/ 8385779 w 9586368"/>
              <a:gd name="connsiteY372" fmla="*/ 6240109 h 6479439"/>
              <a:gd name="connsiteX373" fmla="*/ 8375869 w 9586368"/>
              <a:gd name="connsiteY373" fmla="*/ 6240109 h 6479439"/>
              <a:gd name="connsiteX374" fmla="*/ 8371850 w 9586368"/>
              <a:gd name="connsiteY374" fmla="*/ 6236069 h 6479439"/>
              <a:gd name="connsiteX375" fmla="*/ 8371850 w 9586368"/>
              <a:gd name="connsiteY375" fmla="*/ 6226198 h 6479439"/>
              <a:gd name="connsiteX376" fmla="*/ 8136553 w 9586368"/>
              <a:gd name="connsiteY376" fmla="*/ 6222160 h 6479439"/>
              <a:gd name="connsiteX377" fmla="*/ 8146464 w 9586368"/>
              <a:gd name="connsiteY377" fmla="*/ 6222160 h 6479439"/>
              <a:gd name="connsiteX378" fmla="*/ 8150483 w 9586368"/>
              <a:gd name="connsiteY378" fmla="*/ 6226198 h 6479439"/>
              <a:gd name="connsiteX379" fmla="*/ 8150483 w 9586368"/>
              <a:gd name="connsiteY379" fmla="*/ 6236069 h 6479439"/>
              <a:gd name="connsiteX380" fmla="*/ 8146464 w 9586368"/>
              <a:gd name="connsiteY380" fmla="*/ 6240109 h 6479439"/>
              <a:gd name="connsiteX381" fmla="*/ 8136553 w 9586368"/>
              <a:gd name="connsiteY381" fmla="*/ 6240109 h 6479439"/>
              <a:gd name="connsiteX382" fmla="*/ 8132534 w 9586368"/>
              <a:gd name="connsiteY382" fmla="*/ 6236069 h 6479439"/>
              <a:gd name="connsiteX383" fmla="*/ 8132534 w 9586368"/>
              <a:gd name="connsiteY383" fmla="*/ 6226198 h 6479439"/>
              <a:gd name="connsiteX384" fmla="*/ 7897241 w 9586368"/>
              <a:gd name="connsiteY384" fmla="*/ 6222160 h 6479439"/>
              <a:gd name="connsiteX385" fmla="*/ 7907151 w 9586368"/>
              <a:gd name="connsiteY385" fmla="*/ 6222160 h 6479439"/>
              <a:gd name="connsiteX386" fmla="*/ 7911170 w 9586368"/>
              <a:gd name="connsiteY386" fmla="*/ 6226198 h 6479439"/>
              <a:gd name="connsiteX387" fmla="*/ 7911170 w 9586368"/>
              <a:gd name="connsiteY387" fmla="*/ 6236069 h 6479439"/>
              <a:gd name="connsiteX388" fmla="*/ 7907151 w 9586368"/>
              <a:gd name="connsiteY388" fmla="*/ 6240109 h 6479439"/>
              <a:gd name="connsiteX389" fmla="*/ 7897241 w 9586368"/>
              <a:gd name="connsiteY389" fmla="*/ 6240109 h 6479439"/>
              <a:gd name="connsiteX390" fmla="*/ 7893222 w 9586368"/>
              <a:gd name="connsiteY390" fmla="*/ 6236069 h 6479439"/>
              <a:gd name="connsiteX391" fmla="*/ 7893222 w 9586368"/>
              <a:gd name="connsiteY391" fmla="*/ 6226198 h 6479439"/>
              <a:gd name="connsiteX392" fmla="*/ 7657926 w 9586368"/>
              <a:gd name="connsiteY392" fmla="*/ 6222160 h 6479439"/>
              <a:gd name="connsiteX393" fmla="*/ 7667836 w 9586368"/>
              <a:gd name="connsiteY393" fmla="*/ 6222160 h 6479439"/>
              <a:gd name="connsiteX394" fmla="*/ 7671855 w 9586368"/>
              <a:gd name="connsiteY394" fmla="*/ 6226198 h 6479439"/>
              <a:gd name="connsiteX395" fmla="*/ 7671855 w 9586368"/>
              <a:gd name="connsiteY395" fmla="*/ 6236069 h 6479439"/>
              <a:gd name="connsiteX396" fmla="*/ 7667836 w 9586368"/>
              <a:gd name="connsiteY396" fmla="*/ 6240109 h 6479439"/>
              <a:gd name="connsiteX397" fmla="*/ 7657926 w 9586368"/>
              <a:gd name="connsiteY397" fmla="*/ 6240109 h 6479439"/>
              <a:gd name="connsiteX398" fmla="*/ 7653906 w 9586368"/>
              <a:gd name="connsiteY398" fmla="*/ 6236069 h 6479439"/>
              <a:gd name="connsiteX399" fmla="*/ 7653906 w 9586368"/>
              <a:gd name="connsiteY399" fmla="*/ 6226198 h 6479439"/>
              <a:gd name="connsiteX400" fmla="*/ 7418611 w 9586368"/>
              <a:gd name="connsiteY400" fmla="*/ 6222160 h 6479439"/>
              <a:gd name="connsiteX401" fmla="*/ 7428521 w 9586368"/>
              <a:gd name="connsiteY401" fmla="*/ 6222160 h 6479439"/>
              <a:gd name="connsiteX402" fmla="*/ 7432540 w 9586368"/>
              <a:gd name="connsiteY402" fmla="*/ 6226198 h 6479439"/>
              <a:gd name="connsiteX403" fmla="*/ 7432540 w 9586368"/>
              <a:gd name="connsiteY403" fmla="*/ 6236069 h 6479439"/>
              <a:gd name="connsiteX404" fmla="*/ 7428521 w 9586368"/>
              <a:gd name="connsiteY404" fmla="*/ 6240109 h 6479439"/>
              <a:gd name="connsiteX405" fmla="*/ 7418611 w 9586368"/>
              <a:gd name="connsiteY405" fmla="*/ 6240109 h 6479439"/>
              <a:gd name="connsiteX406" fmla="*/ 7414592 w 9586368"/>
              <a:gd name="connsiteY406" fmla="*/ 6236069 h 6479439"/>
              <a:gd name="connsiteX407" fmla="*/ 7414592 w 9586368"/>
              <a:gd name="connsiteY407" fmla="*/ 6226198 h 6479439"/>
              <a:gd name="connsiteX408" fmla="*/ 7179298 w 9586368"/>
              <a:gd name="connsiteY408" fmla="*/ 6222160 h 6479439"/>
              <a:gd name="connsiteX409" fmla="*/ 7189209 w 9586368"/>
              <a:gd name="connsiteY409" fmla="*/ 6222160 h 6479439"/>
              <a:gd name="connsiteX410" fmla="*/ 7193228 w 9586368"/>
              <a:gd name="connsiteY410" fmla="*/ 6226198 h 6479439"/>
              <a:gd name="connsiteX411" fmla="*/ 7193228 w 9586368"/>
              <a:gd name="connsiteY411" fmla="*/ 6236069 h 6479439"/>
              <a:gd name="connsiteX412" fmla="*/ 7189209 w 9586368"/>
              <a:gd name="connsiteY412" fmla="*/ 6240109 h 6479439"/>
              <a:gd name="connsiteX413" fmla="*/ 7179298 w 9586368"/>
              <a:gd name="connsiteY413" fmla="*/ 6240109 h 6479439"/>
              <a:gd name="connsiteX414" fmla="*/ 7175279 w 9586368"/>
              <a:gd name="connsiteY414" fmla="*/ 6236069 h 6479439"/>
              <a:gd name="connsiteX415" fmla="*/ 7175279 w 9586368"/>
              <a:gd name="connsiteY415" fmla="*/ 6226198 h 6479439"/>
              <a:gd name="connsiteX416" fmla="*/ 6939983 w 9586368"/>
              <a:gd name="connsiteY416" fmla="*/ 6222160 h 6479439"/>
              <a:gd name="connsiteX417" fmla="*/ 6949894 w 9586368"/>
              <a:gd name="connsiteY417" fmla="*/ 6222160 h 6479439"/>
              <a:gd name="connsiteX418" fmla="*/ 6953913 w 9586368"/>
              <a:gd name="connsiteY418" fmla="*/ 6226198 h 6479439"/>
              <a:gd name="connsiteX419" fmla="*/ 6953913 w 9586368"/>
              <a:gd name="connsiteY419" fmla="*/ 6236069 h 6479439"/>
              <a:gd name="connsiteX420" fmla="*/ 6949894 w 9586368"/>
              <a:gd name="connsiteY420" fmla="*/ 6240109 h 6479439"/>
              <a:gd name="connsiteX421" fmla="*/ 6939983 w 9586368"/>
              <a:gd name="connsiteY421" fmla="*/ 6240109 h 6479439"/>
              <a:gd name="connsiteX422" fmla="*/ 6935964 w 9586368"/>
              <a:gd name="connsiteY422" fmla="*/ 6236069 h 6479439"/>
              <a:gd name="connsiteX423" fmla="*/ 6935964 w 9586368"/>
              <a:gd name="connsiteY423" fmla="*/ 6226198 h 6479439"/>
              <a:gd name="connsiteX424" fmla="*/ 6700670 w 9586368"/>
              <a:gd name="connsiteY424" fmla="*/ 6222160 h 6479439"/>
              <a:gd name="connsiteX425" fmla="*/ 6710581 w 9586368"/>
              <a:gd name="connsiteY425" fmla="*/ 6222160 h 6479439"/>
              <a:gd name="connsiteX426" fmla="*/ 6714600 w 9586368"/>
              <a:gd name="connsiteY426" fmla="*/ 6226198 h 6479439"/>
              <a:gd name="connsiteX427" fmla="*/ 6714600 w 9586368"/>
              <a:gd name="connsiteY427" fmla="*/ 6236069 h 6479439"/>
              <a:gd name="connsiteX428" fmla="*/ 6710581 w 9586368"/>
              <a:gd name="connsiteY428" fmla="*/ 6240109 h 6479439"/>
              <a:gd name="connsiteX429" fmla="*/ 6700670 w 9586368"/>
              <a:gd name="connsiteY429" fmla="*/ 6240109 h 6479439"/>
              <a:gd name="connsiteX430" fmla="*/ 6696651 w 9586368"/>
              <a:gd name="connsiteY430" fmla="*/ 6236069 h 6479439"/>
              <a:gd name="connsiteX431" fmla="*/ 6696651 w 9586368"/>
              <a:gd name="connsiteY431" fmla="*/ 6226198 h 6479439"/>
              <a:gd name="connsiteX432" fmla="*/ 6461356 w 9586368"/>
              <a:gd name="connsiteY432" fmla="*/ 6222160 h 6479439"/>
              <a:gd name="connsiteX433" fmla="*/ 6471266 w 9586368"/>
              <a:gd name="connsiteY433" fmla="*/ 6222160 h 6479439"/>
              <a:gd name="connsiteX434" fmla="*/ 6475285 w 9586368"/>
              <a:gd name="connsiteY434" fmla="*/ 6226198 h 6479439"/>
              <a:gd name="connsiteX435" fmla="*/ 6475285 w 9586368"/>
              <a:gd name="connsiteY435" fmla="*/ 6236069 h 6479439"/>
              <a:gd name="connsiteX436" fmla="*/ 6471266 w 9586368"/>
              <a:gd name="connsiteY436" fmla="*/ 6240109 h 6479439"/>
              <a:gd name="connsiteX437" fmla="*/ 6461356 w 9586368"/>
              <a:gd name="connsiteY437" fmla="*/ 6240109 h 6479439"/>
              <a:gd name="connsiteX438" fmla="*/ 6457337 w 9586368"/>
              <a:gd name="connsiteY438" fmla="*/ 6236069 h 6479439"/>
              <a:gd name="connsiteX439" fmla="*/ 6457337 w 9586368"/>
              <a:gd name="connsiteY439" fmla="*/ 6226198 h 6479439"/>
              <a:gd name="connsiteX440" fmla="*/ 6222042 w 9586368"/>
              <a:gd name="connsiteY440" fmla="*/ 6222160 h 6479439"/>
              <a:gd name="connsiteX441" fmla="*/ 6231952 w 9586368"/>
              <a:gd name="connsiteY441" fmla="*/ 6222160 h 6479439"/>
              <a:gd name="connsiteX442" fmla="*/ 6235971 w 9586368"/>
              <a:gd name="connsiteY442" fmla="*/ 6226198 h 6479439"/>
              <a:gd name="connsiteX443" fmla="*/ 6235971 w 9586368"/>
              <a:gd name="connsiteY443" fmla="*/ 6236069 h 6479439"/>
              <a:gd name="connsiteX444" fmla="*/ 6231952 w 9586368"/>
              <a:gd name="connsiteY444" fmla="*/ 6240109 h 6479439"/>
              <a:gd name="connsiteX445" fmla="*/ 6222042 w 9586368"/>
              <a:gd name="connsiteY445" fmla="*/ 6240109 h 6479439"/>
              <a:gd name="connsiteX446" fmla="*/ 6218023 w 9586368"/>
              <a:gd name="connsiteY446" fmla="*/ 6236069 h 6479439"/>
              <a:gd name="connsiteX447" fmla="*/ 6218023 w 9586368"/>
              <a:gd name="connsiteY447" fmla="*/ 6226198 h 6479439"/>
              <a:gd name="connsiteX448" fmla="*/ 5982729 w 9586368"/>
              <a:gd name="connsiteY448" fmla="*/ 6222160 h 6479439"/>
              <a:gd name="connsiteX449" fmla="*/ 5992639 w 9586368"/>
              <a:gd name="connsiteY449" fmla="*/ 6222160 h 6479439"/>
              <a:gd name="connsiteX450" fmla="*/ 5996658 w 9586368"/>
              <a:gd name="connsiteY450" fmla="*/ 6226198 h 6479439"/>
              <a:gd name="connsiteX451" fmla="*/ 5996658 w 9586368"/>
              <a:gd name="connsiteY451" fmla="*/ 6236069 h 6479439"/>
              <a:gd name="connsiteX452" fmla="*/ 5992639 w 9586368"/>
              <a:gd name="connsiteY452" fmla="*/ 6240109 h 6479439"/>
              <a:gd name="connsiteX453" fmla="*/ 5982729 w 9586368"/>
              <a:gd name="connsiteY453" fmla="*/ 6240109 h 6479439"/>
              <a:gd name="connsiteX454" fmla="*/ 5978710 w 9586368"/>
              <a:gd name="connsiteY454" fmla="*/ 6236069 h 6479439"/>
              <a:gd name="connsiteX455" fmla="*/ 5978710 w 9586368"/>
              <a:gd name="connsiteY455" fmla="*/ 6226198 h 6479439"/>
              <a:gd name="connsiteX456" fmla="*/ 5743412 w 9586368"/>
              <a:gd name="connsiteY456" fmla="*/ 6222160 h 6479439"/>
              <a:gd name="connsiteX457" fmla="*/ 5753323 w 9586368"/>
              <a:gd name="connsiteY457" fmla="*/ 6222160 h 6479439"/>
              <a:gd name="connsiteX458" fmla="*/ 5757342 w 9586368"/>
              <a:gd name="connsiteY458" fmla="*/ 6226198 h 6479439"/>
              <a:gd name="connsiteX459" fmla="*/ 5757342 w 9586368"/>
              <a:gd name="connsiteY459" fmla="*/ 6236069 h 6479439"/>
              <a:gd name="connsiteX460" fmla="*/ 5753323 w 9586368"/>
              <a:gd name="connsiteY460" fmla="*/ 6240109 h 6479439"/>
              <a:gd name="connsiteX461" fmla="*/ 5743412 w 9586368"/>
              <a:gd name="connsiteY461" fmla="*/ 6240109 h 6479439"/>
              <a:gd name="connsiteX462" fmla="*/ 5739393 w 9586368"/>
              <a:gd name="connsiteY462" fmla="*/ 6236069 h 6479439"/>
              <a:gd name="connsiteX463" fmla="*/ 5739393 w 9586368"/>
              <a:gd name="connsiteY463" fmla="*/ 6226198 h 6479439"/>
              <a:gd name="connsiteX464" fmla="*/ 5504099 w 9586368"/>
              <a:gd name="connsiteY464" fmla="*/ 6222160 h 6479439"/>
              <a:gd name="connsiteX465" fmla="*/ 5514010 w 9586368"/>
              <a:gd name="connsiteY465" fmla="*/ 6222160 h 6479439"/>
              <a:gd name="connsiteX466" fmla="*/ 5518029 w 9586368"/>
              <a:gd name="connsiteY466" fmla="*/ 6226198 h 6479439"/>
              <a:gd name="connsiteX467" fmla="*/ 5518029 w 9586368"/>
              <a:gd name="connsiteY467" fmla="*/ 6236069 h 6479439"/>
              <a:gd name="connsiteX468" fmla="*/ 5514010 w 9586368"/>
              <a:gd name="connsiteY468" fmla="*/ 6240109 h 6479439"/>
              <a:gd name="connsiteX469" fmla="*/ 5504099 w 9586368"/>
              <a:gd name="connsiteY469" fmla="*/ 6240109 h 6479439"/>
              <a:gd name="connsiteX470" fmla="*/ 5500080 w 9586368"/>
              <a:gd name="connsiteY470" fmla="*/ 6236069 h 6479439"/>
              <a:gd name="connsiteX471" fmla="*/ 5500080 w 9586368"/>
              <a:gd name="connsiteY471" fmla="*/ 6226198 h 6479439"/>
              <a:gd name="connsiteX472" fmla="*/ 5264784 w 9586368"/>
              <a:gd name="connsiteY472" fmla="*/ 6222160 h 6479439"/>
              <a:gd name="connsiteX473" fmla="*/ 5274694 w 9586368"/>
              <a:gd name="connsiteY473" fmla="*/ 6222160 h 6479439"/>
              <a:gd name="connsiteX474" fmla="*/ 5278713 w 9586368"/>
              <a:gd name="connsiteY474" fmla="*/ 6226198 h 6479439"/>
              <a:gd name="connsiteX475" fmla="*/ 5278713 w 9586368"/>
              <a:gd name="connsiteY475" fmla="*/ 6236069 h 6479439"/>
              <a:gd name="connsiteX476" fmla="*/ 5274694 w 9586368"/>
              <a:gd name="connsiteY476" fmla="*/ 6240109 h 6479439"/>
              <a:gd name="connsiteX477" fmla="*/ 5264784 w 9586368"/>
              <a:gd name="connsiteY477" fmla="*/ 6240109 h 6479439"/>
              <a:gd name="connsiteX478" fmla="*/ 5260765 w 9586368"/>
              <a:gd name="connsiteY478" fmla="*/ 6236069 h 6479439"/>
              <a:gd name="connsiteX479" fmla="*/ 5260765 w 9586368"/>
              <a:gd name="connsiteY479" fmla="*/ 6226198 h 6479439"/>
              <a:gd name="connsiteX480" fmla="*/ 5025470 w 9586368"/>
              <a:gd name="connsiteY480" fmla="*/ 6222160 h 6479439"/>
              <a:gd name="connsiteX481" fmla="*/ 5035381 w 9586368"/>
              <a:gd name="connsiteY481" fmla="*/ 6222160 h 6479439"/>
              <a:gd name="connsiteX482" fmla="*/ 5039400 w 9586368"/>
              <a:gd name="connsiteY482" fmla="*/ 6226198 h 6479439"/>
              <a:gd name="connsiteX483" fmla="*/ 5039400 w 9586368"/>
              <a:gd name="connsiteY483" fmla="*/ 6236069 h 6479439"/>
              <a:gd name="connsiteX484" fmla="*/ 5035381 w 9586368"/>
              <a:gd name="connsiteY484" fmla="*/ 6240109 h 6479439"/>
              <a:gd name="connsiteX485" fmla="*/ 5025470 w 9586368"/>
              <a:gd name="connsiteY485" fmla="*/ 6240109 h 6479439"/>
              <a:gd name="connsiteX486" fmla="*/ 5021451 w 9586368"/>
              <a:gd name="connsiteY486" fmla="*/ 6236069 h 6479439"/>
              <a:gd name="connsiteX487" fmla="*/ 5021451 w 9586368"/>
              <a:gd name="connsiteY487" fmla="*/ 6226198 h 6479439"/>
              <a:gd name="connsiteX488" fmla="*/ 4786241 w 9586368"/>
              <a:gd name="connsiteY488" fmla="*/ 6222160 h 6479439"/>
              <a:gd name="connsiteX489" fmla="*/ 4796152 w 9586368"/>
              <a:gd name="connsiteY489" fmla="*/ 6222160 h 6479439"/>
              <a:gd name="connsiteX490" fmla="*/ 4800171 w 9586368"/>
              <a:gd name="connsiteY490" fmla="*/ 6226198 h 6479439"/>
              <a:gd name="connsiteX491" fmla="*/ 4800171 w 9586368"/>
              <a:gd name="connsiteY491" fmla="*/ 6236069 h 6479439"/>
              <a:gd name="connsiteX492" fmla="*/ 4796152 w 9586368"/>
              <a:gd name="connsiteY492" fmla="*/ 6240109 h 6479439"/>
              <a:gd name="connsiteX493" fmla="*/ 4786241 w 9586368"/>
              <a:gd name="connsiteY493" fmla="*/ 6240109 h 6479439"/>
              <a:gd name="connsiteX494" fmla="*/ 4782224 w 9586368"/>
              <a:gd name="connsiteY494" fmla="*/ 6236069 h 6479439"/>
              <a:gd name="connsiteX495" fmla="*/ 4782224 w 9586368"/>
              <a:gd name="connsiteY495" fmla="*/ 6226198 h 6479439"/>
              <a:gd name="connsiteX496" fmla="*/ 4546929 w 9586368"/>
              <a:gd name="connsiteY496" fmla="*/ 6222160 h 6479439"/>
              <a:gd name="connsiteX497" fmla="*/ 4556840 w 9586368"/>
              <a:gd name="connsiteY497" fmla="*/ 6222160 h 6479439"/>
              <a:gd name="connsiteX498" fmla="*/ 4560859 w 9586368"/>
              <a:gd name="connsiteY498" fmla="*/ 6226198 h 6479439"/>
              <a:gd name="connsiteX499" fmla="*/ 4560859 w 9586368"/>
              <a:gd name="connsiteY499" fmla="*/ 6236069 h 6479439"/>
              <a:gd name="connsiteX500" fmla="*/ 4556840 w 9586368"/>
              <a:gd name="connsiteY500" fmla="*/ 6240109 h 6479439"/>
              <a:gd name="connsiteX501" fmla="*/ 4546929 w 9586368"/>
              <a:gd name="connsiteY501" fmla="*/ 6240109 h 6479439"/>
              <a:gd name="connsiteX502" fmla="*/ 4542910 w 9586368"/>
              <a:gd name="connsiteY502" fmla="*/ 6236069 h 6479439"/>
              <a:gd name="connsiteX503" fmla="*/ 4542910 w 9586368"/>
              <a:gd name="connsiteY503" fmla="*/ 6226198 h 6479439"/>
              <a:gd name="connsiteX504" fmla="*/ 4307612 w 9586368"/>
              <a:gd name="connsiteY504" fmla="*/ 6222160 h 6479439"/>
              <a:gd name="connsiteX505" fmla="*/ 4317523 w 9586368"/>
              <a:gd name="connsiteY505" fmla="*/ 6222160 h 6479439"/>
              <a:gd name="connsiteX506" fmla="*/ 4321543 w 9586368"/>
              <a:gd name="connsiteY506" fmla="*/ 6226198 h 6479439"/>
              <a:gd name="connsiteX507" fmla="*/ 4321543 w 9586368"/>
              <a:gd name="connsiteY507" fmla="*/ 6236069 h 6479439"/>
              <a:gd name="connsiteX508" fmla="*/ 4317523 w 9586368"/>
              <a:gd name="connsiteY508" fmla="*/ 6240109 h 6479439"/>
              <a:gd name="connsiteX509" fmla="*/ 4307612 w 9586368"/>
              <a:gd name="connsiteY509" fmla="*/ 6240109 h 6479439"/>
              <a:gd name="connsiteX510" fmla="*/ 4303595 w 9586368"/>
              <a:gd name="connsiteY510" fmla="*/ 6236069 h 6479439"/>
              <a:gd name="connsiteX511" fmla="*/ 4303595 w 9586368"/>
              <a:gd name="connsiteY511" fmla="*/ 6226198 h 6479439"/>
              <a:gd name="connsiteX512" fmla="*/ 4068297 w 9586368"/>
              <a:gd name="connsiteY512" fmla="*/ 6222160 h 6479439"/>
              <a:gd name="connsiteX513" fmla="*/ 4078210 w 9586368"/>
              <a:gd name="connsiteY513" fmla="*/ 6222160 h 6479439"/>
              <a:gd name="connsiteX514" fmla="*/ 4082229 w 9586368"/>
              <a:gd name="connsiteY514" fmla="*/ 6226198 h 6479439"/>
              <a:gd name="connsiteX515" fmla="*/ 4082229 w 9586368"/>
              <a:gd name="connsiteY515" fmla="*/ 6236069 h 6479439"/>
              <a:gd name="connsiteX516" fmla="*/ 4078210 w 9586368"/>
              <a:gd name="connsiteY516" fmla="*/ 6240109 h 6479439"/>
              <a:gd name="connsiteX517" fmla="*/ 4068297 w 9586368"/>
              <a:gd name="connsiteY517" fmla="*/ 6240109 h 6479439"/>
              <a:gd name="connsiteX518" fmla="*/ 4064278 w 9586368"/>
              <a:gd name="connsiteY518" fmla="*/ 6236069 h 6479439"/>
              <a:gd name="connsiteX519" fmla="*/ 4064278 w 9586368"/>
              <a:gd name="connsiteY519" fmla="*/ 6226198 h 6479439"/>
              <a:gd name="connsiteX520" fmla="*/ 3828990 w 9586368"/>
              <a:gd name="connsiteY520" fmla="*/ 6222160 h 6479439"/>
              <a:gd name="connsiteX521" fmla="*/ 3838899 w 9586368"/>
              <a:gd name="connsiteY521" fmla="*/ 6222160 h 6479439"/>
              <a:gd name="connsiteX522" fmla="*/ 3842917 w 9586368"/>
              <a:gd name="connsiteY522" fmla="*/ 6226198 h 6479439"/>
              <a:gd name="connsiteX523" fmla="*/ 3842917 w 9586368"/>
              <a:gd name="connsiteY523" fmla="*/ 6236069 h 6479439"/>
              <a:gd name="connsiteX524" fmla="*/ 3838899 w 9586368"/>
              <a:gd name="connsiteY524" fmla="*/ 6240109 h 6479439"/>
              <a:gd name="connsiteX525" fmla="*/ 3828990 w 9586368"/>
              <a:gd name="connsiteY525" fmla="*/ 6240109 h 6479439"/>
              <a:gd name="connsiteX526" fmla="*/ 3824971 w 9586368"/>
              <a:gd name="connsiteY526" fmla="*/ 6236069 h 6479439"/>
              <a:gd name="connsiteX527" fmla="*/ 3824971 w 9586368"/>
              <a:gd name="connsiteY527" fmla="*/ 6226198 h 6479439"/>
              <a:gd name="connsiteX528" fmla="*/ 3589676 w 9586368"/>
              <a:gd name="connsiteY528" fmla="*/ 6222160 h 6479439"/>
              <a:gd name="connsiteX529" fmla="*/ 3599585 w 9586368"/>
              <a:gd name="connsiteY529" fmla="*/ 6222160 h 6479439"/>
              <a:gd name="connsiteX530" fmla="*/ 3603604 w 9586368"/>
              <a:gd name="connsiteY530" fmla="*/ 6226198 h 6479439"/>
              <a:gd name="connsiteX531" fmla="*/ 3603604 w 9586368"/>
              <a:gd name="connsiteY531" fmla="*/ 6236069 h 6479439"/>
              <a:gd name="connsiteX532" fmla="*/ 3599585 w 9586368"/>
              <a:gd name="connsiteY532" fmla="*/ 6240109 h 6479439"/>
              <a:gd name="connsiteX533" fmla="*/ 3589676 w 9586368"/>
              <a:gd name="connsiteY533" fmla="*/ 6240109 h 6479439"/>
              <a:gd name="connsiteX534" fmla="*/ 3585657 w 9586368"/>
              <a:gd name="connsiteY534" fmla="*/ 6236069 h 6479439"/>
              <a:gd name="connsiteX535" fmla="*/ 3585657 w 9586368"/>
              <a:gd name="connsiteY535" fmla="*/ 6226198 h 6479439"/>
              <a:gd name="connsiteX536" fmla="*/ 3350359 w 9586368"/>
              <a:gd name="connsiteY536" fmla="*/ 6222160 h 6479439"/>
              <a:gd name="connsiteX537" fmla="*/ 3360268 w 9586368"/>
              <a:gd name="connsiteY537" fmla="*/ 6222160 h 6479439"/>
              <a:gd name="connsiteX538" fmla="*/ 3364287 w 9586368"/>
              <a:gd name="connsiteY538" fmla="*/ 6226198 h 6479439"/>
              <a:gd name="connsiteX539" fmla="*/ 3364287 w 9586368"/>
              <a:gd name="connsiteY539" fmla="*/ 6236069 h 6479439"/>
              <a:gd name="connsiteX540" fmla="*/ 3360268 w 9586368"/>
              <a:gd name="connsiteY540" fmla="*/ 6240109 h 6479439"/>
              <a:gd name="connsiteX541" fmla="*/ 3350359 w 9586368"/>
              <a:gd name="connsiteY541" fmla="*/ 6240109 h 6479439"/>
              <a:gd name="connsiteX542" fmla="*/ 3346340 w 9586368"/>
              <a:gd name="connsiteY542" fmla="*/ 6236069 h 6479439"/>
              <a:gd name="connsiteX543" fmla="*/ 3346340 w 9586368"/>
              <a:gd name="connsiteY543" fmla="*/ 6226198 h 6479439"/>
              <a:gd name="connsiteX544" fmla="*/ 3111048 w 9586368"/>
              <a:gd name="connsiteY544" fmla="*/ 6222160 h 6479439"/>
              <a:gd name="connsiteX545" fmla="*/ 3120959 w 9586368"/>
              <a:gd name="connsiteY545" fmla="*/ 6222160 h 6479439"/>
              <a:gd name="connsiteX546" fmla="*/ 3124977 w 9586368"/>
              <a:gd name="connsiteY546" fmla="*/ 6226198 h 6479439"/>
              <a:gd name="connsiteX547" fmla="*/ 3124977 w 9586368"/>
              <a:gd name="connsiteY547" fmla="*/ 6236069 h 6479439"/>
              <a:gd name="connsiteX548" fmla="*/ 3120959 w 9586368"/>
              <a:gd name="connsiteY548" fmla="*/ 6240109 h 6479439"/>
              <a:gd name="connsiteX549" fmla="*/ 3111048 w 9586368"/>
              <a:gd name="connsiteY549" fmla="*/ 6240109 h 6479439"/>
              <a:gd name="connsiteX550" fmla="*/ 3107029 w 9586368"/>
              <a:gd name="connsiteY550" fmla="*/ 6236069 h 6479439"/>
              <a:gd name="connsiteX551" fmla="*/ 3107029 w 9586368"/>
              <a:gd name="connsiteY551" fmla="*/ 6226198 h 6479439"/>
              <a:gd name="connsiteX552" fmla="*/ 2871737 w 9586368"/>
              <a:gd name="connsiteY552" fmla="*/ 6222160 h 6479439"/>
              <a:gd name="connsiteX553" fmla="*/ 2881646 w 9586368"/>
              <a:gd name="connsiteY553" fmla="*/ 6222160 h 6479439"/>
              <a:gd name="connsiteX554" fmla="*/ 2885666 w 9586368"/>
              <a:gd name="connsiteY554" fmla="*/ 6226198 h 6479439"/>
              <a:gd name="connsiteX555" fmla="*/ 2885666 w 9586368"/>
              <a:gd name="connsiteY555" fmla="*/ 6236069 h 6479439"/>
              <a:gd name="connsiteX556" fmla="*/ 2881646 w 9586368"/>
              <a:gd name="connsiteY556" fmla="*/ 6240109 h 6479439"/>
              <a:gd name="connsiteX557" fmla="*/ 2871737 w 9586368"/>
              <a:gd name="connsiteY557" fmla="*/ 6240109 h 6479439"/>
              <a:gd name="connsiteX558" fmla="*/ 2867717 w 9586368"/>
              <a:gd name="connsiteY558" fmla="*/ 6236069 h 6479439"/>
              <a:gd name="connsiteX559" fmla="*/ 2867717 w 9586368"/>
              <a:gd name="connsiteY559" fmla="*/ 6226198 h 6479439"/>
              <a:gd name="connsiteX560" fmla="*/ 2632423 w 9586368"/>
              <a:gd name="connsiteY560" fmla="*/ 6222160 h 6479439"/>
              <a:gd name="connsiteX561" fmla="*/ 2642334 w 9586368"/>
              <a:gd name="connsiteY561" fmla="*/ 6222160 h 6479439"/>
              <a:gd name="connsiteX562" fmla="*/ 2646352 w 9586368"/>
              <a:gd name="connsiteY562" fmla="*/ 6226198 h 6479439"/>
              <a:gd name="connsiteX563" fmla="*/ 2646352 w 9586368"/>
              <a:gd name="connsiteY563" fmla="*/ 6236069 h 6479439"/>
              <a:gd name="connsiteX564" fmla="*/ 2642334 w 9586368"/>
              <a:gd name="connsiteY564" fmla="*/ 6240109 h 6479439"/>
              <a:gd name="connsiteX565" fmla="*/ 2632423 w 9586368"/>
              <a:gd name="connsiteY565" fmla="*/ 6240109 h 6479439"/>
              <a:gd name="connsiteX566" fmla="*/ 2628404 w 9586368"/>
              <a:gd name="connsiteY566" fmla="*/ 6236069 h 6479439"/>
              <a:gd name="connsiteX567" fmla="*/ 2628404 w 9586368"/>
              <a:gd name="connsiteY567" fmla="*/ 6226198 h 6479439"/>
              <a:gd name="connsiteX568" fmla="*/ 2393104 w 9586368"/>
              <a:gd name="connsiteY568" fmla="*/ 6222160 h 6479439"/>
              <a:gd name="connsiteX569" fmla="*/ 2403015 w 9586368"/>
              <a:gd name="connsiteY569" fmla="*/ 6222160 h 6479439"/>
              <a:gd name="connsiteX570" fmla="*/ 2407034 w 9586368"/>
              <a:gd name="connsiteY570" fmla="*/ 6226198 h 6479439"/>
              <a:gd name="connsiteX571" fmla="*/ 2407034 w 9586368"/>
              <a:gd name="connsiteY571" fmla="*/ 6236069 h 6479439"/>
              <a:gd name="connsiteX572" fmla="*/ 2403015 w 9586368"/>
              <a:gd name="connsiteY572" fmla="*/ 6240109 h 6479439"/>
              <a:gd name="connsiteX573" fmla="*/ 2393104 w 9586368"/>
              <a:gd name="connsiteY573" fmla="*/ 6240109 h 6479439"/>
              <a:gd name="connsiteX574" fmla="*/ 2389087 w 9586368"/>
              <a:gd name="connsiteY574" fmla="*/ 6236069 h 6479439"/>
              <a:gd name="connsiteX575" fmla="*/ 2389087 w 9586368"/>
              <a:gd name="connsiteY575" fmla="*/ 6226198 h 6479439"/>
              <a:gd name="connsiteX576" fmla="*/ 2157818 w 9586368"/>
              <a:gd name="connsiteY576" fmla="*/ 6222160 h 6479439"/>
              <a:gd name="connsiteX577" fmla="*/ 2167728 w 9586368"/>
              <a:gd name="connsiteY577" fmla="*/ 6222160 h 6479439"/>
              <a:gd name="connsiteX578" fmla="*/ 2171746 w 9586368"/>
              <a:gd name="connsiteY578" fmla="*/ 6226198 h 6479439"/>
              <a:gd name="connsiteX579" fmla="*/ 2171746 w 9586368"/>
              <a:gd name="connsiteY579" fmla="*/ 6236069 h 6479439"/>
              <a:gd name="connsiteX580" fmla="*/ 2167728 w 9586368"/>
              <a:gd name="connsiteY580" fmla="*/ 6240109 h 6479439"/>
              <a:gd name="connsiteX581" fmla="*/ 2157818 w 9586368"/>
              <a:gd name="connsiteY581" fmla="*/ 6240109 h 6479439"/>
              <a:gd name="connsiteX582" fmla="*/ 2153799 w 9586368"/>
              <a:gd name="connsiteY582" fmla="*/ 6236069 h 6479439"/>
              <a:gd name="connsiteX583" fmla="*/ 2153799 w 9586368"/>
              <a:gd name="connsiteY583" fmla="*/ 6226198 h 6479439"/>
              <a:gd name="connsiteX584" fmla="*/ 1918509 w 9586368"/>
              <a:gd name="connsiteY584" fmla="*/ 6222160 h 6479439"/>
              <a:gd name="connsiteX585" fmla="*/ 1928419 w 9586368"/>
              <a:gd name="connsiteY585" fmla="*/ 6222160 h 6479439"/>
              <a:gd name="connsiteX586" fmla="*/ 1932438 w 9586368"/>
              <a:gd name="connsiteY586" fmla="*/ 6226198 h 6479439"/>
              <a:gd name="connsiteX587" fmla="*/ 1932438 w 9586368"/>
              <a:gd name="connsiteY587" fmla="*/ 6236069 h 6479439"/>
              <a:gd name="connsiteX588" fmla="*/ 1928419 w 9586368"/>
              <a:gd name="connsiteY588" fmla="*/ 6240109 h 6479439"/>
              <a:gd name="connsiteX589" fmla="*/ 1918509 w 9586368"/>
              <a:gd name="connsiteY589" fmla="*/ 6240109 h 6479439"/>
              <a:gd name="connsiteX590" fmla="*/ 1914490 w 9586368"/>
              <a:gd name="connsiteY590" fmla="*/ 6236069 h 6479439"/>
              <a:gd name="connsiteX591" fmla="*/ 1914490 w 9586368"/>
              <a:gd name="connsiteY591" fmla="*/ 6226198 h 6479439"/>
              <a:gd name="connsiteX592" fmla="*/ 1679200 w 9586368"/>
              <a:gd name="connsiteY592" fmla="*/ 6222160 h 6479439"/>
              <a:gd name="connsiteX593" fmla="*/ 1689110 w 9586368"/>
              <a:gd name="connsiteY593" fmla="*/ 6222160 h 6479439"/>
              <a:gd name="connsiteX594" fmla="*/ 1693129 w 9586368"/>
              <a:gd name="connsiteY594" fmla="*/ 6226198 h 6479439"/>
              <a:gd name="connsiteX595" fmla="*/ 1693129 w 9586368"/>
              <a:gd name="connsiteY595" fmla="*/ 6236069 h 6479439"/>
              <a:gd name="connsiteX596" fmla="*/ 1689110 w 9586368"/>
              <a:gd name="connsiteY596" fmla="*/ 6240109 h 6479439"/>
              <a:gd name="connsiteX597" fmla="*/ 1679200 w 9586368"/>
              <a:gd name="connsiteY597" fmla="*/ 6240109 h 6479439"/>
              <a:gd name="connsiteX598" fmla="*/ 1675182 w 9586368"/>
              <a:gd name="connsiteY598" fmla="*/ 6236069 h 6479439"/>
              <a:gd name="connsiteX599" fmla="*/ 1675182 w 9586368"/>
              <a:gd name="connsiteY599" fmla="*/ 6226198 h 6479439"/>
              <a:gd name="connsiteX600" fmla="*/ 1439885 w 9586368"/>
              <a:gd name="connsiteY600" fmla="*/ 6222160 h 6479439"/>
              <a:gd name="connsiteX601" fmla="*/ 1449795 w 9586368"/>
              <a:gd name="connsiteY601" fmla="*/ 6222160 h 6479439"/>
              <a:gd name="connsiteX602" fmla="*/ 1453814 w 9586368"/>
              <a:gd name="connsiteY602" fmla="*/ 6226198 h 6479439"/>
              <a:gd name="connsiteX603" fmla="*/ 1453814 w 9586368"/>
              <a:gd name="connsiteY603" fmla="*/ 6236069 h 6479439"/>
              <a:gd name="connsiteX604" fmla="*/ 1449795 w 9586368"/>
              <a:gd name="connsiteY604" fmla="*/ 6240109 h 6479439"/>
              <a:gd name="connsiteX605" fmla="*/ 1439885 w 9586368"/>
              <a:gd name="connsiteY605" fmla="*/ 6240109 h 6479439"/>
              <a:gd name="connsiteX606" fmla="*/ 1435866 w 9586368"/>
              <a:gd name="connsiteY606" fmla="*/ 6236069 h 6479439"/>
              <a:gd name="connsiteX607" fmla="*/ 1435866 w 9586368"/>
              <a:gd name="connsiteY607" fmla="*/ 6226198 h 6479439"/>
              <a:gd name="connsiteX608" fmla="*/ 1200570 w 9586368"/>
              <a:gd name="connsiteY608" fmla="*/ 6222160 h 6479439"/>
              <a:gd name="connsiteX609" fmla="*/ 1210481 w 9586368"/>
              <a:gd name="connsiteY609" fmla="*/ 6222160 h 6479439"/>
              <a:gd name="connsiteX610" fmla="*/ 1214499 w 9586368"/>
              <a:gd name="connsiteY610" fmla="*/ 6226198 h 6479439"/>
              <a:gd name="connsiteX611" fmla="*/ 1214499 w 9586368"/>
              <a:gd name="connsiteY611" fmla="*/ 6236069 h 6479439"/>
              <a:gd name="connsiteX612" fmla="*/ 1210481 w 9586368"/>
              <a:gd name="connsiteY612" fmla="*/ 6240109 h 6479439"/>
              <a:gd name="connsiteX613" fmla="*/ 1200570 w 9586368"/>
              <a:gd name="connsiteY613" fmla="*/ 6240109 h 6479439"/>
              <a:gd name="connsiteX614" fmla="*/ 1196551 w 9586368"/>
              <a:gd name="connsiteY614" fmla="*/ 6236069 h 6479439"/>
              <a:gd name="connsiteX615" fmla="*/ 1196551 w 9586368"/>
              <a:gd name="connsiteY615" fmla="*/ 6226198 h 6479439"/>
              <a:gd name="connsiteX616" fmla="*/ 961258 w 9586368"/>
              <a:gd name="connsiteY616" fmla="*/ 6222160 h 6479439"/>
              <a:gd name="connsiteX617" fmla="*/ 971167 w 9586368"/>
              <a:gd name="connsiteY617" fmla="*/ 6222160 h 6479439"/>
              <a:gd name="connsiteX618" fmla="*/ 975186 w 9586368"/>
              <a:gd name="connsiteY618" fmla="*/ 6226198 h 6479439"/>
              <a:gd name="connsiteX619" fmla="*/ 975186 w 9586368"/>
              <a:gd name="connsiteY619" fmla="*/ 6236069 h 6479439"/>
              <a:gd name="connsiteX620" fmla="*/ 971167 w 9586368"/>
              <a:gd name="connsiteY620" fmla="*/ 6240109 h 6479439"/>
              <a:gd name="connsiteX621" fmla="*/ 961258 w 9586368"/>
              <a:gd name="connsiteY621" fmla="*/ 6240109 h 6479439"/>
              <a:gd name="connsiteX622" fmla="*/ 957239 w 9586368"/>
              <a:gd name="connsiteY622" fmla="*/ 6236069 h 6479439"/>
              <a:gd name="connsiteX623" fmla="*/ 957239 w 9586368"/>
              <a:gd name="connsiteY623" fmla="*/ 6226198 h 6479439"/>
              <a:gd name="connsiteX624" fmla="*/ 721959 w 9586368"/>
              <a:gd name="connsiteY624" fmla="*/ 6222160 h 6479439"/>
              <a:gd name="connsiteX625" fmla="*/ 731869 w 9586368"/>
              <a:gd name="connsiteY625" fmla="*/ 6222160 h 6479439"/>
              <a:gd name="connsiteX626" fmla="*/ 735888 w 9586368"/>
              <a:gd name="connsiteY626" fmla="*/ 6226198 h 6479439"/>
              <a:gd name="connsiteX627" fmla="*/ 735888 w 9586368"/>
              <a:gd name="connsiteY627" fmla="*/ 6236069 h 6479439"/>
              <a:gd name="connsiteX628" fmla="*/ 731869 w 9586368"/>
              <a:gd name="connsiteY628" fmla="*/ 6240109 h 6479439"/>
              <a:gd name="connsiteX629" fmla="*/ 721959 w 9586368"/>
              <a:gd name="connsiteY629" fmla="*/ 6240109 h 6479439"/>
              <a:gd name="connsiteX630" fmla="*/ 717940 w 9586368"/>
              <a:gd name="connsiteY630" fmla="*/ 6236069 h 6479439"/>
              <a:gd name="connsiteX631" fmla="*/ 717940 w 9586368"/>
              <a:gd name="connsiteY631" fmla="*/ 6226198 h 6479439"/>
              <a:gd name="connsiteX632" fmla="*/ 482646 w 9586368"/>
              <a:gd name="connsiteY632" fmla="*/ 6222160 h 6479439"/>
              <a:gd name="connsiteX633" fmla="*/ 492557 w 9586368"/>
              <a:gd name="connsiteY633" fmla="*/ 6222160 h 6479439"/>
              <a:gd name="connsiteX634" fmla="*/ 496576 w 9586368"/>
              <a:gd name="connsiteY634" fmla="*/ 6226198 h 6479439"/>
              <a:gd name="connsiteX635" fmla="*/ 496576 w 9586368"/>
              <a:gd name="connsiteY635" fmla="*/ 6236069 h 6479439"/>
              <a:gd name="connsiteX636" fmla="*/ 492557 w 9586368"/>
              <a:gd name="connsiteY636" fmla="*/ 6240109 h 6479439"/>
              <a:gd name="connsiteX637" fmla="*/ 482646 w 9586368"/>
              <a:gd name="connsiteY637" fmla="*/ 6240109 h 6479439"/>
              <a:gd name="connsiteX638" fmla="*/ 478627 w 9586368"/>
              <a:gd name="connsiteY638" fmla="*/ 6236069 h 6479439"/>
              <a:gd name="connsiteX639" fmla="*/ 478627 w 9586368"/>
              <a:gd name="connsiteY639" fmla="*/ 6226198 h 6479439"/>
              <a:gd name="connsiteX640" fmla="*/ 243333 w 9586368"/>
              <a:gd name="connsiteY640" fmla="*/ 6222160 h 6479439"/>
              <a:gd name="connsiteX641" fmla="*/ 253243 w 9586368"/>
              <a:gd name="connsiteY641" fmla="*/ 6222160 h 6479439"/>
              <a:gd name="connsiteX642" fmla="*/ 257263 w 9586368"/>
              <a:gd name="connsiteY642" fmla="*/ 6226198 h 6479439"/>
              <a:gd name="connsiteX643" fmla="*/ 257263 w 9586368"/>
              <a:gd name="connsiteY643" fmla="*/ 6236069 h 6479439"/>
              <a:gd name="connsiteX644" fmla="*/ 253243 w 9586368"/>
              <a:gd name="connsiteY644" fmla="*/ 6240109 h 6479439"/>
              <a:gd name="connsiteX645" fmla="*/ 243333 w 9586368"/>
              <a:gd name="connsiteY645" fmla="*/ 6240109 h 6479439"/>
              <a:gd name="connsiteX646" fmla="*/ 239314 w 9586368"/>
              <a:gd name="connsiteY646" fmla="*/ 6236069 h 6479439"/>
              <a:gd name="connsiteX647" fmla="*/ 239314 w 9586368"/>
              <a:gd name="connsiteY647" fmla="*/ 6226198 h 6479439"/>
              <a:gd name="connsiteX648" fmla="*/ 4020 w 9586368"/>
              <a:gd name="connsiteY648" fmla="*/ 6222160 h 6479439"/>
              <a:gd name="connsiteX649" fmla="*/ 13930 w 9586368"/>
              <a:gd name="connsiteY649" fmla="*/ 6222160 h 6479439"/>
              <a:gd name="connsiteX650" fmla="*/ 17949 w 9586368"/>
              <a:gd name="connsiteY650" fmla="*/ 6226198 h 6479439"/>
              <a:gd name="connsiteX651" fmla="*/ 17949 w 9586368"/>
              <a:gd name="connsiteY651" fmla="*/ 6236069 h 6479439"/>
              <a:gd name="connsiteX652" fmla="*/ 13930 w 9586368"/>
              <a:gd name="connsiteY652" fmla="*/ 6240109 h 6479439"/>
              <a:gd name="connsiteX653" fmla="*/ 4020 w 9586368"/>
              <a:gd name="connsiteY653" fmla="*/ 6240109 h 6479439"/>
              <a:gd name="connsiteX654" fmla="*/ 1 w 9586368"/>
              <a:gd name="connsiteY654" fmla="*/ 6236069 h 6479439"/>
              <a:gd name="connsiteX655" fmla="*/ 1 w 9586368"/>
              <a:gd name="connsiteY655" fmla="*/ 6226198 h 6479439"/>
              <a:gd name="connsiteX656" fmla="*/ 2157818 w 9586368"/>
              <a:gd name="connsiteY656" fmla="*/ 5982881 h 6479439"/>
              <a:gd name="connsiteX657" fmla="*/ 2167728 w 9586368"/>
              <a:gd name="connsiteY657" fmla="*/ 5982881 h 6479439"/>
              <a:gd name="connsiteX658" fmla="*/ 2171747 w 9586368"/>
              <a:gd name="connsiteY658" fmla="*/ 5986919 h 6479439"/>
              <a:gd name="connsiteX659" fmla="*/ 2171747 w 9586368"/>
              <a:gd name="connsiteY659" fmla="*/ 5996790 h 6479439"/>
              <a:gd name="connsiteX660" fmla="*/ 2167728 w 9586368"/>
              <a:gd name="connsiteY660" fmla="*/ 6000829 h 6479439"/>
              <a:gd name="connsiteX661" fmla="*/ 2157818 w 9586368"/>
              <a:gd name="connsiteY661" fmla="*/ 6000829 h 6479439"/>
              <a:gd name="connsiteX662" fmla="*/ 2153799 w 9586368"/>
              <a:gd name="connsiteY662" fmla="*/ 5996790 h 6479439"/>
              <a:gd name="connsiteX663" fmla="*/ 2153799 w 9586368"/>
              <a:gd name="connsiteY663" fmla="*/ 5986919 h 6479439"/>
              <a:gd name="connsiteX664" fmla="*/ 1918509 w 9586368"/>
              <a:gd name="connsiteY664" fmla="*/ 5982881 h 6479439"/>
              <a:gd name="connsiteX665" fmla="*/ 1928420 w 9586368"/>
              <a:gd name="connsiteY665" fmla="*/ 5982881 h 6479439"/>
              <a:gd name="connsiteX666" fmla="*/ 1932438 w 9586368"/>
              <a:gd name="connsiteY666" fmla="*/ 5986919 h 6479439"/>
              <a:gd name="connsiteX667" fmla="*/ 1932438 w 9586368"/>
              <a:gd name="connsiteY667" fmla="*/ 5996790 h 6479439"/>
              <a:gd name="connsiteX668" fmla="*/ 1928420 w 9586368"/>
              <a:gd name="connsiteY668" fmla="*/ 6000829 h 6479439"/>
              <a:gd name="connsiteX669" fmla="*/ 1918509 w 9586368"/>
              <a:gd name="connsiteY669" fmla="*/ 6000829 h 6479439"/>
              <a:gd name="connsiteX670" fmla="*/ 1914490 w 9586368"/>
              <a:gd name="connsiteY670" fmla="*/ 5996790 h 6479439"/>
              <a:gd name="connsiteX671" fmla="*/ 1914490 w 9586368"/>
              <a:gd name="connsiteY671" fmla="*/ 5986919 h 6479439"/>
              <a:gd name="connsiteX672" fmla="*/ 1679201 w 9586368"/>
              <a:gd name="connsiteY672" fmla="*/ 5982881 h 6479439"/>
              <a:gd name="connsiteX673" fmla="*/ 1689111 w 9586368"/>
              <a:gd name="connsiteY673" fmla="*/ 5982881 h 6479439"/>
              <a:gd name="connsiteX674" fmla="*/ 1693129 w 9586368"/>
              <a:gd name="connsiteY674" fmla="*/ 5986919 h 6479439"/>
              <a:gd name="connsiteX675" fmla="*/ 1693129 w 9586368"/>
              <a:gd name="connsiteY675" fmla="*/ 5996790 h 6479439"/>
              <a:gd name="connsiteX676" fmla="*/ 1689111 w 9586368"/>
              <a:gd name="connsiteY676" fmla="*/ 6000829 h 6479439"/>
              <a:gd name="connsiteX677" fmla="*/ 1679201 w 9586368"/>
              <a:gd name="connsiteY677" fmla="*/ 6000829 h 6479439"/>
              <a:gd name="connsiteX678" fmla="*/ 1675182 w 9586368"/>
              <a:gd name="connsiteY678" fmla="*/ 5996790 h 6479439"/>
              <a:gd name="connsiteX679" fmla="*/ 1675182 w 9586368"/>
              <a:gd name="connsiteY679" fmla="*/ 5986919 h 6479439"/>
              <a:gd name="connsiteX680" fmla="*/ 1439886 w 9586368"/>
              <a:gd name="connsiteY680" fmla="*/ 5982881 h 6479439"/>
              <a:gd name="connsiteX681" fmla="*/ 1449796 w 9586368"/>
              <a:gd name="connsiteY681" fmla="*/ 5982881 h 6479439"/>
              <a:gd name="connsiteX682" fmla="*/ 1453814 w 9586368"/>
              <a:gd name="connsiteY682" fmla="*/ 5986919 h 6479439"/>
              <a:gd name="connsiteX683" fmla="*/ 1453814 w 9586368"/>
              <a:gd name="connsiteY683" fmla="*/ 5996790 h 6479439"/>
              <a:gd name="connsiteX684" fmla="*/ 1449796 w 9586368"/>
              <a:gd name="connsiteY684" fmla="*/ 6000829 h 6479439"/>
              <a:gd name="connsiteX685" fmla="*/ 1439886 w 9586368"/>
              <a:gd name="connsiteY685" fmla="*/ 6000829 h 6479439"/>
              <a:gd name="connsiteX686" fmla="*/ 1435866 w 9586368"/>
              <a:gd name="connsiteY686" fmla="*/ 5996790 h 6479439"/>
              <a:gd name="connsiteX687" fmla="*/ 1435866 w 9586368"/>
              <a:gd name="connsiteY687" fmla="*/ 5986919 h 6479439"/>
              <a:gd name="connsiteX688" fmla="*/ 1200571 w 9586368"/>
              <a:gd name="connsiteY688" fmla="*/ 5982881 h 6479439"/>
              <a:gd name="connsiteX689" fmla="*/ 1210481 w 9586368"/>
              <a:gd name="connsiteY689" fmla="*/ 5982881 h 6479439"/>
              <a:gd name="connsiteX690" fmla="*/ 1214500 w 9586368"/>
              <a:gd name="connsiteY690" fmla="*/ 5986919 h 6479439"/>
              <a:gd name="connsiteX691" fmla="*/ 1214500 w 9586368"/>
              <a:gd name="connsiteY691" fmla="*/ 5996790 h 6479439"/>
              <a:gd name="connsiteX692" fmla="*/ 1210481 w 9586368"/>
              <a:gd name="connsiteY692" fmla="*/ 6000829 h 6479439"/>
              <a:gd name="connsiteX693" fmla="*/ 1200571 w 9586368"/>
              <a:gd name="connsiteY693" fmla="*/ 6000829 h 6479439"/>
              <a:gd name="connsiteX694" fmla="*/ 1196553 w 9586368"/>
              <a:gd name="connsiteY694" fmla="*/ 5996790 h 6479439"/>
              <a:gd name="connsiteX695" fmla="*/ 1196553 w 9586368"/>
              <a:gd name="connsiteY695" fmla="*/ 5986919 h 6479439"/>
              <a:gd name="connsiteX696" fmla="*/ 961258 w 9586368"/>
              <a:gd name="connsiteY696" fmla="*/ 5982881 h 6479439"/>
              <a:gd name="connsiteX697" fmla="*/ 971168 w 9586368"/>
              <a:gd name="connsiteY697" fmla="*/ 5982881 h 6479439"/>
              <a:gd name="connsiteX698" fmla="*/ 975187 w 9586368"/>
              <a:gd name="connsiteY698" fmla="*/ 5986919 h 6479439"/>
              <a:gd name="connsiteX699" fmla="*/ 975187 w 9586368"/>
              <a:gd name="connsiteY699" fmla="*/ 5996790 h 6479439"/>
              <a:gd name="connsiteX700" fmla="*/ 971168 w 9586368"/>
              <a:gd name="connsiteY700" fmla="*/ 6000829 h 6479439"/>
              <a:gd name="connsiteX701" fmla="*/ 961258 w 9586368"/>
              <a:gd name="connsiteY701" fmla="*/ 6000829 h 6479439"/>
              <a:gd name="connsiteX702" fmla="*/ 957239 w 9586368"/>
              <a:gd name="connsiteY702" fmla="*/ 5996790 h 6479439"/>
              <a:gd name="connsiteX703" fmla="*/ 957239 w 9586368"/>
              <a:gd name="connsiteY703" fmla="*/ 5986919 h 6479439"/>
              <a:gd name="connsiteX704" fmla="*/ 9572438 w 9586368"/>
              <a:gd name="connsiteY704" fmla="*/ 5982829 h 6479439"/>
              <a:gd name="connsiteX705" fmla="*/ 9582349 w 9586368"/>
              <a:gd name="connsiteY705" fmla="*/ 5982829 h 6479439"/>
              <a:gd name="connsiteX706" fmla="*/ 9586368 w 9586368"/>
              <a:gd name="connsiteY706" fmla="*/ 5986868 h 6479439"/>
              <a:gd name="connsiteX707" fmla="*/ 9586368 w 9586368"/>
              <a:gd name="connsiteY707" fmla="*/ 5996739 h 6479439"/>
              <a:gd name="connsiteX708" fmla="*/ 9582349 w 9586368"/>
              <a:gd name="connsiteY708" fmla="*/ 6000778 h 6479439"/>
              <a:gd name="connsiteX709" fmla="*/ 9572438 w 9586368"/>
              <a:gd name="connsiteY709" fmla="*/ 6000778 h 6479439"/>
              <a:gd name="connsiteX710" fmla="*/ 9568419 w 9586368"/>
              <a:gd name="connsiteY710" fmla="*/ 5996739 h 6479439"/>
              <a:gd name="connsiteX711" fmla="*/ 9568419 w 9586368"/>
              <a:gd name="connsiteY711" fmla="*/ 5986868 h 6479439"/>
              <a:gd name="connsiteX712" fmla="*/ 9333125 w 9586368"/>
              <a:gd name="connsiteY712" fmla="*/ 5982829 h 6479439"/>
              <a:gd name="connsiteX713" fmla="*/ 9343036 w 9586368"/>
              <a:gd name="connsiteY713" fmla="*/ 5982829 h 6479439"/>
              <a:gd name="connsiteX714" fmla="*/ 9347055 w 9586368"/>
              <a:gd name="connsiteY714" fmla="*/ 5986868 h 6479439"/>
              <a:gd name="connsiteX715" fmla="*/ 9347055 w 9586368"/>
              <a:gd name="connsiteY715" fmla="*/ 5996739 h 6479439"/>
              <a:gd name="connsiteX716" fmla="*/ 9343036 w 9586368"/>
              <a:gd name="connsiteY716" fmla="*/ 6000778 h 6479439"/>
              <a:gd name="connsiteX717" fmla="*/ 9333125 w 9586368"/>
              <a:gd name="connsiteY717" fmla="*/ 6000778 h 6479439"/>
              <a:gd name="connsiteX718" fmla="*/ 9329106 w 9586368"/>
              <a:gd name="connsiteY718" fmla="*/ 5996739 h 6479439"/>
              <a:gd name="connsiteX719" fmla="*/ 9329106 w 9586368"/>
              <a:gd name="connsiteY719" fmla="*/ 5986868 h 6479439"/>
              <a:gd name="connsiteX720" fmla="*/ 9093811 w 9586368"/>
              <a:gd name="connsiteY720" fmla="*/ 5982829 h 6479439"/>
              <a:gd name="connsiteX721" fmla="*/ 9103722 w 9586368"/>
              <a:gd name="connsiteY721" fmla="*/ 5982829 h 6479439"/>
              <a:gd name="connsiteX722" fmla="*/ 9107741 w 9586368"/>
              <a:gd name="connsiteY722" fmla="*/ 5986868 h 6479439"/>
              <a:gd name="connsiteX723" fmla="*/ 9107741 w 9586368"/>
              <a:gd name="connsiteY723" fmla="*/ 5996739 h 6479439"/>
              <a:gd name="connsiteX724" fmla="*/ 9103722 w 9586368"/>
              <a:gd name="connsiteY724" fmla="*/ 6000778 h 6479439"/>
              <a:gd name="connsiteX725" fmla="*/ 9093811 w 9586368"/>
              <a:gd name="connsiteY725" fmla="*/ 6000778 h 6479439"/>
              <a:gd name="connsiteX726" fmla="*/ 9089792 w 9586368"/>
              <a:gd name="connsiteY726" fmla="*/ 5996739 h 6479439"/>
              <a:gd name="connsiteX727" fmla="*/ 9089792 w 9586368"/>
              <a:gd name="connsiteY727" fmla="*/ 5986868 h 6479439"/>
              <a:gd name="connsiteX728" fmla="*/ 8854496 w 9586368"/>
              <a:gd name="connsiteY728" fmla="*/ 5982829 h 6479439"/>
              <a:gd name="connsiteX729" fmla="*/ 8864407 w 9586368"/>
              <a:gd name="connsiteY729" fmla="*/ 5982829 h 6479439"/>
              <a:gd name="connsiteX730" fmla="*/ 8868426 w 9586368"/>
              <a:gd name="connsiteY730" fmla="*/ 5986868 h 6479439"/>
              <a:gd name="connsiteX731" fmla="*/ 8868426 w 9586368"/>
              <a:gd name="connsiteY731" fmla="*/ 5996739 h 6479439"/>
              <a:gd name="connsiteX732" fmla="*/ 8864407 w 9586368"/>
              <a:gd name="connsiteY732" fmla="*/ 6000778 h 6479439"/>
              <a:gd name="connsiteX733" fmla="*/ 8854496 w 9586368"/>
              <a:gd name="connsiteY733" fmla="*/ 6000778 h 6479439"/>
              <a:gd name="connsiteX734" fmla="*/ 8850477 w 9586368"/>
              <a:gd name="connsiteY734" fmla="*/ 5996739 h 6479439"/>
              <a:gd name="connsiteX735" fmla="*/ 8850477 w 9586368"/>
              <a:gd name="connsiteY735" fmla="*/ 5986868 h 6479439"/>
              <a:gd name="connsiteX736" fmla="*/ 8615184 w 9586368"/>
              <a:gd name="connsiteY736" fmla="*/ 5982829 h 6479439"/>
              <a:gd name="connsiteX737" fmla="*/ 8625095 w 9586368"/>
              <a:gd name="connsiteY737" fmla="*/ 5982829 h 6479439"/>
              <a:gd name="connsiteX738" fmla="*/ 8629114 w 9586368"/>
              <a:gd name="connsiteY738" fmla="*/ 5986868 h 6479439"/>
              <a:gd name="connsiteX739" fmla="*/ 8629114 w 9586368"/>
              <a:gd name="connsiteY739" fmla="*/ 5996739 h 6479439"/>
              <a:gd name="connsiteX740" fmla="*/ 8625095 w 9586368"/>
              <a:gd name="connsiteY740" fmla="*/ 6000778 h 6479439"/>
              <a:gd name="connsiteX741" fmla="*/ 8615184 w 9586368"/>
              <a:gd name="connsiteY741" fmla="*/ 6000778 h 6479439"/>
              <a:gd name="connsiteX742" fmla="*/ 8611165 w 9586368"/>
              <a:gd name="connsiteY742" fmla="*/ 5996739 h 6479439"/>
              <a:gd name="connsiteX743" fmla="*/ 8611165 w 9586368"/>
              <a:gd name="connsiteY743" fmla="*/ 5986868 h 6479439"/>
              <a:gd name="connsiteX744" fmla="*/ 8375869 w 9586368"/>
              <a:gd name="connsiteY744" fmla="*/ 5982829 h 6479439"/>
              <a:gd name="connsiteX745" fmla="*/ 8385779 w 9586368"/>
              <a:gd name="connsiteY745" fmla="*/ 5982829 h 6479439"/>
              <a:gd name="connsiteX746" fmla="*/ 8389799 w 9586368"/>
              <a:gd name="connsiteY746" fmla="*/ 5986868 h 6479439"/>
              <a:gd name="connsiteX747" fmla="*/ 8389799 w 9586368"/>
              <a:gd name="connsiteY747" fmla="*/ 5996739 h 6479439"/>
              <a:gd name="connsiteX748" fmla="*/ 8385779 w 9586368"/>
              <a:gd name="connsiteY748" fmla="*/ 6000778 h 6479439"/>
              <a:gd name="connsiteX749" fmla="*/ 8375869 w 9586368"/>
              <a:gd name="connsiteY749" fmla="*/ 6000778 h 6479439"/>
              <a:gd name="connsiteX750" fmla="*/ 8371850 w 9586368"/>
              <a:gd name="connsiteY750" fmla="*/ 5996739 h 6479439"/>
              <a:gd name="connsiteX751" fmla="*/ 8371850 w 9586368"/>
              <a:gd name="connsiteY751" fmla="*/ 5986868 h 6479439"/>
              <a:gd name="connsiteX752" fmla="*/ 8136553 w 9586368"/>
              <a:gd name="connsiteY752" fmla="*/ 5982829 h 6479439"/>
              <a:gd name="connsiteX753" fmla="*/ 8146464 w 9586368"/>
              <a:gd name="connsiteY753" fmla="*/ 5982829 h 6479439"/>
              <a:gd name="connsiteX754" fmla="*/ 8150483 w 9586368"/>
              <a:gd name="connsiteY754" fmla="*/ 5986868 h 6479439"/>
              <a:gd name="connsiteX755" fmla="*/ 8150483 w 9586368"/>
              <a:gd name="connsiteY755" fmla="*/ 5996739 h 6479439"/>
              <a:gd name="connsiteX756" fmla="*/ 8146464 w 9586368"/>
              <a:gd name="connsiteY756" fmla="*/ 6000778 h 6479439"/>
              <a:gd name="connsiteX757" fmla="*/ 8136553 w 9586368"/>
              <a:gd name="connsiteY757" fmla="*/ 6000778 h 6479439"/>
              <a:gd name="connsiteX758" fmla="*/ 8132534 w 9586368"/>
              <a:gd name="connsiteY758" fmla="*/ 5996739 h 6479439"/>
              <a:gd name="connsiteX759" fmla="*/ 8132534 w 9586368"/>
              <a:gd name="connsiteY759" fmla="*/ 5986868 h 6479439"/>
              <a:gd name="connsiteX760" fmla="*/ 7897241 w 9586368"/>
              <a:gd name="connsiteY760" fmla="*/ 5982829 h 6479439"/>
              <a:gd name="connsiteX761" fmla="*/ 7907151 w 9586368"/>
              <a:gd name="connsiteY761" fmla="*/ 5982829 h 6479439"/>
              <a:gd name="connsiteX762" fmla="*/ 7911170 w 9586368"/>
              <a:gd name="connsiteY762" fmla="*/ 5986868 h 6479439"/>
              <a:gd name="connsiteX763" fmla="*/ 7911170 w 9586368"/>
              <a:gd name="connsiteY763" fmla="*/ 5996739 h 6479439"/>
              <a:gd name="connsiteX764" fmla="*/ 7907151 w 9586368"/>
              <a:gd name="connsiteY764" fmla="*/ 6000778 h 6479439"/>
              <a:gd name="connsiteX765" fmla="*/ 7897241 w 9586368"/>
              <a:gd name="connsiteY765" fmla="*/ 6000778 h 6479439"/>
              <a:gd name="connsiteX766" fmla="*/ 7893222 w 9586368"/>
              <a:gd name="connsiteY766" fmla="*/ 5996739 h 6479439"/>
              <a:gd name="connsiteX767" fmla="*/ 7893222 w 9586368"/>
              <a:gd name="connsiteY767" fmla="*/ 5986868 h 6479439"/>
              <a:gd name="connsiteX768" fmla="*/ 7657926 w 9586368"/>
              <a:gd name="connsiteY768" fmla="*/ 5982829 h 6479439"/>
              <a:gd name="connsiteX769" fmla="*/ 7667836 w 9586368"/>
              <a:gd name="connsiteY769" fmla="*/ 5982829 h 6479439"/>
              <a:gd name="connsiteX770" fmla="*/ 7671855 w 9586368"/>
              <a:gd name="connsiteY770" fmla="*/ 5986868 h 6479439"/>
              <a:gd name="connsiteX771" fmla="*/ 7671855 w 9586368"/>
              <a:gd name="connsiteY771" fmla="*/ 5996739 h 6479439"/>
              <a:gd name="connsiteX772" fmla="*/ 7667836 w 9586368"/>
              <a:gd name="connsiteY772" fmla="*/ 6000778 h 6479439"/>
              <a:gd name="connsiteX773" fmla="*/ 7657926 w 9586368"/>
              <a:gd name="connsiteY773" fmla="*/ 6000778 h 6479439"/>
              <a:gd name="connsiteX774" fmla="*/ 7653906 w 9586368"/>
              <a:gd name="connsiteY774" fmla="*/ 5996739 h 6479439"/>
              <a:gd name="connsiteX775" fmla="*/ 7653906 w 9586368"/>
              <a:gd name="connsiteY775" fmla="*/ 5986868 h 6479439"/>
              <a:gd name="connsiteX776" fmla="*/ 7418611 w 9586368"/>
              <a:gd name="connsiteY776" fmla="*/ 5982829 h 6479439"/>
              <a:gd name="connsiteX777" fmla="*/ 7428521 w 9586368"/>
              <a:gd name="connsiteY777" fmla="*/ 5982829 h 6479439"/>
              <a:gd name="connsiteX778" fmla="*/ 7432540 w 9586368"/>
              <a:gd name="connsiteY778" fmla="*/ 5986868 h 6479439"/>
              <a:gd name="connsiteX779" fmla="*/ 7432540 w 9586368"/>
              <a:gd name="connsiteY779" fmla="*/ 5996739 h 6479439"/>
              <a:gd name="connsiteX780" fmla="*/ 7428521 w 9586368"/>
              <a:gd name="connsiteY780" fmla="*/ 6000778 h 6479439"/>
              <a:gd name="connsiteX781" fmla="*/ 7418611 w 9586368"/>
              <a:gd name="connsiteY781" fmla="*/ 6000778 h 6479439"/>
              <a:gd name="connsiteX782" fmla="*/ 7414592 w 9586368"/>
              <a:gd name="connsiteY782" fmla="*/ 5996739 h 6479439"/>
              <a:gd name="connsiteX783" fmla="*/ 7414592 w 9586368"/>
              <a:gd name="connsiteY783" fmla="*/ 5986868 h 6479439"/>
              <a:gd name="connsiteX784" fmla="*/ 7179298 w 9586368"/>
              <a:gd name="connsiteY784" fmla="*/ 5982829 h 6479439"/>
              <a:gd name="connsiteX785" fmla="*/ 7189209 w 9586368"/>
              <a:gd name="connsiteY785" fmla="*/ 5982829 h 6479439"/>
              <a:gd name="connsiteX786" fmla="*/ 7193228 w 9586368"/>
              <a:gd name="connsiteY786" fmla="*/ 5986868 h 6479439"/>
              <a:gd name="connsiteX787" fmla="*/ 7193228 w 9586368"/>
              <a:gd name="connsiteY787" fmla="*/ 5996739 h 6479439"/>
              <a:gd name="connsiteX788" fmla="*/ 7189209 w 9586368"/>
              <a:gd name="connsiteY788" fmla="*/ 6000778 h 6479439"/>
              <a:gd name="connsiteX789" fmla="*/ 7179298 w 9586368"/>
              <a:gd name="connsiteY789" fmla="*/ 6000778 h 6479439"/>
              <a:gd name="connsiteX790" fmla="*/ 7175279 w 9586368"/>
              <a:gd name="connsiteY790" fmla="*/ 5996739 h 6479439"/>
              <a:gd name="connsiteX791" fmla="*/ 7175279 w 9586368"/>
              <a:gd name="connsiteY791" fmla="*/ 5986868 h 6479439"/>
              <a:gd name="connsiteX792" fmla="*/ 6939983 w 9586368"/>
              <a:gd name="connsiteY792" fmla="*/ 5982829 h 6479439"/>
              <a:gd name="connsiteX793" fmla="*/ 6949894 w 9586368"/>
              <a:gd name="connsiteY793" fmla="*/ 5982829 h 6479439"/>
              <a:gd name="connsiteX794" fmla="*/ 6953913 w 9586368"/>
              <a:gd name="connsiteY794" fmla="*/ 5986868 h 6479439"/>
              <a:gd name="connsiteX795" fmla="*/ 6953913 w 9586368"/>
              <a:gd name="connsiteY795" fmla="*/ 5996739 h 6479439"/>
              <a:gd name="connsiteX796" fmla="*/ 6949894 w 9586368"/>
              <a:gd name="connsiteY796" fmla="*/ 6000778 h 6479439"/>
              <a:gd name="connsiteX797" fmla="*/ 6939983 w 9586368"/>
              <a:gd name="connsiteY797" fmla="*/ 6000778 h 6479439"/>
              <a:gd name="connsiteX798" fmla="*/ 6935964 w 9586368"/>
              <a:gd name="connsiteY798" fmla="*/ 5996739 h 6479439"/>
              <a:gd name="connsiteX799" fmla="*/ 6935964 w 9586368"/>
              <a:gd name="connsiteY799" fmla="*/ 5986868 h 6479439"/>
              <a:gd name="connsiteX800" fmla="*/ 6700670 w 9586368"/>
              <a:gd name="connsiteY800" fmla="*/ 5982829 h 6479439"/>
              <a:gd name="connsiteX801" fmla="*/ 6710581 w 9586368"/>
              <a:gd name="connsiteY801" fmla="*/ 5982829 h 6479439"/>
              <a:gd name="connsiteX802" fmla="*/ 6714600 w 9586368"/>
              <a:gd name="connsiteY802" fmla="*/ 5986868 h 6479439"/>
              <a:gd name="connsiteX803" fmla="*/ 6714600 w 9586368"/>
              <a:gd name="connsiteY803" fmla="*/ 5996739 h 6479439"/>
              <a:gd name="connsiteX804" fmla="*/ 6710581 w 9586368"/>
              <a:gd name="connsiteY804" fmla="*/ 6000778 h 6479439"/>
              <a:gd name="connsiteX805" fmla="*/ 6700670 w 9586368"/>
              <a:gd name="connsiteY805" fmla="*/ 6000778 h 6479439"/>
              <a:gd name="connsiteX806" fmla="*/ 6696651 w 9586368"/>
              <a:gd name="connsiteY806" fmla="*/ 5996739 h 6479439"/>
              <a:gd name="connsiteX807" fmla="*/ 6696651 w 9586368"/>
              <a:gd name="connsiteY807" fmla="*/ 5986868 h 6479439"/>
              <a:gd name="connsiteX808" fmla="*/ 6461356 w 9586368"/>
              <a:gd name="connsiteY808" fmla="*/ 5982829 h 6479439"/>
              <a:gd name="connsiteX809" fmla="*/ 6471266 w 9586368"/>
              <a:gd name="connsiteY809" fmla="*/ 5982829 h 6479439"/>
              <a:gd name="connsiteX810" fmla="*/ 6475285 w 9586368"/>
              <a:gd name="connsiteY810" fmla="*/ 5986868 h 6479439"/>
              <a:gd name="connsiteX811" fmla="*/ 6475285 w 9586368"/>
              <a:gd name="connsiteY811" fmla="*/ 5996739 h 6479439"/>
              <a:gd name="connsiteX812" fmla="*/ 6471266 w 9586368"/>
              <a:gd name="connsiteY812" fmla="*/ 6000778 h 6479439"/>
              <a:gd name="connsiteX813" fmla="*/ 6461356 w 9586368"/>
              <a:gd name="connsiteY813" fmla="*/ 6000778 h 6479439"/>
              <a:gd name="connsiteX814" fmla="*/ 6457337 w 9586368"/>
              <a:gd name="connsiteY814" fmla="*/ 5996739 h 6479439"/>
              <a:gd name="connsiteX815" fmla="*/ 6457337 w 9586368"/>
              <a:gd name="connsiteY815" fmla="*/ 5986868 h 6479439"/>
              <a:gd name="connsiteX816" fmla="*/ 6222042 w 9586368"/>
              <a:gd name="connsiteY816" fmla="*/ 5982829 h 6479439"/>
              <a:gd name="connsiteX817" fmla="*/ 6231952 w 9586368"/>
              <a:gd name="connsiteY817" fmla="*/ 5982829 h 6479439"/>
              <a:gd name="connsiteX818" fmla="*/ 6235971 w 9586368"/>
              <a:gd name="connsiteY818" fmla="*/ 5986868 h 6479439"/>
              <a:gd name="connsiteX819" fmla="*/ 6235971 w 9586368"/>
              <a:gd name="connsiteY819" fmla="*/ 5996739 h 6479439"/>
              <a:gd name="connsiteX820" fmla="*/ 6231952 w 9586368"/>
              <a:gd name="connsiteY820" fmla="*/ 6000778 h 6479439"/>
              <a:gd name="connsiteX821" fmla="*/ 6222042 w 9586368"/>
              <a:gd name="connsiteY821" fmla="*/ 6000778 h 6479439"/>
              <a:gd name="connsiteX822" fmla="*/ 6218023 w 9586368"/>
              <a:gd name="connsiteY822" fmla="*/ 5996739 h 6479439"/>
              <a:gd name="connsiteX823" fmla="*/ 6218023 w 9586368"/>
              <a:gd name="connsiteY823" fmla="*/ 5986868 h 6479439"/>
              <a:gd name="connsiteX824" fmla="*/ 5982729 w 9586368"/>
              <a:gd name="connsiteY824" fmla="*/ 5982829 h 6479439"/>
              <a:gd name="connsiteX825" fmla="*/ 5992639 w 9586368"/>
              <a:gd name="connsiteY825" fmla="*/ 5982829 h 6479439"/>
              <a:gd name="connsiteX826" fmla="*/ 5996658 w 9586368"/>
              <a:gd name="connsiteY826" fmla="*/ 5986868 h 6479439"/>
              <a:gd name="connsiteX827" fmla="*/ 5996658 w 9586368"/>
              <a:gd name="connsiteY827" fmla="*/ 5996739 h 6479439"/>
              <a:gd name="connsiteX828" fmla="*/ 5992639 w 9586368"/>
              <a:gd name="connsiteY828" fmla="*/ 6000778 h 6479439"/>
              <a:gd name="connsiteX829" fmla="*/ 5982729 w 9586368"/>
              <a:gd name="connsiteY829" fmla="*/ 6000778 h 6479439"/>
              <a:gd name="connsiteX830" fmla="*/ 5978710 w 9586368"/>
              <a:gd name="connsiteY830" fmla="*/ 5996739 h 6479439"/>
              <a:gd name="connsiteX831" fmla="*/ 5978710 w 9586368"/>
              <a:gd name="connsiteY831" fmla="*/ 5986868 h 6479439"/>
              <a:gd name="connsiteX832" fmla="*/ 5743412 w 9586368"/>
              <a:gd name="connsiteY832" fmla="*/ 5982829 h 6479439"/>
              <a:gd name="connsiteX833" fmla="*/ 5753323 w 9586368"/>
              <a:gd name="connsiteY833" fmla="*/ 5982829 h 6479439"/>
              <a:gd name="connsiteX834" fmla="*/ 5757342 w 9586368"/>
              <a:gd name="connsiteY834" fmla="*/ 5986868 h 6479439"/>
              <a:gd name="connsiteX835" fmla="*/ 5757342 w 9586368"/>
              <a:gd name="connsiteY835" fmla="*/ 5996739 h 6479439"/>
              <a:gd name="connsiteX836" fmla="*/ 5753323 w 9586368"/>
              <a:gd name="connsiteY836" fmla="*/ 6000778 h 6479439"/>
              <a:gd name="connsiteX837" fmla="*/ 5743412 w 9586368"/>
              <a:gd name="connsiteY837" fmla="*/ 6000778 h 6479439"/>
              <a:gd name="connsiteX838" fmla="*/ 5739393 w 9586368"/>
              <a:gd name="connsiteY838" fmla="*/ 5996739 h 6479439"/>
              <a:gd name="connsiteX839" fmla="*/ 5739393 w 9586368"/>
              <a:gd name="connsiteY839" fmla="*/ 5986868 h 6479439"/>
              <a:gd name="connsiteX840" fmla="*/ 5504099 w 9586368"/>
              <a:gd name="connsiteY840" fmla="*/ 5982829 h 6479439"/>
              <a:gd name="connsiteX841" fmla="*/ 5514010 w 9586368"/>
              <a:gd name="connsiteY841" fmla="*/ 5982829 h 6479439"/>
              <a:gd name="connsiteX842" fmla="*/ 5518029 w 9586368"/>
              <a:gd name="connsiteY842" fmla="*/ 5986868 h 6479439"/>
              <a:gd name="connsiteX843" fmla="*/ 5518029 w 9586368"/>
              <a:gd name="connsiteY843" fmla="*/ 5996739 h 6479439"/>
              <a:gd name="connsiteX844" fmla="*/ 5514010 w 9586368"/>
              <a:gd name="connsiteY844" fmla="*/ 6000778 h 6479439"/>
              <a:gd name="connsiteX845" fmla="*/ 5504099 w 9586368"/>
              <a:gd name="connsiteY845" fmla="*/ 6000778 h 6479439"/>
              <a:gd name="connsiteX846" fmla="*/ 5500080 w 9586368"/>
              <a:gd name="connsiteY846" fmla="*/ 5996739 h 6479439"/>
              <a:gd name="connsiteX847" fmla="*/ 5500080 w 9586368"/>
              <a:gd name="connsiteY847" fmla="*/ 5986868 h 6479439"/>
              <a:gd name="connsiteX848" fmla="*/ 5264784 w 9586368"/>
              <a:gd name="connsiteY848" fmla="*/ 5982829 h 6479439"/>
              <a:gd name="connsiteX849" fmla="*/ 5274694 w 9586368"/>
              <a:gd name="connsiteY849" fmla="*/ 5982829 h 6479439"/>
              <a:gd name="connsiteX850" fmla="*/ 5278713 w 9586368"/>
              <a:gd name="connsiteY850" fmla="*/ 5986868 h 6479439"/>
              <a:gd name="connsiteX851" fmla="*/ 5278713 w 9586368"/>
              <a:gd name="connsiteY851" fmla="*/ 5996739 h 6479439"/>
              <a:gd name="connsiteX852" fmla="*/ 5274694 w 9586368"/>
              <a:gd name="connsiteY852" fmla="*/ 6000778 h 6479439"/>
              <a:gd name="connsiteX853" fmla="*/ 5264784 w 9586368"/>
              <a:gd name="connsiteY853" fmla="*/ 6000778 h 6479439"/>
              <a:gd name="connsiteX854" fmla="*/ 5260765 w 9586368"/>
              <a:gd name="connsiteY854" fmla="*/ 5996739 h 6479439"/>
              <a:gd name="connsiteX855" fmla="*/ 5260765 w 9586368"/>
              <a:gd name="connsiteY855" fmla="*/ 5986868 h 6479439"/>
              <a:gd name="connsiteX856" fmla="*/ 5025470 w 9586368"/>
              <a:gd name="connsiteY856" fmla="*/ 5982829 h 6479439"/>
              <a:gd name="connsiteX857" fmla="*/ 5035381 w 9586368"/>
              <a:gd name="connsiteY857" fmla="*/ 5982829 h 6479439"/>
              <a:gd name="connsiteX858" fmla="*/ 5039400 w 9586368"/>
              <a:gd name="connsiteY858" fmla="*/ 5986868 h 6479439"/>
              <a:gd name="connsiteX859" fmla="*/ 5039400 w 9586368"/>
              <a:gd name="connsiteY859" fmla="*/ 5996739 h 6479439"/>
              <a:gd name="connsiteX860" fmla="*/ 5035381 w 9586368"/>
              <a:gd name="connsiteY860" fmla="*/ 6000778 h 6479439"/>
              <a:gd name="connsiteX861" fmla="*/ 5025470 w 9586368"/>
              <a:gd name="connsiteY861" fmla="*/ 6000778 h 6479439"/>
              <a:gd name="connsiteX862" fmla="*/ 5021451 w 9586368"/>
              <a:gd name="connsiteY862" fmla="*/ 5996739 h 6479439"/>
              <a:gd name="connsiteX863" fmla="*/ 5021451 w 9586368"/>
              <a:gd name="connsiteY863" fmla="*/ 5986868 h 6479439"/>
              <a:gd name="connsiteX864" fmla="*/ 4786241 w 9586368"/>
              <a:gd name="connsiteY864" fmla="*/ 5982829 h 6479439"/>
              <a:gd name="connsiteX865" fmla="*/ 4796152 w 9586368"/>
              <a:gd name="connsiteY865" fmla="*/ 5982829 h 6479439"/>
              <a:gd name="connsiteX866" fmla="*/ 4800171 w 9586368"/>
              <a:gd name="connsiteY866" fmla="*/ 5986868 h 6479439"/>
              <a:gd name="connsiteX867" fmla="*/ 4800171 w 9586368"/>
              <a:gd name="connsiteY867" fmla="*/ 5996739 h 6479439"/>
              <a:gd name="connsiteX868" fmla="*/ 4796152 w 9586368"/>
              <a:gd name="connsiteY868" fmla="*/ 6000778 h 6479439"/>
              <a:gd name="connsiteX869" fmla="*/ 4786241 w 9586368"/>
              <a:gd name="connsiteY869" fmla="*/ 6000778 h 6479439"/>
              <a:gd name="connsiteX870" fmla="*/ 4782224 w 9586368"/>
              <a:gd name="connsiteY870" fmla="*/ 5996739 h 6479439"/>
              <a:gd name="connsiteX871" fmla="*/ 4782224 w 9586368"/>
              <a:gd name="connsiteY871" fmla="*/ 5986868 h 6479439"/>
              <a:gd name="connsiteX872" fmla="*/ 4546929 w 9586368"/>
              <a:gd name="connsiteY872" fmla="*/ 5982829 h 6479439"/>
              <a:gd name="connsiteX873" fmla="*/ 4556840 w 9586368"/>
              <a:gd name="connsiteY873" fmla="*/ 5982829 h 6479439"/>
              <a:gd name="connsiteX874" fmla="*/ 4560859 w 9586368"/>
              <a:gd name="connsiteY874" fmla="*/ 5986868 h 6479439"/>
              <a:gd name="connsiteX875" fmla="*/ 4560859 w 9586368"/>
              <a:gd name="connsiteY875" fmla="*/ 5996739 h 6479439"/>
              <a:gd name="connsiteX876" fmla="*/ 4556840 w 9586368"/>
              <a:gd name="connsiteY876" fmla="*/ 6000778 h 6479439"/>
              <a:gd name="connsiteX877" fmla="*/ 4546929 w 9586368"/>
              <a:gd name="connsiteY877" fmla="*/ 6000778 h 6479439"/>
              <a:gd name="connsiteX878" fmla="*/ 4542910 w 9586368"/>
              <a:gd name="connsiteY878" fmla="*/ 5996739 h 6479439"/>
              <a:gd name="connsiteX879" fmla="*/ 4542910 w 9586368"/>
              <a:gd name="connsiteY879" fmla="*/ 5986868 h 6479439"/>
              <a:gd name="connsiteX880" fmla="*/ 4307612 w 9586368"/>
              <a:gd name="connsiteY880" fmla="*/ 5982829 h 6479439"/>
              <a:gd name="connsiteX881" fmla="*/ 4317523 w 9586368"/>
              <a:gd name="connsiteY881" fmla="*/ 5982829 h 6479439"/>
              <a:gd name="connsiteX882" fmla="*/ 4321543 w 9586368"/>
              <a:gd name="connsiteY882" fmla="*/ 5986868 h 6479439"/>
              <a:gd name="connsiteX883" fmla="*/ 4321543 w 9586368"/>
              <a:gd name="connsiteY883" fmla="*/ 5996739 h 6479439"/>
              <a:gd name="connsiteX884" fmla="*/ 4317523 w 9586368"/>
              <a:gd name="connsiteY884" fmla="*/ 6000778 h 6479439"/>
              <a:gd name="connsiteX885" fmla="*/ 4307612 w 9586368"/>
              <a:gd name="connsiteY885" fmla="*/ 6000778 h 6479439"/>
              <a:gd name="connsiteX886" fmla="*/ 4303595 w 9586368"/>
              <a:gd name="connsiteY886" fmla="*/ 5996739 h 6479439"/>
              <a:gd name="connsiteX887" fmla="*/ 4303595 w 9586368"/>
              <a:gd name="connsiteY887" fmla="*/ 5986868 h 6479439"/>
              <a:gd name="connsiteX888" fmla="*/ 4068297 w 9586368"/>
              <a:gd name="connsiteY888" fmla="*/ 5982829 h 6479439"/>
              <a:gd name="connsiteX889" fmla="*/ 4078210 w 9586368"/>
              <a:gd name="connsiteY889" fmla="*/ 5982829 h 6479439"/>
              <a:gd name="connsiteX890" fmla="*/ 4082229 w 9586368"/>
              <a:gd name="connsiteY890" fmla="*/ 5986868 h 6479439"/>
              <a:gd name="connsiteX891" fmla="*/ 4082229 w 9586368"/>
              <a:gd name="connsiteY891" fmla="*/ 5996739 h 6479439"/>
              <a:gd name="connsiteX892" fmla="*/ 4078210 w 9586368"/>
              <a:gd name="connsiteY892" fmla="*/ 6000778 h 6479439"/>
              <a:gd name="connsiteX893" fmla="*/ 4068297 w 9586368"/>
              <a:gd name="connsiteY893" fmla="*/ 6000778 h 6479439"/>
              <a:gd name="connsiteX894" fmla="*/ 4064278 w 9586368"/>
              <a:gd name="connsiteY894" fmla="*/ 5996739 h 6479439"/>
              <a:gd name="connsiteX895" fmla="*/ 4064278 w 9586368"/>
              <a:gd name="connsiteY895" fmla="*/ 5986868 h 6479439"/>
              <a:gd name="connsiteX896" fmla="*/ 3828990 w 9586368"/>
              <a:gd name="connsiteY896" fmla="*/ 5982829 h 6479439"/>
              <a:gd name="connsiteX897" fmla="*/ 3838899 w 9586368"/>
              <a:gd name="connsiteY897" fmla="*/ 5982829 h 6479439"/>
              <a:gd name="connsiteX898" fmla="*/ 3842917 w 9586368"/>
              <a:gd name="connsiteY898" fmla="*/ 5986868 h 6479439"/>
              <a:gd name="connsiteX899" fmla="*/ 3842917 w 9586368"/>
              <a:gd name="connsiteY899" fmla="*/ 5996739 h 6479439"/>
              <a:gd name="connsiteX900" fmla="*/ 3838899 w 9586368"/>
              <a:gd name="connsiteY900" fmla="*/ 6000778 h 6479439"/>
              <a:gd name="connsiteX901" fmla="*/ 3828990 w 9586368"/>
              <a:gd name="connsiteY901" fmla="*/ 6000778 h 6479439"/>
              <a:gd name="connsiteX902" fmla="*/ 3824971 w 9586368"/>
              <a:gd name="connsiteY902" fmla="*/ 5996739 h 6479439"/>
              <a:gd name="connsiteX903" fmla="*/ 3824971 w 9586368"/>
              <a:gd name="connsiteY903" fmla="*/ 5986868 h 6479439"/>
              <a:gd name="connsiteX904" fmla="*/ 3589676 w 9586368"/>
              <a:gd name="connsiteY904" fmla="*/ 5982829 h 6479439"/>
              <a:gd name="connsiteX905" fmla="*/ 3599585 w 9586368"/>
              <a:gd name="connsiteY905" fmla="*/ 5982829 h 6479439"/>
              <a:gd name="connsiteX906" fmla="*/ 3603604 w 9586368"/>
              <a:gd name="connsiteY906" fmla="*/ 5986868 h 6479439"/>
              <a:gd name="connsiteX907" fmla="*/ 3603604 w 9586368"/>
              <a:gd name="connsiteY907" fmla="*/ 5996739 h 6479439"/>
              <a:gd name="connsiteX908" fmla="*/ 3599585 w 9586368"/>
              <a:gd name="connsiteY908" fmla="*/ 6000778 h 6479439"/>
              <a:gd name="connsiteX909" fmla="*/ 3589676 w 9586368"/>
              <a:gd name="connsiteY909" fmla="*/ 6000778 h 6479439"/>
              <a:gd name="connsiteX910" fmla="*/ 3585657 w 9586368"/>
              <a:gd name="connsiteY910" fmla="*/ 5996739 h 6479439"/>
              <a:gd name="connsiteX911" fmla="*/ 3585657 w 9586368"/>
              <a:gd name="connsiteY911" fmla="*/ 5986868 h 6479439"/>
              <a:gd name="connsiteX912" fmla="*/ 3350359 w 9586368"/>
              <a:gd name="connsiteY912" fmla="*/ 5982829 h 6479439"/>
              <a:gd name="connsiteX913" fmla="*/ 3360268 w 9586368"/>
              <a:gd name="connsiteY913" fmla="*/ 5982829 h 6479439"/>
              <a:gd name="connsiteX914" fmla="*/ 3364287 w 9586368"/>
              <a:gd name="connsiteY914" fmla="*/ 5986868 h 6479439"/>
              <a:gd name="connsiteX915" fmla="*/ 3364287 w 9586368"/>
              <a:gd name="connsiteY915" fmla="*/ 5996739 h 6479439"/>
              <a:gd name="connsiteX916" fmla="*/ 3360268 w 9586368"/>
              <a:gd name="connsiteY916" fmla="*/ 6000778 h 6479439"/>
              <a:gd name="connsiteX917" fmla="*/ 3350359 w 9586368"/>
              <a:gd name="connsiteY917" fmla="*/ 6000778 h 6479439"/>
              <a:gd name="connsiteX918" fmla="*/ 3346340 w 9586368"/>
              <a:gd name="connsiteY918" fmla="*/ 5996739 h 6479439"/>
              <a:gd name="connsiteX919" fmla="*/ 3346340 w 9586368"/>
              <a:gd name="connsiteY919" fmla="*/ 5986868 h 6479439"/>
              <a:gd name="connsiteX920" fmla="*/ 3111048 w 9586368"/>
              <a:gd name="connsiteY920" fmla="*/ 5982829 h 6479439"/>
              <a:gd name="connsiteX921" fmla="*/ 3120959 w 9586368"/>
              <a:gd name="connsiteY921" fmla="*/ 5982829 h 6479439"/>
              <a:gd name="connsiteX922" fmla="*/ 3124977 w 9586368"/>
              <a:gd name="connsiteY922" fmla="*/ 5986868 h 6479439"/>
              <a:gd name="connsiteX923" fmla="*/ 3124977 w 9586368"/>
              <a:gd name="connsiteY923" fmla="*/ 5996739 h 6479439"/>
              <a:gd name="connsiteX924" fmla="*/ 3120959 w 9586368"/>
              <a:gd name="connsiteY924" fmla="*/ 6000778 h 6479439"/>
              <a:gd name="connsiteX925" fmla="*/ 3111048 w 9586368"/>
              <a:gd name="connsiteY925" fmla="*/ 6000778 h 6479439"/>
              <a:gd name="connsiteX926" fmla="*/ 3107029 w 9586368"/>
              <a:gd name="connsiteY926" fmla="*/ 5996739 h 6479439"/>
              <a:gd name="connsiteX927" fmla="*/ 3107029 w 9586368"/>
              <a:gd name="connsiteY927" fmla="*/ 5986868 h 6479439"/>
              <a:gd name="connsiteX928" fmla="*/ 2871737 w 9586368"/>
              <a:gd name="connsiteY928" fmla="*/ 5982829 h 6479439"/>
              <a:gd name="connsiteX929" fmla="*/ 2881646 w 9586368"/>
              <a:gd name="connsiteY929" fmla="*/ 5982829 h 6479439"/>
              <a:gd name="connsiteX930" fmla="*/ 2885666 w 9586368"/>
              <a:gd name="connsiteY930" fmla="*/ 5986868 h 6479439"/>
              <a:gd name="connsiteX931" fmla="*/ 2885666 w 9586368"/>
              <a:gd name="connsiteY931" fmla="*/ 5996739 h 6479439"/>
              <a:gd name="connsiteX932" fmla="*/ 2881646 w 9586368"/>
              <a:gd name="connsiteY932" fmla="*/ 6000778 h 6479439"/>
              <a:gd name="connsiteX933" fmla="*/ 2871737 w 9586368"/>
              <a:gd name="connsiteY933" fmla="*/ 6000778 h 6479439"/>
              <a:gd name="connsiteX934" fmla="*/ 2867717 w 9586368"/>
              <a:gd name="connsiteY934" fmla="*/ 5996739 h 6479439"/>
              <a:gd name="connsiteX935" fmla="*/ 2867717 w 9586368"/>
              <a:gd name="connsiteY935" fmla="*/ 5986868 h 6479439"/>
              <a:gd name="connsiteX936" fmla="*/ 2632423 w 9586368"/>
              <a:gd name="connsiteY936" fmla="*/ 5982829 h 6479439"/>
              <a:gd name="connsiteX937" fmla="*/ 2642334 w 9586368"/>
              <a:gd name="connsiteY937" fmla="*/ 5982829 h 6479439"/>
              <a:gd name="connsiteX938" fmla="*/ 2646352 w 9586368"/>
              <a:gd name="connsiteY938" fmla="*/ 5986868 h 6479439"/>
              <a:gd name="connsiteX939" fmla="*/ 2646352 w 9586368"/>
              <a:gd name="connsiteY939" fmla="*/ 5996739 h 6479439"/>
              <a:gd name="connsiteX940" fmla="*/ 2642334 w 9586368"/>
              <a:gd name="connsiteY940" fmla="*/ 6000778 h 6479439"/>
              <a:gd name="connsiteX941" fmla="*/ 2632423 w 9586368"/>
              <a:gd name="connsiteY941" fmla="*/ 6000778 h 6479439"/>
              <a:gd name="connsiteX942" fmla="*/ 2628404 w 9586368"/>
              <a:gd name="connsiteY942" fmla="*/ 5996739 h 6479439"/>
              <a:gd name="connsiteX943" fmla="*/ 2628404 w 9586368"/>
              <a:gd name="connsiteY943" fmla="*/ 5986868 h 6479439"/>
              <a:gd name="connsiteX944" fmla="*/ 2393104 w 9586368"/>
              <a:gd name="connsiteY944" fmla="*/ 5982829 h 6479439"/>
              <a:gd name="connsiteX945" fmla="*/ 2403015 w 9586368"/>
              <a:gd name="connsiteY945" fmla="*/ 5982829 h 6479439"/>
              <a:gd name="connsiteX946" fmla="*/ 2407034 w 9586368"/>
              <a:gd name="connsiteY946" fmla="*/ 5986868 h 6479439"/>
              <a:gd name="connsiteX947" fmla="*/ 2407034 w 9586368"/>
              <a:gd name="connsiteY947" fmla="*/ 5996739 h 6479439"/>
              <a:gd name="connsiteX948" fmla="*/ 2403015 w 9586368"/>
              <a:gd name="connsiteY948" fmla="*/ 6000778 h 6479439"/>
              <a:gd name="connsiteX949" fmla="*/ 2393104 w 9586368"/>
              <a:gd name="connsiteY949" fmla="*/ 6000778 h 6479439"/>
              <a:gd name="connsiteX950" fmla="*/ 2389087 w 9586368"/>
              <a:gd name="connsiteY950" fmla="*/ 5996739 h 6479439"/>
              <a:gd name="connsiteX951" fmla="*/ 2389087 w 9586368"/>
              <a:gd name="connsiteY951" fmla="*/ 5986868 h 6479439"/>
              <a:gd name="connsiteX952" fmla="*/ 721960 w 9586368"/>
              <a:gd name="connsiteY952" fmla="*/ 5982829 h 6479439"/>
              <a:gd name="connsiteX953" fmla="*/ 731869 w 9586368"/>
              <a:gd name="connsiteY953" fmla="*/ 5982829 h 6479439"/>
              <a:gd name="connsiteX954" fmla="*/ 735888 w 9586368"/>
              <a:gd name="connsiteY954" fmla="*/ 5986868 h 6479439"/>
              <a:gd name="connsiteX955" fmla="*/ 735888 w 9586368"/>
              <a:gd name="connsiteY955" fmla="*/ 5996739 h 6479439"/>
              <a:gd name="connsiteX956" fmla="*/ 731869 w 9586368"/>
              <a:gd name="connsiteY956" fmla="*/ 6000778 h 6479439"/>
              <a:gd name="connsiteX957" fmla="*/ 721960 w 9586368"/>
              <a:gd name="connsiteY957" fmla="*/ 6000778 h 6479439"/>
              <a:gd name="connsiteX958" fmla="*/ 717940 w 9586368"/>
              <a:gd name="connsiteY958" fmla="*/ 5996739 h 6479439"/>
              <a:gd name="connsiteX959" fmla="*/ 717940 w 9586368"/>
              <a:gd name="connsiteY959" fmla="*/ 5986868 h 6479439"/>
              <a:gd name="connsiteX960" fmla="*/ 482647 w 9586368"/>
              <a:gd name="connsiteY960" fmla="*/ 5982829 h 6479439"/>
              <a:gd name="connsiteX961" fmla="*/ 492557 w 9586368"/>
              <a:gd name="connsiteY961" fmla="*/ 5982829 h 6479439"/>
              <a:gd name="connsiteX962" fmla="*/ 496576 w 9586368"/>
              <a:gd name="connsiteY962" fmla="*/ 5986868 h 6479439"/>
              <a:gd name="connsiteX963" fmla="*/ 496576 w 9586368"/>
              <a:gd name="connsiteY963" fmla="*/ 5996739 h 6479439"/>
              <a:gd name="connsiteX964" fmla="*/ 492557 w 9586368"/>
              <a:gd name="connsiteY964" fmla="*/ 6000778 h 6479439"/>
              <a:gd name="connsiteX965" fmla="*/ 482647 w 9586368"/>
              <a:gd name="connsiteY965" fmla="*/ 6000778 h 6479439"/>
              <a:gd name="connsiteX966" fmla="*/ 478628 w 9586368"/>
              <a:gd name="connsiteY966" fmla="*/ 5996739 h 6479439"/>
              <a:gd name="connsiteX967" fmla="*/ 478628 w 9586368"/>
              <a:gd name="connsiteY967" fmla="*/ 5986868 h 6479439"/>
              <a:gd name="connsiteX968" fmla="*/ 243334 w 9586368"/>
              <a:gd name="connsiteY968" fmla="*/ 5982829 h 6479439"/>
              <a:gd name="connsiteX969" fmla="*/ 253244 w 9586368"/>
              <a:gd name="connsiteY969" fmla="*/ 5982829 h 6479439"/>
              <a:gd name="connsiteX970" fmla="*/ 257263 w 9586368"/>
              <a:gd name="connsiteY970" fmla="*/ 5986868 h 6479439"/>
              <a:gd name="connsiteX971" fmla="*/ 257263 w 9586368"/>
              <a:gd name="connsiteY971" fmla="*/ 5996739 h 6479439"/>
              <a:gd name="connsiteX972" fmla="*/ 253244 w 9586368"/>
              <a:gd name="connsiteY972" fmla="*/ 6000778 h 6479439"/>
              <a:gd name="connsiteX973" fmla="*/ 243334 w 9586368"/>
              <a:gd name="connsiteY973" fmla="*/ 6000778 h 6479439"/>
              <a:gd name="connsiteX974" fmla="*/ 239315 w 9586368"/>
              <a:gd name="connsiteY974" fmla="*/ 5996739 h 6479439"/>
              <a:gd name="connsiteX975" fmla="*/ 239315 w 9586368"/>
              <a:gd name="connsiteY975" fmla="*/ 5986868 h 6479439"/>
              <a:gd name="connsiteX976" fmla="*/ 4021 w 9586368"/>
              <a:gd name="connsiteY976" fmla="*/ 5982829 h 6479439"/>
              <a:gd name="connsiteX977" fmla="*/ 13931 w 9586368"/>
              <a:gd name="connsiteY977" fmla="*/ 5982829 h 6479439"/>
              <a:gd name="connsiteX978" fmla="*/ 17950 w 9586368"/>
              <a:gd name="connsiteY978" fmla="*/ 5986868 h 6479439"/>
              <a:gd name="connsiteX979" fmla="*/ 17950 w 9586368"/>
              <a:gd name="connsiteY979" fmla="*/ 5996739 h 6479439"/>
              <a:gd name="connsiteX980" fmla="*/ 13931 w 9586368"/>
              <a:gd name="connsiteY980" fmla="*/ 6000778 h 6479439"/>
              <a:gd name="connsiteX981" fmla="*/ 4021 w 9586368"/>
              <a:gd name="connsiteY981" fmla="*/ 6000778 h 6479439"/>
              <a:gd name="connsiteX982" fmla="*/ 1 w 9586368"/>
              <a:gd name="connsiteY982" fmla="*/ 5996739 h 6479439"/>
              <a:gd name="connsiteX983" fmla="*/ 1 w 9586368"/>
              <a:gd name="connsiteY983" fmla="*/ 5986868 h 6479439"/>
              <a:gd name="connsiteX984" fmla="*/ 2157818 w 9586368"/>
              <a:gd name="connsiteY984" fmla="*/ 5743551 h 6479439"/>
              <a:gd name="connsiteX985" fmla="*/ 2167728 w 9586368"/>
              <a:gd name="connsiteY985" fmla="*/ 5743551 h 6479439"/>
              <a:gd name="connsiteX986" fmla="*/ 2171747 w 9586368"/>
              <a:gd name="connsiteY986" fmla="*/ 5747589 h 6479439"/>
              <a:gd name="connsiteX987" fmla="*/ 2171747 w 9586368"/>
              <a:gd name="connsiteY987" fmla="*/ 5757460 h 6479439"/>
              <a:gd name="connsiteX988" fmla="*/ 2167728 w 9586368"/>
              <a:gd name="connsiteY988" fmla="*/ 5761499 h 6479439"/>
              <a:gd name="connsiteX989" fmla="*/ 2157818 w 9586368"/>
              <a:gd name="connsiteY989" fmla="*/ 5761499 h 6479439"/>
              <a:gd name="connsiteX990" fmla="*/ 2153799 w 9586368"/>
              <a:gd name="connsiteY990" fmla="*/ 5757460 h 6479439"/>
              <a:gd name="connsiteX991" fmla="*/ 2153799 w 9586368"/>
              <a:gd name="connsiteY991" fmla="*/ 5747589 h 6479439"/>
              <a:gd name="connsiteX992" fmla="*/ 1918510 w 9586368"/>
              <a:gd name="connsiteY992" fmla="*/ 5743551 h 6479439"/>
              <a:gd name="connsiteX993" fmla="*/ 1928420 w 9586368"/>
              <a:gd name="connsiteY993" fmla="*/ 5743551 h 6479439"/>
              <a:gd name="connsiteX994" fmla="*/ 1932438 w 9586368"/>
              <a:gd name="connsiteY994" fmla="*/ 5747589 h 6479439"/>
              <a:gd name="connsiteX995" fmla="*/ 1932438 w 9586368"/>
              <a:gd name="connsiteY995" fmla="*/ 5757460 h 6479439"/>
              <a:gd name="connsiteX996" fmla="*/ 1928420 w 9586368"/>
              <a:gd name="connsiteY996" fmla="*/ 5761499 h 6479439"/>
              <a:gd name="connsiteX997" fmla="*/ 1918510 w 9586368"/>
              <a:gd name="connsiteY997" fmla="*/ 5761499 h 6479439"/>
              <a:gd name="connsiteX998" fmla="*/ 1914490 w 9586368"/>
              <a:gd name="connsiteY998" fmla="*/ 5757460 h 6479439"/>
              <a:gd name="connsiteX999" fmla="*/ 1914490 w 9586368"/>
              <a:gd name="connsiteY999" fmla="*/ 5747589 h 6479439"/>
              <a:gd name="connsiteX1000" fmla="*/ 1679201 w 9586368"/>
              <a:gd name="connsiteY1000" fmla="*/ 5743551 h 6479439"/>
              <a:gd name="connsiteX1001" fmla="*/ 1689112 w 9586368"/>
              <a:gd name="connsiteY1001" fmla="*/ 5743551 h 6479439"/>
              <a:gd name="connsiteX1002" fmla="*/ 1693131 w 9586368"/>
              <a:gd name="connsiteY1002" fmla="*/ 5747589 h 6479439"/>
              <a:gd name="connsiteX1003" fmla="*/ 1693131 w 9586368"/>
              <a:gd name="connsiteY1003" fmla="*/ 5757460 h 6479439"/>
              <a:gd name="connsiteX1004" fmla="*/ 1689112 w 9586368"/>
              <a:gd name="connsiteY1004" fmla="*/ 5761499 h 6479439"/>
              <a:gd name="connsiteX1005" fmla="*/ 1679201 w 9586368"/>
              <a:gd name="connsiteY1005" fmla="*/ 5761499 h 6479439"/>
              <a:gd name="connsiteX1006" fmla="*/ 1675183 w 9586368"/>
              <a:gd name="connsiteY1006" fmla="*/ 5757460 h 6479439"/>
              <a:gd name="connsiteX1007" fmla="*/ 1675183 w 9586368"/>
              <a:gd name="connsiteY1007" fmla="*/ 5747589 h 6479439"/>
              <a:gd name="connsiteX1008" fmla="*/ 1439886 w 9586368"/>
              <a:gd name="connsiteY1008" fmla="*/ 5743551 h 6479439"/>
              <a:gd name="connsiteX1009" fmla="*/ 1449797 w 9586368"/>
              <a:gd name="connsiteY1009" fmla="*/ 5743551 h 6479439"/>
              <a:gd name="connsiteX1010" fmla="*/ 1453815 w 9586368"/>
              <a:gd name="connsiteY1010" fmla="*/ 5747589 h 6479439"/>
              <a:gd name="connsiteX1011" fmla="*/ 1453815 w 9586368"/>
              <a:gd name="connsiteY1011" fmla="*/ 5757460 h 6479439"/>
              <a:gd name="connsiteX1012" fmla="*/ 1449797 w 9586368"/>
              <a:gd name="connsiteY1012" fmla="*/ 5761499 h 6479439"/>
              <a:gd name="connsiteX1013" fmla="*/ 1439886 w 9586368"/>
              <a:gd name="connsiteY1013" fmla="*/ 5761499 h 6479439"/>
              <a:gd name="connsiteX1014" fmla="*/ 1435868 w 9586368"/>
              <a:gd name="connsiteY1014" fmla="*/ 5757460 h 6479439"/>
              <a:gd name="connsiteX1015" fmla="*/ 1435868 w 9586368"/>
              <a:gd name="connsiteY1015" fmla="*/ 5747589 h 6479439"/>
              <a:gd name="connsiteX1016" fmla="*/ 1200572 w 9586368"/>
              <a:gd name="connsiteY1016" fmla="*/ 5743551 h 6479439"/>
              <a:gd name="connsiteX1017" fmla="*/ 1210482 w 9586368"/>
              <a:gd name="connsiteY1017" fmla="*/ 5743551 h 6479439"/>
              <a:gd name="connsiteX1018" fmla="*/ 1214500 w 9586368"/>
              <a:gd name="connsiteY1018" fmla="*/ 5747589 h 6479439"/>
              <a:gd name="connsiteX1019" fmla="*/ 1214500 w 9586368"/>
              <a:gd name="connsiteY1019" fmla="*/ 5757460 h 6479439"/>
              <a:gd name="connsiteX1020" fmla="*/ 1210482 w 9586368"/>
              <a:gd name="connsiteY1020" fmla="*/ 5761499 h 6479439"/>
              <a:gd name="connsiteX1021" fmla="*/ 1200572 w 9586368"/>
              <a:gd name="connsiteY1021" fmla="*/ 5761499 h 6479439"/>
              <a:gd name="connsiteX1022" fmla="*/ 1196553 w 9586368"/>
              <a:gd name="connsiteY1022" fmla="*/ 5757460 h 6479439"/>
              <a:gd name="connsiteX1023" fmla="*/ 1196553 w 9586368"/>
              <a:gd name="connsiteY1023" fmla="*/ 5747589 h 6479439"/>
              <a:gd name="connsiteX1024" fmla="*/ 961259 w 9586368"/>
              <a:gd name="connsiteY1024" fmla="*/ 5743551 h 6479439"/>
              <a:gd name="connsiteX1025" fmla="*/ 971169 w 9586368"/>
              <a:gd name="connsiteY1025" fmla="*/ 5743551 h 6479439"/>
              <a:gd name="connsiteX1026" fmla="*/ 975188 w 9586368"/>
              <a:gd name="connsiteY1026" fmla="*/ 5747589 h 6479439"/>
              <a:gd name="connsiteX1027" fmla="*/ 975188 w 9586368"/>
              <a:gd name="connsiteY1027" fmla="*/ 5757460 h 6479439"/>
              <a:gd name="connsiteX1028" fmla="*/ 971169 w 9586368"/>
              <a:gd name="connsiteY1028" fmla="*/ 5761499 h 6479439"/>
              <a:gd name="connsiteX1029" fmla="*/ 961259 w 9586368"/>
              <a:gd name="connsiteY1029" fmla="*/ 5761499 h 6479439"/>
              <a:gd name="connsiteX1030" fmla="*/ 957240 w 9586368"/>
              <a:gd name="connsiteY1030" fmla="*/ 5757460 h 6479439"/>
              <a:gd name="connsiteX1031" fmla="*/ 957240 w 9586368"/>
              <a:gd name="connsiteY1031" fmla="*/ 5747589 h 6479439"/>
              <a:gd name="connsiteX1032" fmla="*/ 9572438 w 9586368"/>
              <a:gd name="connsiteY1032" fmla="*/ 5743499 h 6479439"/>
              <a:gd name="connsiteX1033" fmla="*/ 9582349 w 9586368"/>
              <a:gd name="connsiteY1033" fmla="*/ 5743499 h 6479439"/>
              <a:gd name="connsiteX1034" fmla="*/ 9586368 w 9586368"/>
              <a:gd name="connsiteY1034" fmla="*/ 5747537 h 6479439"/>
              <a:gd name="connsiteX1035" fmla="*/ 9586368 w 9586368"/>
              <a:gd name="connsiteY1035" fmla="*/ 5757408 h 6479439"/>
              <a:gd name="connsiteX1036" fmla="*/ 9582349 w 9586368"/>
              <a:gd name="connsiteY1036" fmla="*/ 5761447 h 6479439"/>
              <a:gd name="connsiteX1037" fmla="*/ 9572438 w 9586368"/>
              <a:gd name="connsiteY1037" fmla="*/ 5761447 h 6479439"/>
              <a:gd name="connsiteX1038" fmla="*/ 9568419 w 9586368"/>
              <a:gd name="connsiteY1038" fmla="*/ 5757408 h 6479439"/>
              <a:gd name="connsiteX1039" fmla="*/ 9568419 w 9586368"/>
              <a:gd name="connsiteY1039" fmla="*/ 5747537 h 6479439"/>
              <a:gd name="connsiteX1040" fmla="*/ 9333125 w 9586368"/>
              <a:gd name="connsiteY1040" fmla="*/ 5743499 h 6479439"/>
              <a:gd name="connsiteX1041" fmla="*/ 9343036 w 9586368"/>
              <a:gd name="connsiteY1041" fmla="*/ 5743499 h 6479439"/>
              <a:gd name="connsiteX1042" fmla="*/ 9347055 w 9586368"/>
              <a:gd name="connsiteY1042" fmla="*/ 5747537 h 6479439"/>
              <a:gd name="connsiteX1043" fmla="*/ 9347055 w 9586368"/>
              <a:gd name="connsiteY1043" fmla="*/ 5757408 h 6479439"/>
              <a:gd name="connsiteX1044" fmla="*/ 9343036 w 9586368"/>
              <a:gd name="connsiteY1044" fmla="*/ 5761447 h 6479439"/>
              <a:gd name="connsiteX1045" fmla="*/ 9333125 w 9586368"/>
              <a:gd name="connsiteY1045" fmla="*/ 5761447 h 6479439"/>
              <a:gd name="connsiteX1046" fmla="*/ 9329106 w 9586368"/>
              <a:gd name="connsiteY1046" fmla="*/ 5757408 h 6479439"/>
              <a:gd name="connsiteX1047" fmla="*/ 9329106 w 9586368"/>
              <a:gd name="connsiteY1047" fmla="*/ 5747537 h 6479439"/>
              <a:gd name="connsiteX1048" fmla="*/ 9093811 w 9586368"/>
              <a:gd name="connsiteY1048" fmla="*/ 5743499 h 6479439"/>
              <a:gd name="connsiteX1049" fmla="*/ 9103722 w 9586368"/>
              <a:gd name="connsiteY1049" fmla="*/ 5743499 h 6479439"/>
              <a:gd name="connsiteX1050" fmla="*/ 9107741 w 9586368"/>
              <a:gd name="connsiteY1050" fmla="*/ 5747537 h 6479439"/>
              <a:gd name="connsiteX1051" fmla="*/ 9107741 w 9586368"/>
              <a:gd name="connsiteY1051" fmla="*/ 5757408 h 6479439"/>
              <a:gd name="connsiteX1052" fmla="*/ 9103722 w 9586368"/>
              <a:gd name="connsiteY1052" fmla="*/ 5761447 h 6479439"/>
              <a:gd name="connsiteX1053" fmla="*/ 9093811 w 9586368"/>
              <a:gd name="connsiteY1053" fmla="*/ 5761447 h 6479439"/>
              <a:gd name="connsiteX1054" fmla="*/ 9089792 w 9586368"/>
              <a:gd name="connsiteY1054" fmla="*/ 5757408 h 6479439"/>
              <a:gd name="connsiteX1055" fmla="*/ 9089792 w 9586368"/>
              <a:gd name="connsiteY1055" fmla="*/ 5747537 h 6479439"/>
              <a:gd name="connsiteX1056" fmla="*/ 8854496 w 9586368"/>
              <a:gd name="connsiteY1056" fmla="*/ 5743499 h 6479439"/>
              <a:gd name="connsiteX1057" fmla="*/ 8864407 w 9586368"/>
              <a:gd name="connsiteY1057" fmla="*/ 5743499 h 6479439"/>
              <a:gd name="connsiteX1058" fmla="*/ 8868426 w 9586368"/>
              <a:gd name="connsiteY1058" fmla="*/ 5747537 h 6479439"/>
              <a:gd name="connsiteX1059" fmla="*/ 8868426 w 9586368"/>
              <a:gd name="connsiteY1059" fmla="*/ 5757408 h 6479439"/>
              <a:gd name="connsiteX1060" fmla="*/ 8864407 w 9586368"/>
              <a:gd name="connsiteY1060" fmla="*/ 5761447 h 6479439"/>
              <a:gd name="connsiteX1061" fmla="*/ 8854496 w 9586368"/>
              <a:gd name="connsiteY1061" fmla="*/ 5761447 h 6479439"/>
              <a:gd name="connsiteX1062" fmla="*/ 8850477 w 9586368"/>
              <a:gd name="connsiteY1062" fmla="*/ 5757408 h 6479439"/>
              <a:gd name="connsiteX1063" fmla="*/ 8850477 w 9586368"/>
              <a:gd name="connsiteY1063" fmla="*/ 5747537 h 6479439"/>
              <a:gd name="connsiteX1064" fmla="*/ 8615184 w 9586368"/>
              <a:gd name="connsiteY1064" fmla="*/ 5743499 h 6479439"/>
              <a:gd name="connsiteX1065" fmla="*/ 8625095 w 9586368"/>
              <a:gd name="connsiteY1065" fmla="*/ 5743499 h 6479439"/>
              <a:gd name="connsiteX1066" fmla="*/ 8629114 w 9586368"/>
              <a:gd name="connsiteY1066" fmla="*/ 5747537 h 6479439"/>
              <a:gd name="connsiteX1067" fmla="*/ 8629114 w 9586368"/>
              <a:gd name="connsiteY1067" fmla="*/ 5757408 h 6479439"/>
              <a:gd name="connsiteX1068" fmla="*/ 8625095 w 9586368"/>
              <a:gd name="connsiteY1068" fmla="*/ 5761447 h 6479439"/>
              <a:gd name="connsiteX1069" fmla="*/ 8615184 w 9586368"/>
              <a:gd name="connsiteY1069" fmla="*/ 5761447 h 6479439"/>
              <a:gd name="connsiteX1070" fmla="*/ 8611165 w 9586368"/>
              <a:gd name="connsiteY1070" fmla="*/ 5757408 h 6479439"/>
              <a:gd name="connsiteX1071" fmla="*/ 8611165 w 9586368"/>
              <a:gd name="connsiteY1071" fmla="*/ 5747537 h 6479439"/>
              <a:gd name="connsiteX1072" fmla="*/ 8375869 w 9586368"/>
              <a:gd name="connsiteY1072" fmla="*/ 5743499 h 6479439"/>
              <a:gd name="connsiteX1073" fmla="*/ 8385779 w 9586368"/>
              <a:gd name="connsiteY1073" fmla="*/ 5743499 h 6479439"/>
              <a:gd name="connsiteX1074" fmla="*/ 8389799 w 9586368"/>
              <a:gd name="connsiteY1074" fmla="*/ 5747537 h 6479439"/>
              <a:gd name="connsiteX1075" fmla="*/ 8389799 w 9586368"/>
              <a:gd name="connsiteY1075" fmla="*/ 5757408 h 6479439"/>
              <a:gd name="connsiteX1076" fmla="*/ 8385779 w 9586368"/>
              <a:gd name="connsiteY1076" fmla="*/ 5761447 h 6479439"/>
              <a:gd name="connsiteX1077" fmla="*/ 8375869 w 9586368"/>
              <a:gd name="connsiteY1077" fmla="*/ 5761447 h 6479439"/>
              <a:gd name="connsiteX1078" fmla="*/ 8371850 w 9586368"/>
              <a:gd name="connsiteY1078" fmla="*/ 5757408 h 6479439"/>
              <a:gd name="connsiteX1079" fmla="*/ 8371850 w 9586368"/>
              <a:gd name="connsiteY1079" fmla="*/ 5747537 h 6479439"/>
              <a:gd name="connsiteX1080" fmla="*/ 8136553 w 9586368"/>
              <a:gd name="connsiteY1080" fmla="*/ 5743499 h 6479439"/>
              <a:gd name="connsiteX1081" fmla="*/ 8146464 w 9586368"/>
              <a:gd name="connsiteY1081" fmla="*/ 5743499 h 6479439"/>
              <a:gd name="connsiteX1082" fmla="*/ 8150483 w 9586368"/>
              <a:gd name="connsiteY1082" fmla="*/ 5747537 h 6479439"/>
              <a:gd name="connsiteX1083" fmla="*/ 8150483 w 9586368"/>
              <a:gd name="connsiteY1083" fmla="*/ 5757408 h 6479439"/>
              <a:gd name="connsiteX1084" fmla="*/ 8146464 w 9586368"/>
              <a:gd name="connsiteY1084" fmla="*/ 5761447 h 6479439"/>
              <a:gd name="connsiteX1085" fmla="*/ 8136553 w 9586368"/>
              <a:gd name="connsiteY1085" fmla="*/ 5761447 h 6479439"/>
              <a:gd name="connsiteX1086" fmla="*/ 8132534 w 9586368"/>
              <a:gd name="connsiteY1086" fmla="*/ 5757408 h 6479439"/>
              <a:gd name="connsiteX1087" fmla="*/ 8132534 w 9586368"/>
              <a:gd name="connsiteY1087" fmla="*/ 5747537 h 6479439"/>
              <a:gd name="connsiteX1088" fmla="*/ 7897241 w 9586368"/>
              <a:gd name="connsiteY1088" fmla="*/ 5743499 h 6479439"/>
              <a:gd name="connsiteX1089" fmla="*/ 7907151 w 9586368"/>
              <a:gd name="connsiteY1089" fmla="*/ 5743499 h 6479439"/>
              <a:gd name="connsiteX1090" fmla="*/ 7911170 w 9586368"/>
              <a:gd name="connsiteY1090" fmla="*/ 5747537 h 6479439"/>
              <a:gd name="connsiteX1091" fmla="*/ 7911170 w 9586368"/>
              <a:gd name="connsiteY1091" fmla="*/ 5757408 h 6479439"/>
              <a:gd name="connsiteX1092" fmla="*/ 7907151 w 9586368"/>
              <a:gd name="connsiteY1092" fmla="*/ 5761447 h 6479439"/>
              <a:gd name="connsiteX1093" fmla="*/ 7897241 w 9586368"/>
              <a:gd name="connsiteY1093" fmla="*/ 5761447 h 6479439"/>
              <a:gd name="connsiteX1094" fmla="*/ 7893222 w 9586368"/>
              <a:gd name="connsiteY1094" fmla="*/ 5757408 h 6479439"/>
              <a:gd name="connsiteX1095" fmla="*/ 7893222 w 9586368"/>
              <a:gd name="connsiteY1095" fmla="*/ 5747537 h 6479439"/>
              <a:gd name="connsiteX1096" fmla="*/ 7657926 w 9586368"/>
              <a:gd name="connsiteY1096" fmla="*/ 5743499 h 6479439"/>
              <a:gd name="connsiteX1097" fmla="*/ 7667836 w 9586368"/>
              <a:gd name="connsiteY1097" fmla="*/ 5743499 h 6479439"/>
              <a:gd name="connsiteX1098" fmla="*/ 7671855 w 9586368"/>
              <a:gd name="connsiteY1098" fmla="*/ 5747537 h 6479439"/>
              <a:gd name="connsiteX1099" fmla="*/ 7671855 w 9586368"/>
              <a:gd name="connsiteY1099" fmla="*/ 5757408 h 6479439"/>
              <a:gd name="connsiteX1100" fmla="*/ 7667836 w 9586368"/>
              <a:gd name="connsiteY1100" fmla="*/ 5761447 h 6479439"/>
              <a:gd name="connsiteX1101" fmla="*/ 7657926 w 9586368"/>
              <a:gd name="connsiteY1101" fmla="*/ 5761447 h 6479439"/>
              <a:gd name="connsiteX1102" fmla="*/ 7653906 w 9586368"/>
              <a:gd name="connsiteY1102" fmla="*/ 5757408 h 6479439"/>
              <a:gd name="connsiteX1103" fmla="*/ 7653906 w 9586368"/>
              <a:gd name="connsiteY1103" fmla="*/ 5747537 h 6479439"/>
              <a:gd name="connsiteX1104" fmla="*/ 7418611 w 9586368"/>
              <a:gd name="connsiteY1104" fmla="*/ 5743499 h 6479439"/>
              <a:gd name="connsiteX1105" fmla="*/ 7428521 w 9586368"/>
              <a:gd name="connsiteY1105" fmla="*/ 5743499 h 6479439"/>
              <a:gd name="connsiteX1106" fmla="*/ 7432540 w 9586368"/>
              <a:gd name="connsiteY1106" fmla="*/ 5747537 h 6479439"/>
              <a:gd name="connsiteX1107" fmla="*/ 7432540 w 9586368"/>
              <a:gd name="connsiteY1107" fmla="*/ 5757408 h 6479439"/>
              <a:gd name="connsiteX1108" fmla="*/ 7428521 w 9586368"/>
              <a:gd name="connsiteY1108" fmla="*/ 5761447 h 6479439"/>
              <a:gd name="connsiteX1109" fmla="*/ 7418611 w 9586368"/>
              <a:gd name="connsiteY1109" fmla="*/ 5761447 h 6479439"/>
              <a:gd name="connsiteX1110" fmla="*/ 7414592 w 9586368"/>
              <a:gd name="connsiteY1110" fmla="*/ 5757408 h 6479439"/>
              <a:gd name="connsiteX1111" fmla="*/ 7414592 w 9586368"/>
              <a:gd name="connsiteY1111" fmla="*/ 5747537 h 6479439"/>
              <a:gd name="connsiteX1112" fmla="*/ 7179298 w 9586368"/>
              <a:gd name="connsiteY1112" fmla="*/ 5743499 h 6479439"/>
              <a:gd name="connsiteX1113" fmla="*/ 7189209 w 9586368"/>
              <a:gd name="connsiteY1113" fmla="*/ 5743499 h 6479439"/>
              <a:gd name="connsiteX1114" fmla="*/ 7193228 w 9586368"/>
              <a:gd name="connsiteY1114" fmla="*/ 5747537 h 6479439"/>
              <a:gd name="connsiteX1115" fmla="*/ 7193228 w 9586368"/>
              <a:gd name="connsiteY1115" fmla="*/ 5757408 h 6479439"/>
              <a:gd name="connsiteX1116" fmla="*/ 7189209 w 9586368"/>
              <a:gd name="connsiteY1116" fmla="*/ 5761447 h 6479439"/>
              <a:gd name="connsiteX1117" fmla="*/ 7179298 w 9586368"/>
              <a:gd name="connsiteY1117" fmla="*/ 5761447 h 6479439"/>
              <a:gd name="connsiteX1118" fmla="*/ 7175279 w 9586368"/>
              <a:gd name="connsiteY1118" fmla="*/ 5757408 h 6479439"/>
              <a:gd name="connsiteX1119" fmla="*/ 7175279 w 9586368"/>
              <a:gd name="connsiteY1119" fmla="*/ 5747537 h 6479439"/>
              <a:gd name="connsiteX1120" fmla="*/ 6939983 w 9586368"/>
              <a:gd name="connsiteY1120" fmla="*/ 5743499 h 6479439"/>
              <a:gd name="connsiteX1121" fmla="*/ 6949894 w 9586368"/>
              <a:gd name="connsiteY1121" fmla="*/ 5743499 h 6479439"/>
              <a:gd name="connsiteX1122" fmla="*/ 6953913 w 9586368"/>
              <a:gd name="connsiteY1122" fmla="*/ 5747537 h 6479439"/>
              <a:gd name="connsiteX1123" fmla="*/ 6953913 w 9586368"/>
              <a:gd name="connsiteY1123" fmla="*/ 5757408 h 6479439"/>
              <a:gd name="connsiteX1124" fmla="*/ 6949894 w 9586368"/>
              <a:gd name="connsiteY1124" fmla="*/ 5761447 h 6479439"/>
              <a:gd name="connsiteX1125" fmla="*/ 6939983 w 9586368"/>
              <a:gd name="connsiteY1125" fmla="*/ 5761447 h 6479439"/>
              <a:gd name="connsiteX1126" fmla="*/ 6935964 w 9586368"/>
              <a:gd name="connsiteY1126" fmla="*/ 5757408 h 6479439"/>
              <a:gd name="connsiteX1127" fmla="*/ 6935964 w 9586368"/>
              <a:gd name="connsiteY1127" fmla="*/ 5747537 h 6479439"/>
              <a:gd name="connsiteX1128" fmla="*/ 6700670 w 9586368"/>
              <a:gd name="connsiteY1128" fmla="*/ 5743499 h 6479439"/>
              <a:gd name="connsiteX1129" fmla="*/ 6710581 w 9586368"/>
              <a:gd name="connsiteY1129" fmla="*/ 5743499 h 6479439"/>
              <a:gd name="connsiteX1130" fmla="*/ 6714600 w 9586368"/>
              <a:gd name="connsiteY1130" fmla="*/ 5747537 h 6479439"/>
              <a:gd name="connsiteX1131" fmla="*/ 6714600 w 9586368"/>
              <a:gd name="connsiteY1131" fmla="*/ 5757408 h 6479439"/>
              <a:gd name="connsiteX1132" fmla="*/ 6710581 w 9586368"/>
              <a:gd name="connsiteY1132" fmla="*/ 5761447 h 6479439"/>
              <a:gd name="connsiteX1133" fmla="*/ 6700670 w 9586368"/>
              <a:gd name="connsiteY1133" fmla="*/ 5761447 h 6479439"/>
              <a:gd name="connsiteX1134" fmla="*/ 6696651 w 9586368"/>
              <a:gd name="connsiteY1134" fmla="*/ 5757408 h 6479439"/>
              <a:gd name="connsiteX1135" fmla="*/ 6696651 w 9586368"/>
              <a:gd name="connsiteY1135" fmla="*/ 5747537 h 6479439"/>
              <a:gd name="connsiteX1136" fmla="*/ 6461356 w 9586368"/>
              <a:gd name="connsiteY1136" fmla="*/ 5743499 h 6479439"/>
              <a:gd name="connsiteX1137" fmla="*/ 6471266 w 9586368"/>
              <a:gd name="connsiteY1137" fmla="*/ 5743499 h 6479439"/>
              <a:gd name="connsiteX1138" fmla="*/ 6475285 w 9586368"/>
              <a:gd name="connsiteY1138" fmla="*/ 5747537 h 6479439"/>
              <a:gd name="connsiteX1139" fmla="*/ 6475285 w 9586368"/>
              <a:gd name="connsiteY1139" fmla="*/ 5757408 h 6479439"/>
              <a:gd name="connsiteX1140" fmla="*/ 6471266 w 9586368"/>
              <a:gd name="connsiteY1140" fmla="*/ 5761447 h 6479439"/>
              <a:gd name="connsiteX1141" fmla="*/ 6461356 w 9586368"/>
              <a:gd name="connsiteY1141" fmla="*/ 5761447 h 6479439"/>
              <a:gd name="connsiteX1142" fmla="*/ 6457337 w 9586368"/>
              <a:gd name="connsiteY1142" fmla="*/ 5757408 h 6479439"/>
              <a:gd name="connsiteX1143" fmla="*/ 6457337 w 9586368"/>
              <a:gd name="connsiteY1143" fmla="*/ 5747537 h 6479439"/>
              <a:gd name="connsiteX1144" fmla="*/ 6222042 w 9586368"/>
              <a:gd name="connsiteY1144" fmla="*/ 5743499 h 6479439"/>
              <a:gd name="connsiteX1145" fmla="*/ 6231952 w 9586368"/>
              <a:gd name="connsiteY1145" fmla="*/ 5743499 h 6479439"/>
              <a:gd name="connsiteX1146" fmla="*/ 6235971 w 9586368"/>
              <a:gd name="connsiteY1146" fmla="*/ 5747537 h 6479439"/>
              <a:gd name="connsiteX1147" fmla="*/ 6235971 w 9586368"/>
              <a:gd name="connsiteY1147" fmla="*/ 5757408 h 6479439"/>
              <a:gd name="connsiteX1148" fmla="*/ 6231952 w 9586368"/>
              <a:gd name="connsiteY1148" fmla="*/ 5761447 h 6479439"/>
              <a:gd name="connsiteX1149" fmla="*/ 6222042 w 9586368"/>
              <a:gd name="connsiteY1149" fmla="*/ 5761447 h 6479439"/>
              <a:gd name="connsiteX1150" fmla="*/ 6218023 w 9586368"/>
              <a:gd name="connsiteY1150" fmla="*/ 5757408 h 6479439"/>
              <a:gd name="connsiteX1151" fmla="*/ 6218023 w 9586368"/>
              <a:gd name="connsiteY1151" fmla="*/ 5747537 h 6479439"/>
              <a:gd name="connsiteX1152" fmla="*/ 5982729 w 9586368"/>
              <a:gd name="connsiteY1152" fmla="*/ 5743499 h 6479439"/>
              <a:gd name="connsiteX1153" fmla="*/ 5992639 w 9586368"/>
              <a:gd name="connsiteY1153" fmla="*/ 5743499 h 6479439"/>
              <a:gd name="connsiteX1154" fmla="*/ 5996658 w 9586368"/>
              <a:gd name="connsiteY1154" fmla="*/ 5747537 h 6479439"/>
              <a:gd name="connsiteX1155" fmla="*/ 5996658 w 9586368"/>
              <a:gd name="connsiteY1155" fmla="*/ 5757408 h 6479439"/>
              <a:gd name="connsiteX1156" fmla="*/ 5992639 w 9586368"/>
              <a:gd name="connsiteY1156" fmla="*/ 5761447 h 6479439"/>
              <a:gd name="connsiteX1157" fmla="*/ 5982729 w 9586368"/>
              <a:gd name="connsiteY1157" fmla="*/ 5761447 h 6479439"/>
              <a:gd name="connsiteX1158" fmla="*/ 5978710 w 9586368"/>
              <a:gd name="connsiteY1158" fmla="*/ 5757408 h 6479439"/>
              <a:gd name="connsiteX1159" fmla="*/ 5978710 w 9586368"/>
              <a:gd name="connsiteY1159" fmla="*/ 5747537 h 6479439"/>
              <a:gd name="connsiteX1160" fmla="*/ 5743412 w 9586368"/>
              <a:gd name="connsiteY1160" fmla="*/ 5743499 h 6479439"/>
              <a:gd name="connsiteX1161" fmla="*/ 5753323 w 9586368"/>
              <a:gd name="connsiteY1161" fmla="*/ 5743499 h 6479439"/>
              <a:gd name="connsiteX1162" fmla="*/ 5757342 w 9586368"/>
              <a:gd name="connsiteY1162" fmla="*/ 5747537 h 6479439"/>
              <a:gd name="connsiteX1163" fmla="*/ 5757342 w 9586368"/>
              <a:gd name="connsiteY1163" fmla="*/ 5757408 h 6479439"/>
              <a:gd name="connsiteX1164" fmla="*/ 5753323 w 9586368"/>
              <a:gd name="connsiteY1164" fmla="*/ 5761447 h 6479439"/>
              <a:gd name="connsiteX1165" fmla="*/ 5743412 w 9586368"/>
              <a:gd name="connsiteY1165" fmla="*/ 5761447 h 6479439"/>
              <a:gd name="connsiteX1166" fmla="*/ 5739393 w 9586368"/>
              <a:gd name="connsiteY1166" fmla="*/ 5757408 h 6479439"/>
              <a:gd name="connsiteX1167" fmla="*/ 5739393 w 9586368"/>
              <a:gd name="connsiteY1167" fmla="*/ 5747537 h 6479439"/>
              <a:gd name="connsiteX1168" fmla="*/ 5504099 w 9586368"/>
              <a:gd name="connsiteY1168" fmla="*/ 5743499 h 6479439"/>
              <a:gd name="connsiteX1169" fmla="*/ 5514010 w 9586368"/>
              <a:gd name="connsiteY1169" fmla="*/ 5743499 h 6479439"/>
              <a:gd name="connsiteX1170" fmla="*/ 5518029 w 9586368"/>
              <a:gd name="connsiteY1170" fmla="*/ 5747537 h 6479439"/>
              <a:gd name="connsiteX1171" fmla="*/ 5518029 w 9586368"/>
              <a:gd name="connsiteY1171" fmla="*/ 5757408 h 6479439"/>
              <a:gd name="connsiteX1172" fmla="*/ 5514010 w 9586368"/>
              <a:gd name="connsiteY1172" fmla="*/ 5761447 h 6479439"/>
              <a:gd name="connsiteX1173" fmla="*/ 5504099 w 9586368"/>
              <a:gd name="connsiteY1173" fmla="*/ 5761447 h 6479439"/>
              <a:gd name="connsiteX1174" fmla="*/ 5500080 w 9586368"/>
              <a:gd name="connsiteY1174" fmla="*/ 5757408 h 6479439"/>
              <a:gd name="connsiteX1175" fmla="*/ 5500080 w 9586368"/>
              <a:gd name="connsiteY1175" fmla="*/ 5747537 h 6479439"/>
              <a:gd name="connsiteX1176" fmla="*/ 5264784 w 9586368"/>
              <a:gd name="connsiteY1176" fmla="*/ 5743499 h 6479439"/>
              <a:gd name="connsiteX1177" fmla="*/ 5274694 w 9586368"/>
              <a:gd name="connsiteY1177" fmla="*/ 5743499 h 6479439"/>
              <a:gd name="connsiteX1178" fmla="*/ 5278713 w 9586368"/>
              <a:gd name="connsiteY1178" fmla="*/ 5747537 h 6479439"/>
              <a:gd name="connsiteX1179" fmla="*/ 5278713 w 9586368"/>
              <a:gd name="connsiteY1179" fmla="*/ 5757408 h 6479439"/>
              <a:gd name="connsiteX1180" fmla="*/ 5274694 w 9586368"/>
              <a:gd name="connsiteY1180" fmla="*/ 5761447 h 6479439"/>
              <a:gd name="connsiteX1181" fmla="*/ 5264784 w 9586368"/>
              <a:gd name="connsiteY1181" fmla="*/ 5761447 h 6479439"/>
              <a:gd name="connsiteX1182" fmla="*/ 5260765 w 9586368"/>
              <a:gd name="connsiteY1182" fmla="*/ 5757408 h 6479439"/>
              <a:gd name="connsiteX1183" fmla="*/ 5260765 w 9586368"/>
              <a:gd name="connsiteY1183" fmla="*/ 5747537 h 6479439"/>
              <a:gd name="connsiteX1184" fmla="*/ 5025470 w 9586368"/>
              <a:gd name="connsiteY1184" fmla="*/ 5743499 h 6479439"/>
              <a:gd name="connsiteX1185" fmla="*/ 5035381 w 9586368"/>
              <a:gd name="connsiteY1185" fmla="*/ 5743499 h 6479439"/>
              <a:gd name="connsiteX1186" fmla="*/ 5039400 w 9586368"/>
              <a:gd name="connsiteY1186" fmla="*/ 5747537 h 6479439"/>
              <a:gd name="connsiteX1187" fmla="*/ 5039400 w 9586368"/>
              <a:gd name="connsiteY1187" fmla="*/ 5757408 h 6479439"/>
              <a:gd name="connsiteX1188" fmla="*/ 5035381 w 9586368"/>
              <a:gd name="connsiteY1188" fmla="*/ 5761447 h 6479439"/>
              <a:gd name="connsiteX1189" fmla="*/ 5025470 w 9586368"/>
              <a:gd name="connsiteY1189" fmla="*/ 5761447 h 6479439"/>
              <a:gd name="connsiteX1190" fmla="*/ 5021451 w 9586368"/>
              <a:gd name="connsiteY1190" fmla="*/ 5757408 h 6479439"/>
              <a:gd name="connsiteX1191" fmla="*/ 5021451 w 9586368"/>
              <a:gd name="connsiteY1191" fmla="*/ 5747537 h 6479439"/>
              <a:gd name="connsiteX1192" fmla="*/ 4786241 w 9586368"/>
              <a:gd name="connsiteY1192" fmla="*/ 5743499 h 6479439"/>
              <a:gd name="connsiteX1193" fmla="*/ 4796152 w 9586368"/>
              <a:gd name="connsiteY1193" fmla="*/ 5743499 h 6479439"/>
              <a:gd name="connsiteX1194" fmla="*/ 4800171 w 9586368"/>
              <a:gd name="connsiteY1194" fmla="*/ 5747537 h 6479439"/>
              <a:gd name="connsiteX1195" fmla="*/ 4800171 w 9586368"/>
              <a:gd name="connsiteY1195" fmla="*/ 5757408 h 6479439"/>
              <a:gd name="connsiteX1196" fmla="*/ 4796152 w 9586368"/>
              <a:gd name="connsiteY1196" fmla="*/ 5761447 h 6479439"/>
              <a:gd name="connsiteX1197" fmla="*/ 4786241 w 9586368"/>
              <a:gd name="connsiteY1197" fmla="*/ 5761447 h 6479439"/>
              <a:gd name="connsiteX1198" fmla="*/ 4782224 w 9586368"/>
              <a:gd name="connsiteY1198" fmla="*/ 5757408 h 6479439"/>
              <a:gd name="connsiteX1199" fmla="*/ 4782224 w 9586368"/>
              <a:gd name="connsiteY1199" fmla="*/ 5747537 h 6479439"/>
              <a:gd name="connsiteX1200" fmla="*/ 4546929 w 9586368"/>
              <a:gd name="connsiteY1200" fmla="*/ 5743499 h 6479439"/>
              <a:gd name="connsiteX1201" fmla="*/ 4556840 w 9586368"/>
              <a:gd name="connsiteY1201" fmla="*/ 5743499 h 6479439"/>
              <a:gd name="connsiteX1202" fmla="*/ 4560859 w 9586368"/>
              <a:gd name="connsiteY1202" fmla="*/ 5747537 h 6479439"/>
              <a:gd name="connsiteX1203" fmla="*/ 4560859 w 9586368"/>
              <a:gd name="connsiteY1203" fmla="*/ 5757408 h 6479439"/>
              <a:gd name="connsiteX1204" fmla="*/ 4556840 w 9586368"/>
              <a:gd name="connsiteY1204" fmla="*/ 5761447 h 6479439"/>
              <a:gd name="connsiteX1205" fmla="*/ 4546929 w 9586368"/>
              <a:gd name="connsiteY1205" fmla="*/ 5761447 h 6479439"/>
              <a:gd name="connsiteX1206" fmla="*/ 4542910 w 9586368"/>
              <a:gd name="connsiteY1206" fmla="*/ 5757408 h 6479439"/>
              <a:gd name="connsiteX1207" fmla="*/ 4542910 w 9586368"/>
              <a:gd name="connsiteY1207" fmla="*/ 5747537 h 6479439"/>
              <a:gd name="connsiteX1208" fmla="*/ 4307612 w 9586368"/>
              <a:gd name="connsiteY1208" fmla="*/ 5743499 h 6479439"/>
              <a:gd name="connsiteX1209" fmla="*/ 4317523 w 9586368"/>
              <a:gd name="connsiteY1209" fmla="*/ 5743499 h 6479439"/>
              <a:gd name="connsiteX1210" fmla="*/ 4321543 w 9586368"/>
              <a:gd name="connsiteY1210" fmla="*/ 5747537 h 6479439"/>
              <a:gd name="connsiteX1211" fmla="*/ 4321543 w 9586368"/>
              <a:gd name="connsiteY1211" fmla="*/ 5757408 h 6479439"/>
              <a:gd name="connsiteX1212" fmla="*/ 4317523 w 9586368"/>
              <a:gd name="connsiteY1212" fmla="*/ 5761447 h 6479439"/>
              <a:gd name="connsiteX1213" fmla="*/ 4307612 w 9586368"/>
              <a:gd name="connsiteY1213" fmla="*/ 5761447 h 6479439"/>
              <a:gd name="connsiteX1214" fmla="*/ 4303595 w 9586368"/>
              <a:gd name="connsiteY1214" fmla="*/ 5757408 h 6479439"/>
              <a:gd name="connsiteX1215" fmla="*/ 4303595 w 9586368"/>
              <a:gd name="connsiteY1215" fmla="*/ 5747537 h 6479439"/>
              <a:gd name="connsiteX1216" fmla="*/ 4068297 w 9586368"/>
              <a:gd name="connsiteY1216" fmla="*/ 5743499 h 6479439"/>
              <a:gd name="connsiteX1217" fmla="*/ 4078210 w 9586368"/>
              <a:gd name="connsiteY1217" fmla="*/ 5743499 h 6479439"/>
              <a:gd name="connsiteX1218" fmla="*/ 4082229 w 9586368"/>
              <a:gd name="connsiteY1218" fmla="*/ 5747537 h 6479439"/>
              <a:gd name="connsiteX1219" fmla="*/ 4082229 w 9586368"/>
              <a:gd name="connsiteY1219" fmla="*/ 5757408 h 6479439"/>
              <a:gd name="connsiteX1220" fmla="*/ 4078210 w 9586368"/>
              <a:gd name="connsiteY1220" fmla="*/ 5761447 h 6479439"/>
              <a:gd name="connsiteX1221" fmla="*/ 4068297 w 9586368"/>
              <a:gd name="connsiteY1221" fmla="*/ 5761447 h 6479439"/>
              <a:gd name="connsiteX1222" fmla="*/ 4064278 w 9586368"/>
              <a:gd name="connsiteY1222" fmla="*/ 5757408 h 6479439"/>
              <a:gd name="connsiteX1223" fmla="*/ 4064278 w 9586368"/>
              <a:gd name="connsiteY1223" fmla="*/ 5747537 h 6479439"/>
              <a:gd name="connsiteX1224" fmla="*/ 3828990 w 9586368"/>
              <a:gd name="connsiteY1224" fmla="*/ 5743499 h 6479439"/>
              <a:gd name="connsiteX1225" fmla="*/ 3838899 w 9586368"/>
              <a:gd name="connsiteY1225" fmla="*/ 5743499 h 6479439"/>
              <a:gd name="connsiteX1226" fmla="*/ 3842917 w 9586368"/>
              <a:gd name="connsiteY1226" fmla="*/ 5747537 h 6479439"/>
              <a:gd name="connsiteX1227" fmla="*/ 3842917 w 9586368"/>
              <a:gd name="connsiteY1227" fmla="*/ 5757408 h 6479439"/>
              <a:gd name="connsiteX1228" fmla="*/ 3838899 w 9586368"/>
              <a:gd name="connsiteY1228" fmla="*/ 5761447 h 6479439"/>
              <a:gd name="connsiteX1229" fmla="*/ 3828990 w 9586368"/>
              <a:gd name="connsiteY1229" fmla="*/ 5761447 h 6479439"/>
              <a:gd name="connsiteX1230" fmla="*/ 3824971 w 9586368"/>
              <a:gd name="connsiteY1230" fmla="*/ 5757408 h 6479439"/>
              <a:gd name="connsiteX1231" fmla="*/ 3824971 w 9586368"/>
              <a:gd name="connsiteY1231" fmla="*/ 5747537 h 6479439"/>
              <a:gd name="connsiteX1232" fmla="*/ 3589676 w 9586368"/>
              <a:gd name="connsiteY1232" fmla="*/ 5743499 h 6479439"/>
              <a:gd name="connsiteX1233" fmla="*/ 3599585 w 9586368"/>
              <a:gd name="connsiteY1233" fmla="*/ 5743499 h 6479439"/>
              <a:gd name="connsiteX1234" fmla="*/ 3603604 w 9586368"/>
              <a:gd name="connsiteY1234" fmla="*/ 5747537 h 6479439"/>
              <a:gd name="connsiteX1235" fmla="*/ 3603604 w 9586368"/>
              <a:gd name="connsiteY1235" fmla="*/ 5757408 h 6479439"/>
              <a:gd name="connsiteX1236" fmla="*/ 3599585 w 9586368"/>
              <a:gd name="connsiteY1236" fmla="*/ 5761447 h 6479439"/>
              <a:gd name="connsiteX1237" fmla="*/ 3589676 w 9586368"/>
              <a:gd name="connsiteY1237" fmla="*/ 5761447 h 6479439"/>
              <a:gd name="connsiteX1238" fmla="*/ 3585657 w 9586368"/>
              <a:gd name="connsiteY1238" fmla="*/ 5757408 h 6479439"/>
              <a:gd name="connsiteX1239" fmla="*/ 3585657 w 9586368"/>
              <a:gd name="connsiteY1239" fmla="*/ 5747537 h 6479439"/>
              <a:gd name="connsiteX1240" fmla="*/ 3350359 w 9586368"/>
              <a:gd name="connsiteY1240" fmla="*/ 5743499 h 6479439"/>
              <a:gd name="connsiteX1241" fmla="*/ 3360268 w 9586368"/>
              <a:gd name="connsiteY1241" fmla="*/ 5743499 h 6479439"/>
              <a:gd name="connsiteX1242" fmla="*/ 3364287 w 9586368"/>
              <a:gd name="connsiteY1242" fmla="*/ 5747537 h 6479439"/>
              <a:gd name="connsiteX1243" fmla="*/ 3364287 w 9586368"/>
              <a:gd name="connsiteY1243" fmla="*/ 5757408 h 6479439"/>
              <a:gd name="connsiteX1244" fmla="*/ 3360268 w 9586368"/>
              <a:gd name="connsiteY1244" fmla="*/ 5761447 h 6479439"/>
              <a:gd name="connsiteX1245" fmla="*/ 3350359 w 9586368"/>
              <a:gd name="connsiteY1245" fmla="*/ 5761447 h 6479439"/>
              <a:gd name="connsiteX1246" fmla="*/ 3346340 w 9586368"/>
              <a:gd name="connsiteY1246" fmla="*/ 5757408 h 6479439"/>
              <a:gd name="connsiteX1247" fmla="*/ 3346340 w 9586368"/>
              <a:gd name="connsiteY1247" fmla="*/ 5747537 h 6479439"/>
              <a:gd name="connsiteX1248" fmla="*/ 3111048 w 9586368"/>
              <a:gd name="connsiteY1248" fmla="*/ 5743499 h 6479439"/>
              <a:gd name="connsiteX1249" fmla="*/ 3120959 w 9586368"/>
              <a:gd name="connsiteY1249" fmla="*/ 5743499 h 6479439"/>
              <a:gd name="connsiteX1250" fmla="*/ 3124977 w 9586368"/>
              <a:gd name="connsiteY1250" fmla="*/ 5747537 h 6479439"/>
              <a:gd name="connsiteX1251" fmla="*/ 3124977 w 9586368"/>
              <a:gd name="connsiteY1251" fmla="*/ 5757408 h 6479439"/>
              <a:gd name="connsiteX1252" fmla="*/ 3120959 w 9586368"/>
              <a:gd name="connsiteY1252" fmla="*/ 5761447 h 6479439"/>
              <a:gd name="connsiteX1253" fmla="*/ 3111048 w 9586368"/>
              <a:gd name="connsiteY1253" fmla="*/ 5761447 h 6479439"/>
              <a:gd name="connsiteX1254" fmla="*/ 3107029 w 9586368"/>
              <a:gd name="connsiteY1254" fmla="*/ 5757408 h 6479439"/>
              <a:gd name="connsiteX1255" fmla="*/ 3107029 w 9586368"/>
              <a:gd name="connsiteY1255" fmla="*/ 5747537 h 6479439"/>
              <a:gd name="connsiteX1256" fmla="*/ 2871737 w 9586368"/>
              <a:gd name="connsiteY1256" fmla="*/ 5743499 h 6479439"/>
              <a:gd name="connsiteX1257" fmla="*/ 2881646 w 9586368"/>
              <a:gd name="connsiteY1257" fmla="*/ 5743499 h 6479439"/>
              <a:gd name="connsiteX1258" fmla="*/ 2885666 w 9586368"/>
              <a:gd name="connsiteY1258" fmla="*/ 5747537 h 6479439"/>
              <a:gd name="connsiteX1259" fmla="*/ 2885666 w 9586368"/>
              <a:gd name="connsiteY1259" fmla="*/ 5757408 h 6479439"/>
              <a:gd name="connsiteX1260" fmla="*/ 2881646 w 9586368"/>
              <a:gd name="connsiteY1260" fmla="*/ 5761447 h 6479439"/>
              <a:gd name="connsiteX1261" fmla="*/ 2871737 w 9586368"/>
              <a:gd name="connsiteY1261" fmla="*/ 5761447 h 6479439"/>
              <a:gd name="connsiteX1262" fmla="*/ 2867717 w 9586368"/>
              <a:gd name="connsiteY1262" fmla="*/ 5757408 h 6479439"/>
              <a:gd name="connsiteX1263" fmla="*/ 2867717 w 9586368"/>
              <a:gd name="connsiteY1263" fmla="*/ 5747537 h 6479439"/>
              <a:gd name="connsiteX1264" fmla="*/ 2632423 w 9586368"/>
              <a:gd name="connsiteY1264" fmla="*/ 5743499 h 6479439"/>
              <a:gd name="connsiteX1265" fmla="*/ 2642334 w 9586368"/>
              <a:gd name="connsiteY1265" fmla="*/ 5743499 h 6479439"/>
              <a:gd name="connsiteX1266" fmla="*/ 2646352 w 9586368"/>
              <a:gd name="connsiteY1266" fmla="*/ 5747537 h 6479439"/>
              <a:gd name="connsiteX1267" fmla="*/ 2646352 w 9586368"/>
              <a:gd name="connsiteY1267" fmla="*/ 5757408 h 6479439"/>
              <a:gd name="connsiteX1268" fmla="*/ 2642334 w 9586368"/>
              <a:gd name="connsiteY1268" fmla="*/ 5761447 h 6479439"/>
              <a:gd name="connsiteX1269" fmla="*/ 2632423 w 9586368"/>
              <a:gd name="connsiteY1269" fmla="*/ 5761447 h 6479439"/>
              <a:gd name="connsiteX1270" fmla="*/ 2628404 w 9586368"/>
              <a:gd name="connsiteY1270" fmla="*/ 5757408 h 6479439"/>
              <a:gd name="connsiteX1271" fmla="*/ 2628404 w 9586368"/>
              <a:gd name="connsiteY1271" fmla="*/ 5747537 h 6479439"/>
              <a:gd name="connsiteX1272" fmla="*/ 2393104 w 9586368"/>
              <a:gd name="connsiteY1272" fmla="*/ 5743499 h 6479439"/>
              <a:gd name="connsiteX1273" fmla="*/ 2403015 w 9586368"/>
              <a:gd name="connsiteY1273" fmla="*/ 5743499 h 6479439"/>
              <a:gd name="connsiteX1274" fmla="*/ 2407034 w 9586368"/>
              <a:gd name="connsiteY1274" fmla="*/ 5747537 h 6479439"/>
              <a:gd name="connsiteX1275" fmla="*/ 2407034 w 9586368"/>
              <a:gd name="connsiteY1275" fmla="*/ 5757408 h 6479439"/>
              <a:gd name="connsiteX1276" fmla="*/ 2403015 w 9586368"/>
              <a:gd name="connsiteY1276" fmla="*/ 5761447 h 6479439"/>
              <a:gd name="connsiteX1277" fmla="*/ 2393104 w 9586368"/>
              <a:gd name="connsiteY1277" fmla="*/ 5761447 h 6479439"/>
              <a:gd name="connsiteX1278" fmla="*/ 2389087 w 9586368"/>
              <a:gd name="connsiteY1278" fmla="*/ 5757408 h 6479439"/>
              <a:gd name="connsiteX1279" fmla="*/ 2389087 w 9586368"/>
              <a:gd name="connsiteY1279" fmla="*/ 5747537 h 6479439"/>
              <a:gd name="connsiteX1280" fmla="*/ 721960 w 9586368"/>
              <a:gd name="connsiteY1280" fmla="*/ 5743499 h 6479439"/>
              <a:gd name="connsiteX1281" fmla="*/ 731871 w 9586368"/>
              <a:gd name="connsiteY1281" fmla="*/ 5743499 h 6479439"/>
              <a:gd name="connsiteX1282" fmla="*/ 735889 w 9586368"/>
              <a:gd name="connsiteY1282" fmla="*/ 5747537 h 6479439"/>
              <a:gd name="connsiteX1283" fmla="*/ 735889 w 9586368"/>
              <a:gd name="connsiteY1283" fmla="*/ 5757408 h 6479439"/>
              <a:gd name="connsiteX1284" fmla="*/ 731871 w 9586368"/>
              <a:gd name="connsiteY1284" fmla="*/ 5761447 h 6479439"/>
              <a:gd name="connsiteX1285" fmla="*/ 721960 w 9586368"/>
              <a:gd name="connsiteY1285" fmla="*/ 5761447 h 6479439"/>
              <a:gd name="connsiteX1286" fmla="*/ 717941 w 9586368"/>
              <a:gd name="connsiteY1286" fmla="*/ 5757408 h 6479439"/>
              <a:gd name="connsiteX1287" fmla="*/ 717941 w 9586368"/>
              <a:gd name="connsiteY1287" fmla="*/ 5747537 h 6479439"/>
              <a:gd name="connsiteX1288" fmla="*/ 482648 w 9586368"/>
              <a:gd name="connsiteY1288" fmla="*/ 5743499 h 6479439"/>
              <a:gd name="connsiteX1289" fmla="*/ 492558 w 9586368"/>
              <a:gd name="connsiteY1289" fmla="*/ 5743499 h 6479439"/>
              <a:gd name="connsiteX1290" fmla="*/ 496578 w 9586368"/>
              <a:gd name="connsiteY1290" fmla="*/ 5747537 h 6479439"/>
              <a:gd name="connsiteX1291" fmla="*/ 496578 w 9586368"/>
              <a:gd name="connsiteY1291" fmla="*/ 5757408 h 6479439"/>
              <a:gd name="connsiteX1292" fmla="*/ 492558 w 9586368"/>
              <a:gd name="connsiteY1292" fmla="*/ 5761447 h 6479439"/>
              <a:gd name="connsiteX1293" fmla="*/ 482648 w 9586368"/>
              <a:gd name="connsiteY1293" fmla="*/ 5761447 h 6479439"/>
              <a:gd name="connsiteX1294" fmla="*/ 478629 w 9586368"/>
              <a:gd name="connsiteY1294" fmla="*/ 5757408 h 6479439"/>
              <a:gd name="connsiteX1295" fmla="*/ 478629 w 9586368"/>
              <a:gd name="connsiteY1295" fmla="*/ 5747537 h 6479439"/>
              <a:gd name="connsiteX1296" fmla="*/ 243334 w 9586368"/>
              <a:gd name="connsiteY1296" fmla="*/ 5743499 h 6479439"/>
              <a:gd name="connsiteX1297" fmla="*/ 253245 w 9586368"/>
              <a:gd name="connsiteY1297" fmla="*/ 5743499 h 6479439"/>
              <a:gd name="connsiteX1298" fmla="*/ 257264 w 9586368"/>
              <a:gd name="connsiteY1298" fmla="*/ 5747537 h 6479439"/>
              <a:gd name="connsiteX1299" fmla="*/ 257264 w 9586368"/>
              <a:gd name="connsiteY1299" fmla="*/ 5757408 h 6479439"/>
              <a:gd name="connsiteX1300" fmla="*/ 253245 w 9586368"/>
              <a:gd name="connsiteY1300" fmla="*/ 5761447 h 6479439"/>
              <a:gd name="connsiteX1301" fmla="*/ 243334 w 9586368"/>
              <a:gd name="connsiteY1301" fmla="*/ 5761447 h 6479439"/>
              <a:gd name="connsiteX1302" fmla="*/ 239315 w 9586368"/>
              <a:gd name="connsiteY1302" fmla="*/ 5757408 h 6479439"/>
              <a:gd name="connsiteX1303" fmla="*/ 239315 w 9586368"/>
              <a:gd name="connsiteY1303" fmla="*/ 5747537 h 6479439"/>
              <a:gd name="connsiteX1304" fmla="*/ 4021 w 9586368"/>
              <a:gd name="connsiteY1304" fmla="*/ 5743499 h 6479439"/>
              <a:gd name="connsiteX1305" fmla="*/ 13932 w 9586368"/>
              <a:gd name="connsiteY1305" fmla="*/ 5743499 h 6479439"/>
              <a:gd name="connsiteX1306" fmla="*/ 17950 w 9586368"/>
              <a:gd name="connsiteY1306" fmla="*/ 5747537 h 6479439"/>
              <a:gd name="connsiteX1307" fmla="*/ 17950 w 9586368"/>
              <a:gd name="connsiteY1307" fmla="*/ 5757408 h 6479439"/>
              <a:gd name="connsiteX1308" fmla="*/ 13932 w 9586368"/>
              <a:gd name="connsiteY1308" fmla="*/ 5761447 h 6479439"/>
              <a:gd name="connsiteX1309" fmla="*/ 4021 w 9586368"/>
              <a:gd name="connsiteY1309" fmla="*/ 5761447 h 6479439"/>
              <a:gd name="connsiteX1310" fmla="*/ 2 w 9586368"/>
              <a:gd name="connsiteY1310" fmla="*/ 5757408 h 6479439"/>
              <a:gd name="connsiteX1311" fmla="*/ 2 w 9586368"/>
              <a:gd name="connsiteY1311" fmla="*/ 5747537 h 6479439"/>
              <a:gd name="connsiteX1312" fmla="*/ 9572438 w 9586368"/>
              <a:gd name="connsiteY1312" fmla="*/ 5504220 h 6479439"/>
              <a:gd name="connsiteX1313" fmla="*/ 9582349 w 9586368"/>
              <a:gd name="connsiteY1313" fmla="*/ 5504220 h 6479439"/>
              <a:gd name="connsiteX1314" fmla="*/ 9586368 w 9586368"/>
              <a:gd name="connsiteY1314" fmla="*/ 5508258 h 6479439"/>
              <a:gd name="connsiteX1315" fmla="*/ 9586368 w 9586368"/>
              <a:gd name="connsiteY1315" fmla="*/ 5518129 h 6479439"/>
              <a:gd name="connsiteX1316" fmla="*/ 9582349 w 9586368"/>
              <a:gd name="connsiteY1316" fmla="*/ 5522168 h 6479439"/>
              <a:gd name="connsiteX1317" fmla="*/ 9572438 w 9586368"/>
              <a:gd name="connsiteY1317" fmla="*/ 5522168 h 6479439"/>
              <a:gd name="connsiteX1318" fmla="*/ 9568419 w 9586368"/>
              <a:gd name="connsiteY1318" fmla="*/ 5518129 h 6479439"/>
              <a:gd name="connsiteX1319" fmla="*/ 9568419 w 9586368"/>
              <a:gd name="connsiteY1319" fmla="*/ 5508258 h 6479439"/>
              <a:gd name="connsiteX1320" fmla="*/ 9333125 w 9586368"/>
              <a:gd name="connsiteY1320" fmla="*/ 5504220 h 6479439"/>
              <a:gd name="connsiteX1321" fmla="*/ 9343036 w 9586368"/>
              <a:gd name="connsiteY1321" fmla="*/ 5504220 h 6479439"/>
              <a:gd name="connsiteX1322" fmla="*/ 9347055 w 9586368"/>
              <a:gd name="connsiteY1322" fmla="*/ 5508258 h 6479439"/>
              <a:gd name="connsiteX1323" fmla="*/ 9347055 w 9586368"/>
              <a:gd name="connsiteY1323" fmla="*/ 5518129 h 6479439"/>
              <a:gd name="connsiteX1324" fmla="*/ 9343036 w 9586368"/>
              <a:gd name="connsiteY1324" fmla="*/ 5522168 h 6479439"/>
              <a:gd name="connsiteX1325" fmla="*/ 9333125 w 9586368"/>
              <a:gd name="connsiteY1325" fmla="*/ 5522168 h 6479439"/>
              <a:gd name="connsiteX1326" fmla="*/ 9329106 w 9586368"/>
              <a:gd name="connsiteY1326" fmla="*/ 5518129 h 6479439"/>
              <a:gd name="connsiteX1327" fmla="*/ 9329106 w 9586368"/>
              <a:gd name="connsiteY1327" fmla="*/ 5508258 h 6479439"/>
              <a:gd name="connsiteX1328" fmla="*/ 9093811 w 9586368"/>
              <a:gd name="connsiteY1328" fmla="*/ 5504220 h 6479439"/>
              <a:gd name="connsiteX1329" fmla="*/ 9103722 w 9586368"/>
              <a:gd name="connsiteY1329" fmla="*/ 5504220 h 6479439"/>
              <a:gd name="connsiteX1330" fmla="*/ 9107741 w 9586368"/>
              <a:gd name="connsiteY1330" fmla="*/ 5508258 h 6479439"/>
              <a:gd name="connsiteX1331" fmla="*/ 9107741 w 9586368"/>
              <a:gd name="connsiteY1331" fmla="*/ 5518129 h 6479439"/>
              <a:gd name="connsiteX1332" fmla="*/ 9103722 w 9586368"/>
              <a:gd name="connsiteY1332" fmla="*/ 5522168 h 6479439"/>
              <a:gd name="connsiteX1333" fmla="*/ 9093811 w 9586368"/>
              <a:gd name="connsiteY1333" fmla="*/ 5522168 h 6479439"/>
              <a:gd name="connsiteX1334" fmla="*/ 9089792 w 9586368"/>
              <a:gd name="connsiteY1334" fmla="*/ 5518129 h 6479439"/>
              <a:gd name="connsiteX1335" fmla="*/ 9089792 w 9586368"/>
              <a:gd name="connsiteY1335" fmla="*/ 5508258 h 6479439"/>
              <a:gd name="connsiteX1336" fmla="*/ 8854496 w 9586368"/>
              <a:gd name="connsiteY1336" fmla="*/ 5504220 h 6479439"/>
              <a:gd name="connsiteX1337" fmla="*/ 8864407 w 9586368"/>
              <a:gd name="connsiteY1337" fmla="*/ 5504220 h 6479439"/>
              <a:gd name="connsiteX1338" fmla="*/ 8868426 w 9586368"/>
              <a:gd name="connsiteY1338" fmla="*/ 5508258 h 6479439"/>
              <a:gd name="connsiteX1339" fmla="*/ 8868426 w 9586368"/>
              <a:gd name="connsiteY1339" fmla="*/ 5518129 h 6479439"/>
              <a:gd name="connsiteX1340" fmla="*/ 8864407 w 9586368"/>
              <a:gd name="connsiteY1340" fmla="*/ 5522168 h 6479439"/>
              <a:gd name="connsiteX1341" fmla="*/ 8854496 w 9586368"/>
              <a:gd name="connsiteY1341" fmla="*/ 5522168 h 6479439"/>
              <a:gd name="connsiteX1342" fmla="*/ 8850477 w 9586368"/>
              <a:gd name="connsiteY1342" fmla="*/ 5518129 h 6479439"/>
              <a:gd name="connsiteX1343" fmla="*/ 8850477 w 9586368"/>
              <a:gd name="connsiteY1343" fmla="*/ 5508258 h 6479439"/>
              <a:gd name="connsiteX1344" fmla="*/ 8615184 w 9586368"/>
              <a:gd name="connsiteY1344" fmla="*/ 5504220 h 6479439"/>
              <a:gd name="connsiteX1345" fmla="*/ 8625095 w 9586368"/>
              <a:gd name="connsiteY1345" fmla="*/ 5504220 h 6479439"/>
              <a:gd name="connsiteX1346" fmla="*/ 8629114 w 9586368"/>
              <a:gd name="connsiteY1346" fmla="*/ 5508258 h 6479439"/>
              <a:gd name="connsiteX1347" fmla="*/ 8629114 w 9586368"/>
              <a:gd name="connsiteY1347" fmla="*/ 5518129 h 6479439"/>
              <a:gd name="connsiteX1348" fmla="*/ 8625095 w 9586368"/>
              <a:gd name="connsiteY1348" fmla="*/ 5522168 h 6479439"/>
              <a:gd name="connsiteX1349" fmla="*/ 8615184 w 9586368"/>
              <a:gd name="connsiteY1349" fmla="*/ 5522168 h 6479439"/>
              <a:gd name="connsiteX1350" fmla="*/ 8611165 w 9586368"/>
              <a:gd name="connsiteY1350" fmla="*/ 5518129 h 6479439"/>
              <a:gd name="connsiteX1351" fmla="*/ 8611165 w 9586368"/>
              <a:gd name="connsiteY1351" fmla="*/ 5508258 h 6479439"/>
              <a:gd name="connsiteX1352" fmla="*/ 8375869 w 9586368"/>
              <a:gd name="connsiteY1352" fmla="*/ 5504220 h 6479439"/>
              <a:gd name="connsiteX1353" fmla="*/ 8385779 w 9586368"/>
              <a:gd name="connsiteY1353" fmla="*/ 5504220 h 6479439"/>
              <a:gd name="connsiteX1354" fmla="*/ 8389799 w 9586368"/>
              <a:gd name="connsiteY1354" fmla="*/ 5508258 h 6479439"/>
              <a:gd name="connsiteX1355" fmla="*/ 8389799 w 9586368"/>
              <a:gd name="connsiteY1355" fmla="*/ 5518129 h 6479439"/>
              <a:gd name="connsiteX1356" fmla="*/ 8385779 w 9586368"/>
              <a:gd name="connsiteY1356" fmla="*/ 5522168 h 6479439"/>
              <a:gd name="connsiteX1357" fmla="*/ 8375869 w 9586368"/>
              <a:gd name="connsiteY1357" fmla="*/ 5522168 h 6479439"/>
              <a:gd name="connsiteX1358" fmla="*/ 8371850 w 9586368"/>
              <a:gd name="connsiteY1358" fmla="*/ 5518129 h 6479439"/>
              <a:gd name="connsiteX1359" fmla="*/ 8371850 w 9586368"/>
              <a:gd name="connsiteY1359" fmla="*/ 5508258 h 6479439"/>
              <a:gd name="connsiteX1360" fmla="*/ 8136553 w 9586368"/>
              <a:gd name="connsiteY1360" fmla="*/ 5504220 h 6479439"/>
              <a:gd name="connsiteX1361" fmla="*/ 8146464 w 9586368"/>
              <a:gd name="connsiteY1361" fmla="*/ 5504220 h 6479439"/>
              <a:gd name="connsiteX1362" fmla="*/ 8150483 w 9586368"/>
              <a:gd name="connsiteY1362" fmla="*/ 5508258 h 6479439"/>
              <a:gd name="connsiteX1363" fmla="*/ 8150483 w 9586368"/>
              <a:gd name="connsiteY1363" fmla="*/ 5518129 h 6479439"/>
              <a:gd name="connsiteX1364" fmla="*/ 8146464 w 9586368"/>
              <a:gd name="connsiteY1364" fmla="*/ 5522168 h 6479439"/>
              <a:gd name="connsiteX1365" fmla="*/ 8136553 w 9586368"/>
              <a:gd name="connsiteY1365" fmla="*/ 5522168 h 6479439"/>
              <a:gd name="connsiteX1366" fmla="*/ 8132534 w 9586368"/>
              <a:gd name="connsiteY1366" fmla="*/ 5518129 h 6479439"/>
              <a:gd name="connsiteX1367" fmla="*/ 8132534 w 9586368"/>
              <a:gd name="connsiteY1367" fmla="*/ 5508258 h 6479439"/>
              <a:gd name="connsiteX1368" fmla="*/ 7897241 w 9586368"/>
              <a:gd name="connsiteY1368" fmla="*/ 5504220 h 6479439"/>
              <a:gd name="connsiteX1369" fmla="*/ 7907151 w 9586368"/>
              <a:gd name="connsiteY1369" fmla="*/ 5504220 h 6479439"/>
              <a:gd name="connsiteX1370" fmla="*/ 7911170 w 9586368"/>
              <a:gd name="connsiteY1370" fmla="*/ 5508258 h 6479439"/>
              <a:gd name="connsiteX1371" fmla="*/ 7911170 w 9586368"/>
              <a:gd name="connsiteY1371" fmla="*/ 5518129 h 6479439"/>
              <a:gd name="connsiteX1372" fmla="*/ 7907151 w 9586368"/>
              <a:gd name="connsiteY1372" fmla="*/ 5522168 h 6479439"/>
              <a:gd name="connsiteX1373" fmla="*/ 7897241 w 9586368"/>
              <a:gd name="connsiteY1373" fmla="*/ 5522168 h 6479439"/>
              <a:gd name="connsiteX1374" fmla="*/ 7893222 w 9586368"/>
              <a:gd name="connsiteY1374" fmla="*/ 5518129 h 6479439"/>
              <a:gd name="connsiteX1375" fmla="*/ 7893222 w 9586368"/>
              <a:gd name="connsiteY1375" fmla="*/ 5508258 h 6479439"/>
              <a:gd name="connsiteX1376" fmla="*/ 7657926 w 9586368"/>
              <a:gd name="connsiteY1376" fmla="*/ 5504220 h 6479439"/>
              <a:gd name="connsiteX1377" fmla="*/ 7667836 w 9586368"/>
              <a:gd name="connsiteY1377" fmla="*/ 5504220 h 6479439"/>
              <a:gd name="connsiteX1378" fmla="*/ 7671855 w 9586368"/>
              <a:gd name="connsiteY1378" fmla="*/ 5508258 h 6479439"/>
              <a:gd name="connsiteX1379" fmla="*/ 7671855 w 9586368"/>
              <a:gd name="connsiteY1379" fmla="*/ 5518129 h 6479439"/>
              <a:gd name="connsiteX1380" fmla="*/ 7667836 w 9586368"/>
              <a:gd name="connsiteY1380" fmla="*/ 5522168 h 6479439"/>
              <a:gd name="connsiteX1381" fmla="*/ 7657926 w 9586368"/>
              <a:gd name="connsiteY1381" fmla="*/ 5522168 h 6479439"/>
              <a:gd name="connsiteX1382" fmla="*/ 7653906 w 9586368"/>
              <a:gd name="connsiteY1382" fmla="*/ 5518129 h 6479439"/>
              <a:gd name="connsiteX1383" fmla="*/ 7653906 w 9586368"/>
              <a:gd name="connsiteY1383" fmla="*/ 5508258 h 6479439"/>
              <a:gd name="connsiteX1384" fmla="*/ 7418611 w 9586368"/>
              <a:gd name="connsiteY1384" fmla="*/ 5504220 h 6479439"/>
              <a:gd name="connsiteX1385" fmla="*/ 7428521 w 9586368"/>
              <a:gd name="connsiteY1385" fmla="*/ 5504220 h 6479439"/>
              <a:gd name="connsiteX1386" fmla="*/ 7432540 w 9586368"/>
              <a:gd name="connsiteY1386" fmla="*/ 5508258 h 6479439"/>
              <a:gd name="connsiteX1387" fmla="*/ 7432540 w 9586368"/>
              <a:gd name="connsiteY1387" fmla="*/ 5518129 h 6479439"/>
              <a:gd name="connsiteX1388" fmla="*/ 7428521 w 9586368"/>
              <a:gd name="connsiteY1388" fmla="*/ 5522168 h 6479439"/>
              <a:gd name="connsiteX1389" fmla="*/ 7418611 w 9586368"/>
              <a:gd name="connsiteY1389" fmla="*/ 5522168 h 6479439"/>
              <a:gd name="connsiteX1390" fmla="*/ 7414592 w 9586368"/>
              <a:gd name="connsiteY1390" fmla="*/ 5518129 h 6479439"/>
              <a:gd name="connsiteX1391" fmla="*/ 7414592 w 9586368"/>
              <a:gd name="connsiteY1391" fmla="*/ 5508258 h 6479439"/>
              <a:gd name="connsiteX1392" fmla="*/ 7179298 w 9586368"/>
              <a:gd name="connsiteY1392" fmla="*/ 5504220 h 6479439"/>
              <a:gd name="connsiteX1393" fmla="*/ 7189209 w 9586368"/>
              <a:gd name="connsiteY1393" fmla="*/ 5504220 h 6479439"/>
              <a:gd name="connsiteX1394" fmla="*/ 7193228 w 9586368"/>
              <a:gd name="connsiteY1394" fmla="*/ 5508258 h 6479439"/>
              <a:gd name="connsiteX1395" fmla="*/ 7193228 w 9586368"/>
              <a:gd name="connsiteY1395" fmla="*/ 5518129 h 6479439"/>
              <a:gd name="connsiteX1396" fmla="*/ 7189209 w 9586368"/>
              <a:gd name="connsiteY1396" fmla="*/ 5522168 h 6479439"/>
              <a:gd name="connsiteX1397" fmla="*/ 7179298 w 9586368"/>
              <a:gd name="connsiteY1397" fmla="*/ 5522168 h 6479439"/>
              <a:gd name="connsiteX1398" fmla="*/ 7175279 w 9586368"/>
              <a:gd name="connsiteY1398" fmla="*/ 5518129 h 6479439"/>
              <a:gd name="connsiteX1399" fmla="*/ 7175279 w 9586368"/>
              <a:gd name="connsiteY1399" fmla="*/ 5508258 h 6479439"/>
              <a:gd name="connsiteX1400" fmla="*/ 6939983 w 9586368"/>
              <a:gd name="connsiteY1400" fmla="*/ 5504220 h 6479439"/>
              <a:gd name="connsiteX1401" fmla="*/ 6949894 w 9586368"/>
              <a:gd name="connsiteY1401" fmla="*/ 5504220 h 6479439"/>
              <a:gd name="connsiteX1402" fmla="*/ 6953913 w 9586368"/>
              <a:gd name="connsiteY1402" fmla="*/ 5508258 h 6479439"/>
              <a:gd name="connsiteX1403" fmla="*/ 6953913 w 9586368"/>
              <a:gd name="connsiteY1403" fmla="*/ 5518129 h 6479439"/>
              <a:gd name="connsiteX1404" fmla="*/ 6949894 w 9586368"/>
              <a:gd name="connsiteY1404" fmla="*/ 5522168 h 6479439"/>
              <a:gd name="connsiteX1405" fmla="*/ 6939983 w 9586368"/>
              <a:gd name="connsiteY1405" fmla="*/ 5522168 h 6479439"/>
              <a:gd name="connsiteX1406" fmla="*/ 6935964 w 9586368"/>
              <a:gd name="connsiteY1406" fmla="*/ 5518129 h 6479439"/>
              <a:gd name="connsiteX1407" fmla="*/ 6935964 w 9586368"/>
              <a:gd name="connsiteY1407" fmla="*/ 5508258 h 6479439"/>
              <a:gd name="connsiteX1408" fmla="*/ 6700670 w 9586368"/>
              <a:gd name="connsiteY1408" fmla="*/ 5504220 h 6479439"/>
              <a:gd name="connsiteX1409" fmla="*/ 6710581 w 9586368"/>
              <a:gd name="connsiteY1409" fmla="*/ 5504220 h 6479439"/>
              <a:gd name="connsiteX1410" fmla="*/ 6714600 w 9586368"/>
              <a:gd name="connsiteY1410" fmla="*/ 5508258 h 6479439"/>
              <a:gd name="connsiteX1411" fmla="*/ 6714600 w 9586368"/>
              <a:gd name="connsiteY1411" fmla="*/ 5518129 h 6479439"/>
              <a:gd name="connsiteX1412" fmla="*/ 6710581 w 9586368"/>
              <a:gd name="connsiteY1412" fmla="*/ 5522168 h 6479439"/>
              <a:gd name="connsiteX1413" fmla="*/ 6700670 w 9586368"/>
              <a:gd name="connsiteY1413" fmla="*/ 5522168 h 6479439"/>
              <a:gd name="connsiteX1414" fmla="*/ 6696651 w 9586368"/>
              <a:gd name="connsiteY1414" fmla="*/ 5518129 h 6479439"/>
              <a:gd name="connsiteX1415" fmla="*/ 6696651 w 9586368"/>
              <a:gd name="connsiteY1415" fmla="*/ 5508258 h 6479439"/>
              <a:gd name="connsiteX1416" fmla="*/ 6461356 w 9586368"/>
              <a:gd name="connsiteY1416" fmla="*/ 5504220 h 6479439"/>
              <a:gd name="connsiteX1417" fmla="*/ 6471266 w 9586368"/>
              <a:gd name="connsiteY1417" fmla="*/ 5504220 h 6479439"/>
              <a:gd name="connsiteX1418" fmla="*/ 6475285 w 9586368"/>
              <a:gd name="connsiteY1418" fmla="*/ 5508258 h 6479439"/>
              <a:gd name="connsiteX1419" fmla="*/ 6475285 w 9586368"/>
              <a:gd name="connsiteY1419" fmla="*/ 5518129 h 6479439"/>
              <a:gd name="connsiteX1420" fmla="*/ 6471266 w 9586368"/>
              <a:gd name="connsiteY1420" fmla="*/ 5522168 h 6479439"/>
              <a:gd name="connsiteX1421" fmla="*/ 6461356 w 9586368"/>
              <a:gd name="connsiteY1421" fmla="*/ 5522168 h 6479439"/>
              <a:gd name="connsiteX1422" fmla="*/ 6457337 w 9586368"/>
              <a:gd name="connsiteY1422" fmla="*/ 5518129 h 6479439"/>
              <a:gd name="connsiteX1423" fmla="*/ 6457337 w 9586368"/>
              <a:gd name="connsiteY1423" fmla="*/ 5508258 h 6479439"/>
              <a:gd name="connsiteX1424" fmla="*/ 6222042 w 9586368"/>
              <a:gd name="connsiteY1424" fmla="*/ 5504220 h 6479439"/>
              <a:gd name="connsiteX1425" fmla="*/ 6231952 w 9586368"/>
              <a:gd name="connsiteY1425" fmla="*/ 5504220 h 6479439"/>
              <a:gd name="connsiteX1426" fmla="*/ 6235971 w 9586368"/>
              <a:gd name="connsiteY1426" fmla="*/ 5508258 h 6479439"/>
              <a:gd name="connsiteX1427" fmla="*/ 6235971 w 9586368"/>
              <a:gd name="connsiteY1427" fmla="*/ 5518129 h 6479439"/>
              <a:gd name="connsiteX1428" fmla="*/ 6231952 w 9586368"/>
              <a:gd name="connsiteY1428" fmla="*/ 5522168 h 6479439"/>
              <a:gd name="connsiteX1429" fmla="*/ 6222042 w 9586368"/>
              <a:gd name="connsiteY1429" fmla="*/ 5522168 h 6479439"/>
              <a:gd name="connsiteX1430" fmla="*/ 6218023 w 9586368"/>
              <a:gd name="connsiteY1430" fmla="*/ 5518129 h 6479439"/>
              <a:gd name="connsiteX1431" fmla="*/ 6218023 w 9586368"/>
              <a:gd name="connsiteY1431" fmla="*/ 5508258 h 6479439"/>
              <a:gd name="connsiteX1432" fmla="*/ 5982729 w 9586368"/>
              <a:gd name="connsiteY1432" fmla="*/ 5504220 h 6479439"/>
              <a:gd name="connsiteX1433" fmla="*/ 5992639 w 9586368"/>
              <a:gd name="connsiteY1433" fmla="*/ 5504220 h 6479439"/>
              <a:gd name="connsiteX1434" fmla="*/ 5996658 w 9586368"/>
              <a:gd name="connsiteY1434" fmla="*/ 5508258 h 6479439"/>
              <a:gd name="connsiteX1435" fmla="*/ 5996658 w 9586368"/>
              <a:gd name="connsiteY1435" fmla="*/ 5518129 h 6479439"/>
              <a:gd name="connsiteX1436" fmla="*/ 5992639 w 9586368"/>
              <a:gd name="connsiteY1436" fmla="*/ 5522168 h 6479439"/>
              <a:gd name="connsiteX1437" fmla="*/ 5982729 w 9586368"/>
              <a:gd name="connsiteY1437" fmla="*/ 5522168 h 6479439"/>
              <a:gd name="connsiteX1438" fmla="*/ 5978710 w 9586368"/>
              <a:gd name="connsiteY1438" fmla="*/ 5518129 h 6479439"/>
              <a:gd name="connsiteX1439" fmla="*/ 5978710 w 9586368"/>
              <a:gd name="connsiteY1439" fmla="*/ 5508258 h 6479439"/>
              <a:gd name="connsiteX1440" fmla="*/ 5743412 w 9586368"/>
              <a:gd name="connsiteY1440" fmla="*/ 5504220 h 6479439"/>
              <a:gd name="connsiteX1441" fmla="*/ 5753323 w 9586368"/>
              <a:gd name="connsiteY1441" fmla="*/ 5504220 h 6479439"/>
              <a:gd name="connsiteX1442" fmla="*/ 5757342 w 9586368"/>
              <a:gd name="connsiteY1442" fmla="*/ 5508258 h 6479439"/>
              <a:gd name="connsiteX1443" fmla="*/ 5757342 w 9586368"/>
              <a:gd name="connsiteY1443" fmla="*/ 5518129 h 6479439"/>
              <a:gd name="connsiteX1444" fmla="*/ 5753323 w 9586368"/>
              <a:gd name="connsiteY1444" fmla="*/ 5522168 h 6479439"/>
              <a:gd name="connsiteX1445" fmla="*/ 5743412 w 9586368"/>
              <a:gd name="connsiteY1445" fmla="*/ 5522168 h 6479439"/>
              <a:gd name="connsiteX1446" fmla="*/ 5739393 w 9586368"/>
              <a:gd name="connsiteY1446" fmla="*/ 5518129 h 6479439"/>
              <a:gd name="connsiteX1447" fmla="*/ 5739393 w 9586368"/>
              <a:gd name="connsiteY1447" fmla="*/ 5508258 h 6479439"/>
              <a:gd name="connsiteX1448" fmla="*/ 5504099 w 9586368"/>
              <a:gd name="connsiteY1448" fmla="*/ 5504220 h 6479439"/>
              <a:gd name="connsiteX1449" fmla="*/ 5514010 w 9586368"/>
              <a:gd name="connsiteY1449" fmla="*/ 5504220 h 6479439"/>
              <a:gd name="connsiteX1450" fmla="*/ 5518029 w 9586368"/>
              <a:gd name="connsiteY1450" fmla="*/ 5508258 h 6479439"/>
              <a:gd name="connsiteX1451" fmla="*/ 5518029 w 9586368"/>
              <a:gd name="connsiteY1451" fmla="*/ 5518129 h 6479439"/>
              <a:gd name="connsiteX1452" fmla="*/ 5514010 w 9586368"/>
              <a:gd name="connsiteY1452" fmla="*/ 5522168 h 6479439"/>
              <a:gd name="connsiteX1453" fmla="*/ 5504099 w 9586368"/>
              <a:gd name="connsiteY1453" fmla="*/ 5522168 h 6479439"/>
              <a:gd name="connsiteX1454" fmla="*/ 5500080 w 9586368"/>
              <a:gd name="connsiteY1454" fmla="*/ 5518129 h 6479439"/>
              <a:gd name="connsiteX1455" fmla="*/ 5500080 w 9586368"/>
              <a:gd name="connsiteY1455" fmla="*/ 5508258 h 6479439"/>
              <a:gd name="connsiteX1456" fmla="*/ 5264784 w 9586368"/>
              <a:gd name="connsiteY1456" fmla="*/ 5504220 h 6479439"/>
              <a:gd name="connsiteX1457" fmla="*/ 5274694 w 9586368"/>
              <a:gd name="connsiteY1457" fmla="*/ 5504220 h 6479439"/>
              <a:gd name="connsiteX1458" fmla="*/ 5278713 w 9586368"/>
              <a:gd name="connsiteY1458" fmla="*/ 5508258 h 6479439"/>
              <a:gd name="connsiteX1459" fmla="*/ 5278713 w 9586368"/>
              <a:gd name="connsiteY1459" fmla="*/ 5518129 h 6479439"/>
              <a:gd name="connsiteX1460" fmla="*/ 5274694 w 9586368"/>
              <a:gd name="connsiteY1460" fmla="*/ 5522168 h 6479439"/>
              <a:gd name="connsiteX1461" fmla="*/ 5264784 w 9586368"/>
              <a:gd name="connsiteY1461" fmla="*/ 5522168 h 6479439"/>
              <a:gd name="connsiteX1462" fmla="*/ 5260765 w 9586368"/>
              <a:gd name="connsiteY1462" fmla="*/ 5518129 h 6479439"/>
              <a:gd name="connsiteX1463" fmla="*/ 5260765 w 9586368"/>
              <a:gd name="connsiteY1463" fmla="*/ 5508258 h 6479439"/>
              <a:gd name="connsiteX1464" fmla="*/ 5025470 w 9586368"/>
              <a:gd name="connsiteY1464" fmla="*/ 5504220 h 6479439"/>
              <a:gd name="connsiteX1465" fmla="*/ 5035381 w 9586368"/>
              <a:gd name="connsiteY1465" fmla="*/ 5504220 h 6479439"/>
              <a:gd name="connsiteX1466" fmla="*/ 5039400 w 9586368"/>
              <a:gd name="connsiteY1466" fmla="*/ 5508258 h 6479439"/>
              <a:gd name="connsiteX1467" fmla="*/ 5039400 w 9586368"/>
              <a:gd name="connsiteY1467" fmla="*/ 5518129 h 6479439"/>
              <a:gd name="connsiteX1468" fmla="*/ 5035381 w 9586368"/>
              <a:gd name="connsiteY1468" fmla="*/ 5522168 h 6479439"/>
              <a:gd name="connsiteX1469" fmla="*/ 5025470 w 9586368"/>
              <a:gd name="connsiteY1469" fmla="*/ 5522168 h 6479439"/>
              <a:gd name="connsiteX1470" fmla="*/ 5021451 w 9586368"/>
              <a:gd name="connsiteY1470" fmla="*/ 5518129 h 6479439"/>
              <a:gd name="connsiteX1471" fmla="*/ 5021451 w 9586368"/>
              <a:gd name="connsiteY1471" fmla="*/ 5508258 h 6479439"/>
              <a:gd name="connsiteX1472" fmla="*/ 4786241 w 9586368"/>
              <a:gd name="connsiteY1472" fmla="*/ 5504220 h 6479439"/>
              <a:gd name="connsiteX1473" fmla="*/ 4796152 w 9586368"/>
              <a:gd name="connsiteY1473" fmla="*/ 5504220 h 6479439"/>
              <a:gd name="connsiteX1474" fmla="*/ 4800171 w 9586368"/>
              <a:gd name="connsiteY1474" fmla="*/ 5508258 h 6479439"/>
              <a:gd name="connsiteX1475" fmla="*/ 4800171 w 9586368"/>
              <a:gd name="connsiteY1475" fmla="*/ 5518129 h 6479439"/>
              <a:gd name="connsiteX1476" fmla="*/ 4796152 w 9586368"/>
              <a:gd name="connsiteY1476" fmla="*/ 5522168 h 6479439"/>
              <a:gd name="connsiteX1477" fmla="*/ 4786241 w 9586368"/>
              <a:gd name="connsiteY1477" fmla="*/ 5522168 h 6479439"/>
              <a:gd name="connsiteX1478" fmla="*/ 4782224 w 9586368"/>
              <a:gd name="connsiteY1478" fmla="*/ 5518129 h 6479439"/>
              <a:gd name="connsiteX1479" fmla="*/ 4782224 w 9586368"/>
              <a:gd name="connsiteY1479" fmla="*/ 5508258 h 6479439"/>
              <a:gd name="connsiteX1480" fmla="*/ 4546929 w 9586368"/>
              <a:gd name="connsiteY1480" fmla="*/ 5504220 h 6479439"/>
              <a:gd name="connsiteX1481" fmla="*/ 4556840 w 9586368"/>
              <a:gd name="connsiteY1481" fmla="*/ 5504220 h 6479439"/>
              <a:gd name="connsiteX1482" fmla="*/ 4560859 w 9586368"/>
              <a:gd name="connsiteY1482" fmla="*/ 5508258 h 6479439"/>
              <a:gd name="connsiteX1483" fmla="*/ 4560859 w 9586368"/>
              <a:gd name="connsiteY1483" fmla="*/ 5518129 h 6479439"/>
              <a:gd name="connsiteX1484" fmla="*/ 4556840 w 9586368"/>
              <a:gd name="connsiteY1484" fmla="*/ 5522168 h 6479439"/>
              <a:gd name="connsiteX1485" fmla="*/ 4546929 w 9586368"/>
              <a:gd name="connsiteY1485" fmla="*/ 5522168 h 6479439"/>
              <a:gd name="connsiteX1486" fmla="*/ 4542910 w 9586368"/>
              <a:gd name="connsiteY1486" fmla="*/ 5518129 h 6479439"/>
              <a:gd name="connsiteX1487" fmla="*/ 4542910 w 9586368"/>
              <a:gd name="connsiteY1487" fmla="*/ 5508258 h 6479439"/>
              <a:gd name="connsiteX1488" fmla="*/ 4307612 w 9586368"/>
              <a:gd name="connsiteY1488" fmla="*/ 5504220 h 6479439"/>
              <a:gd name="connsiteX1489" fmla="*/ 4317523 w 9586368"/>
              <a:gd name="connsiteY1489" fmla="*/ 5504220 h 6479439"/>
              <a:gd name="connsiteX1490" fmla="*/ 4321543 w 9586368"/>
              <a:gd name="connsiteY1490" fmla="*/ 5508258 h 6479439"/>
              <a:gd name="connsiteX1491" fmla="*/ 4321543 w 9586368"/>
              <a:gd name="connsiteY1491" fmla="*/ 5518129 h 6479439"/>
              <a:gd name="connsiteX1492" fmla="*/ 4317523 w 9586368"/>
              <a:gd name="connsiteY1492" fmla="*/ 5522168 h 6479439"/>
              <a:gd name="connsiteX1493" fmla="*/ 4307612 w 9586368"/>
              <a:gd name="connsiteY1493" fmla="*/ 5522168 h 6479439"/>
              <a:gd name="connsiteX1494" fmla="*/ 4303595 w 9586368"/>
              <a:gd name="connsiteY1494" fmla="*/ 5518129 h 6479439"/>
              <a:gd name="connsiteX1495" fmla="*/ 4303595 w 9586368"/>
              <a:gd name="connsiteY1495" fmla="*/ 5508258 h 6479439"/>
              <a:gd name="connsiteX1496" fmla="*/ 4068297 w 9586368"/>
              <a:gd name="connsiteY1496" fmla="*/ 5504220 h 6479439"/>
              <a:gd name="connsiteX1497" fmla="*/ 4078210 w 9586368"/>
              <a:gd name="connsiteY1497" fmla="*/ 5504220 h 6479439"/>
              <a:gd name="connsiteX1498" fmla="*/ 4082229 w 9586368"/>
              <a:gd name="connsiteY1498" fmla="*/ 5508258 h 6479439"/>
              <a:gd name="connsiteX1499" fmla="*/ 4082229 w 9586368"/>
              <a:gd name="connsiteY1499" fmla="*/ 5518129 h 6479439"/>
              <a:gd name="connsiteX1500" fmla="*/ 4078210 w 9586368"/>
              <a:gd name="connsiteY1500" fmla="*/ 5522168 h 6479439"/>
              <a:gd name="connsiteX1501" fmla="*/ 4068297 w 9586368"/>
              <a:gd name="connsiteY1501" fmla="*/ 5522168 h 6479439"/>
              <a:gd name="connsiteX1502" fmla="*/ 4064278 w 9586368"/>
              <a:gd name="connsiteY1502" fmla="*/ 5518129 h 6479439"/>
              <a:gd name="connsiteX1503" fmla="*/ 4064278 w 9586368"/>
              <a:gd name="connsiteY1503" fmla="*/ 5508258 h 6479439"/>
              <a:gd name="connsiteX1504" fmla="*/ 3828990 w 9586368"/>
              <a:gd name="connsiteY1504" fmla="*/ 5504220 h 6479439"/>
              <a:gd name="connsiteX1505" fmla="*/ 3838899 w 9586368"/>
              <a:gd name="connsiteY1505" fmla="*/ 5504220 h 6479439"/>
              <a:gd name="connsiteX1506" fmla="*/ 3842917 w 9586368"/>
              <a:gd name="connsiteY1506" fmla="*/ 5508258 h 6479439"/>
              <a:gd name="connsiteX1507" fmla="*/ 3842917 w 9586368"/>
              <a:gd name="connsiteY1507" fmla="*/ 5518129 h 6479439"/>
              <a:gd name="connsiteX1508" fmla="*/ 3838899 w 9586368"/>
              <a:gd name="connsiteY1508" fmla="*/ 5522168 h 6479439"/>
              <a:gd name="connsiteX1509" fmla="*/ 3828990 w 9586368"/>
              <a:gd name="connsiteY1509" fmla="*/ 5522168 h 6479439"/>
              <a:gd name="connsiteX1510" fmla="*/ 3824971 w 9586368"/>
              <a:gd name="connsiteY1510" fmla="*/ 5518129 h 6479439"/>
              <a:gd name="connsiteX1511" fmla="*/ 3824971 w 9586368"/>
              <a:gd name="connsiteY1511" fmla="*/ 5508258 h 6479439"/>
              <a:gd name="connsiteX1512" fmla="*/ 3589676 w 9586368"/>
              <a:gd name="connsiteY1512" fmla="*/ 5504220 h 6479439"/>
              <a:gd name="connsiteX1513" fmla="*/ 3599585 w 9586368"/>
              <a:gd name="connsiteY1513" fmla="*/ 5504220 h 6479439"/>
              <a:gd name="connsiteX1514" fmla="*/ 3603604 w 9586368"/>
              <a:gd name="connsiteY1514" fmla="*/ 5508258 h 6479439"/>
              <a:gd name="connsiteX1515" fmla="*/ 3603604 w 9586368"/>
              <a:gd name="connsiteY1515" fmla="*/ 5518129 h 6479439"/>
              <a:gd name="connsiteX1516" fmla="*/ 3599585 w 9586368"/>
              <a:gd name="connsiteY1516" fmla="*/ 5522168 h 6479439"/>
              <a:gd name="connsiteX1517" fmla="*/ 3589676 w 9586368"/>
              <a:gd name="connsiteY1517" fmla="*/ 5522168 h 6479439"/>
              <a:gd name="connsiteX1518" fmla="*/ 3585657 w 9586368"/>
              <a:gd name="connsiteY1518" fmla="*/ 5518129 h 6479439"/>
              <a:gd name="connsiteX1519" fmla="*/ 3585657 w 9586368"/>
              <a:gd name="connsiteY1519" fmla="*/ 5508258 h 6479439"/>
              <a:gd name="connsiteX1520" fmla="*/ 3350359 w 9586368"/>
              <a:gd name="connsiteY1520" fmla="*/ 5504220 h 6479439"/>
              <a:gd name="connsiteX1521" fmla="*/ 3360268 w 9586368"/>
              <a:gd name="connsiteY1521" fmla="*/ 5504220 h 6479439"/>
              <a:gd name="connsiteX1522" fmla="*/ 3364287 w 9586368"/>
              <a:gd name="connsiteY1522" fmla="*/ 5508258 h 6479439"/>
              <a:gd name="connsiteX1523" fmla="*/ 3364287 w 9586368"/>
              <a:gd name="connsiteY1523" fmla="*/ 5518129 h 6479439"/>
              <a:gd name="connsiteX1524" fmla="*/ 3360268 w 9586368"/>
              <a:gd name="connsiteY1524" fmla="*/ 5522168 h 6479439"/>
              <a:gd name="connsiteX1525" fmla="*/ 3350359 w 9586368"/>
              <a:gd name="connsiteY1525" fmla="*/ 5522168 h 6479439"/>
              <a:gd name="connsiteX1526" fmla="*/ 3346340 w 9586368"/>
              <a:gd name="connsiteY1526" fmla="*/ 5518129 h 6479439"/>
              <a:gd name="connsiteX1527" fmla="*/ 3346340 w 9586368"/>
              <a:gd name="connsiteY1527" fmla="*/ 5508258 h 6479439"/>
              <a:gd name="connsiteX1528" fmla="*/ 3111048 w 9586368"/>
              <a:gd name="connsiteY1528" fmla="*/ 5504220 h 6479439"/>
              <a:gd name="connsiteX1529" fmla="*/ 3120959 w 9586368"/>
              <a:gd name="connsiteY1529" fmla="*/ 5504220 h 6479439"/>
              <a:gd name="connsiteX1530" fmla="*/ 3124977 w 9586368"/>
              <a:gd name="connsiteY1530" fmla="*/ 5508258 h 6479439"/>
              <a:gd name="connsiteX1531" fmla="*/ 3124977 w 9586368"/>
              <a:gd name="connsiteY1531" fmla="*/ 5518129 h 6479439"/>
              <a:gd name="connsiteX1532" fmla="*/ 3120959 w 9586368"/>
              <a:gd name="connsiteY1532" fmla="*/ 5522168 h 6479439"/>
              <a:gd name="connsiteX1533" fmla="*/ 3111048 w 9586368"/>
              <a:gd name="connsiteY1533" fmla="*/ 5522168 h 6479439"/>
              <a:gd name="connsiteX1534" fmla="*/ 3107029 w 9586368"/>
              <a:gd name="connsiteY1534" fmla="*/ 5518129 h 6479439"/>
              <a:gd name="connsiteX1535" fmla="*/ 3107029 w 9586368"/>
              <a:gd name="connsiteY1535" fmla="*/ 5508258 h 6479439"/>
              <a:gd name="connsiteX1536" fmla="*/ 2871737 w 9586368"/>
              <a:gd name="connsiteY1536" fmla="*/ 5504220 h 6479439"/>
              <a:gd name="connsiteX1537" fmla="*/ 2881646 w 9586368"/>
              <a:gd name="connsiteY1537" fmla="*/ 5504220 h 6479439"/>
              <a:gd name="connsiteX1538" fmla="*/ 2885666 w 9586368"/>
              <a:gd name="connsiteY1538" fmla="*/ 5508258 h 6479439"/>
              <a:gd name="connsiteX1539" fmla="*/ 2885666 w 9586368"/>
              <a:gd name="connsiteY1539" fmla="*/ 5518129 h 6479439"/>
              <a:gd name="connsiteX1540" fmla="*/ 2881646 w 9586368"/>
              <a:gd name="connsiteY1540" fmla="*/ 5522168 h 6479439"/>
              <a:gd name="connsiteX1541" fmla="*/ 2871737 w 9586368"/>
              <a:gd name="connsiteY1541" fmla="*/ 5522168 h 6479439"/>
              <a:gd name="connsiteX1542" fmla="*/ 2867717 w 9586368"/>
              <a:gd name="connsiteY1542" fmla="*/ 5518129 h 6479439"/>
              <a:gd name="connsiteX1543" fmla="*/ 2867717 w 9586368"/>
              <a:gd name="connsiteY1543" fmla="*/ 5508258 h 6479439"/>
              <a:gd name="connsiteX1544" fmla="*/ 2632423 w 9586368"/>
              <a:gd name="connsiteY1544" fmla="*/ 5504220 h 6479439"/>
              <a:gd name="connsiteX1545" fmla="*/ 2642334 w 9586368"/>
              <a:gd name="connsiteY1545" fmla="*/ 5504220 h 6479439"/>
              <a:gd name="connsiteX1546" fmla="*/ 2646352 w 9586368"/>
              <a:gd name="connsiteY1546" fmla="*/ 5508258 h 6479439"/>
              <a:gd name="connsiteX1547" fmla="*/ 2646352 w 9586368"/>
              <a:gd name="connsiteY1547" fmla="*/ 5518129 h 6479439"/>
              <a:gd name="connsiteX1548" fmla="*/ 2642334 w 9586368"/>
              <a:gd name="connsiteY1548" fmla="*/ 5522168 h 6479439"/>
              <a:gd name="connsiteX1549" fmla="*/ 2632423 w 9586368"/>
              <a:gd name="connsiteY1549" fmla="*/ 5522168 h 6479439"/>
              <a:gd name="connsiteX1550" fmla="*/ 2628404 w 9586368"/>
              <a:gd name="connsiteY1550" fmla="*/ 5518129 h 6479439"/>
              <a:gd name="connsiteX1551" fmla="*/ 2628404 w 9586368"/>
              <a:gd name="connsiteY1551" fmla="*/ 5508258 h 6479439"/>
              <a:gd name="connsiteX1552" fmla="*/ 2393104 w 9586368"/>
              <a:gd name="connsiteY1552" fmla="*/ 5504220 h 6479439"/>
              <a:gd name="connsiteX1553" fmla="*/ 2403015 w 9586368"/>
              <a:gd name="connsiteY1553" fmla="*/ 5504220 h 6479439"/>
              <a:gd name="connsiteX1554" fmla="*/ 2407034 w 9586368"/>
              <a:gd name="connsiteY1554" fmla="*/ 5508258 h 6479439"/>
              <a:gd name="connsiteX1555" fmla="*/ 2407034 w 9586368"/>
              <a:gd name="connsiteY1555" fmla="*/ 5518129 h 6479439"/>
              <a:gd name="connsiteX1556" fmla="*/ 2403015 w 9586368"/>
              <a:gd name="connsiteY1556" fmla="*/ 5522168 h 6479439"/>
              <a:gd name="connsiteX1557" fmla="*/ 2393104 w 9586368"/>
              <a:gd name="connsiteY1557" fmla="*/ 5522168 h 6479439"/>
              <a:gd name="connsiteX1558" fmla="*/ 2389087 w 9586368"/>
              <a:gd name="connsiteY1558" fmla="*/ 5518129 h 6479439"/>
              <a:gd name="connsiteX1559" fmla="*/ 2389087 w 9586368"/>
              <a:gd name="connsiteY1559" fmla="*/ 5508258 h 6479439"/>
              <a:gd name="connsiteX1560" fmla="*/ 2157818 w 9586368"/>
              <a:gd name="connsiteY1560" fmla="*/ 5504220 h 6479439"/>
              <a:gd name="connsiteX1561" fmla="*/ 2167728 w 9586368"/>
              <a:gd name="connsiteY1561" fmla="*/ 5504220 h 6479439"/>
              <a:gd name="connsiteX1562" fmla="*/ 2171748 w 9586368"/>
              <a:gd name="connsiteY1562" fmla="*/ 5508258 h 6479439"/>
              <a:gd name="connsiteX1563" fmla="*/ 2171748 w 9586368"/>
              <a:gd name="connsiteY1563" fmla="*/ 5518129 h 6479439"/>
              <a:gd name="connsiteX1564" fmla="*/ 2167728 w 9586368"/>
              <a:gd name="connsiteY1564" fmla="*/ 5522168 h 6479439"/>
              <a:gd name="connsiteX1565" fmla="*/ 2157818 w 9586368"/>
              <a:gd name="connsiteY1565" fmla="*/ 5522168 h 6479439"/>
              <a:gd name="connsiteX1566" fmla="*/ 2153799 w 9586368"/>
              <a:gd name="connsiteY1566" fmla="*/ 5518129 h 6479439"/>
              <a:gd name="connsiteX1567" fmla="*/ 2153799 w 9586368"/>
              <a:gd name="connsiteY1567" fmla="*/ 5508258 h 6479439"/>
              <a:gd name="connsiteX1568" fmla="*/ 1918510 w 9586368"/>
              <a:gd name="connsiteY1568" fmla="*/ 5504220 h 6479439"/>
              <a:gd name="connsiteX1569" fmla="*/ 1928420 w 9586368"/>
              <a:gd name="connsiteY1569" fmla="*/ 5504220 h 6479439"/>
              <a:gd name="connsiteX1570" fmla="*/ 1932438 w 9586368"/>
              <a:gd name="connsiteY1570" fmla="*/ 5508258 h 6479439"/>
              <a:gd name="connsiteX1571" fmla="*/ 1932438 w 9586368"/>
              <a:gd name="connsiteY1571" fmla="*/ 5518129 h 6479439"/>
              <a:gd name="connsiteX1572" fmla="*/ 1928420 w 9586368"/>
              <a:gd name="connsiteY1572" fmla="*/ 5522168 h 6479439"/>
              <a:gd name="connsiteX1573" fmla="*/ 1918510 w 9586368"/>
              <a:gd name="connsiteY1573" fmla="*/ 5522168 h 6479439"/>
              <a:gd name="connsiteX1574" fmla="*/ 1914490 w 9586368"/>
              <a:gd name="connsiteY1574" fmla="*/ 5518129 h 6479439"/>
              <a:gd name="connsiteX1575" fmla="*/ 1914490 w 9586368"/>
              <a:gd name="connsiteY1575" fmla="*/ 5508258 h 6479439"/>
              <a:gd name="connsiteX1576" fmla="*/ 1679202 w 9586368"/>
              <a:gd name="connsiteY1576" fmla="*/ 5504220 h 6479439"/>
              <a:gd name="connsiteX1577" fmla="*/ 1689112 w 9586368"/>
              <a:gd name="connsiteY1577" fmla="*/ 5504220 h 6479439"/>
              <a:gd name="connsiteX1578" fmla="*/ 1693132 w 9586368"/>
              <a:gd name="connsiteY1578" fmla="*/ 5508258 h 6479439"/>
              <a:gd name="connsiteX1579" fmla="*/ 1693132 w 9586368"/>
              <a:gd name="connsiteY1579" fmla="*/ 5518129 h 6479439"/>
              <a:gd name="connsiteX1580" fmla="*/ 1689112 w 9586368"/>
              <a:gd name="connsiteY1580" fmla="*/ 5522168 h 6479439"/>
              <a:gd name="connsiteX1581" fmla="*/ 1679202 w 9586368"/>
              <a:gd name="connsiteY1581" fmla="*/ 5522168 h 6479439"/>
              <a:gd name="connsiteX1582" fmla="*/ 1675184 w 9586368"/>
              <a:gd name="connsiteY1582" fmla="*/ 5518129 h 6479439"/>
              <a:gd name="connsiteX1583" fmla="*/ 1675184 w 9586368"/>
              <a:gd name="connsiteY1583" fmla="*/ 5508258 h 6479439"/>
              <a:gd name="connsiteX1584" fmla="*/ 1439887 w 9586368"/>
              <a:gd name="connsiteY1584" fmla="*/ 5504220 h 6479439"/>
              <a:gd name="connsiteX1585" fmla="*/ 1449797 w 9586368"/>
              <a:gd name="connsiteY1585" fmla="*/ 5504220 h 6479439"/>
              <a:gd name="connsiteX1586" fmla="*/ 1453815 w 9586368"/>
              <a:gd name="connsiteY1586" fmla="*/ 5508258 h 6479439"/>
              <a:gd name="connsiteX1587" fmla="*/ 1453815 w 9586368"/>
              <a:gd name="connsiteY1587" fmla="*/ 5518129 h 6479439"/>
              <a:gd name="connsiteX1588" fmla="*/ 1449797 w 9586368"/>
              <a:gd name="connsiteY1588" fmla="*/ 5522168 h 6479439"/>
              <a:gd name="connsiteX1589" fmla="*/ 1439887 w 9586368"/>
              <a:gd name="connsiteY1589" fmla="*/ 5522168 h 6479439"/>
              <a:gd name="connsiteX1590" fmla="*/ 1435869 w 9586368"/>
              <a:gd name="connsiteY1590" fmla="*/ 5518129 h 6479439"/>
              <a:gd name="connsiteX1591" fmla="*/ 1435869 w 9586368"/>
              <a:gd name="connsiteY1591" fmla="*/ 5508258 h 6479439"/>
              <a:gd name="connsiteX1592" fmla="*/ 1200572 w 9586368"/>
              <a:gd name="connsiteY1592" fmla="*/ 5504220 h 6479439"/>
              <a:gd name="connsiteX1593" fmla="*/ 1210483 w 9586368"/>
              <a:gd name="connsiteY1593" fmla="*/ 5504220 h 6479439"/>
              <a:gd name="connsiteX1594" fmla="*/ 1214501 w 9586368"/>
              <a:gd name="connsiteY1594" fmla="*/ 5508258 h 6479439"/>
              <a:gd name="connsiteX1595" fmla="*/ 1214501 w 9586368"/>
              <a:gd name="connsiteY1595" fmla="*/ 5518129 h 6479439"/>
              <a:gd name="connsiteX1596" fmla="*/ 1210483 w 9586368"/>
              <a:gd name="connsiteY1596" fmla="*/ 5522168 h 6479439"/>
              <a:gd name="connsiteX1597" fmla="*/ 1200572 w 9586368"/>
              <a:gd name="connsiteY1597" fmla="*/ 5522168 h 6479439"/>
              <a:gd name="connsiteX1598" fmla="*/ 1196554 w 9586368"/>
              <a:gd name="connsiteY1598" fmla="*/ 5518129 h 6479439"/>
              <a:gd name="connsiteX1599" fmla="*/ 1196554 w 9586368"/>
              <a:gd name="connsiteY1599" fmla="*/ 5508258 h 6479439"/>
              <a:gd name="connsiteX1600" fmla="*/ 961260 w 9586368"/>
              <a:gd name="connsiteY1600" fmla="*/ 5504220 h 6479439"/>
              <a:gd name="connsiteX1601" fmla="*/ 971169 w 9586368"/>
              <a:gd name="connsiteY1601" fmla="*/ 5504220 h 6479439"/>
              <a:gd name="connsiteX1602" fmla="*/ 975189 w 9586368"/>
              <a:gd name="connsiteY1602" fmla="*/ 5508258 h 6479439"/>
              <a:gd name="connsiteX1603" fmla="*/ 975189 w 9586368"/>
              <a:gd name="connsiteY1603" fmla="*/ 5518129 h 6479439"/>
              <a:gd name="connsiteX1604" fmla="*/ 971169 w 9586368"/>
              <a:gd name="connsiteY1604" fmla="*/ 5522168 h 6479439"/>
              <a:gd name="connsiteX1605" fmla="*/ 961260 w 9586368"/>
              <a:gd name="connsiteY1605" fmla="*/ 5522168 h 6479439"/>
              <a:gd name="connsiteX1606" fmla="*/ 957241 w 9586368"/>
              <a:gd name="connsiteY1606" fmla="*/ 5518129 h 6479439"/>
              <a:gd name="connsiteX1607" fmla="*/ 957241 w 9586368"/>
              <a:gd name="connsiteY1607" fmla="*/ 5508258 h 6479439"/>
              <a:gd name="connsiteX1608" fmla="*/ 721961 w 9586368"/>
              <a:gd name="connsiteY1608" fmla="*/ 5504220 h 6479439"/>
              <a:gd name="connsiteX1609" fmla="*/ 731871 w 9586368"/>
              <a:gd name="connsiteY1609" fmla="*/ 5504220 h 6479439"/>
              <a:gd name="connsiteX1610" fmla="*/ 735890 w 9586368"/>
              <a:gd name="connsiteY1610" fmla="*/ 5508258 h 6479439"/>
              <a:gd name="connsiteX1611" fmla="*/ 735890 w 9586368"/>
              <a:gd name="connsiteY1611" fmla="*/ 5518129 h 6479439"/>
              <a:gd name="connsiteX1612" fmla="*/ 731871 w 9586368"/>
              <a:gd name="connsiteY1612" fmla="*/ 5522168 h 6479439"/>
              <a:gd name="connsiteX1613" fmla="*/ 721961 w 9586368"/>
              <a:gd name="connsiteY1613" fmla="*/ 5522168 h 6479439"/>
              <a:gd name="connsiteX1614" fmla="*/ 717942 w 9586368"/>
              <a:gd name="connsiteY1614" fmla="*/ 5518129 h 6479439"/>
              <a:gd name="connsiteX1615" fmla="*/ 717942 w 9586368"/>
              <a:gd name="connsiteY1615" fmla="*/ 5508258 h 6479439"/>
              <a:gd name="connsiteX1616" fmla="*/ 482649 w 9586368"/>
              <a:gd name="connsiteY1616" fmla="*/ 5504220 h 6479439"/>
              <a:gd name="connsiteX1617" fmla="*/ 492559 w 9586368"/>
              <a:gd name="connsiteY1617" fmla="*/ 5504220 h 6479439"/>
              <a:gd name="connsiteX1618" fmla="*/ 496578 w 9586368"/>
              <a:gd name="connsiteY1618" fmla="*/ 5508258 h 6479439"/>
              <a:gd name="connsiteX1619" fmla="*/ 496578 w 9586368"/>
              <a:gd name="connsiteY1619" fmla="*/ 5518129 h 6479439"/>
              <a:gd name="connsiteX1620" fmla="*/ 492559 w 9586368"/>
              <a:gd name="connsiteY1620" fmla="*/ 5522168 h 6479439"/>
              <a:gd name="connsiteX1621" fmla="*/ 482649 w 9586368"/>
              <a:gd name="connsiteY1621" fmla="*/ 5522168 h 6479439"/>
              <a:gd name="connsiteX1622" fmla="*/ 478630 w 9586368"/>
              <a:gd name="connsiteY1622" fmla="*/ 5518129 h 6479439"/>
              <a:gd name="connsiteX1623" fmla="*/ 478630 w 9586368"/>
              <a:gd name="connsiteY1623" fmla="*/ 5508258 h 6479439"/>
              <a:gd name="connsiteX1624" fmla="*/ 243335 w 9586368"/>
              <a:gd name="connsiteY1624" fmla="*/ 5504220 h 6479439"/>
              <a:gd name="connsiteX1625" fmla="*/ 253245 w 9586368"/>
              <a:gd name="connsiteY1625" fmla="*/ 5504220 h 6479439"/>
              <a:gd name="connsiteX1626" fmla="*/ 257264 w 9586368"/>
              <a:gd name="connsiteY1626" fmla="*/ 5508258 h 6479439"/>
              <a:gd name="connsiteX1627" fmla="*/ 257264 w 9586368"/>
              <a:gd name="connsiteY1627" fmla="*/ 5518129 h 6479439"/>
              <a:gd name="connsiteX1628" fmla="*/ 253245 w 9586368"/>
              <a:gd name="connsiteY1628" fmla="*/ 5522168 h 6479439"/>
              <a:gd name="connsiteX1629" fmla="*/ 243335 w 9586368"/>
              <a:gd name="connsiteY1629" fmla="*/ 5522168 h 6479439"/>
              <a:gd name="connsiteX1630" fmla="*/ 239316 w 9586368"/>
              <a:gd name="connsiteY1630" fmla="*/ 5518129 h 6479439"/>
              <a:gd name="connsiteX1631" fmla="*/ 239316 w 9586368"/>
              <a:gd name="connsiteY1631" fmla="*/ 5508258 h 6479439"/>
              <a:gd name="connsiteX1632" fmla="*/ 4022 w 9586368"/>
              <a:gd name="connsiteY1632" fmla="*/ 5504220 h 6479439"/>
              <a:gd name="connsiteX1633" fmla="*/ 13932 w 9586368"/>
              <a:gd name="connsiteY1633" fmla="*/ 5504220 h 6479439"/>
              <a:gd name="connsiteX1634" fmla="*/ 17951 w 9586368"/>
              <a:gd name="connsiteY1634" fmla="*/ 5508258 h 6479439"/>
              <a:gd name="connsiteX1635" fmla="*/ 17951 w 9586368"/>
              <a:gd name="connsiteY1635" fmla="*/ 5518129 h 6479439"/>
              <a:gd name="connsiteX1636" fmla="*/ 13932 w 9586368"/>
              <a:gd name="connsiteY1636" fmla="*/ 5522168 h 6479439"/>
              <a:gd name="connsiteX1637" fmla="*/ 4022 w 9586368"/>
              <a:gd name="connsiteY1637" fmla="*/ 5522168 h 6479439"/>
              <a:gd name="connsiteX1638" fmla="*/ 3 w 9586368"/>
              <a:gd name="connsiteY1638" fmla="*/ 5518129 h 6479439"/>
              <a:gd name="connsiteX1639" fmla="*/ 3 w 9586368"/>
              <a:gd name="connsiteY1639" fmla="*/ 5508258 h 6479439"/>
              <a:gd name="connsiteX1640" fmla="*/ 2157818 w 9586368"/>
              <a:gd name="connsiteY1640" fmla="*/ 5264940 h 6479439"/>
              <a:gd name="connsiteX1641" fmla="*/ 2167729 w 9586368"/>
              <a:gd name="connsiteY1641" fmla="*/ 5264940 h 6479439"/>
              <a:gd name="connsiteX1642" fmla="*/ 2171748 w 9586368"/>
              <a:gd name="connsiteY1642" fmla="*/ 5268978 h 6479439"/>
              <a:gd name="connsiteX1643" fmla="*/ 2171748 w 9586368"/>
              <a:gd name="connsiteY1643" fmla="*/ 5278849 h 6479439"/>
              <a:gd name="connsiteX1644" fmla="*/ 2167729 w 9586368"/>
              <a:gd name="connsiteY1644" fmla="*/ 5282888 h 6479439"/>
              <a:gd name="connsiteX1645" fmla="*/ 2157818 w 9586368"/>
              <a:gd name="connsiteY1645" fmla="*/ 5282888 h 6479439"/>
              <a:gd name="connsiteX1646" fmla="*/ 2153799 w 9586368"/>
              <a:gd name="connsiteY1646" fmla="*/ 5278849 h 6479439"/>
              <a:gd name="connsiteX1647" fmla="*/ 2153799 w 9586368"/>
              <a:gd name="connsiteY1647" fmla="*/ 5268978 h 6479439"/>
              <a:gd name="connsiteX1648" fmla="*/ 1918510 w 9586368"/>
              <a:gd name="connsiteY1648" fmla="*/ 5264940 h 6479439"/>
              <a:gd name="connsiteX1649" fmla="*/ 1928420 w 9586368"/>
              <a:gd name="connsiteY1649" fmla="*/ 5264940 h 6479439"/>
              <a:gd name="connsiteX1650" fmla="*/ 1932438 w 9586368"/>
              <a:gd name="connsiteY1650" fmla="*/ 5268978 h 6479439"/>
              <a:gd name="connsiteX1651" fmla="*/ 1932438 w 9586368"/>
              <a:gd name="connsiteY1651" fmla="*/ 5278849 h 6479439"/>
              <a:gd name="connsiteX1652" fmla="*/ 1928420 w 9586368"/>
              <a:gd name="connsiteY1652" fmla="*/ 5282888 h 6479439"/>
              <a:gd name="connsiteX1653" fmla="*/ 1918510 w 9586368"/>
              <a:gd name="connsiteY1653" fmla="*/ 5282888 h 6479439"/>
              <a:gd name="connsiteX1654" fmla="*/ 1914492 w 9586368"/>
              <a:gd name="connsiteY1654" fmla="*/ 5278849 h 6479439"/>
              <a:gd name="connsiteX1655" fmla="*/ 1914492 w 9586368"/>
              <a:gd name="connsiteY1655" fmla="*/ 5268978 h 6479439"/>
              <a:gd name="connsiteX1656" fmla="*/ 1679204 w 9586368"/>
              <a:gd name="connsiteY1656" fmla="*/ 5264940 h 6479439"/>
              <a:gd name="connsiteX1657" fmla="*/ 1689113 w 9586368"/>
              <a:gd name="connsiteY1657" fmla="*/ 5264940 h 6479439"/>
              <a:gd name="connsiteX1658" fmla="*/ 1693132 w 9586368"/>
              <a:gd name="connsiteY1658" fmla="*/ 5268978 h 6479439"/>
              <a:gd name="connsiteX1659" fmla="*/ 1693132 w 9586368"/>
              <a:gd name="connsiteY1659" fmla="*/ 5278849 h 6479439"/>
              <a:gd name="connsiteX1660" fmla="*/ 1689113 w 9586368"/>
              <a:gd name="connsiteY1660" fmla="*/ 5282888 h 6479439"/>
              <a:gd name="connsiteX1661" fmla="*/ 1679204 w 9586368"/>
              <a:gd name="connsiteY1661" fmla="*/ 5282888 h 6479439"/>
              <a:gd name="connsiteX1662" fmla="*/ 1675184 w 9586368"/>
              <a:gd name="connsiteY1662" fmla="*/ 5278849 h 6479439"/>
              <a:gd name="connsiteX1663" fmla="*/ 1675184 w 9586368"/>
              <a:gd name="connsiteY1663" fmla="*/ 5268978 h 6479439"/>
              <a:gd name="connsiteX1664" fmla="*/ 1439889 w 9586368"/>
              <a:gd name="connsiteY1664" fmla="*/ 5264940 h 6479439"/>
              <a:gd name="connsiteX1665" fmla="*/ 1449798 w 9586368"/>
              <a:gd name="connsiteY1665" fmla="*/ 5264940 h 6479439"/>
              <a:gd name="connsiteX1666" fmla="*/ 1453817 w 9586368"/>
              <a:gd name="connsiteY1666" fmla="*/ 5268978 h 6479439"/>
              <a:gd name="connsiteX1667" fmla="*/ 1453817 w 9586368"/>
              <a:gd name="connsiteY1667" fmla="*/ 5278849 h 6479439"/>
              <a:gd name="connsiteX1668" fmla="*/ 1449798 w 9586368"/>
              <a:gd name="connsiteY1668" fmla="*/ 5282888 h 6479439"/>
              <a:gd name="connsiteX1669" fmla="*/ 1439889 w 9586368"/>
              <a:gd name="connsiteY1669" fmla="*/ 5282888 h 6479439"/>
              <a:gd name="connsiteX1670" fmla="*/ 1435869 w 9586368"/>
              <a:gd name="connsiteY1670" fmla="*/ 5278849 h 6479439"/>
              <a:gd name="connsiteX1671" fmla="*/ 1435869 w 9586368"/>
              <a:gd name="connsiteY1671" fmla="*/ 5268978 h 6479439"/>
              <a:gd name="connsiteX1672" fmla="*/ 1200573 w 9586368"/>
              <a:gd name="connsiteY1672" fmla="*/ 5264940 h 6479439"/>
              <a:gd name="connsiteX1673" fmla="*/ 1210483 w 9586368"/>
              <a:gd name="connsiteY1673" fmla="*/ 5264940 h 6479439"/>
              <a:gd name="connsiteX1674" fmla="*/ 1214502 w 9586368"/>
              <a:gd name="connsiteY1674" fmla="*/ 5268978 h 6479439"/>
              <a:gd name="connsiteX1675" fmla="*/ 1214502 w 9586368"/>
              <a:gd name="connsiteY1675" fmla="*/ 5278849 h 6479439"/>
              <a:gd name="connsiteX1676" fmla="*/ 1210483 w 9586368"/>
              <a:gd name="connsiteY1676" fmla="*/ 5282888 h 6479439"/>
              <a:gd name="connsiteX1677" fmla="*/ 1200573 w 9586368"/>
              <a:gd name="connsiteY1677" fmla="*/ 5282888 h 6479439"/>
              <a:gd name="connsiteX1678" fmla="*/ 1196554 w 9586368"/>
              <a:gd name="connsiteY1678" fmla="*/ 5278849 h 6479439"/>
              <a:gd name="connsiteX1679" fmla="*/ 1196554 w 9586368"/>
              <a:gd name="connsiteY1679" fmla="*/ 5268978 h 6479439"/>
              <a:gd name="connsiteX1680" fmla="*/ 961260 w 9586368"/>
              <a:gd name="connsiteY1680" fmla="*/ 5264940 h 6479439"/>
              <a:gd name="connsiteX1681" fmla="*/ 971171 w 9586368"/>
              <a:gd name="connsiteY1681" fmla="*/ 5264940 h 6479439"/>
              <a:gd name="connsiteX1682" fmla="*/ 975189 w 9586368"/>
              <a:gd name="connsiteY1682" fmla="*/ 5268978 h 6479439"/>
              <a:gd name="connsiteX1683" fmla="*/ 975189 w 9586368"/>
              <a:gd name="connsiteY1683" fmla="*/ 5278849 h 6479439"/>
              <a:gd name="connsiteX1684" fmla="*/ 971171 w 9586368"/>
              <a:gd name="connsiteY1684" fmla="*/ 5282888 h 6479439"/>
              <a:gd name="connsiteX1685" fmla="*/ 961260 w 9586368"/>
              <a:gd name="connsiteY1685" fmla="*/ 5282888 h 6479439"/>
              <a:gd name="connsiteX1686" fmla="*/ 957241 w 9586368"/>
              <a:gd name="connsiteY1686" fmla="*/ 5278849 h 6479439"/>
              <a:gd name="connsiteX1687" fmla="*/ 957241 w 9586368"/>
              <a:gd name="connsiteY1687" fmla="*/ 5268978 h 6479439"/>
              <a:gd name="connsiteX1688" fmla="*/ 9572438 w 9586368"/>
              <a:gd name="connsiteY1688" fmla="*/ 5264889 h 6479439"/>
              <a:gd name="connsiteX1689" fmla="*/ 9582349 w 9586368"/>
              <a:gd name="connsiteY1689" fmla="*/ 5264889 h 6479439"/>
              <a:gd name="connsiteX1690" fmla="*/ 9586368 w 9586368"/>
              <a:gd name="connsiteY1690" fmla="*/ 5268928 h 6479439"/>
              <a:gd name="connsiteX1691" fmla="*/ 9586368 w 9586368"/>
              <a:gd name="connsiteY1691" fmla="*/ 5278799 h 6479439"/>
              <a:gd name="connsiteX1692" fmla="*/ 9582349 w 9586368"/>
              <a:gd name="connsiteY1692" fmla="*/ 5282838 h 6479439"/>
              <a:gd name="connsiteX1693" fmla="*/ 9572438 w 9586368"/>
              <a:gd name="connsiteY1693" fmla="*/ 5282838 h 6479439"/>
              <a:gd name="connsiteX1694" fmla="*/ 9568419 w 9586368"/>
              <a:gd name="connsiteY1694" fmla="*/ 5278799 h 6479439"/>
              <a:gd name="connsiteX1695" fmla="*/ 9568419 w 9586368"/>
              <a:gd name="connsiteY1695" fmla="*/ 5268928 h 6479439"/>
              <a:gd name="connsiteX1696" fmla="*/ 9333125 w 9586368"/>
              <a:gd name="connsiteY1696" fmla="*/ 5264889 h 6479439"/>
              <a:gd name="connsiteX1697" fmla="*/ 9343036 w 9586368"/>
              <a:gd name="connsiteY1697" fmla="*/ 5264889 h 6479439"/>
              <a:gd name="connsiteX1698" fmla="*/ 9347055 w 9586368"/>
              <a:gd name="connsiteY1698" fmla="*/ 5268928 h 6479439"/>
              <a:gd name="connsiteX1699" fmla="*/ 9347055 w 9586368"/>
              <a:gd name="connsiteY1699" fmla="*/ 5278799 h 6479439"/>
              <a:gd name="connsiteX1700" fmla="*/ 9343036 w 9586368"/>
              <a:gd name="connsiteY1700" fmla="*/ 5282838 h 6479439"/>
              <a:gd name="connsiteX1701" fmla="*/ 9333125 w 9586368"/>
              <a:gd name="connsiteY1701" fmla="*/ 5282838 h 6479439"/>
              <a:gd name="connsiteX1702" fmla="*/ 9329106 w 9586368"/>
              <a:gd name="connsiteY1702" fmla="*/ 5278799 h 6479439"/>
              <a:gd name="connsiteX1703" fmla="*/ 9329106 w 9586368"/>
              <a:gd name="connsiteY1703" fmla="*/ 5268928 h 6479439"/>
              <a:gd name="connsiteX1704" fmla="*/ 9093811 w 9586368"/>
              <a:gd name="connsiteY1704" fmla="*/ 5264889 h 6479439"/>
              <a:gd name="connsiteX1705" fmla="*/ 9103722 w 9586368"/>
              <a:gd name="connsiteY1705" fmla="*/ 5264889 h 6479439"/>
              <a:gd name="connsiteX1706" fmla="*/ 9107741 w 9586368"/>
              <a:gd name="connsiteY1706" fmla="*/ 5268928 h 6479439"/>
              <a:gd name="connsiteX1707" fmla="*/ 9107741 w 9586368"/>
              <a:gd name="connsiteY1707" fmla="*/ 5278799 h 6479439"/>
              <a:gd name="connsiteX1708" fmla="*/ 9103722 w 9586368"/>
              <a:gd name="connsiteY1708" fmla="*/ 5282838 h 6479439"/>
              <a:gd name="connsiteX1709" fmla="*/ 9093811 w 9586368"/>
              <a:gd name="connsiteY1709" fmla="*/ 5282838 h 6479439"/>
              <a:gd name="connsiteX1710" fmla="*/ 9089792 w 9586368"/>
              <a:gd name="connsiteY1710" fmla="*/ 5278799 h 6479439"/>
              <a:gd name="connsiteX1711" fmla="*/ 9089792 w 9586368"/>
              <a:gd name="connsiteY1711" fmla="*/ 5268928 h 6479439"/>
              <a:gd name="connsiteX1712" fmla="*/ 8854496 w 9586368"/>
              <a:gd name="connsiteY1712" fmla="*/ 5264889 h 6479439"/>
              <a:gd name="connsiteX1713" fmla="*/ 8864407 w 9586368"/>
              <a:gd name="connsiteY1713" fmla="*/ 5264889 h 6479439"/>
              <a:gd name="connsiteX1714" fmla="*/ 8868426 w 9586368"/>
              <a:gd name="connsiteY1714" fmla="*/ 5268928 h 6479439"/>
              <a:gd name="connsiteX1715" fmla="*/ 8868426 w 9586368"/>
              <a:gd name="connsiteY1715" fmla="*/ 5278799 h 6479439"/>
              <a:gd name="connsiteX1716" fmla="*/ 8864407 w 9586368"/>
              <a:gd name="connsiteY1716" fmla="*/ 5282838 h 6479439"/>
              <a:gd name="connsiteX1717" fmla="*/ 8854496 w 9586368"/>
              <a:gd name="connsiteY1717" fmla="*/ 5282838 h 6479439"/>
              <a:gd name="connsiteX1718" fmla="*/ 8850477 w 9586368"/>
              <a:gd name="connsiteY1718" fmla="*/ 5278799 h 6479439"/>
              <a:gd name="connsiteX1719" fmla="*/ 8850477 w 9586368"/>
              <a:gd name="connsiteY1719" fmla="*/ 5268928 h 6479439"/>
              <a:gd name="connsiteX1720" fmla="*/ 8615184 w 9586368"/>
              <a:gd name="connsiteY1720" fmla="*/ 5264889 h 6479439"/>
              <a:gd name="connsiteX1721" fmla="*/ 8625095 w 9586368"/>
              <a:gd name="connsiteY1721" fmla="*/ 5264889 h 6479439"/>
              <a:gd name="connsiteX1722" fmla="*/ 8629114 w 9586368"/>
              <a:gd name="connsiteY1722" fmla="*/ 5268928 h 6479439"/>
              <a:gd name="connsiteX1723" fmla="*/ 8629114 w 9586368"/>
              <a:gd name="connsiteY1723" fmla="*/ 5278799 h 6479439"/>
              <a:gd name="connsiteX1724" fmla="*/ 8625095 w 9586368"/>
              <a:gd name="connsiteY1724" fmla="*/ 5282838 h 6479439"/>
              <a:gd name="connsiteX1725" fmla="*/ 8615184 w 9586368"/>
              <a:gd name="connsiteY1725" fmla="*/ 5282838 h 6479439"/>
              <a:gd name="connsiteX1726" fmla="*/ 8611165 w 9586368"/>
              <a:gd name="connsiteY1726" fmla="*/ 5278799 h 6479439"/>
              <a:gd name="connsiteX1727" fmla="*/ 8611165 w 9586368"/>
              <a:gd name="connsiteY1727" fmla="*/ 5268928 h 6479439"/>
              <a:gd name="connsiteX1728" fmla="*/ 8375869 w 9586368"/>
              <a:gd name="connsiteY1728" fmla="*/ 5264889 h 6479439"/>
              <a:gd name="connsiteX1729" fmla="*/ 8385779 w 9586368"/>
              <a:gd name="connsiteY1729" fmla="*/ 5264889 h 6479439"/>
              <a:gd name="connsiteX1730" fmla="*/ 8389799 w 9586368"/>
              <a:gd name="connsiteY1730" fmla="*/ 5268928 h 6479439"/>
              <a:gd name="connsiteX1731" fmla="*/ 8389799 w 9586368"/>
              <a:gd name="connsiteY1731" fmla="*/ 5278799 h 6479439"/>
              <a:gd name="connsiteX1732" fmla="*/ 8385779 w 9586368"/>
              <a:gd name="connsiteY1732" fmla="*/ 5282838 h 6479439"/>
              <a:gd name="connsiteX1733" fmla="*/ 8375869 w 9586368"/>
              <a:gd name="connsiteY1733" fmla="*/ 5282838 h 6479439"/>
              <a:gd name="connsiteX1734" fmla="*/ 8371850 w 9586368"/>
              <a:gd name="connsiteY1734" fmla="*/ 5278799 h 6479439"/>
              <a:gd name="connsiteX1735" fmla="*/ 8371850 w 9586368"/>
              <a:gd name="connsiteY1735" fmla="*/ 5268928 h 6479439"/>
              <a:gd name="connsiteX1736" fmla="*/ 8136553 w 9586368"/>
              <a:gd name="connsiteY1736" fmla="*/ 5264889 h 6479439"/>
              <a:gd name="connsiteX1737" fmla="*/ 8146464 w 9586368"/>
              <a:gd name="connsiteY1737" fmla="*/ 5264889 h 6479439"/>
              <a:gd name="connsiteX1738" fmla="*/ 8150483 w 9586368"/>
              <a:gd name="connsiteY1738" fmla="*/ 5268928 h 6479439"/>
              <a:gd name="connsiteX1739" fmla="*/ 8150483 w 9586368"/>
              <a:gd name="connsiteY1739" fmla="*/ 5278799 h 6479439"/>
              <a:gd name="connsiteX1740" fmla="*/ 8146464 w 9586368"/>
              <a:gd name="connsiteY1740" fmla="*/ 5282838 h 6479439"/>
              <a:gd name="connsiteX1741" fmla="*/ 8136553 w 9586368"/>
              <a:gd name="connsiteY1741" fmla="*/ 5282838 h 6479439"/>
              <a:gd name="connsiteX1742" fmla="*/ 8132534 w 9586368"/>
              <a:gd name="connsiteY1742" fmla="*/ 5278799 h 6479439"/>
              <a:gd name="connsiteX1743" fmla="*/ 8132534 w 9586368"/>
              <a:gd name="connsiteY1743" fmla="*/ 5268928 h 6479439"/>
              <a:gd name="connsiteX1744" fmla="*/ 7897241 w 9586368"/>
              <a:gd name="connsiteY1744" fmla="*/ 5264889 h 6479439"/>
              <a:gd name="connsiteX1745" fmla="*/ 7907151 w 9586368"/>
              <a:gd name="connsiteY1745" fmla="*/ 5264889 h 6479439"/>
              <a:gd name="connsiteX1746" fmla="*/ 7911170 w 9586368"/>
              <a:gd name="connsiteY1746" fmla="*/ 5268928 h 6479439"/>
              <a:gd name="connsiteX1747" fmla="*/ 7911170 w 9586368"/>
              <a:gd name="connsiteY1747" fmla="*/ 5278799 h 6479439"/>
              <a:gd name="connsiteX1748" fmla="*/ 7907151 w 9586368"/>
              <a:gd name="connsiteY1748" fmla="*/ 5282838 h 6479439"/>
              <a:gd name="connsiteX1749" fmla="*/ 7897241 w 9586368"/>
              <a:gd name="connsiteY1749" fmla="*/ 5282838 h 6479439"/>
              <a:gd name="connsiteX1750" fmla="*/ 7893222 w 9586368"/>
              <a:gd name="connsiteY1750" fmla="*/ 5278799 h 6479439"/>
              <a:gd name="connsiteX1751" fmla="*/ 7893222 w 9586368"/>
              <a:gd name="connsiteY1751" fmla="*/ 5268928 h 6479439"/>
              <a:gd name="connsiteX1752" fmla="*/ 7657926 w 9586368"/>
              <a:gd name="connsiteY1752" fmla="*/ 5264889 h 6479439"/>
              <a:gd name="connsiteX1753" fmla="*/ 7667836 w 9586368"/>
              <a:gd name="connsiteY1753" fmla="*/ 5264889 h 6479439"/>
              <a:gd name="connsiteX1754" fmla="*/ 7671855 w 9586368"/>
              <a:gd name="connsiteY1754" fmla="*/ 5268928 h 6479439"/>
              <a:gd name="connsiteX1755" fmla="*/ 7671855 w 9586368"/>
              <a:gd name="connsiteY1755" fmla="*/ 5278799 h 6479439"/>
              <a:gd name="connsiteX1756" fmla="*/ 7667836 w 9586368"/>
              <a:gd name="connsiteY1756" fmla="*/ 5282838 h 6479439"/>
              <a:gd name="connsiteX1757" fmla="*/ 7657926 w 9586368"/>
              <a:gd name="connsiteY1757" fmla="*/ 5282838 h 6479439"/>
              <a:gd name="connsiteX1758" fmla="*/ 7653906 w 9586368"/>
              <a:gd name="connsiteY1758" fmla="*/ 5278799 h 6479439"/>
              <a:gd name="connsiteX1759" fmla="*/ 7653906 w 9586368"/>
              <a:gd name="connsiteY1759" fmla="*/ 5268928 h 6479439"/>
              <a:gd name="connsiteX1760" fmla="*/ 7418611 w 9586368"/>
              <a:gd name="connsiteY1760" fmla="*/ 5264889 h 6479439"/>
              <a:gd name="connsiteX1761" fmla="*/ 7428521 w 9586368"/>
              <a:gd name="connsiteY1761" fmla="*/ 5264889 h 6479439"/>
              <a:gd name="connsiteX1762" fmla="*/ 7432540 w 9586368"/>
              <a:gd name="connsiteY1762" fmla="*/ 5268928 h 6479439"/>
              <a:gd name="connsiteX1763" fmla="*/ 7432540 w 9586368"/>
              <a:gd name="connsiteY1763" fmla="*/ 5278799 h 6479439"/>
              <a:gd name="connsiteX1764" fmla="*/ 7428521 w 9586368"/>
              <a:gd name="connsiteY1764" fmla="*/ 5282838 h 6479439"/>
              <a:gd name="connsiteX1765" fmla="*/ 7418611 w 9586368"/>
              <a:gd name="connsiteY1765" fmla="*/ 5282838 h 6479439"/>
              <a:gd name="connsiteX1766" fmla="*/ 7414592 w 9586368"/>
              <a:gd name="connsiteY1766" fmla="*/ 5278799 h 6479439"/>
              <a:gd name="connsiteX1767" fmla="*/ 7414592 w 9586368"/>
              <a:gd name="connsiteY1767" fmla="*/ 5268928 h 6479439"/>
              <a:gd name="connsiteX1768" fmla="*/ 7179298 w 9586368"/>
              <a:gd name="connsiteY1768" fmla="*/ 5264889 h 6479439"/>
              <a:gd name="connsiteX1769" fmla="*/ 7189209 w 9586368"/>
              <a:gd name="connsiteY1769" fmla="*/ 5264889 h 6479439"/>
              <a:gd name="connsiteX1770" fmla="*/ 7193228 w 9586368"/>
              <a:gd name="connsiteY1770" fmla="*/ 5268928 h 6479439"/>
              <a:gd name="connsiteX1771" fmla="*/ 7193228 w 9586368"/>
              <a:gd name="connsiteY1771" fmla="*/ 5278799 h 6479439"/>
              <a:gd name="connsiteX1772" fmla="*/ 7189209 w 9586368"/>
              <a:gd name="connsiteY1772" fmla="*/ 5282838 h 6479439"/>
              <a:gd name="connsiteX1773" fmla="*/ 7179298 w 9586368"/>
              <a:gd name="connsiteY1773" fmla="*/ 5282838 h 6479439"/>
              <a:gd name="connsiteX1774" fmla="*/ 7175279 w 9586368"/>
              <a:gd name="connsiteY1774" fmla="*/ 5278799 h 6479439"/>
              <a:gd name="connsiteX1775" fmla="*/ 7175279 w 9586368"/>
              <a:gd name="connsiteY1775" fmla="*/ 5268928 h 6479439"/>
              <a:gd name="connsiteX1776" fmla="*/ 6939983 w 9586368"/>
              <a:gd name="connsiteY1776" fmla="*/ 5264889 h 6479439"/>
              <a:gd name="connsiteX1777" fmla="*/ 6949894 w 9586368"/>
              <a:gd name="connsiteY1777" fmla="*/ 5264889 h 6479439"/>
              <a:gd name="connsiteX1778" fmla="*/ 6953913 w 9586368"/>
              <a:gd name="connsiteY1778" fmla="*/ 5268928 h 6479439"/>
              <a:gd name="connsiteX1779" fmla="*/ 6953913 w 9586368"/>
              <a:gd name="connsiteY1779" fmla="*/ 5278799 h 6479439"/>
              <a:gd name="connsiteX1780" fmla="*/ 6949894 w 9586368"/>
              <a:gd name="connsiteY1780" fmla="*/ 5282838 h 6479439"/>
              <a:gd name="connsiteX1781" fmla="*/ 6939983 w 9586368"/>
              <a:gd name="connsiteY1781" fmla="*/ 5282838 h 6479439"/>
              <a:gd name="connsiteX1782" fmla="*/ 6935964 w 9586368"/>
              <a:gd name="connsiteY1782" fmla="*/ 5278799 h 6479439"/>
              <a:gd name="connsiteX1783" fmla="*/ 6935964 w 9586368"/>
              <a:gd name="connsiteY1783" fmla="*/ 5268928 h 6479439"/>
              <a:gd name="connsiteX1784" fmla="*/ 6700670 w 9586368"/>
              <a:gd name="connsiteY1784" fmla="*/ 5264889 h 6479439"/>
              <a:gd name="connsiteX1785" fmla="*/ 6710581 w 9586368"/>
              <a:gd name="connsiteY1785" fmla="*/ 5264889 h 6479439"/>
              <a:gd name="connsiteX1786" fmla="*/ 6714600 w 9586368"/>
              <a:gd name="connsiteY1786" fmla="*/ 5268928 h 6479439"/>
              <a:gd name="connsiteX1787" fmla="*/ 6714600 w 9586368"/>
              <a:gd name="connsiteY1787" fmla="*/ 5278799 h 6479439"/>
              <a:gd name="connsiteX1788" fmla="*/ 6710581 w 9586368"/>
              <a:gd name="connsiteY1788" fmla="*/ 5282838 h 6479439"/>
              <a:gd name="connsiteX1789" fmla="*/ 6700670 w 9586368"/>
              <a:gd name="connsiteY1789" fmla="*/ 5282838 h 6479439"/>
              <a:gd name="connsiteX1790" fmla="*/ 6696651 w 9586368"/>
              <a:gd name="connsiteY1790" fmla="*/ 5278799 h 6479439"/>
              <a:gd name="connsiteX1791" fmla="*/ 6696651 w 9586368"/>
              <a:gd name="connsiteY1791" fmla="*/ 5268928 h 6479439"/>
              <a:gd name="connsiteX1792" fmla="*/ 6461356 w 9586368"/>
              <a:gd name="connsiteY1792" fmla="*/ 5264889 h 6479439"/>
              <a:gd name="connsiteX1793" fmla="*/ 6471266 w 9586368"/>
              <a:gd name="connsiteY1793" fmla="*/ 5264889 h 6479439"/>
              <a:gd name="connsiteX1794" fmla="*/ 6475285 w 9586368"/>
              <a:gd name="connsiteY1794" fmla="*/ 5268928 h 6479439"/>
              <a:gd name="connsiteX1795" fmla="*/ 6475285 w 9586368"/>
              <a:gd name="connsiteY1795" fmla="*/ 5278799 h 6479439"/>
              <a:gd name="connsiteX1796" fmla="*/ 6471266 w 9586368"/>
              <a:gd name="connsiteY1796" fmla="*/ 5282838 h 6479439"/>
              <a:gd name="connsiteX1797" fmla="*/ 6461356 w 9586368"/>
              <a:gd name="connsiteY1797" fmla="*/ 5282838 h 6479439"/>
              <a:gd name="connsiteX1798" fmla="*/ 6457337 w 9586368"/>
              <a:gd name="connsiteY1798" fmla="*/ 5278799 h 6479439"/>
              <a:gd name="connsiteX1799" fmla="*/ 6457337 w 9586368"/>
              <a:gd name="connsiteY1799" fmla="*/ 5268928 h 6479439"/>
              <a:gd name="connsiteX1800" fmla="*/ 6222042 w 9586368"/>
              <a:gd name="connsiteY1800" fmla="*/ 5264889 h 6479439"/>
              <a:gd name="connsiteX1801" fmla="*/ 6231952 w 9586368"/>
              <a:gd name="connsiteY1801" fmla="*/ 5264889 h 6479439"/>
              <a:gd name="connsiteX1802" fmla="*/ 6235971 w 9586368"/>
              <a:gd name="connsiteY1802" fmla="*/ 5268928 h 6479439"/>
              <a:gd name="connsiteX1803" fmla="*/ 6235971 w 9586368"/>
              <a:gd name="connsiteY1803" fmla="*/ 5278799 h 6479439"/>
              <a:gd name="connsiteX1804" fmla="*/ 6231952 w 9586368"/>
              <a:gd name="connsiteY1804" fmla="*/ 5282838 h 6479439"/>
              <a:gd name="connsiteX1805" fmla="*/ 6222042 w 9586368"/>
              <a:gd name="connsiteY1805" fmla="*/ 5282838 h 6479439"/>
              <a:gd name="connsiteX1806" fmla="*/ 6218023 w 9586368"/>
              <a:gd name="connsiteY1806" fmla="*/ 5278799 h 6479439"/>
              <a:gd name="connsiteX1807" fmla="*/ 6218023 w 9586368"/>
              <a:gd name="connsiteY1807" fmla="*/ 5268928 h 6479439"/>
              <a:gd name="connsiteX1808" fmla="*/ 5982729 w 9586368"/>
              <a:gd name="connsiteY1808" fmla="*/ 5264889 h 6479439"/>
              <a:gd name="connsiteX1809" fmla="*/ 5992639 w 9586368"/>
              <a:gd name="connsiteY1809" fmla="*/ 5264889 h 6479439"/>
              <a:gd name="connsiteX1810" fmla="*/ 5996658 w 9586368"/>
              <a:gd name="connsiteY1810" fmla="*/ 5268928 h 6479439"/>
              <a:gd name="connsiteX1811" fmla="*/ 5996658 w 9586368"/>
              <a:gd name="connsiteY1811" fmla="*/ 5278799 h 6479439"/>
              <a:gd name="connsiteX1812" fmla="*/ 5992639 w 9586368"/>
              <a:gd name="connsiteY1812" fmla="*/ 5282838 h 6479439"/>
              <a:gd name="connsiteX1813" fmla="*/ 5982729 w 9586368"/>
              <a:gd name="connsiteY1813" fmla="*/ 5282838 h 6479439"/>
              <a:gd name="connsiteX1814" fmla="*/ 5978710 w 9586368"/>
              <a:gd name="connsiteY1814" fmla="*/ 5278799 h 6479439"/>
              <a:gd name="connsiteX1815" fmla="*/ 5978710 w 9586368"/>
              <a:gd name="connsiteY1815" fmla="*/ 5268928 h 6479439"/>
              <a:gd name="connsiteX1816" fmla="*/ 5743412 w 9586368"/>
              <a:gd name="connsiteY1816" fmla="*/ 5264889 h 6479439"/>
              <a:gd name="connsiteX1817" fmla="*/ 5753323 w 9586368"/>
              <a:gd name="connsiteY1817" fmla="*/ 5264889 h 6479439"/>
              <a:gd name="connsiteX1818" fmla="*/ 5757342 w 9586368"/>
              <a:gd name="connsiteY1818" fmla="*/ 5268928 h 6479439"/>
              <a:gd name="connsiteX1819" fmla="*/ 5757342 w 9586368"/>
              <a:gd name="connsiteY1819" fmla="*/ 5278799 h 6479439"/>
              <a:gd name="connsiteX1820" fmla="*/ 5753323 w 9586368"/>
              <a:gd name="connsiteY1820" fmla="*/ 5282838 h 6479439"/>
              <a:gd name="connsiteX1821" fmla="*/ 5743412 w 9586368"/>
              <a:gd name="connsiteY1821" fmla="*/ 5282838 h 6479439"/>
              <a:gd name="connsiteX1822" fmla="*/ 5739393 w 9586368"/>
              <a:gd name="connsiteY1822" fmla="*/ 5278799 h 6479439"/>
              <a:gd name="connsiteX1823" fmla="*/ 5739393 w 9586368"/>
              <a:gd name="connsiteY1823" fmla="*/ 5268928 h 6479439"/>
              <a:gd name="connsiteX1824" fmla="*/ 5504099 w 9586368"/>
              <a:gd name="connsiteY1824" fmla="*/ 5264889 h 6479439"/>
              <a:gd name="connsiteX1825" fmla="*/ 5514010 w 9586368"/>
              <a:gd name="connsiteY1825" fmla="*/ 5264889 h 6479439"/>
              <a:gd name="connsiteX1826" fmla="*/ 5518029 w 9586368"/>
              <a:gd name="connsiteY1826" fmla="*/ 5268928 h 6479439"/>
              <a:gd name="connsiteX1827" fmla="*/ 5518029 w 9586368"/>
              <a:gd name="connsiteY1827" fmla="*/ 5278799 h 6479439"/>
              <a:gd name="connsiteX1828" fmla="*/ 5514010 w 9586368"/>
              <a:gd name="connsiteY1828" fmla="*/ 5282838 h 6479439"/>
              <a:gd name="connsiteX1829" fmla="*/ 5504099 w 9586368"/>
              <a:gd name="connsiteY1829" fmla="*/ 5282838 h 6479439"/>
              <a:gd name="connsiteX1830" fmla="*/ 5500080 w 9586368"/>
              <a:gd name="connsiteY1830" fmla="*/ 5278799 h 6479439"/>
              <a:gd name="connsiteX1831" fmla="*/ 5500080 w 9586368"/>
              <a:gd name="connsiteY1831" fmla="*/ 5268928 h 6479439"/>
              <a:gd name="connsiteX1832" fmla="*/ 5264784 w 9586368"/>
              <a:gd name="connsiteY1832" fmla="*/ 5264889 h 6479439"/>
              <a:gd name="connsiteX1833" fmla="*/ 5274694 w 9586368"/>
              <a:gd name="connsiteY1833" fmla="*/ 5264889 h 6479439"/>
              <a:gd name="connsiteX1834" fmla="*/ 5278713 w 9586368"/>
              <a:gd name="connsiteY1834" fmla="*/ 5268928 h 6479439"/>
              <a:gd name="connsiteX1835" fmla="*/ 5278713 w 9586368"/>
              <a:gd name="connsiteY1835" fmla="*/ 5278799 h 6479439"/>
              <a:gd name="connsiteX1836" fmla="*/ 5274694 w 9586368"/>
              <a:gd name="connsiteY1836" fmla="*/ 5282838 h 6479439"/>
              <a:gd name="connsiteX1837" fmla="*/ 5264784 w 9586368"/>
              <a:gd name="connsiteY1837" fmla="*/ 5282838 h 6479439"/>
              <a:gd name="connsiteX1838" fmla="*/ 5260765 w 9586368"/>
              <a:gd name="connsiteY1838" fmla="*/ 5278799 h 6479439"/>
              <a:gd name="connsiteX1839" fmla="*/ 5260765 w 9586368"/>
              <a:gd name="connsiteY1839" fmla="*/ 5268928 h 6479439"/>
              <a:gd name="connsiteX1840" fmla="*/ 5025470 w 9586368"/>
              <a:gd name="connsiteY1840" fmla="*/ 5264889 h 6479439"/>
              <a:gd name="connsiteX1841" fmla="*/ 5035381 w 9586368"/>
              <a:gd name="connsiteY1841" fmla="*/ 5264889 h 6479439"/>
              <a:gd name="connsiteX1842" fmla="*/ 5039400 w 9586368"/>
              <a:gd name="connsiteY1842" fmla="*/ 5268928 h 6479439"/>
              <a:gd name="connsiteX1843" fmla="*/ 5039400 w 9586368"/>
              <a:gd name="connsiteY1843" fmla="*/ 5278799 h 6479439"/>
              <a:gd name="connsiteX1844" fmla="*/ 5035381 w 9586368"/>
              <a:gd name="connsiteY1844" fmla="*/ 5282838 h 6479439"/>
              <a:gd name="connsiteX1845" fmla="*/ 5025470 w 9586368"/>
              <a:gd name="connsiteY1845" fmla="*/ 5282838 h 6479439"/>
              <a:gd name="connsiteX1846" fmla="*/ 5021451 w 9586368"/>
              <a:gd name="connsiteY1846" fmla="*/ 5278799 h 6479439"/>
              <a:gd name="connsiteX1847" fmla="*/ 5021451 w 9586368"/>
              <a:gd name="connsiteY1847" fmla="*/ 5268928 h 6479439"/>
              <a:gd name="connsiteX1848" fmla="*/ 4786241 w 9586368"/>
              <a:gd name="connsiteY1848" fmla="*/ 5264889 h 6479439"/>
              <a:gd name="connsiteX1849" fmla="*/ 4796152 w 9586368"/>
              <a:gd name="connsiteY1849" fmla="*/ 5264889 h 6479439"/>
              <a:gd name="connsiteX1850" fmla="*/ 4800171 w 9586368"/>
              <a:gd name="connsiteY1850" fmla="*/ 5268928 h 6479439"/>
              <a:gd name="connsiteX1851" fmla="*/ 4800171 w 9586368"/>
              <a:gd name="connsiteY1851" fmla="*/ 5278799 h 6479439"/>
              <a:gd name="connsiteX1852" fmla="*/ 4796152 w 9586368"/>
              <a:gd name="connsiteY1852" fmla="*/ 5282838 h 6479439"/>
              <a:gd name="connsiteX1853" fmla="*/ 4786241 w 9586368"/>
              <a:gd name="connsiteY1853" fmla="*/ 5282838 h 6479439"/>
              <a:gd name="connsiteX1854" fmla="*/ 4782224 w 9586368"/>
              <a:gd name="connsiteY1854" fmla="*/ 5278799 h 6479439"/>
              <a:gd name="connsiteX1855" fmla="*/ 4782224 w 9586368"/>
              <a:gd name="connsiteY1855" fmla="*/ 5268928 h 6479439"/>
              <a:gd name="connsiteX1856" fmla="*/ 4546929 w 9586368"/>
              <a:gd name="connsiteY1856" fmla="*/ 5264889 h 6479439"/>
              <a:gd name="connsiteX1857" fmla="*/ 4556840 w 9586368"/>
              <a:gd name="connsiteY1857" fmla="*/ 5264889 h 6479439"/>
              <a:gd name="connsiteX1858" fmla="*/ 4560859 w 9586368"/>
              <a:gd name="connsiteY1858" fmla="*/ 5268928 h 6479439"/>
              <a:gd name="connsiteX1859" fmla="*/ 4560859 w 9586368"/>
              <a:gd name="connsiteY1859" fmla="*/ 5278799 h 6479439"/>
              <a:gd name="connsiteX1860" fmla="*/ 4556840 w 9586368"/>
              <a:gd name="connsiteY1860" fmla="*/ 5282838 h 6479439"/>
              <a:gd name="connsiteX1861" fmla="*/ 4546929 w 9586368"/>
              <a:gd name="connsiteY1861" fmla="*/ 5282838 h 6479439"/>
              <a:gd name="connsiteX1862" fmla="*/ 4542910 w 9586368"/>
              <a:gd name="connsiteY1862" fmla="*/ 5278799 h 6479439"/>
              <a:gd name="connsiteX1863" fmla="*/ 4542910 w 9586368"/>
              <a:gd name="connsiteY1863" fmla="*/ 5268928 h 6479439"/>
              <a:gd name="connsiteX1864" fmla="*/ 4307612 w 9586368"/>
              <a:gd name="connsiteY1864" fmla="*/ 5264889 h 6479439"/>
              <a:gd name="connsiteX1865" fmla="*/ 4317523 w 9586368"/>
              <a:gd name="connsiteY1865" fmla="*/ 5264889 h 6479439"/>
              <a:gd name="connsiteX1866" fmla="*/ 4321543 w 9586368"/>
              <a:gd name="connsiteY1866" fmla="*/ 5268928 h 6479439"/>
              <a:gd name="connsiteX1867" fmla="*/ 4321543 w 9586368"/>
              <a:gd name="connsiteY1867" fmla="*/ 5278799 h 6479439"/>
              <a:gd name="connsiteX1868" fmla="*/ 4317523 w 9586368"/>
              <a:gd name="connsiteY1868" fmla="*/ 5282838 h 6479439"/>
              <a:gd name="connsiteX1869" fmla="*/ 4307612 w 9586368"/>
              <a:gd name="connsiteY1869" fmla="*/ 5282838 h 6479439"/>
              <a:gd name="connsiteX1870" fmla="*/ 4303595 w 9586368"/>
              <a:gd name="connsiteY1870" fmla="*/ 5278799 h 6479439"/>
              <a:gd name="connsiteX1871" fmla="*/ 4303595 w 9586368"/>
              <a:gd name="connsiteY1871" fmla="*/ 5268928 h 6479439"/>
              <a:gd name="connsiteX1872" fmla="*/ 4068297 w 9586368"/>
              <a:gd name="connsiteY1872" fmla="*/ 5264889 h 6479439"/>
              <a:gd name="connsiteX1873" fmla="*/ 4078210 w 9586368"/>
              <a:gd name="connsiteY1873" fmla="*/ 5264889 h 6479439"/>
              <a:gd name="connsiteX1874" fmla="*/ 4082229 w 9586368"/>
              <a:gd name="connsiteY1874" fmla="*/ 5268928 h 6479439"/>
              <a:gd name="connsiteX1875" fmla="*/ 4082229 w 9586368"/>
              <a:gd name="connsiteY1875" fmla="*/ 5278799 h 6479439"/>
              <a:gd name="connsiteX1876" fmla="*/ 4078210 w 9586368"/>
              <a:gd name="connsiteY1876" fmla="*/ 5282838 h 6479439"/>
              <a:gd name="connsiteX1877" fmla="*/ 4068297 w 9586368"/>
              <a:gd name="connsiteY1877" fmla="*/ 5282838 h 6479439"/>
              <a:gd name="connsiteX1878" fmla="*/ 4064278 w 9586368"/>
              <a:gd name="connsiteY1878" fmla="*/ 5278799 h 6479439"/>
              <a:gd name="connsiteX1879" fmla="*/ 4064278 w 9586368"/>
              <a:gd name="connsiteY1879" fmla="*/ 5268928 h 6479439"/>
              <a:gd name="connsiteX1880" fmla="*/ 3828990 w 9586368"/>
              <a:gd name="connsiteY1880" fmla="*/ 5264889 h 6479439"/>
              <a:gd name="connsiteX1881" fmla="*/ 3838899 w 9586368"/>
              <a:gd name="connsiteY1881" fmla="*/ 5264889 h 6479439"/>
              <a:gd name="connsiteX1882" fmla="*/ 3842917 w 9586368"/>
              <a:gd name="connsiteY1882" fmla="*/ 5268928 h 6479439"/>
              <a:gd name="connsiteX1883" fmla="*/ 3842917 w 9586368"/>
              <a:gd name="connsiteY1883" fmla="*/ 5278799 h 6479439"/>
              <a:gd name="connsiteX1884" fmla="*/ 3838899 w 9586368"/>
              <a:gd name="connsiteY1884" fmla="*/ 5282838 h 6479439"/>
              <a:gd name="connsiteX1885" fmla="*/ 3828990 w 9586368"/>
              <a:gd name="connsiteY1885" fmla="*/ 5282838 h 6479439"/>
              <a:gd name="connsiteX1886" fmla="*/ 3824971 w 9586368"/>
              <a:gd name="connsiteY1886" fmla="*/ 5278799 h 6479439"/>
              <a:gd name="connsiteX1887" fmla="*/ 3824971 w 9586368"/>
              <a:gd name="connsiteY1887" fmla="*/ 5268928 h 6479439"/>
              <a:gd name="connsiteX1888" fmla="*/ 3589676 w 9586368"/>
              <a:gd name="connsiteY1888" fmla="*/ 5264889 h 6479439"/>
              <a:gd name="connsiteX1889" fmla="*/ 3599585 w 9586368"/>
              <a:gd name="connsiteY1889" fmla="*/ 5264889 h 6479439"/>
              <a:gd name="connsiteX1890" fmla="*/ 3603604 w 9586368"/>
              <a:gd name="connsiteY1890" fmla="*/ 5268928 h 6479439"/>
              <a:gd name="connsiteX1891" fmla="*/ 3603604 w 9586368"/>
              <a:gd name="connsiteY1891" fmla="*/ 5278799 h 6479439"/>
              <a:gd name="connsiteX1892" fmla="*/ 3599585 w 9586368"/>
              <a:gd name="connsiteY1892" fmla="*/ 5282838 h 6479439"/>
              <a:gd name="connsiteX1893" fmla="*/ 3589676 w 9586368"/>
              <a:gd name="connsiteY1893" fmla="*/ 5282838 h 6479439"/>
              <a:gd name="connsiteX1894" fmla="*/ 3585657 w 9586368"/>
              <a:gd name="connsiteY1894" fmla="*/ 5278799 h 6479439"/>
              <a:gd name="connsiteX1895" fmla="*/ 3585657 w 9586368"/>
              <a:gd name="connsiteY1895" fmla="*/ 5268928 h 6479439"/>
              <a:gd name="connsiteX1896" fmla="*/ 3350359 w 9586368"/>
              <a:gd name="connsiteY1896" fmla="*/ 5264889 h 6479439"/>
              <a:gd name="connsiteX1897" fmla="*/ 3360268 w 9586368"/>
              <a:gd name="connsiteY1897" fmla="*/ 5264889 h 6479439"/>
              <a:gd name="connsiteX1898" fmla="*/ 3364287 w 9586368"/>
              <a:gd name="connsiteY1898" fmla="*/ 5268928 h 6479439"/>
              <a:gd name="connsiteX1899" fmla="*/ 3364287 w 9586368"/>
              <a:gd name="connsiteY1899" fmla="*/ 5278799 h 6479439"/>
              <a:gd name="connsiteX1900" fmla="*/ 3360268 w 9586368"/>
              <a:gd name="connsiteY1900" fmla="*/ 5282838 h 6479439"/>
              <a:gd name="connsiteX1901" fmla="*/ 3350359 w 9586368"/>
              <a:gd name="connsiteY1901" fmla="*/ 5282838 h 6479439"/>
              <a:gd name="connsiteX1902" fmla="*/ 3346340 w 9586368"/>
              <a:gd name="connsiteY1902" fmla="*/ 5278799 h 6479439"/>
              <a:gd name="connsiteX1903" fmla="*/ 3346340 w 9586368"/>
              <a:gd name="connsiteY1903" fmla="*/ 5268928 h 6479439"/>
              <a:gd name="connsiteX1904" fmla="*/ 3111048 w 9586368"/>
              <a:gd name="connsiteY1904" fmla="*/ 5264889 h 6479439"/>
              <a:gd name="connsiteX1905" fmla="*/ 3120959 w 9586368"/>
              <a:gd name="connsiteY1905" fmla="*/ 5264889 h 6479439"/>
              <a:gd name="connsiteX1906" fmla="*/ 3124977 w 9586368"/>
              <a:gd name="connsiteY1906" fmla="*/ 5268928 h 6479439"/>
              <a:gd name="connsiteX1907" fmla="*/ 3124977 w 9586368"/>
              <a:gd name="connsiteY1907" fmla="*/ 5278799 h 6479439"/>
              <a:gd name="connsiteX1908" fmla="*/ 3120959 w 9586368"/>
              <a:gd name="connsiteY1908" fmla="*/ 5282838 h 6479439"/>
              <a:gd name="connsiteX1909" fmla="*/ 3111048 w 9586368"/>
              <a:gd name="connsiteY1909" fmla="*/ 5282838 h 6479439"/>
              <a:gd name="connsiteX1910" fmla="*/ 3107029 w 9586368"/>
              <a:gd name="connsiteY1910" fmla="*/ 5278799 h 6479439"/>
              <a:gd name="connsiteX1911" fmla="*/ 3107029 w 9586368"/>
              <a:gd name="connsiteY1911" fmla="*/ 5268928 h 6479439"/>
              <a:gd name="connsiteX1912" fmla="*/ 2871737 w 9586368"/>
              <a:gd name="connsiteY1912" fmla="*/ 5264889 h 6479439"/>
              <a:gd name="connsiteX1913" fmla="*/ 2881646 w 9586368"/>
              <a:gd name="connsiteY1913" fmla="*/ 5264889 h 6479439"/>
              <a:gd name="connsiteX1914" fmla="*/ 2885666 w 9586368"/>
              <a:gd name="connsiteY1914" fmla="*/ 5268928 h 6479439"/>
              <a:gd name="connsiteX1915" fmla="*/ 2885666 w 9586368"/>
              <a:gd name="connsiteY1915" fmla="*/ 5278799 h 6479439"/>
              <a:gd name="connsiteX1916" fmla="*/ 2881646 w 9586368"/>
              <a:gd name="connsiteY1916" fmla="*/ 5282838 h 6479439"/>
              <a:gd name="connsiteX1917" fmla="*/ 2871737 w 9586368"/>
              <a:gd name="connsiteY1917" fmla="*/ 5282838 h 6479439"/>
              <a:gd name="connsiteX1918" fmla="*/ 2867717 w 9586368"/>
              <a:gd name="connsiteY1918" fmla="*/ 5278799 h 6479439"/>
              <a:gd name="connsiteX1919" fmla="*/ 2867717 w 9586368"/>
              <a:gd name="connsiteY1919" fmla="*/ 5268928 h 6479439"/>
              <a:gd name="connsiteX1920" fmla="*/ 2632423 w 9586368"/>
              <a:gd name="connsiteY1920" fmla="*/ 5264889 h 6479439"/>
              <a:gd name="connsiteX1921" fmla="*/ 2642334 w 9586368"/>
              <a:gd name="connsiteY1921" fmla="*/ 5264889 h 6479439"/>
              <a:gd name="connsiteX1922" fmla="*/ 2646352 w 9586368"/>
              <a:gd name="connsiteY1922" fmla="*/ 5268928 h 6479439"/>
              <a:gd name="connsiteX1923" fmla="*/ 2646352 w 9586368"/>
              <a:gd name="connsiteY1923" fmla="*/ 5278799 h 6479439"/>
              <a:gd name="connsiteX1924" fmla="*/ 2642334 w 9586368"/>
              <a:gd name="connsiteY1924" fmla="*/ 5282838 h 6479439"/>
              <a:gd name="connsiteX1925" fmla="*/ 2632423 w 9586368"/>
              <a:gd name="connsiteY1925" fmla="*/ 5282838 h 6479439"/>
              <a:gd name="connsiteX1926" fmla="*/ 2628404 w 9586368"/>
              <a:gd name="connsiteY1926" fmla="*/ 5278799 h 6479439"/>
              <a:gd name="connsiteX1927" fmla="*/ 2628404 w 9586368"/>
              <a:gd name="connsiteY1927" fmla="*/ 5268928 h 6479439"/>
              <a:gd name="connsiteX1928" fmla="*/ 2393104 w 9586368"/>
              <a:gd name="connsiteY1928" fmla="*/ 5264889 h 6479439"/>
              <a:gd name="connsiteX1929" fmla="*/ 2403015 w 9586368"/>
              <a:gd name="connsiteY1929" fmla="*/ 5264889 h 6479439"/>
              <a:gd name="connsiteX1930" fmla="*/ 2407034 w 9586368"/>
              <a:gd name="connsiteY1930" fmla="*/ 5268928 h 6479439"/>
              <a:gd name="connsiteX1931" fmla="*/ 2407034 w 9586368"/>
              <a:gd name="connsiteY1931" fmla="*/ 5278799 h 6479439"/>
              <a:gd name="connsiteX1932" fmla="*/ 2403015 w 9586368"/>
              <a:gd name="connsiteY1932" fmla="*/ 5282838 h 6479439"/>
              <a:gd name="connsiteX1933" fmla="*/ 2393104 w 9586368"/>
              <a:gd name="connsiteY1933" fmla="*/ 5282838 h 6479439"/>
              <a:gd name="connsiteX1934" fmla="*/ 2389087 w 9586368"/>
              <a:gd name="connsiteY1934" fmla="*/ 5278799 h 6479439"/>
              <a:gd name="connsiteX1935" fmla="*/ 2389087 w 9586368"/>
              <a:gd name="connsiteY1935" fmla="*/ 5268928 h 6479439"/>
              <a:gd name="connsiteX1936" fmla="*/ 721961 w 9586368"/>
              <a:gd name="connsiteY1936" fmla="*/ 5264889 h 6479439"/>
              <a:gd name="connsiteX1937" fmla="*/ 731872 w 9586368"/>
              <a:gd name="connsiteY1937" fmla="*/ 5264889 h 6479439"/>
              <a:gd name="connsiteX1938" fmla="*/ 735891 w 9586368"/>
              <a:gd name="connsiteY1938" fmla="*/ 5268928 h 6479439"/>
              <a:gd name="connsiteX1939" fmla="*/ 735891 w 9586368"/>
              <a:gd name="connsiteY1939" fmla="*/ 5278799 h 6479439"/>
              <a:gd name="connsiteX1940" fmla="*/ 731872 w 9586368"/>
              <a:gd name="connsiteY1940" fmla="*/ 5282838 h 6479439"/>
              <a:gd name="connsiteX1941" fmla="*/ 721961 w 9586368"/>
              <a:gd name="connsiteY1941" fmla="*/ 5282838 h 6479439"/>
              <a:gd name="connsiteX1942" fmla="*/ 717943 w 9586368"/>
              <a:gd name="connsiteY1942" fmla="*/ 5278799 h 6479439"/>
              <a:gd name="connsiteX1943" fmla="*/ 717943 w 9586368"/>
              <a:gd name="connsiteY1943" fmla="*/ 5268928 h 6479439"/>
              <a:gd name="connsiteX1944" fmla="*/ 482649 w 9586368"/>
              <a:gd name="connsiteY1944" fmla="*/ 5264889 h 6479439"/>
              <a:gd name="connsiteX1945" fmla="*/ 492560 w 9586368"/>
              <a:gd name="connsiteY1945" fmla="*/ 5264889 h 6479439"/>
              <a:gd name="connsiteX1946" fmla="*/ 496579 w 9586368"/>
              <a:gd name="connsiteY1946" fmla="*/ 5268928 h 6479439"/>
              <a:gd name="connsiteX1947" fmla="*/ 496579 w 9586368"/>
              <a:gd name="connsiteY1947" fmla="*/ 5278799 h 6479439"/>
              <a:gd name="connsiteX1948" fmla="*/ 492560 w 9586368"/>
              <a:gd name="connsiteY1948" fmla="*/ 5282838 h 6479439"/>
              <a:gd name="connsiteX1949" fmla="*/ 482649 w 9586368"/>
              <a:gd name="connsiteY1949" fmla="*/ 5282838 h 6479439"/>
              <a:gd name="connsiteX1950" fmla="*/ 478630 w 9586368"/>
              <a:gd name="connsiteY1950" fmla="*/ 5278799 h 6479439"/>
              <a:gd name="connsiteX1951" fmla="*/ 478630 w 9586368"/>
              <a:gd name="connsiteY1951" fmla="*/ 5268928 h 6479439"/>
              <a:gd name="connsiteX1952" fmla="*/ 243336 w 9586368"/>
              <a:gd name="connsiteY1952" fmla="*/ 5264889 h 6479439"/>
              <a:gd name="connsiteX1953" fmla="*/ 253246 w 9586368"/>
              <a:gd name="connsiteY1953" fmla="*/ 5264889 h 6479439"/>
              <a:gd name="connsiteX1954" fmla="*/ 257265 w 9586368"/>
              <a:gd name="connsiteY1954" fmla="*/ 5268928 h 6479439"/>
              <a:gd name="connsiteX1955" fmla="*/ 257265 w 9586368"/>
              <a:gd name="connsiteY1955" fmla="*/ 5278799 h 6479439"/>
              <a:gd name="connsiteX1956" fmla="*/ 253246 w 9586368"/>
              <a:gd name="connsiteY1956" fmla="*/ 5282838 h 6479439"/>
              <a:gd name="connsiteX1957" fmla="*/ 243336 w 9586368"/>
              <a:gd name="connsiteY1957" fmla="*/ 5282838 h 6479439"/>
              <a:gd name="connsiteX1958" fmla="*/ 239317 w 9586368"/>
              <a:gd name="connsiteY1958" fmla="*/ 5278799 h 6479439"/>
              <a:gd name="connsiteX1959" fmla="*/ 239317 w 9586368"/>
              <a:gd name="connsiteY1959" fmla="*/ 5268928 h 6479439"/>
              <a:gd name="connsiteX1960" fmla="*/ 4022 w 9586368"/>
              <a:gd name="connsiteY1960" fmla="*/ 5264889 h 6479439"/>
              <a:gd name="connsiteX1961" fmla="*/ 13933 w 9586368"/>
              <a:gd name="connsiteY1961" fmla="*/ 5264889 h 6479439"/>
              <a:gd name="connsiteX1962" fmla="*/ 17952 w 9586368"/>
              <a:gd name="connsiteY1962" fmla="*/ 5268928 h 6479439"/>
              <a:gd name="connsiteX1963" fmla="*/ 17952 w 9586368"/>
              <a:gd name="connsiteY1963" fmla="*/ 5278799 h 6479439"/>
              <a:gd name="connsiteX1964" fmla="*/ 13933 w 9586368"/>
              <a:gd name="connsiteY1964" fmla="*/ 5282838 h 6479439"/>
              <a:gd name="connsiteX1965" fmla="*/ 4022 w 9586368"/>
              <a:gd name="connsiteY1965" fmla="*/ 5282838 h 6479439"/>
              <a:gd name="connsiteX1966" fmla="*/ 3 w 9586368"/>
              <a:gd name="connsiteY1966" fmla="*/ 5278799 h 6479439"/>
              <a:gd name="connsiteX1967" fmla="*/ 3 w 9586368"/>
              <a:gd name="connsiteY1967" fmla="*/ 5268928 h 6479439"/>
              <a:gd name="connsiteX1968" fmla="*/ 2157819 w 9586368"/>
              <a:gd name="connsiteY1968" fmla="*/ 5025610 h 6479439"/>
              <a:gd name="connsiteX1969" fmla="*/ 2167729 w 9586368"/>
              <a:gd name="connsiteY1969" fmla="*/ 5025610 h 6479439"/>
              <a:gd name="connsiteX1970" fmla="*/ 2171748 w 9586368"/>
              <a:gd name="connsiteY1970" fmla="*/ 5029648 h 6479439"/>
              <a:gd name="connsiteX1971" fmla="*/ 2171748 w 9586368"/>
              <a:gd name="connsiteY1971" fmla="*/ 5039519 h 6479439"/>
              <a:gd name="connsiteX1972" fmla="*/ 2167729 w 9586368"/>
              <a:gd name="connsiteY1972" fmla="*/ 5043558 h 6479439"/>
              <a:gd name="connsiteX1973" fmla="*/ 2157819 w 9586368"/>
              <a:gd name="connsiteY1973" fmla="*/ 5043558 h 6479439"/>
              <a:gd name="connsiteX1974" fmla="*/ 2153800 w 9586368"/>
              <a:gd name="connsiteY1974" fmla="*/ 5039519 h 6479439"/>
              <a:gd name="connsiteX1975" fmla="*/ 2153800 w 9586368"/>
              <a:gd name="connsiteY1975" fmla="*/ 5029648 h 6479439"/>
              <a:gd name="connsiteX1976" fmla="*/ 1918510 w 9586368"/>
              <a:gd name="connsiteY1976" fmla="*/ 5025610 h 6479439"/>
              <a:gd name="connsiteX1977" fmla="*/ 1928420 w 9586368"/>
              <a:gd name="connsiteY1977" fmla="*/ 5025610 h 6479439"/>
              <a:gd name="connsiteX1978" fmla="*/ 1932440 w 9586368"/>
              <a:gd name="connsiteY1978" fmla="*/ 5029648 h 6479439"/>
              <a:gd name="connsiteX1979" fmla="*/ 1932440 w 9586368"/>
              <a:gd name="connsiteY1979" fmla="*/ 5039519 h 6479439"/>
              <a:gd name="connsiteX1980" fmla="*/ 1928420 w 9586368"/>
              <a:gd name="connsiteY1980" fmla="*/ 5043558 h 6479439"/>
              <a:gd name="connsiteX1981" fmla="*/ 1918510 w 9586368"/>
              <a:gd name="connsiteY1981" fmla="*/ 5043558 h 6479439"/>
              <a:gd name="connsiteX1982" fmla="*/ 1914492 w 9586368"/>
              <a:gd name="connsiteY1982" fmla="*/ 5039519 h 6479439"/>
              <a:gd name="connsiteX1983" fmla="*/ 1914492 w 9586368"/>
              <a:gd name="connsiteY1983" fmla="*/ 5029648 h 6479439"/>
              <a:gd name="connsiteX1984" fmla="*/ 1679204 w 9586368"/>
              <a:gd name="connsiteY1984" fmla="*/ 5025610 h 6479439"/>
              <a:gd name="connsiteX1985" fmla="*/ 1689115 w 9586368"/>
              <a:gd name="connsiteY1985" fmla="*/ 5025610 h 6479439"/>
              <a:gd name="connsiteX1986" fmla="*/ 1693133 w 9586368"/>
              <a:gd name="connsiteY1986" fmla="*/ 5029648 h 6479439"/>
              <a:gd name="connsiteX1987" fmla="*/ 1693133 w 9586368"/>
              <a:gd name="connsiteY1987" fmla="*/ 5039519 h 6479439"/>
              <a:gd name="connsiteX1988" fmla="*/ 1689115 w 9586368"/>
              <a:gd name="connsiteY1988" fmla="*/ 5043558 h 6479439"/>
              <a:gd name="connsiteX1989" fmla="*/ 1679204 w 9586368"/>
              <a:gd name="connsiteY1989" fmla="*/ 5043558 h 6479439"/>
              <a:gd name="connsiteX1990" fmla="*/ 1675185 w 9586368"/>
              <a:gd name="connsiteY1990" fmla="*/ 5039519 h 6479439"/>
              <a:gd name="connsiteX1991" fmla="*/ 1675185 w 9586368"/>
              <a:gd name="connsiteY1991" fmla="*/ 5029648 h 6479439"/>
              <a:gd name="connsiteX1992" fmla="*/ 1439889 w 9586368"/>
              <a:gd name="connsiteY1992" fmla="*/ 5025610 h 6479439"/>
              <a:gd name="connsiteX1993" fmla="*/ 1449798 w 9586368"/>
              <a:gd name="connsiteY1993" fmla="*/ 5025610 h 6479439"/>
              <a:gd name="connsiteX1994" fmla="*/ 1453818 w 9586368"/>
              <a:gd name="connsiteY1994" fmla="*/ 5029648 h 6479439"/>
              <a:gd name="connsiteX1995" fmla="*/ 1453818 w 9586368"/>
              <a:gd name="connsiteY1995" fmla="*/ 5039519 h 6479439"/>
              <a:gd name="connsiteX1996" fmla="*/ 1449798 w 9586368"/>
              <a:gd name="connsiteY1996" fmla="*/ 5043558 h 6479439"/>
              <a:gd name="connsiteX1997" fmla="*/ 1439889 w 9586368"/>
              <a:gd name="connsiteY1997" fmla="*/ 5043558 h 6479439"/>
              <a:gd name="connsiteX1998" fmla="*/ 1435870 w 9586368"/>
              <a:gd name="connsiteY1998" fmla="*/ 5039519 h 6479439"/>
              <a:gd name="connsiteX1999" fmla="*/ 1435870 w 9586368"/>
              <a:gd name="connsiteY1999" fmla="*/ 5029648 h 6479439"/>
              <a:gd name="connsiteX2000" fmla="*/ 1200573 w 9586368"/>
              <a:gd name="connsiteY2000" fmla="*/ 5025610 h 6479439"/>
              <a:gd name="connsiteX2001" fmla="*/ 1210484 w 9586368"/>
              <a:gd name="connsiteY2001" fmla="*/ 5025610 h 6479439"/>
              <a:gd name="connsiteX2002" fmla="*/ 1214502 w 9586368"/>
              <a:gd name="connsiteY2002" fmla="*/ 5029648 h 6479439"/>
              <a:gd name="connsiteX2003" fmla="*/ 1214502 w 9586368"/>
              <a:gd name="connsiteY2003" fmla="*/ 5039519 h 6479439"/>
              <a:gd name="connsiteX2004" fmla="*/ 1210484 w 9586368"/>
              <a:gd name="connsiteY2004" fmla="*/ 5043558 h 6479439"/>
              <a:gd name="connsiteX2005" fmla="*/ 1200573 w 9586368"/>
              <a:gd name="connsiteY2005" fmla="*/ 5043558 h 6479439"/>
              <a:gd name="connsiteX2006" fmla="*/ 1196555 w 9586368"/>
              <a:gd name="connsiteY2006" fmla="*/ 5039519 h 6479439"/>
              <a:gd name="connsiteX2007" fmla="*/ 1196555 w 9586368"/>
              <a:gd name="connsiteY2007" fmla="*/ 5029648 h 6479439"/>
              <a:gd name="connsiteX2008" fmla="*/ 961261 w 9586368"/>
              <a:gd name="connsiteY2008" fmla="*/ 5025610 h 6479439"/>
              <a:gd name="connsiteX2009" fmla="*/ 971171 w 9586368"/>
              <a:gd name="connsiteY2009" fmla="*/ 5025610 h 6479439"/>
              <a:gd name="connsiteX2010" fmla="*/ 975190 w 9586368"/>
              <a:gd name="connsiteY2010" fmla="*/ 5029648 h 6479439"/>
              <a:gd name="connsiteX2011" fmla="*/ 975190 w 9586368"/>
              <a:gd name="connsiteY2011" fmla="*/ 5039519 h 6479439"/>
              <a:gd name="connsiteX2012" fmla="*/ 971171 w 9586368"/>
              <a:gd name="connsiteY2012" fmla="*/ 5043558 h 6479439"/>
              <a:gd name="connsiteX2013" fmla="*/ 961261 w 9586368"/>
              <a:gd name="connsiteY2013" fmla="*/ 5043558 h 6479439"/>
              <a:gd name="connsiteX2014" fmla="*/ 957242 w 9586368"/>
              <a:gd name="connsiteY2014" fmla="*/ 5039519 h 6479439"/>
              <a:gd name="connsiteX2015" fmla="*/ 957242 w 9586368"/>
              <a:gd name="connsiteY2015" fmla="*/ 5029648 h 6479439"/>
              <a:gd name="connsiteX2016" fmla="*/ 9572438 w 9586368"/>
              <a:gd name="connsiteY2016" fmla="*/ 5025558 h 6479439"/>
              <a:gd name="connsiteX2017" fmla="*/ 9582349 w 9586368"/>
              <a:gd name="connsiteY2017" fmla="*/ 5025558 h 6479439"/>
              <a:gd name="connsiteX2018" fmla="*/ 9586368 w 9586368"/>
              <a:gd name="connsiteY2018" fmla="*/ 5029597 h 6479439"/>
              <a:gd name="connsiteX2019" fmla="*/ 9586368 w 9586368"/>
              <a:gd name="connsiteY2019" fmla="*/ 5039468 h 6479439"/>
              <a:gd name="connsiteX2020" fmla="*/ 9582349 w 9586368"/>
              <a:gd name="connsiteY2020" fmla="*/ 5043507 h 6479439"/>
              <a:gd name="connsiteX2021" fmla="*/ 9572438 w 9586368"/>
              <a:gd name="connsiteY2021" fmla="*/ 5043507 h 6479439"/>
              <a:gd name="connsiteX2022" fmla="*/ 9568419 w 9586368"/>
              <a:gd name="connsiteY2022" fmla="*/ 5039468 h 6479439"/>
              <a:gd name="connsiteX2023" fmla="*/ 9568419 w 9586368"/>
              <a:gd name="connsiteY2023" fmla="*/ 5029597 h 6479439"/>
              <a:gd name="connsiteX2024" fmla="*/ 9333125 w 9586368"/>
              <a:gd name="connsiteY2024" fmla="*/ 5025558 h 6479439"/>
              <a:gd name="connsiteX2025" fmla="*/ 9343036 w 9586368"/>
              <a:gd name="connsiteY2025" fmla="*/ 5025558 h 6479439"/>
              <a:gd name="connsiteX2026" fmla="*/ 9347055 w 9586368"/>
              <a:gd name="connsiteY2026" fmla="*/ 5029597 h 6479439"/>
              <a:gd name="connsiteX2027" fmla="*/ 9347055 w 9586368"/>
              <a:gd name="connsiteY2027" fmla="*/ 5039468 h 6479439"/>
              <a:gd name="connsiteX2028" fmla="*/ 9343036 w 9586368"/>
              <a:gd name="connsiteY2028" fmla="*/ 5043507 h 6479439"/>
              <a:gd name="connsiteX2029" fmla="*/ 9333125 w 9586368"/>
              <a:gd name="connsiteY2029" fmla="*/ 5043507 h 6479439"/>
              <a:gd name="connsiteX2030" fmla="*/ 9329106 w 9586368"/>
              <a:gd name="connsiteY2030" fmla="*/ 5039468 h 6479439"/>
              <a:gd name="connsiteX2031" fmla="*/ 9329106 w 9586368"/>
              <a:gd name="connsiteY2031" fmla="*/ 5029597 h 6479439"/>
              <a:gd name="connsiteX2032" fmla="*/ 9093811 w 9586368"/>
              <a:gd name="connsiteY2032" fmla="*/ 5025558 h 6479439"/>
              <a:gd name="connsiteX2033" fmla="*/ 9103722 w 9586368"/>
              <a:gd name="connsiteY2033" fmla="*/ 5025558 h 6479439"/>
              <a:gd name="connsiteX2034" fmla="*/ 9107741 w 9586368"/>
              <a:gd name="connsiteY2034" fmla="*/ 5029597 h 6479439"/>
              <a:gd name="connsiteX2035" fmla="*/ 9107741 w 9586368"/>
              <a:gd name="connsiteY2035" fmla="*/ 5039468 h 6479439"/>
              <a:gd name="connsiteX2036" fmla="*/ 9103722 w 9586368"/>
              <a:gd name="connsiteY2036" fmla="*/ 5043507 h 6479439"/>
              <a:gd name="connsiteX2037" fmla="*/ 9093811 w 9586368"/>
              <a:gd name="connsiteY2037" fmla="*/ 5043507 h 6479439"/>
              <a:gd name="connsiteX2038" fmla="*/ 9089792 w 9586368"/>
              <a:gd name="connsiteY2038" fmla="*/ 5039468 h 6479439"/>
              <a:gd name="connsiteX2039" fmla="*/ 9089792 w 9586368"/>
              <a:gd name="connsiteY2039" fmla="*/ 5029597 h 6479439"/>
              <a:gd name="connsiteX2040" fmla="*/ 8854496 w 9586368"/>
              <a:gd name="connsiteY2040" fmla="*/ 5025558 h 6479439"/>
              <a:gd name="connsiteX2041" fmla="*/ 8864407 w 9586368"/>
              <a:gd name="connsiteY2041" fmla="*/ 5025558 h 6479439"/>
              <a:gd name="connsiteX2042" fmla="*/ 8868426 w 9586368"/>
              <a:gd name="connsiteY2042" fmla="*/ 5029597 h 6479439"/>
              <a:gd name="connsiteX2043" fmla="*/ 8868426 w 9586368"/>
              <a:gd name="connsiteY2043" fmla="*/ 5039468 h 6479439"/>
              <a:gd name="connsiteX2044" fmla="*/ 8864407 w 9586368"/>
              <a:gd name="connsiteY2044" fmla="*/ 5043507 h 6479439"/>
              <a:gd name="connsiteX2045" fmla="*/ 8854496 w 9586368"/>
              <a:gd name="connsiteY2045" fmla="*/ 5043507 h 6479439"/>
              <a:gd name="connsiteX2046" fmla="*/ 8850477 w 9586368"/>
              <a:gd name="connsiteY2046" fmla="*/ 5039468 h 6479439"/>
              <a:gd name="connsiteX2047" fmla="*/ 8850477 w 9586368"/>
              <a:gd name="connsiteY2047" fmla="*/ 5029597 h 6479439"/>
              <a:gd name="connsiteX2048" fmla="*/ 8615184 w 9586368"/>
              <a:gd name="connsiteY2048" fmla="*/ 5025558 h 6479439"/>
              <a:gd name="connsiteX2049" fmla="*/ 8625095 w 9586368"/>
              <a:gd name="connsiteY2049" fmla="*/ 5025558 h 6479439"/>
              <a:gd name="connsiteX2050" fmla="*/ 8629114 w 9586368"/>
              <a:gd name="connsiteY2050" fmla="*/ 5029597 h 6479439"/>
              <a:gd name="connsiteX2051" fmla="*/ 8629114 w 9586368"/>
              <a:gd name="connsiteY2051" fmla="*/ 5039468 h 6479439"/>
              <a:gd name="connsiteX2052" fmla="*/ 8625095 w 9586368"/>
              <a:gd name="connsiteY2052" fmla="*/ 5043507 h 6479439"/>
              <a:gd name="connsiteX2053" fmla="*/ 8615184 w 9586368"/>
              <a:gd name="connsiteY2053" fmla="*/ 5043507 h 6479439"/>
              <a:gd name="connsiteX2054" fmla="*/ 8611165 w 9586368"/>
              <a:gd name="connsiteY2054" fmla="*/ 5039468 h 6479439"/>
              <a:gd name="connsiteX2055" fmla="*/ 8611165 w 9586368"/>
              <a:gd name="connsiteY2055" fmla="*/ 5029597 h 6479439"/>
              <a:gd name="connsiteX2056" fmla="*/ 8375869 w 9586368"/>
              <a:gd name="connsiteY2056" fmla="*/ 5025558 h 6479439"/>
              <a:gd name="connsiteX2057" fmla="*/ 8385779 w 9586368"/>
              <a:gd name="connsiteY2057" fmla="*/ 5025558 h 6479439"/>
              <a:gd name="connsiteX2058" fmla="*/ 8389799 w 9586368"/>
              <a:gd name="connsiteY2058" fmla="*/ 5029597 h 6479439"/>
              <a:gd name="connsiteX2059" fmla="*/ 8389799 w 9586368"/>
              <a:gd name="connsiteY2059" fmla="*/ 5039468 h 6479439"/>
              <a:gd name="connsiteX2060" fmla="*/ 8385779 w 9586368"/>
              <a:gd name="connsiteY2060" fmla="*/ 5043507 h 6479439"/>
              <a:gd name="connsiteX2061" fmla="*/ 8375869 w 9586368"/>
              <a:gd name="connsiteY2061" fmla="*/ 5043507 h 6479439"/>
              <a:gd name="connsiteX2062" fmla="*/ 8371850 w 9586368"/>
              <a:gd name="connsiteY2062" fmla="*/ 5039468 h 6479439"/>
              <a:gd name="connsiteX2063" fmla="*/ 8371850 w 9586368"/>
              <a:gd name="connsiteY2063" fmla="*/ 5029597 h 6479439"/>
              <a:gd name="connsiteX2064" fmla="*/ 8136553 w 9586368"/>
              <a:gd name="connsiteY2064" fmla="*/ 5025558 h 6479439"/>
              <a:gd name="connsiteX2065" fmla="*/ 8146464 w 9586368"/>
              <a:gd name="connsiteY2065" fmla="*/ 5025558 h 6479439"/>
              <a:gd name="connsiteX2066" fmla="*/ 8150483 w 9586368"/>
              <a:gd name="connsiteY2066" fmla="*/ 5029597 h 6479439"/>
              <a:gd name="connsiteX2067" fmla="*/ 8150483 w 9586368"/>
              <a:gd name="connsiteY2067" fmla="*/ 5039468 h 6479439"/>
              <a:gd name="connsiteX2068" fmla="*/ 8146464 w 9586368"/>
              <a:gd name="connsiteY2068" fmla="*/ 5043507 h 6479439"/>
              <a:gd name="connsiteX2069" fmla="*/ 8136553 w 9586368"/>
              <a:gd name="connsiteY2069" fmla="*/ 5043507 h 6479439"/>
              <a:gd name="connsiteX2070" fmla="*/ 8132534 w 9586368"/>
              <a:gd name="connsiteY2070" fmla="*/ 5039468 h 6479439"/>
              <a:gd name="connsiteX2071" fmla="*/ 8132534 w 9586368"/>
              <a:gd name="connsiteY2071" fmla="*/ 5029597 h 6479439"/>
              <a:gd name="connsiteX2072" fmla="*/ 7897241 w 9586368"/>
              <a:gd name="connsiteY2072" fmla="*/ 5025558 h 6479439"/>
              <a:gd name="connsiteX2073" fmla="*/ 7907151 w 9586368"/>
              <a:gd name="connsiteY2073" fmla="*/ 5025558 h 6479439"/>
              <a:gd name="connsiteX2074" fmla="*/ 7911170 w 9586368"/>
              <a:gd name="connsiteY2074" fmla="*/ 5029597 h 6479439"/>
              <a:gd name="connsiteX2075" fmla="*/ 7911170 w 9586368"/>
              <a:gd name="connsiteY2075" fmla="*/ 5039468 h 6479439"/>
              <a:gd name="connsiteX2076" fmla="*/ 7907151 w 9586368"/>
              <a:gd name="connsiteY2076" fmla="*/ 5043507 h 6479439"/>
              <a:gd name="connsiteX2077" fmla="*/ 7897241 w 9586368"/>
              <a:gd name="connsiteY2077" fmla="*/ 5043507 h 6479439"/>
              <a:gd name="connsiteX2078" fmla="*/ 7893222 w 9586368"/>
              <a:gd name="connsiteY2078" fmla="*/ 5039468 h 6479439"/>
              <a:gd name="connsiteX2079" fmla="*/ 7893222 w 9586368"/>
              <a:gd name="connsiteY2079" fmla="*/ 5029597 h 6479439"/>
              <a:gd name="connsiteX2080" fmla="*/ 7657926 w 9586368"/>
              <a:gd name="connsiteY2080" fmla="*/ 5025558 h 6479439"/>
              <a:gd name="connsiteX2081" fmla="*/ 7667836 w 9586368"/>
              <a:gd name="connsiteY2081" fmla="*/ 5025558 h 6479439"/>
              <a:gd name="connsiteX2082" fmla="*/ 7671855 w 9586368"/>
              <a:gd name="connsiteY2082" fmla="*/ 5029597 h 6479439"/>
              <a:gd name="connsiteX2083" fmla="*/ 7671855 w 9586368"/>
              <a:gd name="connsiteY2083" fmla="*/ 5039468 h 6479439"/>
              <a:gd name="connsiteX2084" fmla="*/ 7667836 w 9586368"/>
              <a:gd name="connsiteY2084" fmla="*/ 5043507 h 6479439"/>
              <a:gd name="connsiteX2085" fmla="*/ 7657926 w 9586368"/>
              <a:gd name="connsiteY2085" fmla="*/ 5043507 h 6479439"/>
              <a:gd name="connsiteX2086" fmla="*/ 7653906 w 9586368"/>
              <a:gd name="connsiteY2086" fmla="*/ 5039468 h 6479439"/>
              <a:gd name="connsiteX2087" fmla="*/ 7653906 w 9586368"/>
              <a:gd name="connsiteY2087" fmla="*/ 5029597 h 6479439"/>
              <a:gd name="connsiteX2088" fmla="*/ 7418611 w 9586368"/>
              <a:gd name="connsiteY2088" fmla="*/ 5025558 h 6479439"/>
              <a:gd name="connsiteX2089" fmla="*/ 7428521 w 9586368"/>
              <a:gd name="connsiteY2089" fmla="*/ 5025558 h 6479439"/>
              <a:gd name="connsiteX2090" fmla="*/ 7432540 w 9586368"/>
              <a:gd name="connsiteY2090" fmla="*/ 5029597 h 6479439"/>
              <a:gd name="connsiteX2091" fmla="*/ 7432540 w 9586368"/>
              <a:gd name="connsiteY2091" fmla="*/ 5039468 h 6479439"/>
              <a:gd name="connsiteX2092" fmla="*/ 7428521 w 9586368"/>
              <a:gd name="connsiteY2092" fmla="*/ 5043507 h 6479439"/>
              <a:gd name="connsiteX2093" fmla="*/ 7418611 w 9586368"/>
              <a:gd name="connsiteY2093" fmla="*/ 5043507 h 6479439"/>
              <a:gd name="connsiteX2094" fmla="*/ 7414592 w 9586368"/>
              <a:gd name="connsiteY2094" fmla="*/ 5039468 h 6479439"/>
              <a:gd name="connsiteX2095" fmla="*/ 7414592 w 9586368"/>
              <a:gd name="connsiteY2095" fmla="*/ 5029597 h 6479439"/>
              <a:gd name="connsiteX2096" fmla="*/ 7179298 w 9586368"/>
              <a:gd name="connsiteY2096" fmla="*/ 5025558 h 6479439"/>
              <a:gd name="connsiteX2097" fmla="*/ 7189209 w 9586368"/>
              <a:gd name="connsiteY2097" fmla="*/ 5025558 h 6479439"/>
              <a:gd name="connsiteX2098" fmla="*/ 7193228 w 9586368"/>
              <a:gd name="connsiteY2098" fmla="*/ 5029597 h 6479439"/>
              <a:gd name="connsiteX2099" fmla="*/ 7193228 w 9586368"/>
              <a:gd name="connsiteY2099" fmla="*/ 5039468 h 6479439"/>
              <a:gd name="connsiteX2100" fmla="*/ 7189209 w 9586368"/>
              <a:gd name="connsiteY2100" fmla="*/ 5043507 h 6479439"/>
              <a:gd name="connsiteX2101" fmla="*/ 7179298 w 9586368"/>
              <a:gd name="connsiteY2101" fmla="*/ 5043507 h 6479439"/>
              <a:gd name="connsiteX2102" fmla="*/ 7175279 w 9586368"/>
              <a:gd name="connsiteY2102" fmla="*/ 5039468 h 6479439"/>
              <a:gd name="connsiteX2103" fmla="*/ 7175279 w 9586368"/>
              <a:gd name="connsiteY2103" fmla="*/ 5029597 h 6479439"/>
              <a:gd name="connsiteX2104" fmla="*/ 6939983 w 9586368"/>
              <a:gd name="connsiteY2104" fmla="*/ 5025558 h 6479439"/>
              <a:gd name="connsiteX2105" fmla="*/ 6949894 w 9586368"/>
              <a:gd name="connsiteY2105" fmla="*/ 5025558 h 6479439"/>
              <a:gd name="connsiteX2106" fmla="*/ 6953913 w 9586368"/>
              <a:gd name="connsiteY2106" fmla="*/ 5029597 h 6479439"/>
              <a:gd name="connsiteX2107" fmla="*/ 6953913 w 9586368"/>
              <a:gd name="connsiteY2107" fmla="*/ 5039468 h 6479439"/>
              <a:gd name="connsiteX2108" fmla="*/ 6949894 w 9586368"/>
              <a:gd name="connsiteY2108" fmla="*/ 5043507 h 6479439"/>
              <a:gd name="connsiteX2109" fmla="*/ 6939983 w 9586368"/>
              <a:gd name="connsiteY2109" fmla="*/ 5043507 h 6479439"/>
              <a:gd name="connsiteX2110" fmla="*/ 6935964 w 9586368"/>
              <a:gd name="connsiteY2110" fmla="*/ 5039468 h 6479439"/>
              <a:gd name="connsiteX2111" fmla="*/ 6935964 w 9586368"/>
              <a:gd name="connsiteY2111" fmla="*/ 5029597 h 6479439"/>
              <a:gd name="connsiteX2112" fmla="*/ 6700670 w 9586368"/>
              <a:gd name="connsiteY2112" fmla="*/ 5025558 h 6479439"/>
              <a:gd name="connsiteX2113" fmla="*/ 6710581 w 9586368"/>
              <a:gd name="connsiteY2113" fmla="*/ 5025558 h 6479439"/>
              <a:gd name="connsiteX2114" fmla="*/ 6714600 w 9586368"/>
              <a:gd name="connsiteY2114" fmla="*/ 5029597 h 6479439"/>
              <a:gd name="connsiteX2115" fmla="*/ 6714600 w 9586368"/>
              <a:gd name="connsiteY2115" fmla="*/ 5039468 h 6479439"/>
              <a:gd name="connsiteX2116" fmla="*/ 6710581 w 9586368"/>
              <a:gd name="connsiteY2116" fmla="*/ 5043507 h 6479439"/>
              <a:gd name="connsiteX2117" fmla="*/ 6700670 w 9586368"/>
              <a:gd name="connsiteY2117" fmla="*/ 5043507 h 6479439"/>
              <a:gd name="connsiteX2118" fmla="*/ 6696651 w 9586368"/>
              <a:gd name="connsiteY2118" fmla="*/ 5039468 h 6479439"/>
              <a:gd name="connsiteX2119" fmla="*/ 6696651 w 9586368"/>
              <a:gd name="connsiteY2119" fmla="*/ 5029597 h 6479439"/>
              <a:gd name="connsiteX2120" fmla="*/ 6461356 w 9586368"/>
              <a:gd name="connsiteY2120" fmla="*/ 5025558 h 6479439"/>
              <a:gd name="connsiteX2121" fmla="*/ 6471266 w 9586368"/>
              <a:gd name="connsiteY2121" fmla="*/ 5025558 h 6479439"/>
              <a:gd name="connsiteX2122" fmla="*/ 6475285 w 9586368"/>
              <a:gd name="connsiteY2122" fmla="*/ 5029597 h 6479439"/>
              <a:gd name="connsiteX2123" fmla="*/ 6475285 w 9586368"/>
              <a:gd name="connsiteY2123" fmla="*/ 5039468 h 6479439"/>
              <a:gd name="connsiteX2124" fmla="*/ 6471266 w 9586368"/>
              <a:gd name="connsiteY2124" fmla="*/ 5043507 h 6479439"/>
              <a:gd name="connsiteX2125" fmla="*/ 6461356 w 9586368"/>
              <a:gd name="connsiteY2125" fmla="*/ 5043507 h 6479439"/>
              <a:gd name="connsiteX2126" fmla="*/ 6457337 w 9586368"/>
              <a:gd name="connsiteY2126" fmla="*/ 5039468 h 6479439"/>
              <a:gd name="connsiteX2127" fmla="*/ 6457337 w 9586368"/>
              <a:gd name="connsiteY2127" fmla="*/ 5029597 h 6479439"/>
              <a:gd name="connsiteX2128" fmla="*/ 6222042 w 9586368"/>
              <a:gd name="connsiteY2128" fmla="*/ 5025558 h 6479439"/>
              <a:gd name="connsiteX2129" fmla="*/ 6231952 w 9586368"/>
              <a:gd name="connsiteY2129" fmla="*/ 5025558 h 6479439"/>
              <a:gd name="connsiteX2130" fmla="*/ 6235971 w 9586368"/>
              <a:gd name="connsiteY2130" fmla="*/ 5029597 h 6479439"/>
              <a:gd name="connsiteX2131" fmla="*/ 6235971 w 9586368"/>
              <a:gd name="connsiteY2131" fmla="*/ 5039468 h 6479439"/>
              <a:gd name="connsiteX2132" fmla="*/ 6231952 w 9586368"/>
              <a:gd name="connsiteY2132" fmla="*/ 5043507 h 6479439"/>
              <a:gd name="connsiteX2133" fmla="*/ 6222042 w 9586368"/>
              <a:gd name="connsiteY2133" fmla="*/ 5043507 h 6479439"/>
              <a:gd name="connsiteX2134" fmla="*/ 6218023 w 9586368"/>
              <a:gd name="connsiteY2134" fmla="*/ 5039468 h 6479439"/>
              <a:gd name="connsiteX2135" fmla="*/ 6218023 w 9586368"/>
              <a:gd name="connsiteY2135" fmla="*/ 5029597 h 6479439"/>
              <a:gd name="connsiteX2136" fmla="*/ 5982729 w 9586368"/>
              <a:gd name="connsiteY2136" fmla="*/ 5025558 h 6479439"/>
              <a:gd name="connsiteX2137" fmla="*/ 5992639 w 9586368"/>
              <a:gd name="connsiteY2137" fmla="*/ 5025558 h 6479439"/>
              <a:gd name="connsiteX2138" fmla="*/ 5996658 w 9586368"/>
              <a:gd name="connsiteY2138" fmla="*/ 5029597 h 6479439"/>
              <a:gd name="connsiteX2139" fmla="*/ 5996658 w 9586368"/>
              <a:gd name="connsiteY2139" fmla="*/ 5039468 h 6479439"/>
              <a:gd name="connsiteX2140" fmla="*/ 5992639 w 9586368"/>
              <a:gd name="connsiteY2140" fmla="*/ 5043507 h 6479439"/>
              <a:gd name="connsiteX2141" fmla="*/ 5982729 w 9586368"/>
              <a:gd name="connsiteY2141" fmla="*/ 5043507 h 6479439"/>
              <a:gd name="connsiteX2142" fmla="*/ 5978710 w 9586368"/>
              <a:gd name="connsiteY2142" fmla="*/ 5039468 h 6479439"/>
              <a:gd name="connsiteX2143" fmla="*/ 5978710 w 9586368"/>
              <a:gd name="connsiteY2143" fmla="*/ 5029597 h 6479439"/>
              <a:gd name="connsiteX2144" fmla="*/ 5743412 w 9586368"/>
              <a:gd name="connsiteY2144" fmla="*/ 5025558 h 6479439"/>
              <a:gd name="connsiteX2145" fmla="*/ 5753323 w 9586368"/>
              <a:gd name="connsiteY2145" fmla="*/ 5025558 h 6479439"/>
              <a:gd name="connsiteX2146" fmla="*/ 5757342 w 9586368"/>
              <a:gd name="connsiteY2146" fmla="*/ 5029597 h 6479439"/>
              <a:gd name="connsiteX2147" fmla="*/ 5757342 w 9586368"/>
              <a:gd name="connsiteY2147" fmla="*/ 5039468 h 6479439"/>
              <a:gd name="connsiteX2148" fmla="*/ 5753323 w 9586368"/>
              <a:gd name="connsiteY2148" fmla="*/ 5043507 h 6479439"/>
              <a:gd name="connsiteX2149" fmla="*/ 5743412 w 9586368"/>
              <a:gd name="connsiteY2149" fmla="*/ 5043507 h 6479439"/>
              <a:gd name="connsiteX2150" fmla="*/ 5739393 w 9586368"/>
              <a:gd name="connsiteY2150" fmla="*/ 5039468 h 6479439"/>
              <a:gd name="connsiteX2151" fmla="*/ 5739393 w 9586368"/>
              <a:gd name="connsiteY2151" fmla="*/ 5029597 h 6479439"/>
              <a:gd name="connsiteX2152" fmla="*/ 5504099 w 9586368"/>
              <a:gd name="connsiteY2152" fmla="*/ 5025558 h 6479439"/>
              <a:gd name="connsiteX2153" fmla="*/ 5514010 w 9586368"/>
              <a:gd name="connsiteY2153" fmla="*/ 5025558 h 6479439"/>
              <a:gd name="connsiteX2154" fmla="*/ 5518029 w 9586368"/>
              <a:gd name="connsiteY2154" fmla="*/ 5029597 h 6479439"/>
              <a:gd name="connsiteX2155" fmla="*/ 5518029 w 9586368"/>
              <a:gd name="connsiteY2155" fmla="*/ 5039468 h 6479439"/>
              <a:gd name="connsiteX2156" fmla="*/ 5514010 w 9586368"/>
              <a:gd name="connsiteY2156" fmla="*/ 5043507 h 6479439"/>
              <a:gd name="connsiteX2157" fmla="*/ 5504099 w 9586368"/>
              <a:gd name="connsiteY2157" fmla="*/ 5043507 h 6479439"/>
              <a:gd name="connsiteX2158" fmla="*/ 5500080 w 9586368"/>
              <a:gd name="connsiteY2158" fmla="*/ 5039468 h 6479439"/>
              <a:gd name="connsiteX2159" fmla="*/ 5500080 w 9586368"/>
              <a:gd name="connsiteY2159" fmla="*/ 5029597 h 6479439"/>
              <a:gd name="connsiteX2160" fmla="*/ 5264784 w 9586368"/>
              <a:gd name="connsiteY2160" fmla="*/ 5025558 h 6479439"/>
              <a:gd name="connsiteX2161" fmla="*/ 5274694 w 9586368"/>
              <a:gd name="connsiteY2161" fmla="*/ 5025558 h 6479439"/>
              <a:gd name="connsiteX2162" fmla="*/ 5278713 w 9586368"/>
              <a:gd name="connsiteY2162" fmla="*/ 5029597 h 6479439"/>
              <a:gd name="connsiteX2163" fmla="*/ 5278713 w 9586368"/>
              <a:gd name="connsiteY2163" fmla="*/ 5039468 h 6479439"/>
              <a:gd name="connsiteX2164" fmla="*/ 5274694 w 9586368"/>
              <a:gd name="connsiteY2164" fmla="*/ 5043507 h 6479439"/>
              <a:gd name="connsiteX2165" fmla="*/ 5264784 w 9586368"/>
              <a:gd name="connsiteY2165" fmla="*/ 5043507 h 6479439"/>
              <a:gd name="connsiteX2166" fmla="*/ 5260765 w 9586368"/>
              <a:gd name="connsiteY2166" fmla="*/ 5039468 h 6479439"/>
              <a:gd name="connsiteX2167" fmla="*/ 5260765 w 9586368"/>
              <a:gd name="connsiteY2167" fmla="*/ 5029597 h 6479439"/>
              <a:gd name="connsiteX2168" fmla="*/ 5025470 w 9586368"/>
              <a:gd name="connsiteY2168" fmla="*/ 5025558 h 6479439"/>
              <a:gd name="connsiteX2169" fmla="*/ 5035381 w 9586368"/>
              <a:gd name="connsiteY2169" fmla="*/ 5025558 h 6479439"/>
              <a:gd name="connsiteX2170" fmla="*/ 5039400 w 9586368"/>
              <a:gd name="connsiteY2170" fmla="*/ 5029597 h 6479439"/>
              <a:gd name="connsiteX2171" fmla="*/ 5039400 w 9586368"/>
              <a:gd name="connsiteY2171" fmla="*/ 5039468 h 6479439"/>
              <a:gd name="connsiteX2172" fmla="*/ 5035381 w 9586368"/>
              <a:gd name="connsiteY2172" fmla="*/ 5043507 h 6479439"/>
              <a:gd name="connsiteX2173" fmla="*/ 5025470 w 9586368"/>
              <a:gd name="connsiteY2173" fmla="*/ 5043507 h 6479439"/>
              <a:gd name="connsiteX2174" fmla="*/ 5021451 w 9586368"/>
              <a:gd name="connsiteY2174" fmla="*/ 5039468 h 6479439"/>
              <a:gd name="connsiteX2175" fmla="*/ 5021451 w 9586368"/>
              <a:gd name="connsiteY2175" fmla="*/ 5029597 h 6479439"/>
              <a:gd name="connsiteX2176" fmla="*/ 4786241 w 9586368"/>
              <a:gd name="connsiteY2176" fmla="*/ 5025558 h 6479439"/>
              <a:gd name="connsiteX2177" fmla="*/ 4796152 w 9586368"/>
              <a:gd name="connsiteY2177" fmla="*/ 5025558 h 6479439"/>
              <a:gd name="connsiteX2178" fmla="*/ 4800171 w 9586368"/>
              <a:gd name="connsiteY2178" fmla="*/ 5029597 h 6479439"/>
              <a:gd name="connsiteX2179" fmla="*/ 4800171 w 9586368"/>
              <a:gd name="connsiteY2179" fmla="*/ 5039468 h 6479439"/>
              <a:gd name="connsiteX2180" fmla="*/ 4796152 w 9586368"/>
              <a:gd name="connsiteY2180" fmla="*/ 5043507 h 6479439"/>
              <a:gd name="connsiteX2181" fmla="*/ 4786241 w 9586368"/>
              <a:gd name="connsiteY2181" fmla="*/ 5043507 h 6479439"/>
              <a:gd name="connsiteX2182" fmla="*/ 4782224 w 9586368"/>
              <a:gd name="connsiteY2182" fmla="*/ 5039468 h 6479439"/>
              <a:gd name="connsiteX2183" fmla="*/ 4782224 w 9586368"/>
              <a:gd name="connsiteY2183" fmla="*/ 5029597 h 6479439"/>
              <a:gd name="connsiteX2184" fmla="*/ 4546929 w 9586368"/>
              <a:gd name="connsiteY2184" fmla="*/ 5025558 h 6479439"/>
              <a:gd name="connsiteX2185" fmla="*/ 4556840 w 9586368"/>
              <a:gd name="connsiteY2185" fmla="*/ 5025558 h 6479439"/>
              <a:gd name="connsiteX2186" fmla="*/ 4560859 w 9586368"/>
              <a:gd name="connsiteY2186" fmla="*/ 5029597 h 6479439"/>
              <a:gd name="connsiteX2187" fmla="*/ 4560859 w 9586368"/>
              <a:gd name="connsiteY2187" fmla="*/ 5039468 h 6479439"/>
              <a:gd name="connsiteX2188" fmla="*/ 4556840 w 9586368"/>
              <a:gd name="connsiteY2188" fmla="*/ 5043507 h 6479439"/>
              <a:gd name="connsiteX2189" fmla="*/ 4546929 w 9586368"/>
              <a:gd name="connsiteY2189" fmla="*/ 5043507 h 6479439"/>
              <a:gd name="connsiteX2190" fmla="*/ 4542910 w 9586368"/>
              <a:gd name="connsiteY2190" fmla="*/ 5039468 h 6479439"/>
              <a:gd name="connsiteX2191" fmla="*/ 4542910 w 9586368"/>
              <a:gd name="connsiteY2191" fmla="*/ 5029597 h 6479439"/>
              <a:gd name="connsiteX2192" fmla="*/ 4307612 w 9586368"/>
              <a:gd name="connsiteY2192" fmla="*/ 5025558 h 6479439"/>
              <a:gd name="connsiteX2193" fmla="*/ 4317523 w 9586368"/>
              <a:gd name="connsiteY2193" fmla="*/ 5025558 h 6479439"/>
              <a:gd name="connsiteX2194" fmla="*/ 4321543 w 9586368"/>
              <a:gd name="connsiteY2194" fmla="*/ 5029597 h 6479439"/>
              <a:gd name="connsiteX2195" fmla="*/ 4321543 w 9586368"/>
              <a:gd name="connsiteY2195" fmla="*/ 5039468 h 6479439"/>
              <a:gd name="connsiteX2196" fmla="*/ 4317523 w 9586368"/>
              <a:gd name="connsiteY2196" fmla="*/ 5043507 h 6479439"/>
              <a:gd name="connsiteX2197" fmla="*/ 4307612 w 9586368"/>
              <a:gd name="connsiteY2197" fmla="*/ 5043507 h 6479439"/>
              <a:gd name="connsiteX2198" fmla="*/ 4303595 w 9586368"/>
              <a:gd name="connsiteY2198" fmla="*/ 5039468 h 6479439"/>
              <a:gd name="connsiteX2199" fmla="*/ 4303595 w 9586368"/>
              <a:gd name="connsiteY2199" fmla="*/ 5029597 h 6479439"/>
              <a:gd name="connsiteX2200" fmla="*/ 4068297 w 9586368"/>
              <a:gd name="connsiteY2200" fmla="*/ 5025558 h 6479439"/>
              <a:gd name="connsiteX2201" fmla="*/ 4078210 w 9586368"/>
              <a:gd name="connsiteY2201" fmla="*/ 5025558 h 6479439"/>
              <a:gd name="connsiteX2202" fmla="*/ 4082229 w 9586368"/>
              <a:gd name="connsiteY2202" fmla="*/ 5029597 h 6479439"/>
              <a:gd name="connsiteX2203" fmla="*/ 4082229 w 9586368"/>
              <a:gd name="connsiteY2203" fmla="*/ 5039468 h 6479439"/>
              <a:gd name="connsiteX2204" fmla="*/ 4078210 w 9586368"/>
              <a:gd name="connsiteY2204" fmla="*/ 5043507 h 6479439"/>
              <a:gd name="connsiteX2205" fmla="*/ 4068297 w 9586368"/>
              <a:gd name="connsiteY2205" fmla="*/ 5043507 h 6479439"/>
              <a:gd name="connsiteX2206" fmla="*/ 4064278 w 9586368"/>
              <a:gd name="connsiteY2206" fmla="*/ 5039468 h 6479439"/>
              <a:gd name="connsiteX2207" fmla="*/ 4064278 w 9586368"/>
              <a:gd name="connsiteY2207" fmla="*/ 5029597 h 6479439"/>
              <a:gd name="connsiteX2208" fmla="*/ 3828990 w 9586368"/>
              <a:gd name="connsiteY2208" fmla="*/ 5025558 h 6479439"/>
              <a:gd name="connsiteX2209" fmla="*/ 3838899 w 9586368"/>
              <a:gd name="connsiteY2209" fmla="*/ 5025558 h 6479439"/>
              <a:gd name="connsiteX2210" fmla="*/ 3842917 w 9586368"/>
              <a:gd name="connsiteY2210" fmla="*/ 5029597 h 6479439"/>
              <a:gd name="connsiteX2211" fmla="*/ 3842917 w 9586368"/>
              <a:gd name="connsiteY2211" fmla="*/ 5039468 h 6479439"/>
              <a:gd name="connsiteX2212" fmla="*/ 3838899 w 9586368"/>
              <a:gd name="connsiteY2212" fmla="*/ 5043507 h 6479439"/>
              <a:gd name="connsiteX2213" fmla="*/ 3828990 w 9586368"/>
              <a:gd name="connsiteY2213" fmla="*/ 5043507 h 6479439"/>
              <a:gd name="connsiteX2214" fmla="*/ 3824971 w 9586368"/>
              <a:gd name="connsiteY2214" fmla="*/ 5039468 h 6479439"/>
              <a:gd name="connsiteX2215" fmla="*/ 3824971 w 9586368"/>
              <a:gd name="connsiteY2215" fmla="*/ 5029597 h 6479439"/>
              <a:gd name="connsiteX2216" fmla="*/ 3589676 w 9586368"/>
              <a:gd name="connsiteY2216" fmla="*/ 5025558 h 6479439"/>
              <a:gd name="connsiteX2217" fmla="*/ 3599585 w 9586368"/>
              <a:gd name="connsiteY2217" fmla="*/ 5025558 h 6479439"/>
              <a:gd name="connsiteX2218" fmla="*/ 3603604 w 9586368"/>
              <a:gd name="connsiteY2218" fmla="*/ 5029597 h 6479439"/>
              <a:gd name="connsiteX2219" fmla="*/ 3603604 w 9586368"/>
              <a:gd name="connsiteY2219" fmla="*/ 5039468 h 6479439"/>
              <a:gd name="connsiteX2220" fmla="*/ 3599585 w 9586368"/>
              <a:gd name="connsiteY2220" fmla="*/ 5043507 h 6479439"/>
              <a:gd name="connsiteX2221" fmla="*/ 3589676 w 9586368"/>
              <a:gd name="connsiteY2221" fmla="*/ 5043507 h 6479439"/>
              <a:gd name="connsiteX2222" fmla="*/ 3585657 w 9586368"/>
              <a:gd name="connsiteY2222" fmla="*/ 5039468 h 6479439"/>
              <a:gd name="connsiteX2223" fmla="*/ 3585657 w 9586368"/>
              <a:gd name="connsiteY2223" fmla="*/ 5029597 h 6479439"/>
              <a:gd name="connsiteX2224" fmla="*/ 3350359 w 9586368"/>
              <a:gd name="connsiteY2224" fmla="*/ 5025558 h 6479439"/>
              <a:gd name="connsiteX2225" fmla="*/ 3360268 w 9586368"/>
              <a:gd name="connsiteY2225" fmla="*/ 5025558 h 6479439"/>
              <a:gd name="connsiteX2226" fmla="*/ 3364287 w 9586368"/>
              <a:gd name="connsiteY2226" fmla="*/ 5029597 h 6479439"/>
              <a:gd name="connsiteX2227" fmla="*/ 3364287 w 9586368"/>
              <a:gd name="connsiteY2227" fmla="*/ 5039468 h 6479439"/>
              <a:gd name="connsiteX2228" fmla="*/ 3360268 w 9586368"/>
              <a:gd name="connsiteY2228" fmla="*/ 5043507 h 6479439"/>
              <a:gd name="connsiteX2229" fmla="*/ 3350359 w 9586368"/>
              <a:gd name="connsiteY2229" fmla="*/ 5043507 h 6479439"/>
              <a:gd name="connsiteX2230" fmla="*/ 3346340 w 9586368"/>
              <a:gd name="connsiteY2230" fmla="*/ 5039468 h 6479439"/>
              <a:gd name="connsiteX2231" fmla="*/ 3346340 w 9586368"/>
              <a:gd name="connsiteY2231" fmla="*/ 5029597 h 6479439"/>
              <a:gd name="connsiteX2232" fmla="*/ 3111048 w 9586368"/>
              <a:gd name="connsiteY2232" fmla="*/ 5025558 h 6479439"/>
              <a:gd name="connsiteX2233" fmla="*/ 3120959 w 9586368"/>
              <a:gd name="connsiteY2233" fmla="*/ 5025558 h 6479439"/>
              <a:gd name="connsiteX2234" fmla="*/ 3124977 w 9586368"/>
              <a:gd name="connsiteY2234" fmla="*/ 5029597 h 6479439"/>
              <a:gd name="connsiteX2235" fmla="*/ 3124977 w 9586368"/>
              <a:gd name="connsiteY2235" fmla="*/ 5039468 h 6479439"/>
              <a:gd name="connsiteX2236" fmla="*/ 3120959 w 9586368"/>
              <a:gd name="connsiteY2236" fmla="*/ 5043507 h 6479439"/>
              <a:gd name="connsiteX2237" fmla="*/ 3111048 w 9586368"/>
              <a:gd name="connsiteY2237" fmla="*/ 5043507 h 6479439"/>
              <a:gd name="connsiteX2238" fmla="*/ 3107029 w 9586368"/>
              <a:gd name="connsiteY2238" fmla="*/ 5039468 h 6479439"/>
              <a:gd name="connsiteX2239" fmla="*/ 3107029 w 9586368"/>
              <a:gd name="connsiteY2239" fmla="*/ 5029597 h 6479439"/>
              <a:gd name="connsiteX2240" fmla="*/ 2871737 w 9586368"/>
              <a:gd name="connsiteY2240" fmla="*/ 5025558 h 6479439"/>
              <a:gd name="connsiteX2241" fmla="*/ 2881646 w 9586368"/>
              <a:gd name="connsiteY2241" fmla="*/ 5025558 h 6479439"/>
              <a:gd name="connsiteX2242" fmla="*/ 2885666 w 9586368"/>
              <a:gd name="connsiteY2242" fmla="*/ 5029597 h 6479439"/>
              <a:gd name="connsiteX2243" fmla="*/ 2885666 w 9586368"/>
              <a:gd name="connsiteY2243" fmla="*/ 5039468 h 6479439"/>
              <a:gd name="connsiteX2244" fmla="*/ 2881646 w 9586368"/>
              <a:gd name="connsiteY2244" fmla="*/ 5043507 h 6479439"/>
              <a:gd name="connsiteX2245" fmla="*/ 2871737 w 9586368"/>
              <a:gd name="connsiteY2245" fmla="*/ 5043507 h 6479439"/>
              <a:gd name="connsiteX2246" fmla="*/ 2867717 w 9586368"/>
              <a:gd name="connsiteY2246" fmla="*/ 5039468 h 6479439"/>
              <a:gd name="connsiteX2247" fmla="*/ 2867717 w 9586368"/>
              <a:gd name="connsiteY2247" fmla="*/ 5029597 h 6479439"/>
              <a:gd name="connsiteX2248" fmla="*/ 2632423 w 9586368"/>
              <a:gd name="connsiteY2248" fmla="*/ 5025558 h 6479439"/>
              <a:gd name="connsiteX2249" fmla="*/ 2642334 w 9586368"/>
              <a:gd name="connsiteY2249" fmla="*/ 5025558 h 6479439"/>
              <a:gd name="connsiteX2250" fmla="*/ 2646352 w 9586368"/>
              <a:gd name="connsiteY2250" fmla="*/ 5029597 h 6479439"/>
              <a:gd name="connsiteX2251" fmla="*/ 2646352 w 9586368"/>
              <a:gd name="connsiteY2251" fmla="*/ 5039468 h 6479439"/>
              <a:gd name="connsiteX2252" fmla="*/ 2642334 w 9586368"/>
              <a:gd name="connsiteY2252" fmla="*/ 5043507 h 6479439"/>
              <a:gd name="connsiteX2253" fmla="*/ 2632423 w 9586368"/>
              <a:gd name="connsiteY2253" fmla="*/ 5043507 h 6479439"/>
              <a:gd name="connsiteX2254" fmla="*/ 2628404 w 9586368"/>
              <a:gd name="connsiteY2254" fmla="*/ 5039468 h 6479439"/>
              <a:gd name="connsiteX2255" fmla="*/ 2628404 w 9586368"/>
              <a:gd name="connsiteY2255" fmla="*/ 5029597 h 6479439"/>
              <a:gd name="connsiteX2256" fmla="*/ 2393104 w 9586368"/>
              <a:gd name="connsiteY2256" fmla="*/ 5025558 h 6479439"/>
              <a:gd name="connsiteX2257" fmla="*/ 2403015 w 9586368"/>
              <a:gd name="connsiteY2257" fmla="*/ 5025558 h 6479439"/>
              <a:gd name="connsiteX2258" fmla="*/ 2407034 w 9586368"/>
              <a:gd name="connsiteY2258" fmla="*/ 5029597 h 6479439"/>
              <a:gd name="connsiteX2259" fmla="*/ 2407034 w 9586368"/>
              <a:gd name="connsiteY2259" fmla="*/ 5039468 h 6479439"/>
              <a:gd name="connsiteX2260" fmla="*/ 2403015 w 9586368"/>
              <a:gd name="connsiteY2260" fmla="*/ 5043507 h 6479439"/>
              <a:gd name="connsiteX2261" fmla="*/ 2393104 w 9586368"/>
              <a:gd name="connsiteY2261" fmla="*/ 5043507 h 6479439"/>
              <a:gd name="connsiteX2262" fmla="*/ 2389087 w 9586368"/>
              <a:gd name="connsiteY2262" fmla="*/ 5039468 h 6479439"/>
              <a:gd name="connsiteX2263" fmla="*/ 2389087 w 9586368"/>
              <a:gd name="connsiteY2263" fmla="*/ 5029597 h 6479439"/>
              <a:gd name="connsiteX2264" fmla="*/ 721962 w 9586368"/>
              <a:gd name="connsiteY2264" fmla="*/ 5025558 h 6479439"/>
              <a:gd name="connsiteX2265" fmla="*/ 731872 w 9586368"/>
              <a:gd name="connsiteY2265" fmla="*/ 5025558 h 6479439"/>
              <a:gd name="connsiteX2266" fmla="*/ 735891 w 9586368"/>
              <a:gd name="connsiteY2266" fmla="*/ 5029597 h 6479439"/>
              <a:gd name="connsiteX2267" fmla="*/ 735891 w 9586368"/>
              <a:gd name="connsiteY2267" fmla="*/ 5039468 h 6479439"/>
              <a:gd name="connsiteX2268" fmla="*/ 731872 w 9586368"/>
              <a:gd name="connsiteY2268" fmla="*/ 5043507 h 6479439"/>
              <a:gd name="connsiteX2269" fmla="*/ 721962 w 9586368"/>
              <a:gd name="connsiteY2269" fmla="*/ 5043507 h 6479439"/>
              <a:gd name="connsiteX2270" fmla="*/ 717944 w 9586368"/>
              <a:gd name="connsiteY2270" fmla="*/ 5039468 h 6479439"/>
              <a:gd name="connsiteX2271" fmla="*/ 717944 w 9586368"/>
              <a:gd name="connsiteY2271" fmla="*/ 5029597 h 6479439"/>
              <a:gd name="connsiteX2272" fmla="*/ 482650 w 9586368"/>
              <a:gd name="connsiteY2272" fmla="*/ 5025558 h 6479439"/>
              <a:gd name="connsiteX2273" fmla="*/ 492560 w 9586368"/>
              <a:gd name="connsiteY2273" fmla="*/ 5025558 h 6479439"/>
              <a:gd name="connsiteX2274" fmla="*/ 496580 w 9586368"/>
              <a:gd name="connsiteY2274" fmla="*/ 5029597 h 6479439"/>
              <a:gd name="connsiteX2275" fmla="*/ 496580 w 9586368"/>
              <a:gd name="connsiteY2275" fmla="*/ 5039468 h 6479439"/>
              <a:gd name="connsiteX2276" fmla="*/ 492560 w 9586368"/>
              <a:gd name="connsiteY2276" fmla="*/ 5043507 h 6479439"/>
              <a:gd name="connsiteX2277" fmla="*/ 482650 w 9586368"/>
              <a:gd name="connsiteY2277" fmla="*/ 5043507 h 6479439"/>
              <a:gd name="connsiteX2278" fmla="*/ 478631 w 9586368"/>
              <a:gd name="connsiteY2278" fmla="*/ 5039468 h 6479439"/>
              <a:gd name="connsiteX2279" fmla="*/ 478631 w 9586368"/>
              <a:gd name="connsiteY2279" fmla="*/ 5029597 h 6479439"/>
              <a:gd name="connsiteX2280" fmla="*/ 243336 w 9586368"/>
              <a:gd name="connsiteY2280" fmla="*/ 5025558 h 6479439"/>
              <a:gd name="connsiteX2281" fmla="*/ 253247 w 9586368"/>
              <a:gd name="connsiteY2281" fmla="*/ 5025558 h 6479439"/>
              <a:gd name="connsiteX2282" fmla="*/ 257266 w 9586368"/>
              <a:gd name="connsiteY2282" fmla="*/ 5029597 h 6479439"/>
              <a:gd name="connsiteX2283" fmla="*/ 257266 w 9586368"/>
              <a:gd name="connsiteY2283" fmla="*/ 5039468 h 6479439"/>
              <a:gd name="connsiteX2284" fmla="*/ 253247 w 9586368"/>
              <a:gd name="connsiteY2284" fmla="*/ 5043507 h 6479439"/>
              <a:gd name="connsiteX2285" fmla="*/ 243336 w 9586368"/>
              <a:gd name="connsiteY2285" fmla="*/ 5043507 h 6479439"/>
              <a:gd name="connsiteX2286" fmla="*/ 239317 w 9586368"/>
              <a:gd name="connsiteY2286" fmla="*/ 5039468 h 6479439"/>
              <a:gd name="connsiteX2287" fmla="*/ 239317 w 9586368"/>
              <a:gd name="connsiteY2287" fmla="*/ 5029597 h 6479439"/>
              <a:gd name="connsiteX2288" fmla="*/ 4024 w 9586368"/>
              <a:gd name="connsiteY2288" fmla="*/ 5025558 h 6479439"/>
              <a:gd name="connsiteX2289" fmla="*/ 13933 w 9586368"/>
              <a:gd name="connsiteY2289" fmla="*/ 5025558 h 6479439"/>
              <a:gd name="connsiteX2290" fmla="*/ 17952 w 9586368"/>
              <a:gd name="connsiteY2290" fmla="*/ 5029597 h 6479439"/>
              <a:gd name="connsiteX2291" fmla="*/ 17952 w 9586368"/>
              <a:gd name="connsiteY2291" fmla="*/ 5039468 h 6479439"/>
              <a:gd name="connsiteX2292" fmla="*/ 13933 w 9586368"/>
              <a:gd name="connsiteY2292" fmla="*/ 5043507 h 6479439"/>
              <a:gd name="connsiteX2293" fmla="*/ 4024 w 9586368"/>
              <a:gd name="connsiteY2293" fmla="*/ 5043507 h 6479439"/>
              <a:gd name="connsiteX2294" fmla="*/ 4 w 9586368"/>
              <a:gd name="connsiteY2294" fmla="*/ 5039468 h 6479439"/>
              <a:gd name="connsiteX2295" fmla="*/ 4 w 9586368"/>
              <a:gd name="connsiteY2295" fmla="*/ 5029597 h 6479439"/>
              <a:gd name="connsiteX2296" fmla="*/ 9572438 w 9586368"/>
              <a:gd name="connsiteY2296" fmla="*/ 4786279 h 6479439"/>
              <a:gd name="connsiteX2297" fmla="*/ 9582349 w 9586368"/>
              <a:gd name="connsiteY2297" fmla="*/ 4786279 h 6479439"/>
              <a:gd name="connsiteX2298" fmla="*/ 9586368 w 9586368"/>
              <a:gd name="connsiteY2298" fmla="*/ 4790317 h 6479439"/>
              <a:gd name="connsiteX2299" fmla="*/ 9586368 w 9586368"/>
              <a:gd name="connsiteY2299" fmla="*/ 4800188 h 6479439"/>
              <a:gd name="connsiteX2300" fmla="*/ 9582349 w 9586368"/>
              <a:gd name="connsiteY2300" fmla="*/ 4804227 h 6479439"/>
              <a:gd name="connsiteX2301" fmla="*/ 9572438 w 9586368"/>
              <a:gd name="connsiteY2301" fmla="*/ 4804227 h 6479439"/>
              <a:gd name="connsiteX2302" fmla="*/ 9568419 w 9586368"/>
              <a:gd name="connsiteY2302" fmla="*/ 4800188 h 6479439"/>
              <a:gd name="connsiteX2303" fmla="*/ 9568419 w 9586368"/>
              <a:gd name="connsiteY2303" fmla="*/ 4790317 h 6479439"/>
              <a:gd name="connsiteX2304" fmla="*/ 9333125 w 9586368"/>
              <a:gd name="connsiteY2304" fmla="*/ 4786279 h 6479439"/>
              <a:gd name="connsiteX2305" fmla="*/ 9343036 w 9586368"/>
              <a:gd name="connsiteY2305" fmla="*/ 4786279 h 6479439"/>
              <a:gd name="connsiteX2306" fmla="*/ 9347055 w 9586368"/>
              <a:gd name="connsiteY2306" fmla="*/ 4790317 h 6479439"/>
              <a:gd name="connsiteX2307" fmla="*/ 9347055 w 9586368"/>
              <a:gd name="connsiteY2307" fmla="*/ 4800188 h 6479439"/>
              <a:gd name="connsiteX2308" fmla="*/ 9343036 w 9586368"/>
              <a:gd name="connsiteY2308" fmla="*/ 4804227 h 6479439"/>
              <a:gd name="connsiteX2309" fmla="*/ 9333125 w 9586368"/>
              <a:gd name="connsiteY2309" fmla="*/ 4804227 h 6479439"/>
              <a:gd name="connsiteX2310" fmla="*/ 9329106 w 9586368"/>
              <a:gd name="connsiteY2310" fmla="*/ 4800188 h 6479439"/>
              <a:gd name="connsiteX2311" fmla="*/ 9329106 w 9586368"/>
              <a:gd name="connsiteY2311" fmla="*/ 4790317 h 6479439"/>
              <a:gd name="connsiteX2312" fmla="*/ 9093811 w 9586368"/>
              <a:gd name="connsiteY2312" fmla="*/ 4786279 h 6479439"/>
              <a:gd name="connsiteX2313" fmla="*/ 9103722 w 9586368"/>
              <a:gd name="connsiteY2313" fmla="*/ 4786279 h 6479439"/>
              <a:gd name="connsiteX2314" fmla="*/ 9107741 w 9586368"/>
              <a:gd name="connsiteY2314" fmla="*/ 4790317 h 6479439"/>
              <a:gd name="connsiteX2315" fmla="*/ 9107741 w 9586368"/>
              <a:gd name="connsiteY2315" fmla="*/ 4800188 h 6479439"/>
              <a:gd name="connsiteX2316" fmla="*/ 9103722 w 9586368"/>
              <a:gd name="connsiteY2316" fmla="*/ 4804227 h 6479439"/>
              <a:gd name="connsiteX2317" fmla="*/ 9093811 w 9586368"/>
              <a:gd name="connsiteY2317" fmla="*/ 4804227 h 6479439"/>
              <a:gd name="connsiteX2318" fmla="*/ 9089792 w 9586368"/>
              <a:gd name="connsiteY2318" fmla="*/ 4800188 h 6479439"/>
              <a:gd name="connsiteX2319" fmla="*/ 9089792 w 9586368"/>
              <a:gd name="connsiteY2319" fmla="*/ 4790317 h 6479439"/>
              <a:gd name="connsiteX2320" fmla="*/ 8854496 w 9586368"/>
              <a:gd name="connsiteY2320" fmla="*/ 4786279 h 6479439"/>
              <a:gd name="connsiteX2321" fmla="*/ 8864407 w 9586368"/>
              <a:gd name="connsiteY2321" fmla="*/ 4786279 h 6479439"/>
              <a:gd name="connsiteX2322" fmla="*/ 8868426 w 9586368"/>
              <a:gd name="connsiteY2322" fmla="*/ 4790317 h 6479439"/>
              <a:gd name="connsiteX2323" fmla="*/ 8868426 w 9586368"/>
              <a:gd name="connsiteY2323" fmla="*/ 4800188 h 6479439"/>
              <a:gd name="connsiteX2324" fmla="*/ 8864407 w 9586368"/>
              <a:gd name="connsiteY2324" fmla="*/ 4804227 h 6479439"/>
              <a:gd name="connsiteX2325" fmla="*/ 8854496 w 9586368"/>
              <a:gd name="connsiteY2325" fmla="*/ 4804227 h 6479439"/>
              <a:gd name="connsiteX2326" fmla="*/ 8850477 w 9586368"/>
              <a:gd name="connsiteY2326" fmla="*/ 4800188 h 6479439"/>
              <a:gd name="connsiteX2327" fmla="*/ 8850477 w 9586368"/>
              <a:gd name="connsiteY2327" fmla="*/ 4790317 h 6479439"/>
              <a:gd name="connsiteX2328" fmla="*/ 8615184 w 9586368"/>
              <a:gd name="connsiteY2328" fmla="*/ 4786279 h 6479439"/>
              <a:gd name="connsiteX2329" fmla="*/ 8625095 w 9586368"/>
              <a:gd name="connsiteY2329" fmla="*/ 4786279 h 6479439"/>
              <a:gd name="connsiteX2330" fmla="*/ 8629114 w 9586368"/>
              <a:gd name="connsiteY2330" fmla="*/ 4790317 h 6479439"/>
              <a:gd name="connsiteX2331" fmla="*/ 8629114 w 9586368"/>
              <a:gd name="connsiteY2331" fmla="*/ 4800188 h 6479439"/>
              <a:gd name="connsiteX2332" fmla="*/ 8625095 w 9586368"/>
              <a:gd name="connsiteY2332" fmla="*/ 4804227 h 6479439"/>
              <a:gd name="connsiteX2333" fmla="*/ 8615184 w 9586368"/>
              <a:gd name="connsiteY2333" fmla="*/ 4804227 h 6479439"/>
              <a:gd name="connsiteX2334" fmla="*/ 8611165 w 9586368"/>
              <a:gd name="connsiteY2334" fmla="*/ 4800188 h 6479439"/>
              <a:gd name="connsiteX2335" fmla="*/ 8611165 w 9586368"/>
              <a:gd name="connsiteY2335" fmla="*/ 4790317 h 6479439"/>
              <a:gd name="connsiteX2336" fmla="*/ 8375869 w 9586368"/>
              <a:gd name="connsiteY2336" fmla="*/ 4786279 h 6479439"/>
              <a:gd name="connsiteX2337" fmla="*/ 8385779 w 9586368"/>
              <a:gd name="connsiteY2337" fmla="*/ 4786279 h 6479439"/>
              <a:gd name="connsiteX2338" fmla="*/ 8389799 w 9586368"/>
              <a:gd name="connsiteY2338" fmla="*/ 4790317 h 6479439"/>
              <a:gd name="connsiteX2339" fmla="*/ 8389799 w 9586368"/>
              <a:gd name="connsiteY2339" fmla="*/ 4800188 h 6479439"/>
              <a:gd name="connsiteX2340" fmla="*/ 8385779 w 9586368"/>
              <a:gd name="connsiteY2340" fmla="*/ 4804227 h 6479439"/>
              <a:gd name="connsiteX2341" fmla="*/ 8375869 w 9586368"/>
              <a:gd name="connsiteY2341" fmla="*/ 4804227 h 6479439"/>
              <a:gd name="connsiteX2342" fmla="*/ 8371850 w 9586368"/>
              <a:gd name="connsiteY2342" fmla="*/ 4800188 h 6479439"/>
              <a:gd name="connsiteX2343" fmla="*/ 8371850 w 9586368"/>
              <a:gd name="connsiteY2343" fmla="*/ 4790317 h 6479439"/>
              <a:gd name="connsiteX2344" fmla="*/ 8136553 w 9586368"/>
              <a:gd name="connsiteY2344" fmla="*/ 4786279 h 6479439"/>
              <a:gd name="connsiteX2345" fmla="*/ 8146464 w 9586368"/>
              <a:gd name="connsiteY2345" fmla="*/ 4786279 h 6479439"/>
              <a:gd name="connsiteX2346" fmla="*/ 8150483 w 9586368"/>
              <a:gd name="connsiteY2346" fmla="*/ 4790317 h 6479439"/>
              <a:gd name="connsiteX2347" fmla="*/ 8150483 w 9586368"/>
              <a:gd name="connsiteY2347" fmla="*/ 4800188 h 6479439"/>
              <a:gd name="connsiteX2348" fmla="*/ 8146464 w 9586368"/>
              <a:gd name="connsiteY2348" fmla="*/ 4804227 h 6479439"/>
              <a:gd name="connsiteX2349" fmla="*/ 8136553 w 9586368"/>
              <a:gd name="connsiteY2349" fmla="*/ 4804227 h 6479439"/>
              <a:gd name="connsiteX2350" fmla="*/ 8132534 w 9586368"/>
              <a:gd name="connsiteY2350" fmla="*/ 4800188 h 6479439"/>
              <a:gd name="connsiteX2351" fmla="*/ 8132534 w 9586368"/>
              <a:gd name="connsiteY2351" fmla="*/ 4790317 h 6479439"/>
              <a:gd name="connsiteX2352" fmla="*/ 7897241 w 9586368"/>
              <a:gd name="connsiteY2352" fmla="*/ 4786279 h 6479439"/>
              <a:gd name="connsiteX2353" fmla="*/ 7907151 w 9586368"/>
              <a:gd name="connsiteY2353" fmla="*/ 4786279 h 6479439"/>
              <a:gd name="connsiteX2354" fmla="*/ 7911170 w 9586368"/>
              <a:gd name="connsiteY2354" fmla="*/ 4790317 h 6479439"/>
              <a:gd name="connsiteX2355" fmla="*/ 7911170 w 9586368"/>
              <a:gd name="connsiteY2355" fmla="*/ 4800188 h 6479439"/>
              <a:gd name="connsiteX2356" fmla="*/ 7907151 w 9586368"/>
              <a:gd name="connsiteY2356" fmla="*/ 4804227 h 6479439"/>
              <a:gd name="connsiteX2357" fmla="*/ 7897241 w 9586368"/>
              <a:gd name="connsiteY2357" fmla="*/ 4804227 h 6479439"/>
              <a:gd name="connsiteX2358" fmla="*/ 7893222 w 9586368"/>
              <a:gd name="connsiteY2358" fmla="*/ 4800188 h 6479439"/>
              <a:gd name="connsiteX2359" fmla="*/ 7893222 w 9586368"/>
              <a:gd name="connsiteY2359" fmla="*/ 4790317 h 6479439"/>
              <a:gd name="connsiteX2360" fmla="*/ 7657926 w 9586368"/>
              <a:gd name="connsiteY2360" fmla="*/ 4786279 h 6479439"/>
              <a:gd name="connsiteX2361" fmla="*/ 7667836 w 9586368"/>
              <a:gd name="connsiteY2361" fmla="*/ 4786279 h 6479439"/>
              <a:gd name="connsiteX2362" fmla="*/ 7671855 w 9586368"/>
              <a:gd name="connsiteY2362" fmla="*/ 4790317 h 6479439"/>
              <a:gd name="connsiteX2363" fmla="*/ 7671855 w 9586368"/>
              <a:gd name="connsiteY2363" fmla="*/ 4800188 h 6479439"/>
              <a:gd name="connsiteX2364" fmla="*/ 7667836 w 9586368"/>
              <a:gd name="connsiteY2364" fmla="*/ 4804227 h 6479439"/>
              <a:gd name="connsiteX2365" fmla="*/ 7657926 w 9586368"/>
              <a:gd name="connsiteY2365" fmla="*/ 4804227 h 6479439"/>
              <a:gd name="connsiteX2366" fmla="*/ 7653906 w 9586368"/>
              <a:gd name="connsiteY2366" fmla="*/ 4800188 h 6479439"/>
              <a:gd name="connsiteX2367" fmla="*/ 7653906 w 9586368"/>
              <a:gd name="connsiteY2367" fmla="*/ 4790317 h 6479439"/>
              <a:gd name="connsiteX2368" fmla="*/ 7418611 w 9586368"/>
              <a:gd name="connsiteY2368" fmla="*/ 4786279 h 6479439"/>
              <a:gd name="connsiteX2369" fmla="*/ 7428521 w 9586368"/>
              <a:gd name="connsiteY2369" fmla="*/ 4786279 h 6479439"/>
              <a:gd name="connsiteX2370" fmla="*/ 7432540 w 9586368"/>
              <a:gd name="connsiteY2370" fmla="*/ 4790317 h 6479439"/>
              <a:gd name="connsiteX2371" fmla="*/ 7432540 w 9586368"/>
              <a:gd name="connsiteY2371" fmla="*/ 4800188 h 6479439"/>
              <a:gd name="connsiteX2372" fmla="*/ 7428521 w 9586368"/>
              <a:gd name="connsiteY2372" fmla="*/ 4804227 h 6479439"/>
              <a:gd name="connsiteX2373" fmla="*/ 7418611 w 9586368"/>
              <a:gd name="connsiteY2373" fmla="*/ 4804227 h 6479439"/>
              <a:gd name="connsiteX2374" fmla="*/ 7414592 w 9586368"/>
              <a:gd name="connsiteY2374" fmla="*/ 4800188 h 6479439"/>
              <a:gd name="connsiteX2375" fmla="*/ 7414592 w 9586368"/>
              <a:gd name="connsiteY2375" fmla="*/ 4790317 h 6479439"/>
              <a:gd name="connsiteX2376" fmla="*/ 7179298 w 9586368"/>
              <a:gd name="connsiteY2376" fmla="*/ 4786279 h 6479439"/>
              <a:gd name="connsiteX2377" fmla="*/ 7189209 w 9586368"/>
              <a:gd name="connsiteY2377" fmla="*/ 4786279 h 6479439"/>
              <a:gd name="connsiteX2378" fmla="*/ 7193228 w 9586368"/>
              <a:gd name="connsiteY2378" fmla="*/ 4790317 h 6479439"/>
              <a:gd name="connsiteX2379" fmla="*/ 7193228 w 9586368"/>
              <a:gd name="connsiteY2379" fmla="*/ 4800188 h 6479439"/>
              <a:gd name="connsiteX2380" fmla="*/ 7189209 w 9586368"/>
              <a:gd name="connsiteY2380" fmla="*/ 4804227 h 6479439"/>
              <a:gd name="connsiteX2381" fmla="*/ 7179298 w 9586368"/>
              <a:gd name="connsiteY2381" fmla="*/ 4804227 h 6479439"/>
              <a:gd name="connsiteX2382" fmla="*/ 7175279 w 9586368"/>
              <a:gd name="connsiteY2382" fmla="*/ 4800188 h 6479439"/>
              <a:gd name="connsiteX2383" fmla="*/ 7175279 w 9586368"/>
              <a:gd name="connsiteY2383" fmla="*/ 4790317 h 6479439"/>
              <a:gd name="connsiteX2384" fmla="*/ 6939983 w 9586368"/>
              <a:gd name="connsiteY2384" fmla="*/ 4786279 h 6479439"/>
              <a:gd name="connsiteX2385" fmla="*/ 6949894 w 9586368"/>
              <a:gd name="connsiteY2385" fmla="*/ 4786279 h 6479439"/>
              <a:gd name="connsiteX2386" fmla="*/ 6953913 w 9586368"/>
              <a:gd name="connsiteY2386" fmla="*/ 4790317 h 6479439"/>
              <a:gd name="connsiteX2387" fmla="*/ 6953913 w 9586368"/>
              <a:gd name="connsiteY2387" fmla="*/ 4800188 h 6479439"/>
              <a:gd name="connsiteX2388" fmla="*/ 6949894 w 9586368"/>
              <a:gd name="connsiteY2388" fmla="*/ 4804227 h 6479439"/>
              <a:gd name="connsiteX2389" fmla="*/ 6939983 w 9586368"/>
              <a:gd name="connsiteY2389" fmla="*/ 4804227 h 6479439"/>
              <a:gd name="connsiteX2390" fmla="*/ 6935964 w 9586368"/>
              <a:gd name="connsiteY2390" fmla="*/ 4800188 h 6479439"/>
              <a:gd name="connsiteX2391" fmla="*/ 6935964 w 9586368"/>
              <a:gd name="connsiteY2391" fmla="*/ 4790317 h 6479439"/>
              <a:gd name="connsiteX2392" fmla="*/ 6700670 w 9586368"/>
              <a:gd name="connsiteY2392" fmla="*/ 4786279 h 6479439"/>
              <a:gd name="connsiteX2393" fmla="*/ 6710581 w 9586368"/>
              <a:gd name="connsiteY2393" fmla="*/ 4786279 h 6479439"/>
              <a:gd name="connsiteX2394" fmla="*/ 6714600 w 9586368"/>
              <a:gd name="connsiteY2394" fmla="*/ 4790317 h 6479439"/>
              <a:gd name="connsiteX2395" fmla="*/ 6714600 w 9586368"/>
              <a:gd name="connsiteY2395" fmla="*/ 4800188 h 6479439"/>
              <a:gd name="connsiteX2396" fmla="*/ 6710581 w 9586368"/>
              <a:gd name="connsiteY2396" fmla="*/ 4804227 h 6479439"/>
              <a:gd name="connsiteX2397" fmla="*/ 6700670 w 9586368"/>
              <a:gd name="connsiteY2397" fmla="*/ 4804227 h 6479439"/>
              <a:gd name="connsiteX2398" fmla="*/ 6696651 w 9586368"/>
              <a:gd name="connsiteY2398" fmla="*/ 4800188 h 6479439"/>
              <a:gd name="connsiteX2399" fmla="*/ 6696651 w 9586368"/>
              <a:gd name="connsiteY2399" fmla="*/ 4790317 h 6479439"/>
              <a:gd name="connsiteX2400" fmla="*/ 6461356 w 9586368"/>
              <a:gd name="connsiteY2400" fmla="*/ 4786279 h 6479439"/>
              <a:gd name="connsiteX2401" fmla="*/ 6471266 w 9586368"/>
              <a:gd name="connsiteY2401" fmla="*/ 4786279 h 6479439"/>
              <a:gd name="connsiteX2402" fmla="*/ 6475285 w 9586368"/>
              <a:gd name="connsiteY2402" fmla="*/ 4790317 h 6479439"/>
              <a:gd name="connsiteX2403" fmla="*/ 6475285 w 9586368"/>
              <a:gd name="connsiteY2403" fmla="*/ 4800188 h 6479439"/>
              <a:gd name="connsiteX2404" fmla="*/ 6471266 w 9586368"/>
              <a:gd name="connsiteY2404" fmla="*/ 4804227 h 6479439"/>
              <a:gd name="connsiteX2405" fmla="*/ 6461356 w 9586368"/>
              <a:gd name="connsiteY2405" fmla="*/ 4804227 h 6479439"/>
              <a:gd name="connsiteX2406" fmla="*/ 6457337 w 9586368"/>
              <a:gd name="connsiteY2406" fmla="*/ 4800188 h 6479439"/>
              <a:gd name="connsiteX2407" fmla="*/ 6457337 w 9586368"/>
              <a:gd name="connsiteY2407" fmla="*/ 4790317 h 6479439"/>
              <a:gd name="connsiteX2408" fmla="*/ 6222042 w 9586368"/>
              <a:gd name="connsiteY2408" fmla="*/ 4786279 h 6479439"/>
              <a:gd name="connsiteX2409" fmla="*/ 6231952 w 9586368"/>
              <a:gd name="connsiteY2409" fmla="*/ 4786279 h 6479439"/>
              <a:gd name="connsiteX2410" fmla="*/ 6235971 w 9586368"/>
              <a:gd name="connsiteY2410" fmla="*/ 4790317 h 6479439"/>
              <a:gd name="connsiteX2411" fmla="*/ 6235971 w 9586368"/>
              <a:gd name="connsiteY2411" fmla="*/ 4800188 h 6479439"/>
              <a:gd name="connsiteX2412" fmla="*/ 6231952 w 9586368"/>
              <a:gd name="connsiteY2412" fmla="*/ 4804227 h 6479439"/>
              <a:gd name="connsiteX2413" fmla="*/ 6222042 w 9586368"/>
              <a:gd name="connsiteY2413" fmla="*/ 4804227 h 6479439"/>
              <a:gd name="connsiteX2414" fmla="*/ 6218023 w 9586368"/>
              <a:gd name="connsiteY2414" fmla="*/ 4800188 h 6479439"/>
              <a:gd name="connsiteX2415" fmla="*/ 6218023 w 9586368"/>
              <a:gd name="connsiteY2415" fmla="*/ 4790317 h 6479439"/>
              <a:gd name="connsiteX2416" fmla="*/ 5982729 w 9586368"/>
              <a:gd name="connsiteY2416" fmla="*/ 4786279 h 6479439"/>
              <a:gd name="connsiteX2417" fmla="*/ 5992639 w 9586368"/>
              <a:gd name="connsiteY2417" fmla="*/ 4786279 h 6479439"/>
              <a:gd name="connsiteX2418" fmla="*/ 5996658 w 9586368"/>
              <a:gd name="connsiteY2418" fmla="*/ 4790317 h 6479439"/>
              <a:gd name="connsiteX2419" fmla="*/ 5996658 w 9586368"/>
              <a:gd name="connsiteY2419" fmla="*/ 4800188 h 6479439"/>
              <a:gd name="connsiteX2420" fmla="*/ 5992639 w 9586368"/>
              <a:gd name="connsiteY2420" fmla="*/ 4804227 h 6479439"/>
              <a:gd name="connsiteX2421" fmla="*/ 5982729 w 9586368"/>
              <a:gd name="connsiteY2421" fmla="*/ 4804227 h 6479439"/>
              <a:gd name="connsiteX2422" fmla="*/ 5978710 w 9586368"/>
              <a:gd name="connsiteY2422" fmla="*/ 4800188 h 6479439"/>
              <a:gd name="connsiteX2423" fmla="*/ 5978710 w 9586368"/>
              <a:gd name="connsiteY2423" fmla="*/ 4790317 h 6479439"/>
              <a:gd name="connsiteX2424" fmla="*/ 5743412 w 9586368"/>
              <a:gd name="connsiteY2424" fmla="*/ 4786279 h 6479439"/>
              <a:gd name="connsiteX2425" fmla="*/ 5753323 w 9586368"/>
              <a:gd name="connsiteY2425" fmla="*/ 4786279 h 6479439"/>
              <a:gd name="connsiteX2426" fmla="*/ 5757342 w 9586368"/>
              <a:gd name="connsiteY2426" fmla="*/ 4790317 h 6479439"/>
              <a:gd name="connsiteX2427" fmla="*/ 5757342 w 9586368"/>
              <a:gd name="connsiteY2427" fmla="*/ 4800188 h 6479439"/>
              <a:gd name="connsiteX2428" fmla="*/ 5753323 w 9586368"/>
              <a:gd name="connsiteY2428" fmla="*/ 4804227 h 6479439"/>
              <a:gd name="connsiteX2429" fmla="*/ 5743412 w 9586368"/>
              <a:gd name="connsiteY2429" fmla="*/ 4804227 h 6479439"/>
              <a:gd name="connsiteX2430" fmla="*/ 5739393 w 9586368"/>
              <a:gd name="connsiteY2430" fmla="*/ 4800188 h 6479439"/>
              <a:gd name="connsiteX2431" fmla="*/ 5739393 w 9586368"/>
              <a:gd name="connsiteY2431" fmla="*/ 4790317 h 6479439"/>
              <a:gd name="connsiteX2432" fmla="*/ 5504099 w 9586368"/>
              <a:gd name="connsiteY2432" fmla="*/ 4786279 h 6479439"/>
              <a:gd name="connsiteX2433" fmla="*/ 5514010 w 9586368"/>
              <a:gd name="connsiteY2433" fmla="*/ 4786279 h 6479439"/>
              <a:gd name="connsiteX2434" fmla="*/ 5518029 w 9586368"/>
              <a:gd name="connsiteY2434" fmla="*/ 4790317 h 6479439"/>
              <a:gd name="connsiteX2435" fmla="*/ 5518029 w 9586368"/>
              <a:gd name="connsiteY2435" fmla="*/ 4800188 h 6479439"/>
              <a:gd name="connsiteX2436" fmla="*/ 5514010 w 9586368"/>
              <a:gd name="connsiteY2436" fmla="*/ 4804227 h 6479439"/>
              <a:gd name="connsiteX2437" fmla="*/ 5504099 w 9586368"/>
              <a:gd name="connsiteY2437" fmla="*/ 4804227 h 6479439"/>
              <a:gd name="connsiteX2438" fmla="*/ 5500080 w 9586368"/>
              <a:gd name="connsiteY2438" fmla="*/ 4800188 h 6479439"/>
              <a:gd name="connsiteX2439" fmla="*/ 5500080 w 9586368"/>
              <a:gd name="connsiteY2439" fmla="*/ 4790317 h 6479439"/>
              <a:gd name="connsiteX2440" fmla="*/ 5264784 w 9586368"/>
              <a:gd name="connsiteY2440" fmla="*/ 4786279 h 6479439"/>
              <a:gd name="connsiteX2441" fmla="*/ 5274694 w 9586368"/>
              <a:gd name="connsiteY2441" fmla="*/ 4786279 h 6479439"/>
              <a:gd name="connsiteX2442" fmla="*/ 5278713 w 9586368"/>
              <a:gd name="connsiteY2442" fmla="*/ 4790317 h 6479439"/>
              <a:gd name="connsiteX2443" fmla="*/ 5278713 w 9586368"/>
              <a:gd name="connsiteY2443" fmla="*/ 4800188 h 6479439"/>
              <a:gd name="connsiteX2444" fmla="*/ 5274694 w 9586368"/>
              <a:gd name="connsiteY2444" fmla="*/ 4804227 h 6479439"/>
              <a:gd name="connsiteX2445" fmla="*/ 5264784 w 9586368"/>
              <a:gd name="connsiteY2445" fmla="*/ 4804227 h 6479439"/>
              <a:gd name="connsiteX2446" fmla="*/ 5260765 w 9586368"/>
              <a:gd name="connsiteY2446" fmla="*/ 4800188 h 6479439"/>
              <a:gd name="connsiteX2447" fmla="*/ 5260765 w 9586368"/>
              <a:gd name="connsiteY2447" fmla="*/ 4790317 h 6479439"/>
              <a:gd name="connsiteX2448" fmla="*/ 5025470 w 9586368"/>
              <a:gd name="connsiteY2448" fmla="*/ 4786279 h 6479439"/>
              <a:gd name="connsiteX2449" fmla="*/ 5035381 w 9586368"/>
              <a:gd name="connsiteY2449" fmla="*/ 4786279 h 6479439"/>
              <a:gd name="connsiteX2450" fmla="*/ 5039400 w 9586368"/>
              <a:gd name="connsiteY2450" fmla="*/ 4790317 h 6479439"/>
              <a:gd name="connsiteX2451" fmla="*/ 5039400 w 9586368"/>
              <a:gd name="connsiteY2451" fmla="*/ 4800188 h 6479439"/>
              <a:gd name="connsiteX2452" fmla="*/ 5035381 w 9586368"/>
              <a:gd name="connsiteY2452" fmla="*/ 4804227 h 6479439"/>
              <a:gd name="connsiteX2453" fmla="*/ 5025470 w 9586368"/>
              <a:gd name="connsiteY2453" fmla="*/ 4804227 h 6479439"/>
              <a:gd name="connsiteX2454" fmla="*/ 5021451 w 9586368"/>
              <a:gd name="connsiteY2454" fmla="*/ 4800188 h 6479439"/>
              <a:gd name="connsiteX2455" fmla="*/ 5021451 w 9586368"/>
              <a:gd name="connsiteY2455" fmla="*/ 4790317 h 6479439"/>
              <a:gd name="connsiteX2456" fmla="*/ 4786241 w 9586368"/>
              <a:gd name="connsiteY2456" fmla="*/ 4786279 h 6479439"/>
              <a:gd name="connsiteX2457" fmla="*/ 4796152 w 9586368"/>
              <a:gd name="connsiteY2457" fmla="*/ 4786279 h 6479439"/>
              <a:gd name="connsiteX2458" fmla="*/ 4800171 w 9586368"/>
              <a:gd name="connsiteY2458" fmla="*/ 4790317 h 6479439"/>
              <a:gd name="connsiteX2459" fmla="*/ 4800171 w 9586368"/>
              <a:gd name="connsiteY2459" fmla="*/ 4800188 h 6479439"/>
              <a:gd name="connsiteX2460" fmla="*/ 4796152 w 9586368"/>
              <a:gd name="connsiteY2460" fmla="*/ 4804227 h 6479439"/>
              <a:gd name="connsiteX2461" fmla="*/ 4786241 w 9586368"/>
              <a:gd name="connsiteY2461" fmla="*/ 4804227 h 6479439"/>
              <a:gd name="connsiteX2462" fmla="*/ 4782224 w 9586368"/>
              <a:gd name="connsiteY2462" fmla="*/ 4800188 h 6479439"/>
              <a:gd name="connsiteX2463" fmla="*/ 4782224 w 9586368"/>
              <a:gd name="connsiteY2463" fmla="*/ 4790317 h 6479439"/>
              <a:gd name="connsiteX2464" fmla="*/ 4546929 w 9586368"/>
              <a:gd name="connsiteY2464" fmla="*/ 4786279 h 6479439"/>
              <a:gd name="connsiteX2465" fmla="*/ 4556840 w 9586368"/>
              <a:gd name="connsiteY2465" fmla="*/ 4786279 h 6479439"/>
              <a:gd name="connsiteX2466" fmla="*/ 4560859 w 9586368"/>
              <a:gd name="connsiteY2466" fmla="*/ 4790317 h 6479439"/>
              <a:gd name="connsiteX2467" fmla="*/ 4560859 w 9586368"/>
              <a:gd name="connsiteY2467" fmla="*/ 4800188 h 6479439"/>
              <a:gd name="connsiteX2468" fmla="*/ 4556840 w 9586368"/>
              <a:gd name="connsiteY2468" fmla="*/ 4804227 h 6479439"/>
              <a:gd name="connsiteX2469" fmla="*/ 4546929 w 9586368"/>
              <a:gd name="connsiteY2469" fmla="*/ 4804227 h 6479439"/>
              <a:gd name="connsiteX2470" fmla="*/ 4542910 w 9586368"/>
              <a:gd name="connsiteY2470" fmla="*/ 4800188 h 6479439"/>
              <a:gd name="connsiteX2471" fmla="*/ 4542910 w 9586368"/>
              <a:gd name="connsiteY2471" fmla="*/ 4790317 h 6479439"/>
              <a:gd name="connsiteX2472" fmla="*/ 4307612 w 9586368"/>
              <a:gd name="connsiteY2472" fmla="*/ 4786279 h 6479439"/>
              <a:gd name="connsiteX2473" fmla="*/ 4317523 w 9586368"/>
              <a:gd name="connsiteY2473" fmla="*/ 4786279 h 6479439"/>
              <a:gd name="connsiteX2474" fmla="*/ 4321543 w 9586368"/>
              <a:gd name="connsiteY2474" fmla="*/ 4790317 h 6479439"/>
              <a:gd name="connsiteX2475" fmla="*/ 4321543 w 9586368"/>
              <a:gd name="connsiteY2475" fmla="*/ 4800188 h 6479439"/>
              <a:gd name="connsiteX2476" fmla="*/ 4317523 w 9586368"/>
              <a:gd name="connsiteY2476" fmla="*/ 4804227 h 6479439"/>
              <a:gd name="connsiteX2477" fmla="*/ 4307612 w 9586368"/>
              <a:gd name="connsiteY2477" fmla="*/ 4804227 h 6479439"/>
              <a:gd name="connsiteX2478" fmla="*/ 4303595 w 9586368"/>
              <a:gd name="connsiteY2478" fmla="*/ 4800188 h 6479439"/>
              <a:gd name="connsiteX2479" fmla="*/ 4303595 w 9586368"/>
              <a:gd name="connsiteY2479" fmla="*/ 4790317 h 6479439"/>
              <a:gd name="connsiteX2480" fmla="*/ 4068297 w 9586368"/>
              <a:gd name="connsiteY2480" fmla="*/ 4786279 h 6479439"/>
              <a:gd name="connsiteX2481" fmla="*/ 4078210 w 9586368"/>
              <a:gd name="connsiteY2481" fmla="*/ 4786279 h 6479439"/>
              <a:gd name="connsiteX2482" fmla="*/ 4082229 w 9586368"/>
              <a:gd name="connsiteY2482" fmla="*/ 4790317 h 6479439"/>
              <a:gd name="connsiteX2483" fmla="*/ 4082229 w 9586368"/>
              <a:gd name="connsiteY2483" fmla="*/ 4800188 h 6479439"/>
              <a:gd name="connsiteX2484" fmla="*/ 4078210 w 9586368"/>
              <a:gd name="connsiteY2484" fmla="*/ 4804227 h 6479439"/>
              <a:gd name="connsiteX2485" fmla="*/ 4068297 w 9586368"/>
              <a:gd name="connsiteY2485" fmla="*/ 4804227 h 6479439"/>
              <a:gd name="connsiteX2486" fmla="*/ 4064278 w 9586368"/>
              <a:gd name="connsiteY2486" fmla="*/ 4800188 h 6479439"/>
              <a:gd name="connsiteX2487" fmla="*/ 4064278 w 9586368"/>
              <a:gd name="connsiteY2487" fmla="*/ 4790317 h 6479439"/>
              <a:gd name="connsiteX2488" fmla="*/ 3828990 w 9586368"/>
              <a:gd name="connsiteY2488" fmla="*/ 4786279 h 6479439"/>
              <a:gd name="connsiteX2489" fmla="*/ 3838899 w 9586368"/>
              <a:gd name="connsiteY2489" fmla="*/ 4786279 h 6479439"/>
              <a:gd name="connsiteX2490" fmla="*/ 3842917 w 9586368"/>
              <a:gd name="connsiteY2490" fmla="*/ 4790317 h 6479439"/>
              <a:gd name="connsiteX2491" fmla="*/ 3842917 w 9586368"/>
              <a:gd name="connsiteY2491" fmla="*/ 4800188 h 6479439"/>
              <a:gd name="connsiteX2492" fmla="*/ 3838899 w 9586368"/>
              <a:gd name="connsiteY2492" fmla="*/ 4804227 h 6479439"/>
              <a:gd name="connsiteX2493" fmla="*/ 3828990 w 9586368"/>
              <a:gd name="connsiteY2493" fmla="*/ 4804227 h 6479439"/>
              <a:gd name="connsiteX2494" fmla="*/ 3824971 w 9586368"/>
              <a:gd name="connsiteY2494" fmla="*/ 4800188 h 6479439"/>
              <a:gd name="connsiteX2495" fmla="*/ 3824971 w 9586368"/>
              <a:gd name="connsiteY2495" fmla="*/ 4790317 h 6479439"/>
              <a:gd name="connsiteX2496" fmla="*/ 3589676 w 9586368"/>
              <a:gd name="connsiteY2496" fmla="*/ 4786279 h 6479439"/>
              <a:gd name="connsiteX2497" fmla="*/ 3599585 w 9586368"/>
              <a:gd name="connsiteY2497" fmla="*/ 4786279 h 6479439"/>
              <a:gd name="connsiteX2498" fmla="*/ 3603604 w 9586368"/>
              <a:gd name="connsiteY2498" fmla="*/ 4790317 h 6479439"/>
              <a:gd name="connsiteX2499" fmla="*/ 3603604 w 9586368"/>
              <a:gd name="connsiteY2499" fmla="*/ 4800188 h 6479439"/>
              <a:gd name="connsiteX2500" fmla="*/ 3599585 w 9586368"/>
              <a:gd name="connsiteY2500" fmla="*/ 4804227 h 6479439"/>
              <a:gd name="connsiteX2501" fmla="*/ 3589676 w 9586368"/>
              <a:gd name="connsiteY2501" fmla="*/ 4804227 h 6479439"/>
              <a:gd name="connsiteX2502" fmla="*/ 3585657 w 9586368"/>
              <a:gd name="connsiteY2502" fmla="*/ 4800188 h 6479439"/>
              <a:gd name="connsiteX2503" fmla="*/ 3585657 w 9586368"/>
              <a:gd name="connsiteY2503" fmla="*/ 4790317 h 6479439"/>
              <a:gd name="connsiteX2504" fmla="*/ 3350359 w 9586368"/>
              <a:gd name="connsiteY2504" fmla="*/ 4786279 h 6479439"/>
              <a:gd name="connsiteX2505" fmla="*/ 3360268 w 9586368"/>
              <a:gd name="connsiteY2505" fmla="*/ 4786279 h 6479439"/>
              <a:gd name="connsiteX2506" fmla="*/ 3364287 w 9586368"/>
              <a:gd name="connsiteY2506" fmla="*/ 4790317 h 6479439"/>
              <a:gd name="connsiteX2507" fmla="*/ 3364287 w 9586368"/>
              <a:gd name="connsiteY2507" fmla="*/ 4800188 h 6479439"/>
              <a:gd name="connsiteX2508" fmla="*/ 3360268 w 9586368"/>
              <a:gd name="connsiteY2508" fmla="*/ 4804227 h 6479439"/>
              <a:gd name="connsiteX2509" fmla="*/ 3350359 w 9586368"/>
              <a:gd name="connsiteY2509" fmla="*/ 4804227 h 6479439"/>
              <a:gd name="connsiteX2510" fmla="*/ 3346340 w 9586368"/>
              <a:gd name="connsiteY2510" fmla="*/ 4800188 h 6479439"/>
              <a:gd name="connsiteX2511" fmla="*/ 3346340 w 9586368"/>
              <a:gd name="connsiteY2511" fmla="*/ 4790317 h 6479439"/>
              <a:gd name="connsiteX2512" fmla="*/ 3111048 w 9586368"/>
              <a:gd name="connsiteY2512" fmla="*/ 4786279 h 6479439"/>
              <a:gd name="connsiteX2513" fmla="*/ 3120959 w 9586368"/>
              <a:gd name="connsiteY2513" fmla="*/ 4786279 h 6479439"/>
              <a:gd name="connsiteX2514" fmla="*/ 3124977 w 9586368"/>
              <a:gd name="connsiteY2514" fmla="*/ 4790317 h 6479439"/>
              <a:gd name="connsiteX2515" fmla="*/ 3124977 w 9586368"/>
              <a:gd name="connsiteY2515" fmla="*/ 4800188 h 6479439"/>
              <a:gd name="connsiteX2516" fmla="*/ 3120959 w 9586368"/>
              <a:gd name="connsiteY2516" fmla="*/ 4804227 h 6479439"/>
              <a:gd name="connsiteX2517" fmla="*/ 3111048 w 9586368"/>
              <a:gd name="connsiteY2517" fmla="*/ 4804227 h 6479439"/>
              <a:gd name="connsiteX2518" fmla="*/ 3107029 w 9586368"/>
              <a:gd name="connsiteY2518" fmla="*/ 4800188 h 6479439"/>
              <a:gd name="connsiteX2519" fmla="*/ 3107029 w 9586368"/>
              <a:gd name="connsiteY2519" fmla="*/ 4790317 h 6479439"/>
              <a:gd name="connsiteX2520" fmla="*/ 2871737 w 9586368"/>
              <a:gd name="connsiteY2520" fmla="*/ 4786279 h 6479439"/>
              <a:gd name="connsiteX2521" fmla="*/ 2881646 w 9586368"/>
              <a:gd name="connsiteY2521" fmla="*/ 4786279 h 6479439"/>
              <a:gd name="connsiteX2522" fmla="*/ 2885666 w 9586368"/>
              <a:gd name="connsiteY2522" fmla="*/ 4790317 h 6479439"/>
              <a:gd name="connsiteX2523" fmla="*/ 2885666 w 9586368"/>
              <a:gd name="connsiteY2523" fmla="*/ 4800188 h 6479439"/>
              <a:gd name="connsiteX2524" fmla="*/ 2881646 w 9586368"/>
              <a:gd name="connsiteY2524" fmla="*/ 4804227 h 6479439"/>
              <a:gd name="connsiteX2525" fmla="*/ 2871737 w 9586368"/>
              <a:gd name="connsiteY2525" fmla="*/ 4804227 h 6479439"/>
              <a:gd name="connsiteX2526" fmla="*/ 2867717 w 9586368"/>
              <a:gd name="connsiteY2526" fmla="*/ 4800188 h 6479439"/>
              <a:gd name="connsiteX2527" fmla="*/ 2867717 w 9586368"/>
              <a:gd name="connsiteY2527" fmla="*/ 4790317 h 6479439"/>
              <a:gd name="connsiteX2528" fmla="*/ 2632423 w 9586368"/>
              <a:gd name="connsiteY2528" fmla="*/ 4786279 h 6479439"/>
              <a:gd name="connsiteX2529" fmla="*/ 2642334 w 9586368"/>
              <a:gd name="connsiteY2529" fmla="*/ 4786279 h 6479439"/>
              <a:gd name="connsiteX2530" fmla="*/ 2646352 w 9586368"/>
              <a:gd name="connsiteY2530" fmla="*/ 4790317 h 6479439"/>
              <a:gd name="connsiteX2531" fmla="*/ 2646352 w 9586368"/>
              <a:gd name="connsiteY2531" fmla="*/ 4800188 h 6479439"/>
              <a:gd name="connsiteX2532" fmla="*/ 2642334 w 9586368"/>
              <a:gd name="connsiteY2532" fmla="*/ 4804227 h 6479439"/>
              <a:gd name="connsiteX2533" fmla="*/ 2632423 w 9586368"/>
              <a:gd name="connsiteY2533" fmla="*/ 4804227 h 6479439"/>
              <a:gd name="connsiteX2534" fmla="*/ 2628404 w 9586368"/>
              <a:gd name="connsiteY2534" fmla="*/ 4800188 h 6479439"/>
              <a:gd name="connsiteX2535" fmla="*/ 2628404 w 9586368"/>
              <a:gd name="connsiteY2535" fmla="*/ 4790317 h 6479439"/>
              <a:gd name="connsiteX2536" fmla="*/ 2393104 w 9586368"/>
              <a:gd name="connsiteY2536" fmla="*/ 4786279 h 6479439"/>
              <a:gd name="connsiteX2537" fmla="*/ 2403015 w 9586368"/>
              <a:gd name="connsiteY2537" fmla="*/ 4786279 h 6479439"/>
              <a:gd name="connsiteX2538" fmla="*/ 2407034 w 9586368"/>
              <a:gd name="connsiteY2538" fmla="*/ 4790317 h 6479439"/>
              <a:gd name="connsiteX2539" fmla="*/ 2407034 w 9586368"/>
              <a:gd name="connsiteY2539" fmla="*/ 4800188 h 6479439"/>
              <a:gd name="connsiteX2540" fmla="*/ 2403015 w 9586368"/>
              <a:gd name="connsiteY2540" fmla="*/ 4804227 h 6479439"/>
              <a:gd name="connsiteX2541" fmla="*/ 2393104 w 9586368"/>
              <a:gd name="connsiteY2541" fmla="*/ 4804227 h 6479439"/>
              <a:gd name="connsiteX2542" fmla="*/ 2389087 w 9586368"/>
              <a:gd name="connsiteY2542" fmla="*/ 4800188 h 6479439"/>
              <a:gd name="connsiteX2543" fmla="*/ 2389087 w 9586368"/>
              <a:gd name="connsiteY2543" fmla="*/ 4790317 h 6479439"/>
              <a:gd name="connsiteX2544" fmla="*/ 2157819 w 9586368"/>
              <a:gd name="connsiteY2544" fmla="*/ 4786279 h 6479439"/>
              <a:gd name="connsiteX2545" fmla="*/ 2167729 w 9586368"/>
              <a:gd name="connsiteY2545" fmla="*/ 4786279 h 6479439"/>
              <a:gd name="connsiteX2546" fmla="*/ 2171748 w 9586368"/>
              <a:gd name="connsiteY2546" fmla="*/ 4790317 h 6479439"/>
              <a:gd name="connsiteX2547" fmla="*/ 2171748 w 9586368"/>
              <a:gd name="connsiteY2547" fmla="*/ 4800188 h 6479439"/>
              <a:gd name="connsiteX2548" fmla="*/ 2167729 w 9586368"/>
              <a:gd name="connsiteY2548" fmla="*/ 4804227 h 6479439"/>
              <a:gd name="connsiteX2549" fmla="*/ 2157819 w 9586368"/>
              <a:gd name="connsiteY2549" fmla="*/ 4804227 h 6479439"/>
              <a:gd name="connsiteX2550" fmla="*/ 2153800 w 9586368"/>
              <a:gd name="connsiteY2550" fmla="*/ 4800188 h 6479439"/>
              <a:gd name="connsiteX2551" fmla="*/ 2153800 w 9586368"/>
              <a:gd name="connsiteY2551" fmla="*/ 4790317 h 6479439"/>
              <a:gd name="connsiteX2552" fmla="*/ 1918510 w 9586368"/>
              <a:gd name="connsiteY2552" fmla="*/ 4786279 h 6479439"/>
              <a:gd name="connsiteX2553" fmla="*/ 1928420 w 9586368"/>
              <a:gd name="connsiteY2553" fmla="*/ 4786279 h 6479439"/>
              <a:gd name="connsiteX2554" fmla="*/ 1932440 w 9586368"/>
              <a:gd name="connsiteY2554" fmla="*/ 4790317 h 6479439"/>
              <a:gd name="connsiteX2555" fmla="*/ 1932440 w 9586368"/>
              <a:gd name="connsiteY2555" fmla="*/ 4800188 h 6479439"/>
              <a:gd name="connsiteX2556" fmla="*/ 1928420 w 9586368"/>
              <a:gd name="connsiteY2556" fmla="*/ 4804227 h 6479439"/>
              <a:gd name="connsiteX2557" fmla="*/ 1918510 w 9586368"/>
              <a:gd name="connsiteY2557" fmla="*/ 4804227 h 6479439"/>
              <a:gd name="connsiteX2558" fmla="*/ 1914492 w 9586368"/>
              <a:gd name="connsiteY2558" fmla="*/ 4800188 h 6479439"/>
              <a:gd name="connsiteX2559" fmla="*/ 1914492 w 9586368"/>
              <a:gd name="connsiteY2559" fmla="*/ 4790317 h 6479439"/>
              <a:gd name="connsiteX2560" fmla="*/ 1679205 w 9586368"/>
              <a:gd name="connsiteY2560" fmla="*/ 4786279 h 6479439"/>
              <a:gd name="connsiteX2561" fmla="*/ 1689115 w 9586368"/>
              <a:gd name="connsiteY2561" fmla="*/ 4786279 h 6479439"/>
              <a:gd name="connsiteX2562" fmla="*/ 1693134 w 9586368"/>
              <a:gd name="connsiteY2562" fmla="*/ 4790317 h 6479439"/>
              <a:gd name="connsiteX2563" fmla="*/ 1693134 w 9586368"/>
              <a:gd name="connsiteY2563" fmla="*/ 4800188 h 6479439"/>
              <a:gd name="connsiteX2564" fmla="*/ 1689115 w 9586368"/>
              <a:gd name="connsiteY2564" fmla="*/ 4804227 h 6479439"/>
              <a:gd name="connsiteX2565" fmla="*/ 1679205 w 9586368"/>
              <a:gd name="connsiteY2565" fmla="*/ 4804227 h 6479439"/>
              <a:gd name="connsiteX2566" fmla="*/ 1675187 w 9586368"/>
              <a:gd name="connsiteY2566" fmla="*/ 4800188 h 6479439"/>
              <a:gd name="connsiteX2567" fmla="*/ 1675187 w 9586368"/>
              <a:gd name="connsiteY2567" fmla="*/ 4790317 h 6479439"/>
              <a:gd name="connsiteX2568" fmla="*/ 1439890 w 9586368"/>
              <a:gd name="connsiteY2568" fmla="*/ 4786279 h 6479439"/>
              <a:gd name="connsiteX2569" fmla="*/ 1449800 w 9586368"/>
              <a:gd name="connsiteY2569" fmla="*/ 4786279 h 6479439"/>
              <a:gd name="connsiteX2570" fmla="*/ 1453818 w 9586368"/>
              <a:gd name="connsiteY2570" fmla="*/ 4790317 h 6479439"/>
              <a:gd name="connsiteX2571" fmla="*/ 1453818 w 9586368"/>
              <a:gd name="connsiteY2571" fmla="*/ 4800188 h 6479439"/>
              <a:gd name="connsiteX2572" fmla="*/ 1449800 w 9586368"/>
              <a:gd name="connsiteY2572" fmla="*/ 4804227 h 6479439"/>
              <a:gd name="connsiteX2573" fmla="*/ 1439890 w 9586368"/>
              <a:gd name="connsiteY2573" fmla="*/ 4804227 h 6479439"/>
              <a:gd name="connsiteX2574" fmla="*/ 1435870 w 9586368"/>
              <a:gd name="connsiteY2574" fmla="*/ 4800188 h 6479439"/>
              <a:gd name="connsiteX2575" fmla="*/ 1435870 w 9586368"/>
              <a:gd name="connsiteY2575" fmla="*/ 4790317 h 6479439"/>
              <a:gd name="connsiteX2576" fmla="*/ 1200574 w 9586368"/>
              <a:gd name="connsiteY2576" fmla="*/ 4786279 h 6479439"/>
              <a:gd name="connsiteX2577" fmla="*/ 1210484 w 9586368"/>
              <a:gd name="connsiteY2577" fmla="*/ 4786279 h 6479439"/>
              <a:gd name="connsiteX2578" fmla="*/ 1214503 w 9586368"/>
              <a:gd name="connsiteY2578" fmla="*/ 4790317 h 6479439"/>
              <a:gd name="connsiteX2579" fmla="*/ 1214503 w 9586368"/>
              <a:gd name="connsiteY2579" fmla="*/ 4800188 h 6479439"/>
              <a:gd name="connsiteX2580" fmla="*/ 1210484 w 9586368"/>
              <a:gd name="connsiteY2580" fmla="*/ 4804227 h 6479439"/>
              <a:gd name="connsiteX2581" fmla="*/ 1200574 w 9586368"/>
              <a:gd name="connsiteY2581" fmla="*/ 4804227 h 6479439"/>
              <a:gd name="connsiteX2582" fmla="*/ 1196555 w 9586368"/>
              <a:gd name="connsiteY2582" fmla="*/ 4800188 h 6479439"/>
              <a:gd name="connsiteX2583" fmla="*/ 1196555 w 9586368"/>
              <a:gd name="connsiteY2583" fmla="*/ 4790317 h 6479439"/>
              <a:gd name="connsiteX2584" fmla="*/ 961262 w 9586368"/>
              <a:gd name="connsiteY2584" fmla="*/ 4786279 h 6479439"/>
              <a:gd name="connsiteX2585" fmla="*/ 971172 w 9586368"/>
              <a:gd name="connsiteY2585" fmla="*/ 4786279 h 6479439"/>
              <a:gd name="connsiteX2586" fmla="*/ 975190 w 9586368"/>
              <a:gd name="connsiteY2586" fmla="*/ 4790317 h 6479439"/>
              <a:gd name="connsiteX2587" fmla="*/ 975190 w 9586368"/>
              <a:gd name="connsiteY2587" fmla="*/ 4800188 h 6479439"/>
              <a:gd name="connsiteX2588" fmla="*/ 971172 w 9586368"/>
              <a:gd name="connsiteY2588" fmla="*/ 4804227 h 6479439"/>
              <a:gd name="connsiteX2589" fmla="*/ 961262 w 9586368"/>
              <a:gd name="connsiteY2589" fmla="*/ 4804227 h 6479439"/>
              <a:gd name="connsiteX2590" fmla="*/ 957242 w 9586368"/>
              <a:gd name="connsiteY2590" fmla="*/ 4800188 h 6479439"/>
              <a:gd name="connsiteX2591" fmla="*/ 957242 w 9586368"/>
              <a:gd name="connsiteY2591" fmla="*/ 4790317 h 6479439"/>
              <a:gd name="connsiteX2592" fmla="*/ 721963 w 9586368"/>
              <a:gd name="connsiteY2592" fmla="*/ 4786279 h 6479439"/>
              <a:gd name="connsiteX2593" fmla="*/ 731873 w 9586368"/>
              <a:gd name="connsiteY2593" fmla="*/ 4786279 h 6479439"/>
              <a:gd name="connsiteX2594" fmla="*/ 735892 w 9586368"/>
              <a:gd name="connsiteY2594" fmla="*/ 4790317 h 6479439"/>
              <a:gd name="connsiteX2595" fmla="*/ 735892 w 9586368"/>
              <a:gd name="connsiteY2595" fmla="*/ 4800188 h 6479439"/>
              <a:gd name="connsiteX2596" fmla="*/ 731873 w 9586368"/>
              <a:gd name="connsiteY2596" fmla="*/ 4804227 h 6479439"/>
              <a:gd name="connsiteX2597" fmla="*/ 721963 w 9586368"/>
              <a:gd name="connsiteY2597" fmla="*/ 4804227 h 6479439"/>
              <a:gd name="connsiteX2598" fmla="*/ 717944 w 9586368"/>
              <a:gd name="connsiteY2598" fmla="*/ 4800188 h 6479439"/>
              <a:gd name="connsiteX2599" fmla="*/ 717944 w 9586368"/>
              <a:gd name="connsiteY2599" fmla="*/ 4790317 h 6479439"/>
              <a:gd name="connsiteX2600" fmla="*/ 482651 w 9586368"/>
              <a:gd name="connsiteY2600" fmla="*/ 4786279 h 6479439"/>
              <a:gd name="connsiteX2601" fmla="*/ 492561 w 9586368"/>
              <a:gd name="connsiteY2601" fmla="*/ 4786279 h 6479439"/>
              <a:gd name="connsiteX2602" fmla="*/ 496580 w 9586368"/>
              <a:gd name="connsiteY2602" fmla="*/ 4790317 h 6479439"/>
              <a:gd name="connsiteX2603" fmla="*/ 496580 w 9586368"/>
              <a:gd name="connsiteY2603" fmla="*/ 4800188 h 6479439"/>
              <a:gd name="connsiteX2604" fmla="*/ 492561 w 9586368"/>
              <a:gd name="connsiteY2604" fmla="*/ 4804227 h 6479439"/>
              <a:gd name="connsiteX2605" fmla="*/ 482651 w 9586368"/>
              <a:gd name="connsiteY2605" fmla="*/ 4804227 h 6479439"/>
              <a:gd name="connsiteX2606" fmla="*/ 478632 w 9586368"/>
              <a:gd name="connsiteY2606" fmla="*/ 4800188 h 6479439"/>
              <a:gd name="connsiteX2607" fmla="*/ 478632 w 9586368"/>
              <a:gd name="connsiteY2607" fmla="*/ 4790317 h 6479439"/>
              <a:gd name="connsiteX2608" fmla="*/ 243338 w 9586368"/>
              <a:gd name="connsiteY2608" fmla="*/ 4786279 h 6479439"/>
              <a:gd name="connsiteX2609" fmla="*/ 253247 w 9586368"/>
              <a:gd name="connsiteY2609" fmla="*/ 4786279 h 6479439"/>
              <a:gd name="connsiteX2610" fmla="*/ 257266 w 9586368"/>
              <a:gd name="connsiteY2610" fmla="*/ 4790317 h 6479439"/>
              <a:gd name="connsiteX2611" fmla="*/ 257266 w 9586368"/>
              <a:gd name="connsiteY2611" fmla="*/ 4800188 h 6479439"/>
              <a:gd name="connsiteX2612" fmla="*/ 253247 w 9586368"/>
              <a:gd name="connsiteY2612" fmla="*/ 4804227 h 6479439"/>
              <a:gd name="connsiteX2613" fmla="*/ 243338 w 9586368"/>
              <a:gd name="connsiteY2613" fmla="*/ 4804227 h 6479439"/>
              <a:gd name="connsiteX2614" fmla="*/ 239318 w 9586368"/>
              <a:gd name="connsiteY2614" fmla="*/ 4800188 h 6479439"/>
              <a:gd name="connsiteX2615" fmla="*/ 239318 w 9586368"/>
              <a:gd name="connsiteY2615" fmla="*/ 4790317 h 6479439"/>
              <a:gd name="connsiteX2616" fmla="*/ 4024 w 9586368"/>
              <a:gd name="connsiteY2616" fmla="*/ 4786279 h 6479439"/>
              <a:gd name="connsiteX2617" fmla="*/ 13934 w 9586368"/>
              <a:gd name="connsiteY2617" fmla="*/ 4786279 h 6479439"/>
              <a:gd name="connsiteX2618" fmla="*/ 17954 w 9586368"/>
              <a:gd name="connsiteY2618" fmla="*/ 4790317 h 6479439"/>
              <a:gd name="connsiteX2619" fmla="*/ 17954 w 9586368"/>
              <a:gd name="connsiteY2619" fmla="*/ 4800188 h 6479439"/>
              <a:gd name="connsiteX2620" fmla="*/ 13934 w 9586368"/>
              <a:gd name="connsiteY2620" fmla="*/ 4804227 h 6479439"/>
              <a:gd name="connsiteX2621" fmla="*/ 4024 w 9586368"/>
              <a:gd name="connsiteY2621" fmla="*/ 4804227 h 6479439"/>
              <a:gd name="connsiteX2622" fmla="*/ 5 w 9586368"/>
              <a:gd name="connsiteY2622" fmla="*/ 4800188 h 6479439"/>
              <a:gd name="connsiteX2623" fmla="*/ 5 w 9586368"/>
              <a:gd name="connsiteY2623" fmla="*/ 4790317 h 6479439"/>
              <a:gd name="connsiteX2624" fmla="*/ 2157819 w 9586368"/>
              <a:gd name="connsiteY2624" fmla="*/ 4546999 h 6479439"/>
              <a:gd name="connsiteX2625" fmla="*/ 2167729 w 9586368"/>
              <a:gd name="connsiteY2625" fmla="*/ 4546999 h 6479439"/>
              <a:gd name="connsiteX2626" fmla="*/ 2171748 w 9586368"/>
              <a:gd name="connsiteY2626" fmla="*/ 4551038 h 6479439"/>
              <a:gd name="connsiteX2627" fmla="*/ 2171748 w 9586368"/>
              <a:gd name="connsiteY2627" fmla="*/ 4560909 h 6479439"/>
              <a:gd name="connsiteX2628" fmla="*/ 2167729 w 9586368"/>
              <a:gd name="connsiteY2628" fmla="*/ 4564948 h 6479439"/>
              <a:gd name="connsiteX2629" fmla="*/ 2157819 w 9586368"/>
              <a:gd name="connsiteY2629" fmla="*/ 4564948 h 6479439"/>
              <a:gd name="connsiteX2630" fmla="*/ 2153801 w 9586368"/>
              <a:gd name="connsiteY2630" fmla="*/ 4560909 h 6479439"/>
              <a:gd name="connsiteX2631" fmla="*/ 2153801 w 9586368"/>
              <a:gd name="connsiteY2631" fmla="*/ 4551038 h 6479439"/>
              <a:gd name="connsiteX2632" fmla="*/ 1918510 w 9586368"/>
              <a:gd name="connsiteY2632" fmla="*/ 4546999 h 6479439"/>
              <a:gd name="connsiteX2633" fmla="*/ 1928421 w 9586368"/>
              <a:gd name="connsiteY2633" fmla="*/ 4546999 h 6479439"/>
              <a:gd name="connsiteX2634" fmla="*/ 1932440 w 9586368"/>
              <a:gd name="connsiteY2634" fmla="*/ 4551038 h 6479439"/>
              <a:gd name="connsiteX2635" fmla="*/ 1932440 w 9586368"/>
              <a:gd name="connsiteY2635" fmla="*/ 4560909 h 6479439"/>
              <a:gd name="connsiteX2636" fmla="*/ 1928421 w 9586368"/>
              <a:gd name="connsiteY2636" fmla="*/ 4564948 h 6479439"/>
              <a:gd name="connsiteX2637" fmla="*/ 1918510 w 9586368"/>
              <a:gd name="connsiteY2637" fmla="*/ 4564948 h 6479439"/>
              <a:gd name="connsiteX2638" fmla="*/ 1914492 w 9586368"/>
              <a:gd name="connsiteY2638" fmla="*/ 4560909 h 6479439"/>
              <a:gd name="connsiteX2639" fmla="*/ 1914492 w 9586368"/>
              <a:gd name="connsiteY2639" fmla="*/ 4551038 h 6479439"/>
              <a:gd name="connsiteX2640" fmla="*/ 1679206 w 9586368"/>
              <a:gd name="connsiteY2640" fmla="*/ 4546999 h 6479439"/>
              <a:gd name="connsiteX2641" fmla="*/ 1689116 w 9586368"/>
              <a:gd name="connsiteY2641" fmla="*/ 4546999 h 6479439"/>
              <a:gd name="connsiteX2642" fmla="*/ 1693134 w 9586368"/>
              <a:gd name="connsiteY2642" fmla="*/ 4551038 h 6479439"/>
              <a:gd name="connsiteX2643" fmla="*/ 1693134 w 9586368"/>
              <a:gd name="connsiteY2643" fmla="*/ 4560909 h 6479439"/>
              <a:gd name="connsiteX2644" fmla="*/ 1689116 w 9586368"/>
              <a:gd name="connsiteY2644" fmla="*/ 4564948 h 6479439"/>
              <a:gd name="connsiteX2645" fmla="*/ 1679206 w 9586368"/>
              <a:gd name="connsiteY2645" fmla="*/ 4564948 h 6479439"/>
              <a:gd name="connsiteX2646" fmla="*/ 1675187 w 9586368"/>
              <a:gd name="connsiteY2646" fmla="*/ 4560909 h 6479439"/>
              <a:gd name="connsiteX2647" fmla="*/ 1675187 w 9586368"/>
              <a:gd name="connsiteY2647" fmla="*/ 4551038 h 6479439"/>
              <a:gd name="connsiteX2648" fmla="*/ 1439890 w 9586368"/>
              <a:gd name="connsiteY2648" fmla="*/ 4546999 h 6479439"/>
              <a:gd name="connsiteX2649" fmla="*/ 1449800 w 9586368"/>
              <a:gd name="connsiteY2649" fmla="*/ 4546999 h 6479439"/>
              <a:gd name="connsiteX2650" fmla="*/ 1453819 w 9586368"/>
              <a:gd name="connsiteY2650" fmla="*/ 4551038 h 6479439"/>
              <a:gd name="connsiteX2651" fmla="*/ 1453819 w 9586368"/>
              <a:gd name="connsiteY2651" fmla="*/ 4560909 h 6479439"/>
              <a:gd name="connsiteX2652" fmla="*/ 1449800 w 9586368"/>
              <a:gd name="connsiteY2652" fmla="*/ 4564948 h 6479439"/>
              <a:gd name="connsiteX2653" fmla="*/ 1439890 w 9586368"/>
              <a:gd name="connsiteY2653" fmla="*/ 4564948 h 6479439"/>
              <a:gd name="connsiteX2654" fmla="*/ 1435871 w 9586368"/>
              <a:gd name="connsiteY2654" fmla="*/ 4560909 h 6479439"/>
              <a:gd name="connsiteX2655" fmla="*/ 1435871 w 9586368"/>
              <a:gd name="connsiteY2655" fmla="*/ 4551038 h 6479439"/>
              <a:gd name="connsiteX2656" fmla="*/ 1200575 w 9586368"/>
              <a:gd name="connsiteY2656" fmla="*/ 4546999 h 6479439"/>
              <a:gd name="connsiteX2657" fmla="*/ 1210485 w 9586368"/>
              <a:gd name="connsiteY2657" fmla="*/ 4546999 h 6479439"/>
              <a:gd name="connsiteX2658" fmla="*/ 1214504 w 9586368"/>
              <a:gd name="connsiteY2658" fmla="*/ 4551038 h 6479439"/>
              <a:gd name="connsiteX2659" fmla="*/ 1214504 w 9586368"/>
              <a:gd name="connsiteY2659" fmla="*/ 4560909 h 6479439"/>
              <a:gd name="connsiteX2660" fmla="*/ 1210485 w 9586368"/>
              <a:gd name="connsiteY2660" fmla="*/ 4564948 h 6479439"/>
              <a:gd name="connsiteX2661" fmla="*/ 1200575 w 9586368"/>
              <a:gd name="connsiteY2661" fmla="*/ 4564948 h 6479439"/>
              <a:gd name="connsiteX2662" fmla="*/ 1196556 w 9586368"/>
              <a:gd name="connsiteY2662" fmla="*/ 4560909 h 6479439"/>
              <a:gd name="connsiteX2663" fmla="*/ 1196556 w 9586368"/>
              <a:gd name="connsiteY2663" fmla="*/ 4551038 h 6479439"/>
              <a:gd name="connsiteX2664" fmla="*/ 961262 w 9586368"/>
              <a:gd name="connsiteY2664" fmla="*/ 4546999 h 6479439"/>
              <a:gd name="connsiteX2665" fmla="*/ 971172 w 9586368"/>
              <a:gd name="connsiteY2665" fmla="*/ 4546999 h 6479439"/>
              <a:gd name="connsiteX2666" fmla="*/ 975191 w 9586368"/>
              <a:gd name="connsiteY2666" fmla="*/ 4551038 h 6479439"/>
              <a:gd name="connsiteX2667" fmla="*/ 975191 w 9586368"/>
              <a:gd name="connsiteY2667" fmla="*/ 4560909 h 6479439"/>
              <a:gd name="connsiteX2668" fmla="*/ 971172 w 9586368"/>
              <a:gd name="connsiteY2668" fmla="*/ 4564948 h 6479439"/>
              <a:gd name="connsiteX2669" fmla="*/ 961262 w 9586368"/>
              <a:gd name="connsiteY2669" fmla="*/ 4564948 h 6479439"/>
              <a:gd name="connsiteX2670" fmla="*/ 957243 w 9586368"/>
              <a:gd name="connsiteY2670" fmla="*/ 4560909 h 6479439"/>
              <a:gd name="connsiteX2671" fmla="*/ 957243 w 9586368"/>
              <a:gd name="connsiteY2671" fmla="*/ 4551038 h 6479439"/>
              <a:gd name="connsiteX2672" fmla="*/ 9572438 w 9586368"/>
              <a:gd name="connsiteY2672" fmla="*/ 4546948 h 6479439"/>
              <a:gd name="connsiteX2673" fmla="*/ 9582349 w 9586368"/>
              <a:gd name="connsiteY2673" fmla="*/ 4546948 h 6479439"/>
              <a:gd name="connsiteX2674" fmla="*/ 9586368 w 9586368"/>
              <a:gd name="connsiteY2674" fmla="*/ 4550987 h 6479439"/>
              <a:gd name="connsiteX2675" fmla="*/ 9586368 w 9586368"/>
              <a:gd name="connsiteY2675" fmla="*/ 4560858 h 6479439"/>
              <a:gd name="connsiteX2676" fmla="*/ 9582349 w 9586368"/>
              <a:gd name="connsiteY2676" fmla="*/ 4564897 h 6479439"/>
              <a:gd name="connsiteX2677" fmla="*/ 9572438 w 9586368"/>
              <a:gd name="connsiteY2677" fmla="*/ 4564897 h 6479439"/>
              <a:gd name="connsiteX2678" fmla="*/ 9568419 w 9586368"/>
              <a:gd name="connsiteY2678" fmla="*/ 4560858 h 6479439"/>
              <a:gd name="connsiteX2679" fmla="*/ 9568419 w 9586368"/>
              <a:gd name="connsiteY2679" fmla="*/ 4550987 h 6479439"/>
              <a:gd name="connsiteX2680" fmla="*/ 9333125 w 9586368"/>
              <a:gd name="connsiteY2680" fmla="*/ 4546948 h 6479439"/>
              <a:gd name="connsiteX2681" fmla="*/ 9343036 w 9586368"/>
              <a:gd name="connsiteY2681" fmla="*/ 4546948 h 6479439"/>
              <a:gd name="connsiteX2682" fmla="*/ 9347055 w 9586368"/>
              <a:gd name="connsiteY2682" fmla="*/ 4550987 h 6479439"/>
              <a:gd name="connsiteX2683" fmla="*/ 9347055 w 9586368"/>
              <a:gd name="connsiteY2683" fmla="*/ 4560858 h 6479439"/>
              <a:gd name="connsiteX2684" fmla="*/ 9343036 w 9586368"/>
              <a:gd name="connsiteY2684" fmla="*/ 4564897 h 6479439"/>
              <a:gd name="connsiteX2685" fmla="*/ 9333125 w 9586368"/>
              <a:gd name="connsiteY2685" fmla="*/ 4564897 h 6479439"/>
              <a:gd name="connsiteX2686" fmla="*/ 9329106 w 9586368"/>
              <a:gd name="connsiteY2686" fmla="*/ 4560858 h 6479439"/>
              <a:gd name="connsiteX2687" fmla="*/ 9329106 w 9586368"/>
              <a:gd name="connsiteY2687" fmla="*/ 4550987 h 6479439"/>
              <a:gd name="connsiteX2688" fmla="*/ 9093811 w 9586368"/>
              <a:gd name="connsiteY2688" fmla="*/ 4546948 h 6479439"/>
              <a:gd name="connsiteX2689" fmla="*/ 9103722 w 9586368"/>
              <a:gd name="connsiteY2689" fmla="*/ 4546948 h 6479439"/>
              <a:gd name="connsiteX2690" fmla="*/ 9107741 w 9586368"/>
              <a:gd name="connsiteY2690" fmla="*/ 4550987 h 6479439"/>
              <a:gd name="connsiteX2691" fmla="*/ 9107741 w 9586368"/>
              <a:gd name="connsiteY2691" fmla="*/ 4560858 h 6479439"/>
              <a:gd name="connsiteX2692" fmla="*/ 9103722 w 9586368"/>
              <a:gd name="connsiteY2692" fmla="*/ 4564897 h 6479439"/>
              <a:gd name="connsiteX2693" fmla="*/ 9093811 w 9586368"/>
              <a:gd name="connsiteY2693" fmla="*/ 4564897 h 6479439"/>
              <a:gd name="connsiteX2694" fmla="*/ 9089792 w 9586368"/>
              <a:gd name="connsiteY2694" fmla="*/ 4560858 h 6479439"/>
              <a:gd name="connsiteX2695" fmla="*/ 9089792 w 9586368"/>
              <a:gd name="connsiteY2695" fmla="*/ 4550987 h 6479439"/>
              <a:gd name="connsiteX2696" fmla="*/ 8854496 w 9586368"/>
              <a:gd name="connsiteY2696" fmla="*/ 4546948 h 6479439"/>
              <a:gd name="connsiteX2697" fmla="*/ 8864407 w 9586368"/>
              <a:gd name="connsiteY2697" fmla="*/ 4546948 h 6479439"/>
              <a:gd name="connsiteX2698" fmla="*/ 8868426 w 9586368"/>
              <a:gd name="connsiteY2698" fmla="*/ 4550987 h 6479439"/>
              <a:gd name="connsiteX2699" fmla="*/ 8868426 w 9586368"/>
              <a:gd name="connsiteY2699" fmla="*/ 4560858 h 6479439"/>
              <a:gd name="connsiteX2700" fmla="*/ 8864407 w 9586368"/>
              <a:gd name="connsiteY2700" fmla="*/ 4564897 h 6479439"/>
              <a:gd name="connsiteX2701" fmla="*/ 8854496 w 9586368"/>
              <a:gd name="connsiteY2701" fmla="*/ 4564897 h 6479439"/>
              <a:gd name="connsiteX2702" fmla="*/ 8850477 w 9586368"/>
              <a:gd name="connsiteY2702" fmla="*/ 4560858 h 6479439"/>
              <a:gd name="connsiteX2703" fmla="*/ 8850477 w 9586368"/>
              <a:gd name="connsiteY2703" fmla="*/ 4550987 h 6479439"/>
              <a:gd name="connsiteX2704" fmla="*/ 8615184 w 9586368"/>
              <a:gd name="connsiteY2704" fmla="*/ 4546948 h 6479439"/>
              <a:gd name="connsiteX2705" fmla="*/ 8625095 w 9586368"/>
              <a:gd name="connsiteY2705" fmla="*/ 4546948 h 6479439"/>
              <a:gd name="connsiteX2706" fmla="*/ 8629114 w 9586368"/>
              <a:gd name="connsiteY2706" fmla="*/ 4550987 h 6479439"/>
              <a:gd name="connsiteX2707" fmla="*/ 8629114 w 9586368"/>
              <a:gd name="connsiteY2707" fmla="*/ 4560858 h 6479439"/>
              <a:gd name="connsiteX2708" fmla="*/ 8625095 w 9586368"/>
              <a:gd name="connsiteY2708" fmla="*/ 4564897 h 6479439"/>
              <a:gd name="connsiteX2709" fmla="*/ 8615184 w 9586368"/>
              <a:gd name="connsiteY2709" fmla="*/ 4564897 h 6479439"/>
              <a:gd name="connsiteX2710" fmla="*/ 8611165 w 9586368"/>
              <a:gd name="connsiteY2710" fmla="*/ 4560858 h 6479439"/>
              <a:gd name="connsiteX2711" fmla="*/ 8611165 w 9586368"/>
              <a:gd name="connsiteY2711" fmla="*/ 4550987 h 6479439"/>
              <a:gd name="connsiteX2712" fmla="*/ 8375869 w 9586368"/>
              <a:gd name="connsiteY2712" fmla="*/ 4546948 h 6479439"/>
              <a:gd name="connsiteX2713" fmla="*/ 8385779 w 9586368"/>
              <a:gd name="connsiteY2713" fmla="*/ 4546948 h 6479439"/>
              <a:gd name="connsiteX2714" fmla="*/ 8389799 w 9586368"/>
              <a:gd name="connsiteY2714" fmla="*/ 4550987 h 6479439"/>
              <a:gd name="connsiteX2715" fmla="*/ 8389799 w 9586368"/>
              <a:gd name="connsiteY2715" fmla="*/ 4560858 h 6479439"/>
              <a:gd name="connsiteX2716" fmla="*/ 8385779 w 9586368"/>
              <a:gd name="connsiteY2716" fmla="*/ 4564897 h 6479439"/>
              <a:gd name="connsiteX2717" fmla="*/ 8375869 w 9586368"/>
              <a:gd name="connsiteY2717" fmla="*/ 4564897 h 6479439"/>
              <a:gd name="connsiteX2718" fmla="*/ 8371850 w 9586368"/>
              <a:gd name="connsiteY2718" fmla="*/ 4560858 h 6479439"/>
              <a:gd name="connsiteX2719" fmla="*/ 8371850 w 9586368"/>
              <a:gd name="connsiteY2719" fmla="*/ 4550987 h 6479439"/>
              <a:gd name="connsiteX2720" fmla="*/ 8136553 w 9586368"/>
              <a:gd name="connsiteY2720" fmla="*/ 4546948 h 6479439"/>
              <a:gd name="connsiteX2721" fmla="*/ 8146464 w 9586368"/>
              <a:gd name="connsiteY2721" fmla="*/ 4546948 h 6479439"/>
              <a:gd name="connsiteX2722" fmla="*/ 8150483 w 9586368"/>
              <a:gd name="connsiteY2722" fmla="*/ 4550987 h 6479439"/>
              <a:gd name="connsiteX2723" fmla="*/ 8150483 w 9586368"/>
              <a:gd name="connsiteY2723" fmla="*/ 4560858 h 6479439"/>
              <a:gd name="connsiteX2724" fmla="*/ 8146464 w 9586368"/>
              <a:gd name="connsiteY2724" fmla="*/ 4564897 h 6479439"/>
              <a:gd name="connsiteX2725" fmla="*/ 8136553 w 9586368"/>
              <a:gd name="connsiteY2725" fmla="*/ 4564897 h 6479439"/>
              <a:gd name="connsiteX2726" fmla="*/ 8132534 w 9586368"/>
              <a:gd name="connsiteY2726" fmla="*/ 4560858 h 6479439"/>
              <a:gd name="connsiteX2727" fmla="*/ 8132534 w 9586368"/>
              <a:gd name="connsiteY2727" fmla="*/ 4550987 h 6479439"/>
              <a:gd name="connsiteX2728" fmla="*/ 7897241 w 9586368"/>
              <a:gd name="connsiteY2728" fmla="*/ 4546948 h 6479439"/>
              <a:gd name="connsiteX2729" fmla="*/ 7907151 w 9586368"/>
              <a:gd name="connsiteY2729" fmla="*/ 4546948 h 6479439"/>
              <a:gd name="connsiteX2730" fmla="*/ 7911170 w 9586368"/>
              <a:gd name="connsiteY2730" fmla="*/ 4550987 h 6479439"/>
              <a:gd name="connsiteX2731" fmla="*/ 7911170 w 9586368"/>
              <a:gd name="connsiteY2731" fmla="*/ 4560858 h 6479439"/>
              <a:gd name="connsiteX2732" fmla="*/ 7907151 w 9586368"/>
              <a:gd name="connsiteY2732" fmla="*/ 4564897 h 6479439"/>
              <a:gd name="connsiteX2733" fmla="*/ 7897241 w 9586368"/>
              <a:gd name="connsiteY2733" fmla="*/ 4564897 h 6479439"/>
              <a:gd name="connsiteX2734" fmla="*/ 7893222 w 9586368"/>
              <a:gd name="connsiteY2734" fmla="*/ 4560858 h 6479439"/>
              <a:gd name="connsiteX2735" fmla="*/ 7893222 w 9586368"/>
              <a:gd name="connsiteY2735" fmla="*/ 4550987 h 6479439"/>
              <a:gd name="connsiteX2736" fmla="*/ 7657926 w 9586368"/>
              <a:gd name="connsiteY2736" fmla="*/ 4546948 h 6479439"/>
              <a:gd name="connsiteX2737" fmla="*/ 7667836 w 9586368"/>
              <a:gd name="connsiteY2737" fmla="*/ 4546948 h 6479439"/>
              <a:gd name="connsiteX2738" fmla="*/ 7671855 w 9586368"/>
              <a:gd name="connsiteY2738" fmla="*/ 4550987 h 6479439"/>
              <a:gd name="connsiteX2739" fmla="*/ 7671855 w 9586368"/>
              <a:gd name="connsiteY2739" fmla="*/ 4560858 h 6479439"/>
              <a:gd name="connsiteX2740" fmla="*/ 7667836 w 9586368"/>
              <a:gd name="connsiteY2740" fmla="*/ 4564897 h 6479439"/>
              <a:gd name="connsiteX2741" fmla="*/ 7657926 w 9586368"/>
              <a:gd name="connsiteY2741" fmla="*/ 4564897 h 6479439"/>
              <a:gd name="connsiteX2742" fmla="*/ 7653906 w 9586368"/>
              <a:gd name="connsiteY2742" fmla="*/ 4560858 h 6479439"/>
              <a:gd name="connsiteX2743" fmla="*/ 7653906 w 9586368"/>
              <a:gd name="connsiteY2743" fmla="*/ 4550987 h 6479439"/>
              <a:gd name="connsiteX2744" fmla="*/ 7418611 w 9586368"/>
              <a:gd name="connsiteY2744" fmla="*/ 4546948 h 6479439"/>
              <a:gd name="connsiteX2745" fmla="*/ 7428521 w 9586368"/>
              <a:gd name="connsiteY2745" fmla="*/ 4546948 h 6479439"/>
              <a:gd name="connsiteX2746" fmla="*/ 7432540 w 9586368"/>
              <a:gd name="connsiteY2746" fmla="*/ 4550987 h 6479439"/>
              <a:gd name="connsiteX2747" fmla="*/ 7432540 w 9586368"/>
              <a:gd name="connsiteY2747" fmla="*/ 4560858 h 6479439"/>
              <a:gd name="connsiteX2748" fmla="*/ 7428521 w 9586368"/>
              <a:gd name="connsiteY2748" fmla="*/ 4564897 h 6479439"/>
              <a:gd name="connsiteX2749" fmla="*/ 7418611 w 9586368"/>
              <a:gd name="connsiteY2749" fmla="*/ 4564897 h 6479439"/>
              <a:gd name="connsiteX2750" fmla="*/ 7414592 w 9586368"/>
              <a:gd name="connsiteY2750" fmla="*/ 4560858 h 6479439"/>
              <a:gd name="connsiteX2751" fmla="*/ 7414592 w 9586368"/>
              <a:gd name="connsiteY2751" fmla="*/ 4550987 h 6479439"/>
              <a:gd name="connsiteX2752" fmla="*/ 7179298 w 9586368"/>
              <a:gd name="connsiteY2752" fmla="*/ 4546948 h 6479439"/>
              <a:gd name="connsiteX2753" fmla="*/ 7189209 w 9586368"/>
              <a:gd name="connsiteY2753" fmla="*/ 4546948 h 6479439"/>
              <a:gd name="connsiteX2754" fmla="*/ 7193228 w 9586368"/>
              <a:gd name="connsiteY2754" fmla="*/ 4550987 h 6479439"/>
              <a:gd name="connsiteX2755" fmla="*/ 7193228 w 9586368"/>
              <a:gd name="connsiteY2755" fmla="*/ 4560858 h 6479439"/>
              <a:gd name="connsiteX2756" fmla="*/ 7189209 w 9586368"/>
              <a:gd name="connsiteY2756" fmla="*/ 4564897 h 6479439"/>
              <a:gd name="connsiteX2757" fmla="*/ 7179298 w 9586368"/>
              <a:gd name="connsiteY2757" fmla="*/ 4564897 h 6479439"/>
              <a:gd name="connsiteX2758" fmla="*/ 7175279 w 9586368"/>
              <a:gd name="connsiteY2758" fmla="*/ 4560858 h 6479439"/>
              <a:gd name="connsiteX2759" fmla="*/ 7175279 w 9586368"/>
              <a:gd name="connsiteY2759" fmla="*/ 4550987 h 6479439"/>
              <a:gd name="connsiteX2760" fmla="*/ 6939983 w 9586368"/>
              <a:gd name="connsiteY2760" fmla="*/ 4546948 h 6479439"/>
              <a:gd name="connsiteX2761" fmla="*/ 6949894 w 9586368"/>
              <a:gd name="connsiteY2761" fmla="*/ 4546948 h 6479439"/>
              <a:gd name="connsiteX2762" fmla="*/ 6953913 w 9586368"/>
              <a:gd name="connsiteY2762" fmla="*/ 4550987 h 6479439"/>
              <a:gd name="connsiteX2763" fmla="*/ 6953913 w 9586368"/>
              <a:gd name="connsiteY2763" fmla="*/ 4560858 h 6479439"/>
              <a:gd name="connsiteX2764" fmla="*/ 6949894 w 9586368"/>
              <a:gd name="connsiteY2764" fmla="*/ 4564897 h 6479439"/>
              <a:gd name="connsiteX2765" fmla="*/ 6939983 w 9586368"/>
              <a:gd name="connsiteY2765" fmla="*/ 4564897 h 6479439"/>
              <a:gd name="connsiteX2766" fmla="*/ 6935964 w 9586368"/>
              <a:gd name="connsiteY2766" fmla="*/ 4560858 h 6479439"/>
              <a:gd name="connsiteX2767" fmla="*/ 6935964 w 9586368"/>
              <a:gd name="connsiteY2767" fmla="*/ 4550987 h 6479439"/>
              <a:gd name="connsiteX2768" fmla="*/ 6700670 w 9586368"/>
              <a:gd name="connsiteY2768" fmla="*/ 4546948 h 6479439"/>
              <a:gd name="connsiteX2769" fmla="*/ 6710581 w 9586368"/>
              <a:gd name="connsiteY2769" fmla="*/ 4546948 h 6479439"/>
              <a:gd name="connsiteX2770" fmla="*/ 6714600 w 9586368"/>
              <a:gd name="connsiteY2770" fmla="*/ 4550987 h 6479439"/>
              <a:gd name="connsiteX2771" fmla="*/ 6714600 w 9586368"/>
              <a:gd name="connsiteY2771" fmla="*/ 4560858 h 6479439"/>
              <a:gd name="connsiteX2772" fmla="*/ 6710581 w 9586368"/>
              <a:gd name="connsiteY2772" fmla="*/ 4564897 h 6479439"/>
              <a:gd name="connsiteX2773" fmla="*/ 6700670 w 9586368"/>
              <a:gd name="connsiteY2773" fmla="*/ 4564897 h 6479439"/>
              <a:gd name="connsiteX2774" fmla="*/ 6696651 w 9586368"/>
              <a:gd name="connsiteY2774" fmla="*/ 4560858 h 6479439"/>
              <a:gd name="connsiteX2775" fmla="*/ 6696651 w 9586368"/>
              <a:gd name="connsiteY2775" fmla="*/ 4550987 h 6479439"/>
              <a:gd name="connsiteX2776" fmla="*/ 6461356 w 9586368"/>
              <a:gd name="connsiteY2776" fmla="*/ 4546948 h 6479439"/>
              <a:gd name="connsiteX2777" fmla="*/ 6471266 w 9586368"/>
              <a:gd name="connsiteY2777" fmla="*/ 4546948 h 6479439"/>
              <a:gd name="connsiteX2778" fmla="*/ 6475285 w 9586368"/>
              <a:gd name="connsiteY2778" fmla="*/ 4550987 h 6479439"/>
              <a:gd name="connsiteX2779" fmla="*/ 6475285 w 9586368"/>
              <a:gd name="connsiteY2779" fmla="*/ 4560858 h 6479439"/>
              <a:gd name="connsiteX2780" fmla="*/ 6471266 w 9586368"/>
              <a:gd name="connsiteY2780" fmla="*/ 4564897 h 6479439"/>
              <a:gd name="connsiteX2781" fmla="*/ 6461356 w 9586368"/>
              <a:gd name="connsiteY2781" fmla="*/ 4564897 h 6479439"/>
              <a:gd name="connsiteX2782" fmla="*/ 6457337 w 9586368"/>
              <a:gd name="connsiteY2782" fmla="*/ 4560858 h 6479439"/>
              <a:gd name="connsiteX2783" fmla="*/ 6457337 w 9586368"/>
              <a:gd name="connsiteY2783" fmla="*/ 4550987 h 6479439"/>
              <a:gd name="connsiteX2784" fmla="*/ 6222042 w 9586368"/>
              <a:gd name="connsiteY2784" fmla="*/ 4546948 h 6479439"/>
              <a:gd name="connsiteX2785" fmla="*/ 6231952 w 9586368"/>
              <a:gd name="connsiteY2785" fmla="*/ 4546948 h 6479439"/>
              <a:gd name="connsiteX2786" fmla="*/ 6235971 w 9586368"/>
              <a:gd name="connsiteY2786" fmla="*/ 4550987 h 6479439"/>
              <a:gd name="connsiteX2787" fmla="*/ 6235971 w 9586368"/>
              <a:gd name="connsiteY2787" fmla="*/ 4560858 h 6479439"/>
              <a:gd name="connsiteX2788" fmla="*/ 6231952 w 9586368"/>
              <a:gd name="connsiteY2788" fmla="*/ 4564897 h 6479439"/>
              <a:gd name="connsiteX2789" fmla="*/ 6222042 w 9586368"/>
              <a:gd name="connsiteY2789" fmla="*/ 4564897 h 6479439"/>
              <a:gd name="connsiteX2790" fmla="*/ 6218023 w 9586368"/>
              <a:gd name="connsiteY2790" fmla="*/ 4560858 h 6479439"/>
              <a:gd name="connsiteX2791" fmla="*/ 6218023 w 9586368"/>
              <a:gd name="connsiteY2791" fmla="*/ 4550987 h 6479439"/>
              <a:gd name="connsiteX2792" fmla="*/ 5982729 w 9586368"/>
              <a:gd name="connsiteY2792" fmla="*/ 4546948 h 6479439"/>
              <a:gd name="connsiteX2793" fmla="*/ 5992639 w 9586368"/>
              <a:gd name="connsiteY2793" fmla="*/ 4546948 h 6479439"/>
              <a:gd name="connsiteX2794" fmla="*/ 5996658 w 9586368"/>
              <a:gd name="connsiteY2794" fmla="*/ 4550987 h 6479439"/>
              <a:gd name="connsiteX2795" fmla="*/ 5996658 w 9586368"/>
              <a:gd name="connsiteY2795" fmla="*/ 4560858 h 6479439"/>
              <a:gd name="connsiteX2796" fmla="*/ 5992639 w 9586368"/>
              <a:gd name="connsiteY2796" fmla="*/ 4564897 h 6479439"/>
              <a:gd name="connsiteX2797" fmla="*/ 5982729 w 9586368"/>
              <a:gd name="connsiteY2797" fmla="*/ 4564897 h 6479439"/>
              <a:gd name="connsiteX2798" fmla="*/ 5978710 w 9586368"/>
              <a:gd name="connsiteY2798" fmla="*/ 4560858 h 6479439"/>
              <a:gd name="connsiteX2799" fmla="*/ 5978710 w 9586368"/>
              <a:gd name="connsiteY2799" fmla="*/ 4550987 h 6479439"/>
              <a:gd name="connsiteX2800" fmla="*/ 5743412 w 9586368"/>
              <a:gd name="connsiteY2800" fmla="*/ 4546948 h 6479439"/>
              <a:gd name="connsiteX2801" fmla="*/ 5753323 w 9586368"/>
              <a:gd name="connsiteY2801" fmla="*/ 4546948 h 6479439"/>
              <a:gd name="connsiteX2802" fmla="*/ 5757342 w 9586368"/>
              <a:gd name="connsiteY2802" fmla="*/ 4550987 h 6479439"/>
              <a:gd name="connsiteX2803" fmla="*/ 5757342 w 9586368"/>
              <a:gd name="connsiteY2803" fmla="*/ 4560858 h 6479439"/>
              <a:gd name="connsiteX2804" fmla="*/ 5753323 w 9586368"/>
              <a:gd name="connsiteY2804" fmla="*/ 4564897 h 6479439"/>
              <a:gd name="connsiteX2805" fmla="*/ 5743412 w 9586368"/>
              <a:gd name="connsiteY2805" fmla="*/ 4564897 h 6479439"/>
              <a:gd name="connsiteX2806" fmla="*/ 5739393 w 9586368"/>
              <a:gd name="connsiteY2806" fmla="*/ 4560858 h 6479439"/>
              <a:gd name="connsiteX2807" fmla="*/ 5739393 w 9586368"/>
              <a:gd name="connsiteY2807" fmla="*/ 4550987 h 6479439"/>
              <a:gd name="connsiteX2808" fmla="*/ 5504099 w 9586368"/>
              <a:gd name="connsiteY2808" fmla="*/ 4546948 h 6479439"/>
              <a:gd name="connsiteX2809" fmla="*/ 5514010 w 9586368"/>
              <a:gd name="connsiteY2809" fmla="*/ 4546948 h 6479439"/>
              <a:gd name="connsiteX2810" fmla="*/ 5518029 w 9586368"/>
              <a:gd name="connsiteY2810" fmla="*/ 4550987 h 6479439"/>
              <a:gd name="connsiteX2811" fmla="*/ 5518029 w 9586368"/>
              <a:gd name="connsiteY2811" fmla="*/ 4560858 h 6479439"/>
              <a:gd name="connsiteX2812" fmla="*/ 5514010 w 9586368"/>
              <a:gd name="connsiteY2812" fmla="*/ 4564897 h 6479439"/>
              <a:gd name="connsiteX2813" fmla="*/ 5504099 w 9586368"/>
              <a:gd name="connsiteY2813" fmla="*/ 4564897 h 6479439"/>
              <a:gd name="connsiteX2814" fmla="*/ 5500080 w 9586368"/>
              <a:gd name="connsiteY2814" fmla="*/ 4560858 h 6479439"/>
              <a:gd name="connsiteX2815" fmla="*/ 5500080 w 9586368"/>
              <a:gd name="connsiteY2815" fmla="*/ 4550987 h 6479439"/>
              <a:gd name="connsiteX2816" fmla="*/ 5264784 w 9586368"/>
              <a:gd name="connsiteY2816" fmla="*/ 4546948 h 6479439"/>
              <a:gd name="connsiteX2817" fmla="*/ 5274694 w 9586368"/>
              <a:gd name="connsiteY2817" fmla="*/ 4546948 h 6479439"/>
              <a:gd name="connsiteX2818" fmla="*/ 5278713 w 9586368"/>
              <a:gd name="connsiteY2818" fmla="*/ 4550987 h 6479439"/>
              <a:gd name="connsiteX2819" fmla="*/ 5278713 w 9586368"/>
              <a:gd name="connsiteY2819" fmla="*/ 4560858 h 6479439"/>
              <a:gd name="connsiteX2820" fmla="*/ 5274694 w 9586368"/>
              <a:gd name="connsiteY2820" fmla="*/ 4564897 h 6479439"/>
              <a:gd name="connsiteX2821" fmla="*/ 5264784 w 9586368"/>
              <a:gd name="connsiteY2821" fmla="*/ 4564897 h 6479439"/>
              <a:gd name="connsiteX2822" fmla="*/ 5260765 w 9586368"/>
              <a:gd name="connsiteY2822" fmla="*/ 4560858 h 6479439"/>
              <a:gd name="connsiteX2823" fmla="*/ 5260765 w 9586368"/>
              <a:gd name="connsiteY2823" fmla="*/ 4550987 h 6479439"/>
              <a:gd name="connsiteX2824" fmla="*/ 5025470 w 9586368"/>
              <a:gd name="connsiteY2824" fmla="*/ 4546948 h 6479439"/>
              <a:gd name="connsiteX2825" fmla="*/ 5035381 w 9586368"/>
              <a:gd name="connsiteY2825" fmla="*/ 4546948 h 6479439"/>
              <a:gd name="connsiteX2826" fmla="*/ 5039400 w 9586368"/>
              <a:gd name="connsiteY2826" fmla="*/ 4550987 h 6479439"/>
              <a:gd name="connsiteX2827" fmla="*/ 5039400 w 9586368"/>
              <a:gd name="connsiteY2827" fmla="*/ 4560858 h 6479439"/>
              <a:gd name="connsiteX2828" fmla="*/ 5035381 w 9586368"/>
              <a:gd name="connsiteY2828" fmla="*/ 4564897 h 6479439"/>
              <a:gd name="connsiteX2829" fmla="*/ 5025470 w 9586368"/>
              <a:gd name="connsiteY2829" fmla="*/ 4564897 h 6479439"/>
              <a:gd name="connsiteX2830" fmla="*/ 5021451 w 9586368"/>
              <a:gd name="connsiteY2830" fmla="*/ 4560858 h 6479439"/>
              <a:gd name="connsiteX2831" fmla="*/ 5021451 w 9586368"/>
              <a:gd name="connsiteY2831" fmla="*/ 4550987 h 6479439"/>
              <a:gd name="connsiteX2832" fmla="*/ 4786241 w 9586368"/>
              <a:gd name="connsiteY2832" fmla="*/ 4546948 h 6479439"/>
              <a:gd name="connsiteX2833" fmla="*/ 4796152 w 9586368"/>
              <a:gd name="connsiteY2833" fmla="*/ 4546948 h 6479439"/>
              <a:gd name="connsiteX2834" fmla="*/ 4800171 w 9586368"/>
              <a:gd name="connsiteY2834" fmla="*/ 4550987 h 6479439"/>
              <a:gd name="connsiteX2835" fmla="*/ 4800171 w 9586368"/>
              <a:gd name="connsiteY2835" fmla="*/ 4560858 h 6479439"/>
              <a:gd name="connsiteX2836" fmla="*/ 4796152 w 9586368"/>
              <a:gd name="connsiteY2836" fmla="*/ 4564897 h 6479439"/>
              <a:gd name="connsiteX2837" fmla="*/ 4786241 w 9586368"/>
              <a:gd name="connsiteY2837" fmla="*/ 4564897 h 6479439"/>
              <a:gd name="connsiteX2838" fmla="*/ 4782224 w 9586368"/>
              <a:gd name="connsiteY2838" fmla="*/ 4560858 h 6479439"/>
              <a:gd name="connsiteX2839" fmla="*/ 4782224 w 9586368"/>
              <a:gd name="connsiteY2839" fmla="*/ 4550987 h 6479439"/>
              <a:gd name="connsiteX2840" fmla="*/ 4546929 w 9586368"/>
              <a:gd name="connsiteY2840" fmla="*/ 4546948 h 6479439"/>
              <a:gd name="connsiteX2841" fmla="*/ 4556840 w 9586368"/>
              <a:gd name="connsiteY2841" fmla="*/ 4546948 h 6479439"/>
              <a:gd name="connsiteX2842" fmla="*/ 4560859 w 9586368"/>
              <a:gd name="connsiteY2842" fmla="*/ 4550987 h 6479439"/>
              <a:gd name="connsiteX2843" fmla="*/ 4560859 w 9586368"/>
              <a:gd name="connsiteY2843" fmla="*/ 4560858 h 6479439"/>
              <a:gd name="connsiteX2844" fmla="*/ 4556840 w 9586368"/>
              <a:gd name="connsiteY2844" fmla="*/ 4564897 h 6479439"/>
              <a:gd name="connsiteX2845" fmla="*/ 4546929 w 9586368"/>
              <a:gd name="connsiteY2845" fmla="*/ 4564897 h 6479439"/>
              <a:gd name="connsiteX2846" fmla="*/ 4542910 w 9586368"/>
              <a:gd name="connsiteY2846" fmla="*/ 4560858 h 6479439"/>
              <a:gd name="connsiteX2847" fmla="*/ 4542910 w 9586368"/>
              <a:gd name="connsiteY2847" fmla="*/ 4550987 h 6479439"/>
              <a:gd name="connsiteX2848" fmla="*/ 4307612 w 9586368"/>
              <a:gd name="connsiteY2848" fmla="*/ 4546948 h 6479439"/>
              <a:gd name="connsiteX2849" fmla="*/ 4317523 w 9586368"/>
              <a:gd name="connsiteY2849" fmla="*/ 4546948 h 6479439"/>
              <a:gd name="connsiteX2850" fmla="*/ 4321543 w 9586368"/>
              <a:gd name="connsiteY2850" fmla="*/ 4550987 h 6479439"/>
              <a:gd name="connsiteX2851" fmla="*/ 4321543 w 9586368"/>
              <a:gd name="connsiteY2851" fmla="*/ 4560858 h 6479439"/>
              <a:gd name="connsiteX2852" fmla="*/ 4317523 w 9586368"/>
              <a:gd name="connsiteY2852" fmla="*/ 4564897 h 6479439"/>
              <a:gd name="connsiteX2853" fmla="*/ 4307612 w 9586368"/>
              <a:gd name="connsiteY2853" fmla="*/ 4564897 h 6479439"/>
              <a:gd name="connsiteX2854" fmla="*/ 4303595 w 9586368"/>
              <a:gd name="connsiteY2854" fmla="*/ 4560858 h 6479439"/>
              <a:gd name="connsiteX2855" fmla="*/ 4303595 w 9586368"/>
              <a:gd name="connsiteY2855" fmla="*/ 4550987 h 6479439"/>
              <a:gd name="connsiteX2856" fmla="*/ 4068297 w 9586368"/>
              <a:gd name="connsiteY2856" fmla="*/ 4546948 h 6479439"/>
              <a:gd name="connsiteX2857" fmla="*/ 4078210 w 9586368"/>
              <a:gd name="connsiteY2857" fmla="*/ 4546948 h 6479439"/>
              <a:gd name="connsiteX2858" fmla="*/ 4082229 w 9586368"/>
              <a:gd name="connsiteY2858" fmla="*/ 4550987 h 6479439"/>
              <a:gd name="connsiteX2859" fmla="*/ 4082229 w 9586368"/>
              <a:gd name="connsiteY2859" fmla="*/ 4560858 h 6479439"/>
              <a:gd name="connsiteX2860" fmla="*/ 4078210 w 9586368"/>
              <a:gd name="connsiteY2860" fmla="*/ 4564897 h 6479439"/>
              <a:gd name="connsiteX2861" fmla="*/ 4068297 w 9586368"/>
              <a:gd name="connsiteY2861" fmla="*/ 4564897 h 6479439"/>
              <a:gd name="connsiteX2862" fmla="*/ 4064278 w 9586368"/>
              <a:gd name="connsiteY2862" fmla="*/ 4560858 h 6479439"/>
              <a:gd name="connsiteX2863" fmla="*/ 4064278 w 9586368"/>
              <a:gd name="connsiteY2863" fmla="*/ 4550987 h 6479439"/>
              <a:gd name="connsiteX2864" fmla="*/ 3828990 w 9586368"/>
              <a:gd name="connsiteY2864" fmla="*/ 4546948 h 6479439"/>
              <a:gd name="connsiteX2865" fmla="*/ 3838899 w 9586368"/>
              <a:gd name="connsiteY2865" fmla="*/ 4546948 h 6479439"/>
              <a:gd name="connsiteX2866" fmla="*/ 3842917 w 9586368"/>
              <a:gd name="connsiteY2866" fmla="*/ 4550987 h 6479439"/>
              <a:gd name="connsiteX2867" fmla="*/ 3842917 w 9586368"/>
              <a:gd name="connsiteY2867" fmla="*/ 4560858 h 6479439"/>
              <a:gd name="connsiteX2868" fmla="*/ 3838899 w 9586368"/>
              <a:gd name="connsiteY2868" fmla="*/ 4564897 h 6479439"/>
              <a:gd name="connsiteX2869" fmla="*/ 3828990 w 9586368"/>
              <a:gd name="connsiteY2869" fmla="*/ 4564897 h 6479439"/>
              <a:gd name="connsiteX2870" fmla="*/ 3824971 w 9586368"/>
              <a:gd name="connsiteY2870" fmla="*/ 4560858 h 6479439"/>
              <a:gd name="connsiteX2871" fmla="*/ 3824971 w 9586368"/>
              <a:gd name="connsiteY2871" fmla="*/ 4550987 h 6479439"/>
              <a:gd name="connsiteX2872" fmla="*/ 3589676 w 9586368"/>
              <a:gd name="connsiteY2872" fmla="*/ 4546948 h 6479439"/>
              <a:gd name="connsiteX2873" fmla="*/ 3599585 w 9586368"/>
              <a:gd name="connsiteY2873" fmla="*/ 4546948 h 6479439"/>
              <a:gd name="connsiteX2874" fmla="*/ 3603604 w 9586368"/>
              <a:gd name="connsiteY2874" fmla="*/ 4550987 h 6479439"/>
              <a:gd name="connsiteX2875" fmla="*/ 3603604 w 9586368"/>
              <a:gd name="connsiteY2875" fmla="*/ 4560858 h 6479439"/>
              <a:gd name="connsiteX2876" fmla="*/ 3599585 w 9586368"/>
              <a:gd name="connsiteY2876" fmla="*/ 4564897 h 6479439"/>
              <a:gd name="connsiteX2877" fmla="*/ 3589676 w 9586368"/>
              <a:gd name="connsiteY2877" fmla="*/ 4564897 h 6479439"/>
              <a:gd name="connsiteX2878" fmla="*/ 3585657 w 9586368"/>
              <a:gd name="connsiteY2878" fmla="*/ 4560858 h 6479439"/>
              <a:gd name="connsiteX2879" fmla="*/ 3585657 w 9586368"/>
              <a:gd name="connsiteY2879" fmla="*/ 4550987 h 6479439"/>
              <a:gd name="connsiteX2880" fmla="*/ 3350359 w 9586368"/>
              <a:gd name="connsiteY2880" fmla="*/ 4546948 h 6479439"/>
              <a:gd name="connsiteX2881" fmla="*/ 3360268 w 9586368"/>
              <a:gd name="connsiteY2881" fmla="*/ 4546948 h 6479439"/>
              <a:gd name="connsiteX2882" fmla="*/ 3364287 w 9586368"/>
              <a:gd name="connsiteY2882" fmla="*/ 4550987 h 6479439"/>
              <a:gd name="connsiteX2883" fmla="*/ 3364287 w 9586368"/>
              <a:gd name="connsiteY2883" fmla="*/ 4560858 h 6479439"/>
              <a:gd name="connsiteX2884" fmla="*/ 3360268 w 9586368"/>
              <a:gd name="connsiteY2884" fmla="*/ 4564897 h 6479439"/>
              <a:gd name="connsiteX2885" fmla="*/ 3350359 w 9586368"/>
              <a:gd name="connsiteY2885" fmla="*/ 4564897 h 6479439"/>
              <a:gd name="connsiteX2886" fmla="*/ 3346340 w 9586368"/>
              <a:gd name="connsiteY2886" fmla="*/ 4560858 h 6479439"/>
              <a:gd name="connsiteX2887" fmla="*/ 3346340 w 9586368"/>
              <a:gd name="connsiteY2887" fmla="*/ 4550987 h 6479439"/>
              <a:gd name="connsiteX2888" fmla="*/ 3111048 w 9586368"/>
              <a:gd name="connsiteY2888" fmla="*/ 4546948 h 6479439"/>
              <a:gd name="connsiteX2889" fmla="*/ 3120959 w 9586368"/>
              <a:gd name="connsiteY2889" fmla="*/ 4546948 h 6479439"/>
              <a:gd name="connsiteX2890" fmla="*/ 3124977 w 9586368"/>
              <a:gd name="connsiteY2890" fmla="*/ 4550987 h 6479439"/>
              <a:gd name="connsiteX2891" fmla="*/ 3124977 w 9586368"/>
              <a:gd name="connsiteY2891" fmla="*/ 4560858 h 6479439"/>
              <a:gd name="connsiteX2892" fmla="*/ 3120959 w 9586368"/>
              <a:gd name="connsiteY2892" fmla="*/ 4564897 h 6479439"/>
              <a:gd name="connsiteX2893" fmla="*/ 3111048 w 9586368"/>
              <a:gd name="connsiteY2893" fmla="*/ 4564897 h 6479439"/>
              <a:gd name="connsiteX2894" fmla="*/ 3107029 w 9586368"/>
              <a:gd name="connsiteY2894" fmla="*/ 4560858 h 6479439"/>
              <a:gd name="connsiteX2895" fmla="*/ 3107029 w 9586368"/>
              <a:gd name="connsiteY2895" fmla="*/ 4550987 h 6479439"/>
              <a:gd name="connsiteX2896" fmla="*/ 2871737 w 9586368"/>
              <a:gd name="connsiteY2896" fmla="*/ 4546948 h 6479439"/>
              <a:gd name="connsiteX2897" fmla="*/ 2881646 w 9586368"/>
              <a:gd name="connsiteY2897" fmla="*/ 4546948 h 6479439"/>
              <a:gd name="connsiteX2898" fmla="*/ 2885666 w 9586368"/>
              <a:gd name="connsiteY2898" fmla="*/ 4550987 h 6479439"/>
              <a:gd name="connsiteX2899" fmla="*/ 2885666 w 9586368"/>
              <a:gd name="connsiteY2899" fmla="*/ 4560858 h 6479439"/>
              <a:gd name="connsiteX2900" fmla="*/ 2881646 w 9586368"/>
              <a:gd name="connsiteY2900" fmla="*/ 4564897 h 6479439"/>
              <a:gd name="connsiteX2901" fmla="*/ 2871737 w 9586368"/>
              <a:gd name="connsiteY2901" fmla="*/ 4564897 h 6479439"/>
              <a:gd name="connsiteX2902" fmla="*/ 2867717 w 9586368"/>
              <a:gd name="connsiteY2902" fmla="*/ 4560858 h 6479439"/>
              <a:gd name="connsiteX2903" fmla="*/ 2867717 w 9586368"/>
              <a:gd name="connsiteY2903" fmla="*/ 4550987 h 6479439"/>
              <a:gd name="connsiteX2904" fmla="*/ 2632423 w 9586368"/>
              <a:gd name="connsiteY2904" fmla="*/ 4546948 h 6479439"/>
              <a:gd name="connsiteX2905" fmla="*/ 2642334 w 9586368"/>
              <a:gd name="connsiteY2905" fmla="*/ 4546948 h 6479439"/>
              <a:gd name="connsiteX2906" fmla="*/ 2646352 w 9586368"/>
              <a:gd name="connsiteY2906" fmla="*/ 4550987 h 6479439"/>
              <a:gd name="connsiteX2907" fmla="*/ 2646352 w 9586368"/>
              <a:gd name="connsiteY2907" fmla="*/ 4560858 h 6479439"/>
              <a:gd name="connsiteX2908" fmla="*/ 2642334 w 9586368"/>
              <a:gd name="connsiteY2908" fmla="*/ 4564897 h 6479439"/>
              <a:gd name="connsiteX2909" fmla="*/ 2632423 w 9586368"/>
              <a:gd name="connsiteY2909" fmla="*/ 4564897 h 6479439"/>
              <a:gd name="connsiteX2910" fmla="*/ 2628404 w 9586368"/>
              <a:gd name="connsiteY2910" fmla="*/ 4560858 h 6479439"/>
              <a:gd name="connsiteX2911" fmla="*/ 2628404 w 9586368"/>
              <a:gd name="connsiteY2911" fmla="*/ 4550987 h 6479439"/>
              <a:gd name="connsiteX2912" fmla="*/ 2393104 w 9586368"/>
              <a:gd name="connsiteY2912" fmla="*/ 4546948 h 6479439"/>
              <a:gd name="connsiteX2913" fmla="*/ 2403015 w 9586368"/>
              <a:gd name="connsiteY2913" fmla="*/ 4546948 h 6479439"/>
              <a:gd name="connsiteX2914" fmla="*/ 2407034 w 9586368"/>
              <a:gd name="connsiteY2914" fmla="*/ 4550987 h 6479439"/>
              <a:gd name="connsiteX2915" fmla="*/ 2407034 w 9586368"/>
              <a:gd name="connsiteY2915" fmla="*/ 4560858 h 6479439"/>
              <a:gd name="connsiteX2916" fmla="*/ 2403015 w 9586368"/>
              <a:gd name="connsiteY2916" fmla="*/ 4564897 h 6479439"/>
              <a:gd name="connsiteX2917" fmla="*/ 2393104 w 9586368"/>
              <a:gd name="connsiteY2917" fmla="*/ 4564897 h 6479439"/>
              <a:gd name="connsiteX2918" fmla="*/ 2389087 w 9586368"/>
              <a:gd name="connsiteY2918" fmla="*/ 4560858 h 6479439"/>
              <a:gd name="connsiteX2919" fmla="*/ 2389087 w 9586368"/>
              <a:gd name="connsiteY2919" fmla="*/ 4550987 h 6479439"/>
              <a:gd name="connsiteX2920" fmla="*/ 721964 w 9586368"/>
              <a:gd name="connsiteY2920" fmla="*/ 4546948 h 6479439"/>
              <a:gd name="connsiteX2921" fmla="*/ 731874 w 9586368"/>
              <a:gd name="connsiteY2921" fmla="*/ 4546948 h 6479439"/>
              <a:gd name="connsiteX2922" fmla="*/ 735893 w 9586368"/>
              <a:gd name="connsiteY2922" fmla="*/ 4550987 h 6479439"/>
              <a:gd name="connsiteX2923" fmla="*/ 735893 w 9586368"/>
              <a:gd name="connsiteY2923" fmla="*/ 4560858 h 6479439"/>
              <a:gd name="connsiteX2924" fmla="*/ 731874 w 9586368"/>
              <a:gd name="connsiteY2924" fmla="*/ 4564897 h 6479439"/>
              <a:gd name="connsiteX2925" fmla="*/ 721964 w 9586368"/>
              <a:gd name="connsiteY2925" fmla="*/ 4564897 h 6479439"/>
              <a:gd name="connsiteX2926" fmla="*/ 717945 w 9586368"/>
              <a:gd name="connsiteY2926" fmla="*/ 4560858 h 6479439"/>
              <a:gd name="connsiteX2927" fmla="*/ 717945 w 9586368"/>
              <a:gd name="connsiteY2927" fmla="*/ 4550987 h 6479439"/>
              <a:gd name="connsiteX2928" fmla="*/ 482651 w 9586368"/>
              <a:gd name="connsiteY2928" fmla="*/ 4546948 h 6479439"/>
              <a:gd name="connsiteX2929" fmla="*/ 492562 w 9586368"/>
              <a:gd name="connsiteY2929" fmla="*/ 4546948 h 6479439"/>
              <a:gd name="connsiteX2930" fmla="*/ 496581 w 9586368"/>
              <a:gd name="connsiteY2930" fmla="*/ 4550987 h 6479439"/>
              <a:gd name="connsiteX2931" fmla="*/ 496581 w 9586368"/>
              <a:gd name="connsiteY2931" fmla="*/ 4560858 h 6479439"/>
              <a:gd name="connsiteX2932" fmla="*/ 492562 w 9586368"/>
              <a:gd name="connsiteY2932" fmla="*/ 4564897 h 6479439"/>
              <a:gd name="connsiteX2933" fmla="*/ 482651 w 9586368"/>
              <a:gd name="connsiteY2933" fmla="*/ 4564897 h 6479439"/>
              <a:gd name="connsiteX2934" fmla="*/ 478632 w 9586368"/>
              <a:gd name="connsiteY2934" fmla="*/ 4560858 h 6479439"/>
              <a:gd name="connsiteX2935" fmla="*/ 478632 w 9586368"/>
              <a:gd name="connsiteY2935" fmla="*/ 4550987 h 6479439"/>
              <a:gd name="connsiteX2936" fmla="*/ 243338 w 9586368"/>
              <a:gd name="connsiteY2936" fmla="*/ 4546948 h 6479439"/>
              <a:gd name="connsiteX2937" fmla="*/ 253248 w 9586368"/>
              <a:gd name="connsiteY2937" fmla="*/ 4546948 h 6479439"/>
              <a:gd name="connsiteX2938" fmla="*/ 257267 w 9586368"/>
              <a:gd name="connsiteY2938" fmla="*/ 4550987 h 6479439"/>
              <a:gd name="connsiteX2939" fmla="*/ 257267 w 9586368"/>
              <a:gd name="connsiteY2939" fmla="*/ 4560858 h 6479439"/>
              <a:gd name="connsiteX2940" fmla="*/ 253248 w 9586368"/>
              <a:gd name="connsiteY2940" fmla="*/ 4564897 h 6479439"/>
              <a:gd name="connsiteX2941" fmla="*/ 243338 w 9586368"/>
              <a:gd name="connsiteY2941" fmla="*/ 4564897 h 6479439"/>
              <a:gd name="connsiteX2942" fmla="*/ 239319 w 9586368"/>
              <a:gd name="connsiteY2942" fmla="*/ 4560858 h 6479439"/>
              <a:gd name="connsiteX2943" fmla="*/ 239319 w 9586368"/>
              <a:gd name="connsiteY2943" fmla="*/ 4550987 h 6479439"/>
              <a:gd name="connsiteX2944" fmla="*/ 4025 w 9586368"/>
              <a:gd name="connsiteY2944" fmla="*/ 4546948 h 6479439"/>
              <a:gd name="connsiteX2945" fmla="*/ 13935 w 9586368"/>
              <a:gd name="connsiteY2945" fmla="*/ 4546948 h 6479439"/>
              <a:gd name="connsiteX2946" fmla="*/ 17954 w 9586368"/>
              <a:gd name="connsiteY2946" fmla="*/ 4550987 h 6479439"/>
              <a:gd name="connsiteX2947" fmla="*/ 17954 w 9586368"/>
              <a:gd name="connsiteY2947" fmla="*/ 4560858 h 6479439"/>
              <a:gd name="connsiteX2948" fmla="*/ 13935 w 9586368"/>
              <a:gd name="connsiteY2948" fmla="*/ 4564897 h 6479439"/>
              <a:gd name="connsiteX2949" fmla="*/ 4025 w 9586368"/>
              <a:gd name="connsiteY2949" fmla="*/ 4564897 h 6479439"/>
              <a:gd name="connsiteX2950" fmla="*/ 6 w 9586368"/>
              <a:gd name="connsiteY2950" fmla="*/ 4560858 h 6479439"/>
              <a:gd name="connsiteX2951" fmla="*/ 6 w 9586368"/>
              <a:gd name="connsiteY2951" fmla="*/ 4550987 h 6479439"/>
              <a:gd name="connsiteX2952" fmla="*/ 2157819 w 9586368"/>
              <a:gd name="connsiteY2952" fmla="*/ 4307669 h 6479439"/>
              <a:gd name="connsiteX2953" fmla="*/ 2167729 w 9586368"/>
              <a:gd name="connsiteY2953" fmla="*/ 4307669 h 6479439"/>
              <a:gd name="connsiteX2954" fmla="*/ 2171749 w 9586368"/>
              <a:gd name="connsiteY2954" fmla="*/ 4311708 h 6479439"/>
              <a:gd name="connsiteX2955" fmla="*/ 2171749 w 9586368"/>
              <a:gd name="connsiteY2955" fmla="*/ 4321579 h 6479439"/>
              <a:gd name="connsiteX2956" fmla="*/ 2167729 w 9586368"/>
              <a:gd name="connsiteY2956" fmla="*/ 4325618 h 6479439"/>
              <a:gd name="connsiteX2957" fmla="*/ 2157819 w 9586368"/>
              <a:gd name="connsiteY2957" fmla="*/ 4325618 h 6479439"/>
              <a:gd name="connsiteX2958" fmla="*/ 2153801 w 9586368"/>
              <a:gd name="connsiteY2958" fmla="*/ 4321579 h 6479439"/>
              <a:gd name="connsiteX2959" fmla="*/ 2153801 w 9586368"/>
              <a:gd name="connsiteY2959" fmla="*/ 4311708 h 6479439"/>
              <a:gd name="connsiteX2960" fmla="*/ 1918511 w 9586368"/>
              <a:gd name="connsiteY2960" fmla="*/ 4307669 h 6479439"/>
              <a:gd name="connsiteX2961" fmla="*/ 1928421 w 9586368"/>
              <a:gd name="connsiteY2961" fmla="*/ 4307669 h 6479439"/>
              <a:gd name="connsiteX2962" fmla="*/ 1932440 w 9586368"/>
              <a:gd name="connsiteY2962" fmla="*/ 4311708 h 6479439"/>
              <a:gd name="connsiteX2963" fmla="*/ 1932440 w 9586368"/>
              <a:gd name="connsiteY2963" fmla="*/ 4321579 h 6479439"/>
              <a:gd name="connsiteX2964" fmla="*/ 1928421 w 9586368"/>
              <a:gd name="connsiteY2964" fmla="*/ 4325618 h 6479439"/>
              <a:gd name="connsiteX2965" fmla="*/ 1918511 w 9586368"/>
              <a:gd name="connsiteY2965" fmla="*/ 4325618 h 6479439"/>
              <a:gd name="connsiteX2966" fmla="*/ 1914492 w 9586368"/>
              <a:gd name="connsiteY2966" fmla="*/ 4321579 h 6479439"/>
              <a:gd name="connsiteX2967" fmla="*/ 1914492 w 9586368"/>
              <a:gd name="connsiteY2967" fmla="*/ 4311708 h 6479439"/>
              <a:gd name="connsiteX2968" fmla="*/ 1679206 w 9586368"/>
              <a:gd name="connsiteY2968" fmla="*/ 4307669 h 6479439"/>
              <a:gd name="connsiteX2969" fmla="*/ 1689117 w 9586368"/>
              <a:gd name="connsiteY2969" fmla="*/ 4307669 h 6479439"/>
              <a:gd name="connsiteX2970" fmla="*/ 1693136 w 9586368"/>
              <a:gd name="connsiteY2970" fmla="*/ 4311708 h 6479439"/>
              <a:gd name="connsiteX2971" fmla="*/ 1693136 w 9586368"/>
              <a:gd name="connsiteY2971" fmla="*/ 4321579 h 6479439"/>
              <a:gd name="connsiteX2972" fmla="*/ 1689117 w 9586368"/>
              <a:gd name="connsiteY2972" fmla="*/ 4325618 h 6479439"/>
              <a:gd name="connsiteX2973" fmla="*/ 1679206 w 9586368"/>
              <a:gd name="connsiteY2973" fmla="*/ 4325618 h 6479439"/>
              <a:gd name="connsiteX2974" fmla="*/ 1675188 w 9586368"/>
              <a:gd name="connsiteY2974" fmla="*/ 4321579 h 6479439"/>
              <a:gd name="connsiteX2975" fmla="*/ 1675188 w 9586368"/>
              <a:gd name="connsiteY2975" fmla="*/ 4311708 h 6479439"/>
              <a:gd name="connsiteX2976" fmla="*/ 1439891 w 9586368"/>
              <a:gd name="connsiteY2976" fmla="*/ 4307669 h 6479439"/>
              <a:gd name="connsiteX2977" fmla="*/ 1449801 w 9586368"/>
              <a:gd name="connsiteY2977" fmla="*/ 4307669 h 6479439"/>
              <a:gd name="connsiteX2978" fmla="*/ 1453819 w 9586368"/>
              <a:gd name="connsiteY2978" fmla="*/ 4311708 h 6479439"/>
              <a:gd name="connsiteX2979" fmla="*/ 1453819 w 9586368"/>
              <a:gd name="connsiteY2979" fmla="*/ 4321579 h 6479439"/>
              <a:gd name="connsiteX2980" fmla="*/ 1449801 w 9586368"/>
              <a:gd name="connsiteY2980" fmla="*/ 4325618 h 6479439"/>
              <a:gd name="connsiteX2981" fmla="*/ 1439891 w 9586368"/>
              <a:gd name="connsiteY2981" fmla="*/ 4325618 h 6479439"/>
              <a:gd name="connsiteX2982" fmla="*/ 1435871 w 9586368"/>
              <a:gd name="connsiteY2982" fmla="*/ 4321579 h 6479439"/>
              <a:gd name="connsiteX2983" fmla="*/ 1435871 w 9586368"/>
              <a:gd name="connsiteY2983" fmla="*/ 4311708 h 6479439"/>
              <a:gd name="connsiteX2984" fmla="*/ 1200575 w 9586368"/>
              <a:gd name="connsiteY2984" fmla="*/ 4307669 h 6479439"/>
              <a:gd name="connsiteX2985" fmla="*/ 1210486 w 9586368"/>
              <a:gd name="connsiteY2985" fmla="*/ 4307669 h 6479439"/>
              <a:gd name="connsiteX2986" fmla="*/ 1214505 w 9586368"/>
              <a:gd name="connsiteY2986" fmla="*/ 4311708 h 6479439"/>
              <a:gd name="connsiteX2987" fmla="*/ 1214505 w 9586368"/>
              <a:gd name="connsiteY2987" fmla="*/ 4321579 h 6479439"/>
              <a:gd name="connsiteX2988" fmla="*/ 1210486 w 9586368"/>
              <a:gd name="connsiteY2988" fmla="*/ 4325618 h 6479439"/>
              <a:gd name="connsiteX2989" fmla="*/ 1200575 w 9586368"/>
              <a:gd name="connsiteY2989" fmla="*/ 4325618 h 6479439"/>
              <a:gd name="connsiteX2990" fmla="*/ 1196556 w 9586368"/>
              <a:gd name="connsiteY2990" fmla="*/ 4321579 h 6479439"/>
              <a:gd name="connsiteX2991" fmla="*/ 1196556 w 9586368"/>
              <a:gd name="connsiteY2991" fmla="*/ 4311708 h 6479439"/>
              <a:gd name="connsiteX2992" fmla="*/ 961263 w 9586368"/>
              <a:gd name="connsiteY2992" fmla="*/ 4307669 h 6479439"/>
              <a:gd name="connsiteX2993" fmla="*/ 971173 w 9586368"/>
              <a:gd name="connsiteY2993" fmla="*/ 4307669 h 6479439"/>
              <a:gd name="connsiteX2994" fmla="*/ 975191 w 9586368"/>
              <a:gd name="connsiteY2994" fmla="*/ 4311708 h 6479439"/>
              <a:gd name="connsiteX2995" fmla="*/ 975191 w 9586368"/>
              <a:gd name="connsiteY2995" fmla="*/ 4321579 h 6479439"/>
              <a:gd name="connsiteX2996" fmla="*/ 971173 w 9586368"/>
              <a:gd name="connsiteY2996" fmla="*/ 4325618 h 6479439"/>
              <a:gd name="connsiteX2997" fmla="*/ 961263 w 9586368"/>
              <a:gd name="connsiteY2997" fmla="*/ 4325618 h 6479439"/>
              <a:gd name="connsiteX2998" fmla="*/ 957244 w 9586368"/>
              <a:gd name="connsiteY2998" fmla="*/ 4321579 h 6479439"/>
              <a:gd name="connsiteX2999" fmla="*/ 957244 w 9586368"/>
              <a:gd name="connsiteY2999" fmla="*/ 4311708 h 6479439"/>
              <a:gd name="connsiteX3000" fmla="*/ 9572438 w 9586368"/>
              <a:gd name="connsiteY3000" fmla="*/ 4307617 h 6479439"/>
              <a:gd name="connsiteX3001" fmla="*/ 9582349 w 9586368"/>
              <a:gd name="connsiteY3001" fmla="*/ 4307617 h 6479439"/>
              <a:gd name="connsiteX3002" fmla="*/ 9586368 w 9586368"/>
              <a:gd name="connsiteY3002" fmla="*/ 4311656 h 6479439"/>
              <a:gd name="connsiteX3003" fmla="*/ 9586368 w 9586368"/>
              <a:gd name="connsiteY3003" fmla="*/ 4321527 h 6479439"/>
              <a:gd name="connsiteX3004" fmla="*/ 9582349 w 9586368"/>
              <a:gd name="connsiteY3004" fmla="*/ 4325566 h 6479439"/>
              <a:gd name="connsiteX3005" fmla="*/ 9572438 w 9586368"/>
              <a:gd name="connsiteY3005" fmla="*/ 4325566 h 6479439"/>
              <a:gd name="connsiteX3006" fmla="*/ 9568419 w 9586368"/>
              <a:gd name="connsiteY3006" fmla="*/ 4321527 h 6479439"/>
              <a:gd name="connsiteX3007" fmla="*/ 9568419 w 9586368"/>
              <a:gd name="connsiteY3007" fmla="*/ 4311656 h 6479439"/>
              <a:gd name="connsiteX3008" fmla="*/ 9333125 w 9586368"/>
              <a:gd name="connsiteY3008" fmla="*/ 4307617 h 6479439"/>
              <a:gd name="connsiteX3009" fmla="*/ 9343036 w 9586368"/>
              <a:gd name="connsiteY3009" fmla="*/ 4307617 h 6479439"/>
              <a:gd name="connsiteX3010" fmla="*/ 9347055 w 9586368"/>
              <a:gd name="connsiteY3010" fmla="*/ 4311656 h 6479439"/>
              <a:gd name="connsiteX3011" fmla="*/ 9347055 w 9586368"/>
              <a:gd name="connsiteY3011" fmla="*/ 4321527 h 6479439"/>
              <a:gd name="connsiteX3012" fmla="*/ 9343036 w 9586368"/>
              <a:gd name="connsiteY3012" fmla="*/ 4325566 h 6479439"/>
              <a:gd name="connsiteX3013" fmla="*/ 9333125 w 9586368"/>
              <a:gd name="connsiteY3013" fmla="*/ 4325566 h 6479439"/>
              <a:gd name="connsiteX3014" fmla="*/ 9329106 w 9586368"/>
              <a:gd name="connsiteY3014" fmla="*/ 4321527 h 6479439"/>
              <a:gd name="connsiteX3015" fmla="*/ 9329106 w 9586368"/>
              <a:gd name="connsiteY3015" fmla="*/ 4311656 h 6479439"/>
              <a:gd name="connsiteX3016" fmla="*/ 9093811 w 9586368"/>
              <a:gd name="connsiteY3016" fmla="*/ 4307617 h 6479439"/>
              <a:gd name="connsiteX3017" fmla="*/ 9103722 w 9586368"/>
              <a:gd name="connsiteY3017" fmla="*/ 4307617 h 6479439"/>
              <a:gd name="connsiteX3018" fmla="*/ 9107741 w 9586368"/>
              <a:gd name="connsiteY3018" fmla="*/ 4311656 h 6479439"/>
              <a:gd name="connsiteX3019" fmla="*/ 9107741 w 9586368"/>
              <a:gd name="connsiteY3019" fmla="*/ 4321527 h 6479439"/>
              <a:gd name="connsiteX3020" fmla="*/ 9103722 w 9586368"/>
              <a:gd name="connsiteY3020" fmla="*/ 4325566 h 6479439"/>
              <a:gd name="connsiteX3021" fmla="*/ 9093811 w 9586368"/>
              <a:gd name="connsiteY3021" fmla="*/ 4325566 h 6479439"/>
              <a:gd name="connsiteX3022" fmla="*/ 9089792 w 9586368"/>
              <a:gd name="connsiteY3022" fmla="*/ 4321527 h 6479439"/>
              <a:gd name="connsiteX3023" fmla="*/ 9089792 w 9586368"/>
              <a:gd name="connsiteY3023" fmla="*/ 4311656 h 6479439"/>
              <a:gd name="connsiteX3024" fmla="*/ 8854496 w 9586368"/>
              <a:gd name="connsiteY3024" fmla="*/ 4307617 h 6479439"/>
              <a:gd name="connsiteX3025" fmla="*/ 8864407 w 9586368"/>
              <a:gd name="connsiteY3025" fmla="*/ 4307617 h 6479439"/>
              <a:gd name="connsiteX3026" fmla="*/ 8868426 w 9586368"/>
              <a:gd name="connsiteY3026" fmla="*/ 4311656 h 6479439"/>
              <a:gd name="connsiteX3027" fmla="*/ 8868426 w 9586368"/>
              <a:gd name="connsiteY3027" fmla="*/ 4321527 h 6479439"/>
              <a:gd name="connsiteX3028" fmla="*/ 8864407 w 9586368"/>
              <a:gd name="connsiteY3028" fmla="*/ 4325566 h 6479439"/>
              <a:gd name="connsiteX3029" fmla="*/ 8854496 w 9586368"/>
              <a:gd name="connsiteY3029" fmla="*/ 4325566 h 6479439"/>
              <a:gd name="connsiteX3030" fmla="*/ 8850477 w 9586368"/>
              <a:gd name="connsiteY3030" fmla="*/ 4321527 h 6479439"/>
              <a:gd name="connsiteX3031" fmla="*/ 8850477 w 9586368"/>
              <a:gd name="connsiteY3031" fmla="*/ 4311656 h 6479439"/>
              <a:gd name="connsiteX3032" fmla="*/ 8615184 w 9586368"/>
              <a:gd name="connsiteY3032" fmla="*/ 4307617 h 6479439"/>
              <a:gd name="connsiteX3033" fmla="*/ 8625095 w 9586368"/>
              <a:gd name="connsiteY3033" fmla="*/ 4307617 h 6479439"/>
              <a:gd name="connsiteX3034" fmla="*/ 8629114 w 9586368"/>
              <a:gd name="connsiteY3034" fmla="*/ 4311656 h 6479439"/>
              <a:gd name="connsiteX3035" fmla="*/ 8629114 w 9586368"/>
              <a:gd name="connsiteY3035" fmla="*/ 4321527 h 6479439"/>
              <a:gd name="connsiteX3036" fmla="*/ 8625095 w 9586368"/>
              <a:gd name="connsiteY3036" fmla="*/ 4325566 h 6479439"/>
              <a:gd name="connsiteX3037" fmla="*/ 8615184 w 9586368"/>
              <a:gd name="connsiteY3037" fmla="*/ 4325566 h 6479439"/>
              <a:gd name="connsiteX3038" fmla="*/ 8611165 w 9586368"/>
              <a:gd name="connsiteY3038" fmla="*/ 4321527 h 6479439"/>
              <a:gd name="connsiteX3039" fmla="*/ 8611165 w 9586368"/>
              <a:gd name="connsiteY3039" fmla="*/ 4311656 h 6479439"/>
              <a:gd name="connsiteX3040" fmla="*/ 8375869 w 9586368"/>
              <a:gd name="connsiteY3040" fmla="*/ 4307617 h 6479439"/>
              <a:gd name="connsiteX3041" fmla="*/ 8385779 w 9586368"/>
              <a:gd name="connsiteY3041" fmla="*/ 4307617 h 6479439"/>
              <a:gd name="connsiteX3042" fmla="*/ 8389799 w 9586368"/>
              <a:gd name="connsiteY3042" fmla="*/ 4311656 h 6479439"/>
              <a:gd name="connsiteX3043" fmla="*/ 8389799 w 9586368"/>
              <a:gd name="connsiteY3043" fmla="*/ 4321527 h 6479439"/>
              <a:gd name="connsiteX3044" fmla="*/ 8385779 w 9586368"/>
              <a:gd name="connsiteY3044" fmla="*/ 4325566 h 6479439"/>
              <a:gd name="connsiteX3045" fmla="*/ 8375869 w 9586368"/>
              <a:gd name="connsiteY3045" fmla="*/ 4325566 h 6479439"/>
              <a:gd name="connsiteX3046" fmla="*/ 8371850 w 9586368"/>
              <a:gd name="connsiteY3046" fmla="*/ 4321527 h 6479439"/>
              <a:gd name="connsiteX3047" fmla="*/ 8371850 w 9586368"/>
              <a:gd name="connsiteY3047" fmla="*/ 4311656 h 6479439"/>
              <a:gd name="connsiteX3048" fmla="*/ 8136553 w 9586368"/>
              <a:gd name="connsiteY3048" fmla="*/ 4307617 h 6479439"/>
              <a:gd name="connsiteX3049" fmla="*/ 8146464 w 9586368"/>
              <a:gd name="connsiteY3049" fmla="*/ 4307617 h 6479439"/>
              <a:gd name="connsiteX3050" fmla="*/ 8150483 w 9586368"/>
              <a:gd name="connsiteY3050" fmla="*/ 4311656 h 6479439"/>
              <a:gd name="connsiteX3051" fmla="*/ 8150483 w 9586368"/>
              <a:gd name="connsiteY3051" fmla="*/ 4321527 h 6479439"/>
              <a:gd name="connsiteX3052" fmla="*/ 8146464 w 9586368"/>
              <a:gd name="connsiteY3052" fmla="*/ 4325566 h 6479439"/>
              <a:gd name="connsiteX3053" fmla="*/ 8136553 w 9586368"/>
              <a:gd name="connsiteY3053" fmla="*/ 4325566 h 6479439"/>
              <a:gd name="connsiteX3054" fmla="*/ 8132534 w 9586368"/>
              <a:gd name="connsiteY3054" fmla="*/ 4321527 h 6479439"/>
              <a:gd name="connsiteX3055" fmla="*/ 8132534 w 9586368"/>
              <a:gd name="connsiteY3055" fmla="*/ 4311656 h 6479439"/>
              <a:gd name="connsiteX3056" fmla="*/ 7897241 w 9586368"/>
              <a:gd name="connsiteY3056" fmla="*/ 4307617 h 6479439"/>
              <a:gd name="connsiteX3057" fmla="*/ 7907151 w 9586368"/>
              <a:gd name="connsiteY3057" fmla="*/ 4307617 h 6479439"/>
              <a:gd name="connsiteX3058" fmla="*/ 7911170 w 9586368"/>
              <a:gd name="connsiteY3058" fmla="*/ 4311656 h 6479439"/>
              <a:gd name="connsiteX3059" fmla="*/ 7911170 w 9586368"/>
              <a:gd name="connsiteY3059" fmla="*/ 4321527 h 6479439"/>
              <a:gd name="connsiteX3060" fmla="*/ 7907151 w 9586368"/>
              <a:gd name="connsiteY3060" fmla="*/ 4325566 h 6479439"/>
              <a:gd name="connsiteX3061" fmla="*/ 7897241 w 9586368"/>
              <a:gd name="connsiteY3061" fmla="*/ 4325566 h 6479439"/>
              <a:gd name="connsiteX3062" fmla="*/ 7893222 w 9586368"/>
              <a:gd name="connsiteY3062" fmla="*/ 4321527 h 6479439"/>
              <a:gd name="connsiteX3063" fmla="*/ 7893222 w 9586368"/>
              <a:gd name="connsiteY3063" fmla="*/ 4311656 h 6479439"/>
              <a:gd name="connsiteX3064" fmla="*/ 7657926 w 9586368"/>
              <a:gd name="connsiteY3064" fmla="*/ 4307617 h 6479439"/>
              <a:gd name="connsiteX3065" fmla="*/ 7667836 w 9586368"/>
              <a:gd name="connsiteY3065" fmla="*/ 4307617 h 6479439"/>
              <a:gd name="connsiteX3066" fmla="*/ 7671855 w 9586368"/>
              <a:gd name="connsiteY3066" fmla="*/ 4311656 h 6479439"/>
              <a:gd name="connsiteX3067" fmla="*/ 7671855 w 9586368"/>
              <a:gd name="connsiteY3067" fmla="*/ 4321527 h 6479439"/>
              <a:gd name="connsiteX3068" fmla="*/ 7667836 w 9586368"/>
              <a:gd name="connsiteY3068" fmla="*/ 4325566 h 6479439"/>
              <a:gd name="connsiteX3069" fmla="*/ 7657926 w 9586368"/>
              <a:gd name="connsiteY3069" fmla="*/ 4325566 h 6479439"/>
              <a:gd name="connsiteX3070" fmla="*/ 7653906 w 9586368"/>
              <a:gd name="connsiteY3070" fmla="*/ 4321527 h 6479439"/>
              <a:gd name="connsiteX3071" fmla="*/ 7653906 w 9586368"/>
              <a:gd name="connsiteY3071" fmla="*/ 4311656 h 6479439"/>
              <a:gd name="connsiteX3072" fmla="*/ 7418611 w 9586368"/>
              <a:gd name="connsiteY3072" fmla="*/ 4307617 h 6479439"/>
              <a:gd name="connsiteX3073" fmla="*/ 7428521 w 9586368"/>
              <a:gd name="connsiteY3073" fmla="*/ 4307617 h 6479439"/>
              <a:gd name="connsiteX3074" fmla="*/ 7432540 w 9586368"/>
              <a:gd name="connsiteY3074" fmla="*/ 4311656 h 6479439"/>
              <a:gd name="connsiteX3075" fmla="*/ 7432540 w 9586368"/>
              <a:gd name="connsiteY3075" fmla="*/ 4321527 h 6479439"/>
              <a:gd name="connsiteX3076" fmla="*/ 7428521 w 9586368"/>
              <a:gd name="connsiteY3076" fmla="*/ 4325566 h 6479439"/>
              <a:gd name="connsiteX3077" fmla="*/ 7418611 w 9586368"/>
              <a:gd name="connsiteY3077" fmla="*/ 4325566 h 6479439"/>
              <a:gd name="connsiteX3078" fmla="*/ 7414592 w 9586368"/>
              <a:gd name="connsiteY3078" fmla="*/ 4321527 h 6479439"/>
              <a:gd name="connsiteX3079" fmla="*/ 7414592 w 9586368"/>
              <a:gd name="connsiteY3079" fmla="*/ 4311656 h 6479439"/>
              <a:gd name="connsiteX3080" fmla="*/ 7179298 w 9586368"/>
              <a:gd name="connsiteY3080" fmla="*/ 4307617 h 6479439"/>
              <a:gd name="connsiteX3081" fmla="*/ 7189209 w 9586368"/>
              <a:gd name="connsiteY3081" fmla="*/ 4307617 h 6479439"/>
              <a:gd name="connsiteX3082" fmla="*/ 7193228 w 9586368"/>
              <a:gd name="connsiteY3082" fmla="*/ 4311656 h 6479439"/>
              <a:gd name="connsiteX3083" fmla="*/ 7193228 w 9586368"/>
              <a:gd name="connsiteY3083" fmla="*/ 4321527 h 6479439"/>
              <a:gd name="connsiteX3084" fmla="*/ 7189209 w 9586368"/>
              <a:gd name="connsiteY3084" fmla="*/ 4325566 h 6479439"/>
              <a:gd name="connsiteX3085" fmla="*/ 7179298 w 9586368"/>
              <a:gd name="connsiteY3085" fmla="*/ 4325566 h 6479439"/>
              <a:gd name="connsiteX3086" fmla="*/ 7175279 w 9586368"/>
              <a:gd name="connsiteY3086" fmla="*/ 4321527 h 6479439"/>
              <a:gd name="connsiteX3087" fmla="*/ 7175279 w 9586368"/>
              <a:gd name="connsiteY3087" fmla="*/ 4311656 h 6479439"/>
              <a:gd name="connsiteX3088" fmla="*/ 6939983 w 9586368"/>
              <a:gd name="connsiteY3088" fmla="*/ 4307617 h 6479439"/>
              <a:gd name="connsiteX3089" fmla="*/ 6949894 w 9586368"/>
              <a:gd name="connsiteY3089" fmla="*/ 4307617 h 6479439"/>
              <a:gd name="connsiteX3090" fmla="*/ 6953913 w 9586368"/>
              <a:gd name="connsiteY3090" fmla="*/ 4311656 h 6479439"/>
              <a:gd name="connsiteX3091" fmla="*/ 6953913 w 9586368"/>
              <a:gd name="connsiteY3091" fmla="*/ 4321527 h 6479439"/>
              <a:gd name="connsiteX3092" fmla="*/ 6949894 w 9586368"/>
              <a:gd name="connsiteY3092" fmla="*/ 4325566 h 6479439"/>
              <a:gd name="connsiteX3093" fmla="*/ 6939983 w 9586368"/>
              <a:gd name="connsiteY3093" fmla="*/ 4325566 h 6479439"/>
              <a:gd name="connsiteX3094" fmla="*/ 6935964 w 9586368"/>
              <a:gd name="connsiteY3094" fmla="*/ 4321527 h 6479439"/>
              <a:gd name="connsiteX3095" fmla="*/ 6935964 w 9586368"/>
              <a:gd name="connsiteY3095" fmla="*/ 4311656 h 6479439"/>
              <a:gd name="connsiteX3096" fmla="*/ 6700670 w 9586368"/>
              <a:gd name="connsiteY3096" fmla="*/ 4307617 h 6479439"/>
              <a:gd name="connsiteX3097" fmla="*/ 6710581 w 9586368"/>
              <a:gd name="connsiteY3097" fmla="*/ 4307617 h 6479439"/>
              <a:gd name="connsiteX3098" fmla="*/ 6714600 w 9586368"/>
              <a:gd name="connsiteY3098" fmla="*/ 4311656 h 6479439"/>
              <a:gd name="connsiteX3099" fmla="*/ 6714600 w 9586368"/>
              <a:gd name="connsiteY3099" fmla="*/ 4321527 h 6479439"/>
              <a:gd name="connsiteX3100" fmla="*/ 6710581 w 9586368"/>
              <a:gd name="connsiteY3100" fmla="*/ 4325566 h 6479439"/>
              <a:gd name="connsiteX3101" fmla="*/ 6700670 w 9586368"/>
              <a:gd name="connsiteY3101" fmla="*/ 4325566 h 6479439"/>
              <a:gd name="connsiteX3102" fmla="*/ 6696651 w 9586368"/>
              <a:gd name="connsiteY3102" fmla="*/ 4321527 h 6479439"/>
              <a:gd name="connsiteX3103" fmla="*/ 6696651 w 9586368"/>
              <a:gd name="connsiteY3103" fmla="*/ 4311656 h 6479439"/>
              <a:gd name="connsiteX3104" fmla="*/ 6461356 w 9586368"/>
              <a:gd name="connsiteY3104" fmla="*/ 4307617 h 6479439"/>
              <a:gd name="connsiteX3105" fmla="*/ 6471266 w 9586368"/>
              <a:gd name="connsiteY3105" fmla="*/ 4307617 h 6479439"/>
              <a:gd name="connsiteX3106" fmla="*/ 6475285 w 9586368"/>
              <a:gd name="connsiteY3106" fmla="*/ 4311656 h 6479439"/>
              <a:gd name="connsiteX3107" fmla="*/ 6475285 w 9586368"/>
              <a:gd name="connsiteY3107" fmla="*/ 4321527 h 6479439"/>
              <a:gd name="connsiteX3108" fmla="*/ 6471266 w 9586368"/>
              <a:gd name="connsiteY3108" fmla="*/ 4325566 h 6479439"/>
              <a:gd name="connsiteX3109" fmla="*/ 6461356 w 9586368"/>
              <a:gd name="connsiteY3109" fmla="*/ 4325566 h 6479439"/>
              <a:gd name="connsiteX3110" fmla="*/ 6457337 w 9586368"/>
              <a:gd name="connsiteY3110" fmla="*/ 4321527 h 6479439"/>
              <a:gd name="connsiteX3111" fmla="*/ 6457337 w 9586368"/>
              <a:gd name="connsiteY3111" fmla="*/ 4311656 h 6479439"/>
              <a:gd name="connsiteX3112" fmla="*/ 6222042 w 9586368"/>
              <a:gd name="connsiteY3112" fmla="*/ 4307617 h 6479439"/>
              <a:gd name="connsiteX3113" fmla="*/ 6231952 w 9586368"/>
              <a:gd name="connsiteY3113" fmla="*/ 4307617 h 6479439"/>
              <a:gd name="connsiteX3114" fmla="*/ 6235971 w 9586368"/>
              <a:gd name="connsiteY3114" fmla="*/ 4311656 h 6479439"/>
              <a:gd name="connsiteX3115" fmla="*/ 6235971 w 9586368"/>
              <a:gd name="connsiteY3115" fmla="*/ 4321527 h 6479439"/>
              <a:gd name="connsiteX3116" fmla="*/ 6231952 w 9586368"/>
              <a:gd name="connsiteY3116" fmla="*/ 4325566 h 6479439"/>
              <a:gd name="connsiteX3117" fmla="*/ 6222042 w 9586368"/>
              <a:gd name="connsiteY3117" fmla="*/ 4325566 h 6479439"/>
              <a:gd name="connsiteX3118" fmla="*/ 6218023 w 9586368"/>
              <a:gd name="connsiteY3118" fmla="*/ 4321527 h 6479439"/>
              <a:gd name="connsiteX3119" fmla="*/ 6218023 w 9586368"/>
              <a:gd name="connsiteY3119" fmla="*/ 4311656 h 6479439"/>
              <a:gd name="connsiteX3120" fmla="*/ 5982729 w 9586368"/>
              <a:gd name="connsiteY3120" fmla="*/ 4307617 h 6479439"/>
              <a:gd name="connsiteX3121" fmla="*/ 5992639 w 9586368"/>
              <a:gd name="connsiteY3121" fmla="*/ 4307617 h 6479439"/>
              <a:gd name="connsiteX3122" fmla="*/ 5996658 w 9586368"/>
              <a:gd name="connsiteY3122" fmla="*/ 4311656 h 6479439"/>
              <a:gd name="connsiteX3123" fmla="*/ 5996658 w 9586368"/>
              <a:gd name="connsiteY3123" fmla="*/ 4321527 h 6479439"/>
              <a:gd name="connsiteX3124" fmla="*/ 5992639 w 9586368"/>
              <a:gd name="connsiteY3124" fmla="*/ 4325566 h 6479439"/>
              <a:gd name="connsiteX3125" fmla="*/ 5982729 w 9586368"/>
              <a:gd name="connsiteY3125" fmla="*/ 4325566 h 6479439"/>
              <a:gd name="connsiteX3126" fmla="*/ 5978710 w 9586368"/>
              <a:gd name="connsiteY3126" fmla="*/ 4321527 h 6479439"/>
              <a:gd name="connsiteX3127" fmla="*/ 5978710 w 9586368"/>
              <a:gd name="connsiteY3127" fmla="*/ 4311656 h 6479439"/>
              <a:gd name="connsiteX3128" fmla="*/ 5743412 w 9586368"/>
              <a:gd name="connsiteY3128" fmla="*/ 4307617 h 6479439"/>
              <a:gd name="connsiteX3129" fmla="*/ 5753323 w 9586368"/>
              <a:gd name="connsiteY3129" fmla="*/ 4307617 h 6479439"/>
              <a:gd name="connsiteX3130" fmla="*/ 5757342 w 9586368"/>
              <a:gd name="connsiteY3130" fmla="*/ 4311656 h 6479439"/>
              <a:gd name="connsiteX3131" fmla="*/ 5757342 w 9586368"/>
              <a:gd name="connsiteY3131" fmla="*/ 4321527 h 6479439"/>
              <a:gd name="connsiteX3132" fmla="*/ 5753323 w 9586368"/>
              <a:gd name="connsiteY3132" fmla="*/ 4325566 h 6479439"/>
              <a:gd name="connsiteX3133" fmla="*/ 5743412 w 9586368"/>
              <a:gd name="connsiteY3133" fmla="*/ 4325566 h 6479439"/>
              <a:gd name="connsiteX3134" fmla="*/ 5739393 w 9586368"/>
              <a:gd name="connsiteY3134" fmla="*/ 4321527 h 6479439"/>
              <a:gd name="connsiteX3135" fmla="*/ 5739393 w 9586368"/>
              <a:gd name="connsiteY3135" fmla="*/ 4311656 h 6479439"/>
              <a:gd name="connsiteX3136" fmla="*/ 5504099 w 9586368"/>
              <a:gd name="connsiteY3136" fmla="*/ 4307617 h 6479439"/>
              <a:gd name="connsiteX3137" fmla="*/ 5514010 w 9586368"/>
              <a:gd name="connsiteY3137" fmla="*/ 4307617 h 6479439"/>
              <a:gd name="connsiteX3138" fmla="*/ 5518029 w 9586368"/>
              <a:gd name="connsiteY3138" fmla="*/ 4311656 h 6479439"/>
              <a:gd name="connsiteX3139" fmla="*/ 5518029 w 9586368"/>
              <a:gd name="connsiteY3139" fmla="*/ 4321527 h 6479439"/>
              <a:gd name="connsiteX3140" fmla="*/ 5514010 w 9586368"/>
              <a:gd name="connsiteY3140" fmla="*/ 4325566 h 6479439"/>
              <a:gd name="connsiteX3141" fmla="*/ 5504099 w 9586368"/>
              <a:gd name="connsiteY3141" fmla="*/ 4325566 h 6479439"/>
              <a:gd name="connsiteX3142" fmla="*/ 5500080 w 9586368"/>
              <a:gd name="connsiteY3142" fmla="*/ 4321527 h 6479439"/>
              <a:gd name="connsiteX3143" fmla="*/ 5500080 w 9586368"/>
              <a:gd name="connsiteY3143" fmla="*/ 4311656 h 6479439"/>
              <a:gd name="connsiteX3144" fmla="*/ 5264784 w 9586368"/>
              <a:gd name="connsiteY3144" fmla="*/ 4307617 h 6479439"/>
              <a:gd name="connsiteX3145" fmla="*/ 5274694 w 9586368"/>
              <a:gd name="connsiteY3145" fmla="*/ 4307617 h 6479439"/>
              <a:gd name="connsiteX3146" fmla="*/ 5278713 w 9586368"/>
              <a:gd name="connsiteY3146" fmla="*/ 4311656 h 6479439"/>
              <a:gd name="connsiteX3147" fmla="*/ 5278713 w 9586368"/>
              <a:gd name="connsiteY3147" fmla="*/ 4321527 h 6479439"/>
              <a:gd name="connsiteX3148" fmla="*/ 5274694 w 9586368"/>
              <a:gd name="connsiteY3148" fmla="*/ 4325566 h 6479439"/>
              <a:gd name="connsiteX3149" fmla="*/ 5264784 w 9586368"/>
              <a:gd name="connsiteY3149" fmla="*/ 4325566 h 6479439"/>
              <a:gd name="connsiteX3150" fmla="*/ 5260765 w 9586368"/>
              <a:gd name="connsiteY3150" fmla="*/ 4321527 h 6479439"/>
              <a:gd name="connsiteX3151" fmla="*/ 5260765 w 9586368"/>
              <a:gd name="connsiteY3151" fmla="*/ 4311656 h 6479439"/>
              <a:gd name="connsiteX3152" fmla="*/ 5025470 w 9586368"/>
              <a:gd name="connsiteY3152" fmla="*/ 4307617 h 6479439"/>
              <a:gd name="connsiteX3153" fmla="*/ 5035381 w 9586368"/>
              <a:gd name="connsiteY3153" fmla="*/ 4307617 h 6479439"/>
              <a:gd name="connsiteX3154" fmla="*/ 5039400 w 9586368"/>
              <a:gd name="connsiteY3154" fmla="*/ 4311656 h 6479439"/>
              <a:gd name="connsiteX3155" fmla="*/ 5039400 w 9586368"/>
              <a:gd name="connsiteY3155" fmla="*/ 4321527 h 6479439"/>
              <a:gd name="connsiteX3156" fmla="*/ 5035381 w 9586368"/>
              <a:gd name="connsiteY3156" fmla="*/ 4325566 h 6479439"/>
              <a:gd name="connsiteX3157" fmla="*/ 5025470 w 9586368"/>
              <a:gd name="connsiteY3157" fmla="*/ 4325566 h 6479439"/>
              <a:gd name="connsiteX3158" fmla="*/ 5021451 w 9586368"/>
              <a:gd name="connsiteY3158" fmla="*/ 4321527 h 6479439"/>
              <a:gd name="connsiteX3159" fmla="*/ 5021451 w 9586368"/>
              <a:gd name="connsiteY3159" fmla="*/ 4311656 h 6479439"/>
              <a:gd name="connsiteX3160" fmla="*/ 4786241 w 9586368"/>
              <a:gd name="connsiteY3160" fmla="*/ 4307617 h 6479439"/>
              <a:gd name="connsiteX3161" fmla="*/ 4796152 w 9586368"/>
              <a:gd name="connsiteY3161" fmla="*/ 4307617 h 6479439"/>
              <a:gd name="connsiteX3162" fmla="*/ 4800171 w 9586368"/>
              <a:gd name="connsiteY3162" fmla="*/ 4311656 h 6479439"/>
              <a:gd name="connsiteX3163" fmla="*/ 4800171 w 9586368"/>
              <a:gd name="connsiteY3163" fmla="*/ 4321527 h 6479439"/>
              <a:gd name="connsiteX3164" fmla="*/ 4796152 w 9586368"/>
              <a:gd name="connsiteY3164" fmla="*/ 4325566 h 6479439"/>
              <a:gd name="connsiteX3165" fmla="*/ 4786241 w 9586368"/>
              <a:gd name="connsiteY3165" fmla="*/ 4325566 h 6479439"/>
              <a:gd name="connsiteX3166" fmla="*/ 4782224 w 9586368"/>
              <a:gd name="connsiteY3166" fmla="*/ 4321527 h 6479439"/>
              <a:gd name="connsiteX3167" fmla="*/ 4782224 w 9586368"/>
              <a:gd name="connsiteY3167" fmla="*/ 4311656 h 6479439"/>
              <a:gd name="connsiteX3168" fmla="*/ 4546929 w 9586368"/>
              <a:gd name="connsiteY3168" fmla="*/ 4307617 h 6479439"/>
              <a:gd name="connsiteX3169" fmla="*/ 4556840 w 9586368"/>
              <a:gd name="connsiteY3169" fmla="*/ 4307617 h 6479439"/>
              <a:gd name="connsiteX3170" fmla="*/ 4560859 w 9586368"/>
              <a:gd name="connsiteY3170" fmla="*/ 4311656 h 6479439"/>
              <a:gd name="connsiteX3171" fmla="*/ 4560859 w 9586368"/>
              <a:gd name="connsiteY3171" fmla="*/ 4321527 h 6479439"/>
              <a:gd name="connsiteX3172" fmla="*/ 4556840 w 9586368"/>
              <a:gd name="connsiteY3172" fmla="*/ 4325566 h 6479439"/>
              <a:gd name="connsiteX3173" fmla="*/ 4546929 w 9586368"/>
              <a:gd name="connsiteY3173" fmla="*/ 4325566 h 6479439"/>
              <a:gd name="connsiteX3174" fmla="*/ 4542910 w 9586368"/>
              <a:gd name="connsiteY3174" fmla="*/ 4321527 h 6479439"/>
              <a:gd name="connsiteX3175" fmla="*/ 4542910 w 9586368"/>
              <a:gd name="connsiteY3175" fmla="*/ 4311656 h 6479439"/>
              <a:gd name="connsiteX3176" fmla="*/ 4307612 w 9586368"/>
              <a:gd name="connsiteY3176" fmla="*/ 4307617 h 6479439"/>
              <a:gd name="connsiteX3177" fmla="*/ 4317523 w 9586368"/>
              <a:gd name="connsiteY3177" fmla="*/ 4307617 h 6479439"/>
              <a:gd name="connsiteX3178" fmla="*/ 4321543 w 9586368"/>
              <a:gd name="connsiteY3178" fmla="*/ 4311656 h 6479439"/>
              <a:gd name="connsiteX3179" fmla="*/ 4321543 w 9586368"/>
              <a:gd name="connsiteY3179" fmla="*/ 4321527 h 6479439"/>
              <a:gd name="connsiteX3180" fmla="*/ 4317523 w 9586368"/>
              <a:gd name="connsiteY3180" fmla="*/ 4325566 h 6479439"/>
              <a:gd name="connsiteX3181" fmla="*/ 4307612 w 9586368"/>
              <a:gd name="connsiteY3181" fmla="*/ 4325566 h 6479439"/>
              <a:gd name="connsiteX3182" fmla="*/ 4303595 w 9586368"/>
              <a:gd name="connsiteY3182" fmla="*/ 4321527 h 6479439"/>
              <a:gd name="connsiteX3183" fmla="*/ 4303595 w 9586368"/>
              <a:gd name="connsiteY3183" fmla="*/ 4311656 h 6479439"/>
              <a:gd name="connsiteX3184" fmla="*/ 4068297 w 9586368"/>
              <a:gd name="connsiteY3184" fmla="*/ 4307617 h 6479439"/>
              <a:gd name="connsiteX3185" fmla="*/ 4078210 w 9586368"/>
              <a:gd name="connsiteY3185" fmla="*/ 4307617 h 6479439"/>
              <a:gd name="connsiteX3186" fmla="*/ 4082229 w 9586368"/>
              <a:gd name="connsiteY3186" fmla="*/ 4311656 h 6479439"/>
              <a:gd name="connsiteX3187" fmla="*/ 4082229 w 9586368"/>
              <a:gd name="connsiteY3187" fmla="*/ 4321527 h 6479439"/>
              <a:gd name="connsiteX3188" fmla="*/ 4078210 w 9586368"/>
              <a:gd name="connsiteY3188" fmla="*/ 4325566 h 6479439"/>
              <a:gd name="connsiteX3189" fmla="*/ 4068297 w 9586368"/>
              <a:gd name="connsiteY3189" fmla="*/ 4325566 h 6479439"/>
              <a:gd name="connsiteX3190" fmla="*/ 4064278 w 9586368"/>
              <a:gd name="connsiteY3190" fmla="*/ 4321527 h 6479439"/>
              <a:gd name="connsiteX3191" fmla="*/ 4064278 w 9586368"/>
              <a:gd name="connsiteY3191" fmla="*/ 4311656 h 6479439"/>
              <a:gd name="connsiteX3192" fmla="*/ 3828990 w 9586368"/>
              <a:gd name="connsiteY3192" fmla="*/ 4307617 h 6479439"/>
              <a:gd name="connsiteX3193" fmla="*/ 3838899 w 9586368"/>
              <a:gd name="connsiteY3193" fmla="*/ 4307617 h 6479439"/>
              <a:gd name="connsiteX3194" fmla="*/ 3842917 w 9586368"/>
              <a:gd name="connsiteY3194" fmla="*/ 4311656 h 6479439"/>
              <a:gd name="connsiteX3195" fmla="*/ 3842917 w 9586368"/>
              <a:gd name="connsiteY3195" fmla="*/ 4321527 h 6479439"/>
              <a:gd name="connsiteX3196" fmla="*/ 3838899 w 9586368"/>
              <a:gd name="connsiteY3196" fmla="*/ 4325566 h 6479439"/>
              <a:gd name="connsiteX3197" fmla="*/ 3828990 w 9586368"/>
              <a:gd name="connsiteY3197" fmla="*/ 4325566 h 6479439"/>
              <a:gd name="connsiteX3198" fmla="*/ 3824971 w 9586368"/>
              <a:gd name="connsiteY3198" fmla="*/ 4321527 h 6479439"/>
              <a:gd name="connsiteX3199" fmla="*/ 3824971 w 9586368"/>
              <a:gd name="connsiteY3199" fmla="*/ 4311656 h 6479439"/>
              <a:gd name="connsiteX3200" fmla="*/ 3589676 w 9586368"/>
              <a:gd name="connsiteY3200" fmla="*/ 4307617 h 6479439"/>
              <a:gd name="connsiteX3201" fmla="*/ 3599585 w 9586368"/>
              <a:gd name="connsiteY3201" fmla="*/ 4307617 h 6479439"/>
              <a:gd name="connsiteX3202" fmla="*/ 3603604 w 9586368"/>
              <a:gd name="connsiteY3202" fmla="*/ 4311656 h 6479439"/>
              <a:gd name="connsiteX3203" fmla="*/ 3603604 w 9586368"/>
              <a:gd name="connsiteY3203" fmla="*/ 4321527 h 6479439"/>
              <a:gd name="connsiteX3204" fmla="*/ 3599585 w 9586368"/>
              <a:gd name="connsiteY3204" fmla="*/ 4325566 h 6479439"/>
              <a:gd name="connsiteX3205" fmla="*/ 3589676 w 9586368"/>
              <a:gd name="connsiteY3205" fmla="*/ 4325566 h 6479439"/>
              <a:gd name="connsiteX3206" fmla="*/ 3585657 w 9586368"/>
              <a:gd name="connsiteY3206" fmla="*/ 4321527 h 6479439"/>
              <a:gd name="connsiteX3207" fmla="*/ 3585657 w 9586368"/>
              <a:gd name="connsiteY3207" fmla="*/ 4311656 h 6479439"/>
              <a:gd name="connsiteX3208" fmla="*/ 3350359 w 9586368"/>
              <a:gd name="connsiteY3208" fmla="*/ 4307617 h 6479439"/>
              <a:gd name="connsiteX3209" fmla="*/ 3360268 w 9586368"/>
              <a:gd name="connsiteY3209" fmla="*/ 4307617 h 6479439"/>
              <a:gd name="connsiteX3210" fmla="*/ 3364287 w 9586368"/>
              <a:gd name="connsiteY3210" fmla="*/ 4311656 h 6479439"/>
              <a:gd name="connsiteX3211" fmla="*/ 3364287 w 9586368"/>
              <a:gd name="connsiteY3211" fmla="*/ 4321527 h 6479439"/>
              <a:gd name="connsiteX3212" fmla="*/ 3360268 w 9586368"/>
              <a:gd name="connsiteY3212" fmla="*/ 4325566 h 6479439"/>
              <a:gd name="connsiteX3213" fmla="*/ 3350359 w 9586368"/>
              <a:gd name="connsiteY3213" fmla="*/ 4325566 h 6479439"/>
              <a:gd name="connsiteX3214" fmla="*/ 3346340 w 9586368"/>
              <a:gd name="connsiteY3214" fmla="*/ 4321527 h 6479439"/>
              <a:gd name="connsiteX3215" fmla="*/ 3346340 w 9586368"/>
              <a:gd name="connsiteY3215" fmla="*/ 4311656 h 6479439"/>
              <a:gd name="connsiteX3216" fmla="*/ 3111048 w 9586368"/>
              <a:gd name="connsiteY3216" fmla="*/ 4307617 h 6479439"/>
              <a:gd name="connsiteX3217" fmla="*/ 3120959 w 9586368"/>
              <a:gd name="connsiteY3217" fmla="*/ 4307617 h 6479439"/>
              <a:gd name="connsiteX3218" fmla="*/ 3124977 w 9586368"/>
              <a:gd name="connsiteY3218" fmla="*/ 4311656 h 6479439"/>
              <a:gd name="connsiteX3219" fmla="*/ 3124977 w 9586368"/>
              <a:gd name="connsiteY3219" fmla="*/ 4321527 h 6479439"/>
              <a:gd name="connsiteX3220" fmla="*/ 3120959 w 9586368"/>
              <a:gd name="connsiteY3220" fmla="*/ 4325566 h 6479439"/>
              <a:gd name="connsiteX3221" fmla="*/ 3111048 w 9586368"/>
              <a:gd name="connsiteY3221" fmla="*/ 4325566 h 6479439"/>
              <a:gd name="connsiteX3222" fmla="*/ 3107029 w 9586368"/>
              <a:gd name="connsiteY3222" fmla="*/ 4321527 h 6479439"/>
              <a:gd name="connsiteX3223" fmla="*/ 3107029 w 9586368"/>
              <a:gd name="connsiteY3223" fmla="*/ 4311656 h 6479439"/>
              <a:gd name="connsiteX3224" fmla="*/ 2871737 w 9586368"/>
              <a:gd name="connsiteY3224" fmla="*/ 4307617 h 6479439"/>
              <a:gd name="connsiteX3225" fmla="*/ 2881646 w 9586368"/>
              <a:gd name="connsiteY3225" fmla="*/ 4307617 h 6479439"/>
              <a:gd name="connsiteX3226" fmla="*/ 2885666 w 9586368"/>
              <a:gd name="connsiteY3226" fmla="*/ 4311656 h 6479439"/>
              <a:gd name="connsiteX3227" fmla="*/ 2885666 w 9586368"/>
              <a:gd name="connsiteY3227" fmla="*/ 4321527 h 6479439"/>
              <a:gd name="connsiteX3228" fmla="*/ 2881646 w 9586368"/>
              <a:gd name="connsiteY3228" fmla="*/ 4325566 h 6479439"/>
              <a:gd name="connsiteX3229" fmla="*/ 2871737 w 9586368"/>
              <a:gd name="connsiteY3229" fmla="*/ 4325566 h 6479439"/>
              <a:gd name="connsiteX3230" fmla="*/ 2867717 w 9586368"/>
              <a:gd name="connsiteY3230" fmla="*/ 4321527 h 6479439"/>
              <a:gd name="connsiteX3231" fmla="*/ 2867717 w 9586368"/>
              <a:gd name="connsiteY3231" fmla="*/ 4311656 h 6479439"/>
              <a:gd name="connsiteX3232" fmla="*/ 2632423 w 9586368"/>
              <a:gd name="connsiteY3232" fmla="*/ 4307617 h 6479439"/>
              <a:gd name="connsiteX3233" fmla="*/ 2642334 w 9586368"/>
              <a:gd name="connsiteY3233" fmla="*/ 4307617 h 6479439"/>
              <a:gd name="connsiteX3234" fmla="*/ 2646352 w 9586368"/>
              <a:gd name="connsiteY3234" fmla="*/ 4311656 h 6479439"/>
              <a:gd name="connsiteX3235" fmla="*/ 2646352 w 9586368"/>
              <a:gd name="connsiteY3235" fmla="*/ 4321527 h 6479439"/>
              <a:gd name="connsiteX3236" fmla="*/ 2642334 w 9586368"/>
              <a:gd name="connsiteY3236" fmla="*/ 4325566 h 6479439"/>
              <a:gd name="connsiteX3237" fmla="*/ 2632423 w 9586368"/>
              <a:gd name="connsiteY3237" fmla="*/ 4325566 h 6479439"/>
              <a:gd name="connsiteX3238" fmla="*/ 2628404 w 9586368"/>
              <a:gd name="connsiteY3238" fmla="*/ 4321527 h 6479439"/>
              <a:gd name="connsiteX3239" fmla="*/ 2628404 w 9586368"/>
              <a:gd name="connsiteY3239" fmla="*/ 4311656 h 6479439"/>
              <a:gd name="connsiteX3240" fmla="*/ 2393104 w 9586368"/>
              <a:gd name="connsiteY3240" fmla="*/ 4307617 h 6479439"/>
              <a:gd name="connsiteX3241" fmla="*/ 2403015 w 9586368"/>
              <a:gd name="connsiteY3241" fmla="*/ 4307617 h 6479439"/>
              <a:gd name="connsiteX3242" fmla="*/ 2407034 w 9586368"/>
              <a:gd name="connsiteY3242" fmla="*/ 4311656 h 6479439"/>
              <a:gd name="connsiteX3243" fmla="*/ 2407034 w 9586368"/>
              <a:gd name="connsiteY3243" fmla="*/ 4321527 h 6479439"/>
              <a:gd name="connsiteX3244" fmla="*/ 2403015 w 9586368"/>
              <a:gd name="connsiteY3244" fmla="*/ 4325566 h 6479439"/>
              <a:gd name="connsiteX3245" fmla="*/ 2393104 w 9586368"/>
              <a:gd name="connsiteY3245" fmla="*/ 4325566 h 6479439"/>
              <a:gd name="connsiteX3246" fmla="*/ 2389087 w 9586368"/>
              <a:gd name="connsiteY3246" fmla="*/ 4321527 h 6479439"/>
              <a:gd name="connsiteX3247" fmla="*/ 2389087 w 9586368"/>
              <a:gd name="connsiteY3247" fmla="*/ 4311656 h 6479439"/>
              <a:gd name="connsiteX3248" fmla="*/ 721965 w 9586368"/>
              <a:gd name="connsiteY3248" fmla="*/ 4307617 h 6479439"/>
              <a:gd name="connsiteX3249" fmla="*/ 731874 w 9586368"/>
              <a:gd name="connsiteY3249" fmla="*/ 4307617 h 6479439"/>
              <a:gd name="connsiteX3250" fmla="*/ 735893 w 9586368"/>
              <a:gd name="connsiteY3250" fmla="*/ 4311656 h 6479439"/>
              <a:gd name="connsiteX3251" fmla="*/ 735893 w 9586368"/>
              <a:gd name="connsiteY3251" fmla="*/ 4321527 h 6479439"/>
              <a:gd name="connsiteX3252" fmla="*/ 731874 w 9586368"/>
              <a:gd name="connsiteY3252" fmla="*/ 4325566 h 6479439"/>
              <a:gd name="connsiteX3253" fmla="*/ 721965 w 9586368"/>
              <a:gd name="connsiteY3253" fmla="*/ 4325566 h 6479439"/>
              <a:gd name="connsiteX3254" fmla="*/ 717945 w 9586368"/>
              <a:gd name="connsiteY3254" fmla="*/ 4321527 h 6479439"/>
              <a:gd name="connsiteX3255" fmla="*/ 717945 w 9586368"/>
              <a:gd name="connsiteY3255" fmla="*/ 4311656 h 6479439"/>
              <a:gd name="connsiteX3256" fmla="*/ 482652 w 9586368"/>
              <a:gd name="connsiteY3256" fmla="*/ 4307617 h 6479439"/>
              <a:gd name="connsiteX3257" fmla="*/ 492562 w 9586368"/>
              <a:gd name="connsiteY3257" fmla="*/ 4307617 h 6479439"/>
              <a:gd name="connsiteX3258" fmla="*/ 496581 w 9586368"/>
              <a:gd name="connsiteY3258" fmla="*/ 4311656 h 6479439"/>
              <a:gd name="connsiteX3259" fmla="*/ 496581 w 9586368"/>
              <a:gd name="connsiteY3259" fmla="*/ 4321527 h 6479439"/>
              <a:gd name="connsiteX3260" fmla="*/ 492562 w 9586368"/>
              <a:gd name="connsiteY3260" fmla="*/ 4325566 h 6479439"/>
              <a:gd name="connsiteX3261" fmla="*/ 482652 w 9586368"/>
              <a:gd name="connsiteY3261" fmla="*/ 4325566 h 6479439"/>
              <a:gd name="connsiteX3262" fmla="*/ 478633 w 9586368"/>
              <a:gd name="connsiteY3262" fmla="*/ 4321527 h 6479439"/>
              <a:gd name="connsiteX3263" fmla="*/ 478633 w 9586368"/>
              <a:gd name="connsiteY3263" fmla="*/ 4311656 h 6479439"/>
              <a:gd name="connsiteX3264" fmla="*/ 243339 w 9586368"/>
              <a:gd name="connsiteY3264" fmla="*/ 4307617 h 6479439"/>
              <a:gd name="connsiteX3265" fmla="*/ 253249 w 9586368"/>
              <a:gd name="connsiteY3265" fmla="*/ 4307617 h 6479439"/>
              <a:gd name="connsiteX3266" fmla="*/ 257268 w 9586368"/>
              <a:gd name="connsiteY3266" fmla="*/ 4311656 h 6479439"/>
              <a:gd name="connsiteX3267" fmla="*/ 257268 w 9586368"/>
              <a:gd name="connsiteY3267" fmla="*/ 4321527 h 6479439"/>
              <a:gd name="connsiteX3268" fmla="*/ 253249 w 9586368"/>
              <a:gd name="connsiteY3268" fmla="*/ 4325566 h 6479439"/>
              <a:gd name="connsiteX3269" fmla="*/ 243339 w 9586368"/>
              <a:gd name="connsiteY3269" fmla="*/ 4325566 h 6479439"/>
              <a:gd name="connsiteX3270" fmla="*/ 239320 w 9586368"/>
              <a:gd name="connsiteY3270" fmla="*/ 4321527 h 6479439"/>
              <a:gd name="connsiteX3271" fmla="*/ 239320 w 9586368"/>
              <a:gd name="connsiteY3271" fmla="*/ 4311656 h 6479439"/>
              <a:gd name="connsiteX3272" fmla="*/ 4025 w 9586368"/>
              <a:gd name="connsiteY3272" fmla="*/ 4307617 h 6479439"/>
              <a:gd name="connsiteX3273" fmla="*/ 13936 w 9586368"/>
              <a:gd name="connsiteY3273" fmla="*/ 4307617 h 6479439"/>
              <a:gd name="connsiteX3274" fmla="*/ 17955 w 9586368"/>
              <a:gd name="connsiteY3274" fmla="*/ 4311656 h 6479439"/>
              <a:gd name="connsiteX3275" fmla="*/ 17955 w 9586368"/>
              <a:gd name="connsiteY3275" fmla="*/ 4321527 h 6479439"/>
              <a:gd name="connsiteX3276" fmla="*/ 13936 w 9586368"/>
              <a:gd name="connsiteY3276" fmla="*/ 4325566 h 6479439"/>
              <a:gd name="connsiteX3277" fmla="*/ 4025 w 9586368"/>
              <a:gd name="connsiteY3277" fmla="*/ 4325566 h 6479439"/>
              <a:gd name="connsiteX3278" fmla="*/ 7 w 9586368"/>
              <a:gd name="connsiteY3278" fmla="*/ 4321527 h 6479439"/>
              <a:gd name="connsiteX3279" fmla="*/ 7 w 9586368"/>
              <a:gd name="connsiteY3279" fmla="*/ 4311656 h 6479439"/>
              <a:gd name="connsiteX3280" fmla="*/ 9572438 w 9586368"/>
              <a:gd name="connsiteY3280" fmla="*/ 4068339 h 6479439"/>
              <a:gd name="connsiteX3281" fmla="*/ 9582349 w 9586368"/>
              <a:gd name="connsiteY3281" fmla="*/ 4068339 h 6479439"/>
              <a:gd name="connsiteX3282" fmla="*/ 9586368 w 9586368"/>
              <a:gd name="connsiteY3282" fmla="*/ 4072377 h 6479439"/>
              <a:gd name="connsiteX3283" fmla="*/ 9586368 w 9586368"/>
              <a:gd name="connsiteY3283" fmla="*/ 4082248 h 6479439"/>
              <a:gd name="connsiteX3284" fmla="*/ 9582349 w 9586368"/>
              <a:gd name="connsiteY3284" fmla="*/ 4086287 h 6479439"/>
              <a:gd name="connsiteX3285" fmla="*/ 9572438 w 9586368"/>
              <a:gd name="connsiteY3285" fmla="*/ 4086287 h 6479439"/>
              <a:gd name="connsiteX3286" fmla="*/ 9568419 w 9586368"/>
              <a:gd name="connsiteY3286" fmla="*/ 4082248 h 6479439"/>
              <a:gd name="connsiteX3287" fmla="*/ 9568419 w 9586368"/>
              <a:gd name="connsiteY3287" fmla="*/ 4072377 h 6479439"/>
              <a:gd name="connsiteX3288" fmla="*/ 9333125 w 9586368"/>
              <a:gd name="connsiteY3288" fmla="*/ 4068339 h 6479439"/>
              <a:gd name="connsiteX3289" fmla="*/ 9343036 w 9586368"/>
              <a:gd name="connsiteY3289" fmla="*/ 4068339 h 6479439"/>
              <a:gd name="connsiteX3290" fmla="*/ 9347055 w 9586368"/>
              <a:gd name="connsiteY3290" fmla="*/ 4072377 h 6479439"/>
              <a:gd name="connsiteX3291" fmla="*/ 9347055 w 9586368"/>
              <a:gd name="connsiteY3291" fmla="*/ 4082248 h 6479439"/>
              <a:gd name="connsiteX3292" fmla="*/ 9343036 w 9586368"/>
              <a:gd name="connsiteY3292" fmla="*/ 4086287 h 6479439"/>
              <a:gd name="connsiteX3293" fmla="*/ 9333125 w 9586368"/>
              <a:gd name="connsiteY3293" fmla="*/ 4086287 h 6479439"/>
              <a:gd name="connsiteX3294" fmla="*/ 9329106 w 9586368"/>
              <a:gd name="connsiteY3294" fmla="*/ 4082248 h 6479439"/>
              <a:gd name="connsiteX3295" fmla="*/ 9329106 w 9586368"/>
              <a:gd name="connsiteY3295" fmla="*/ 4072377 h 6479439"/>
              <a:gd name="connsiteX3296" fmla="*/ 9093811 w 9586368"/>
              <a:gd name="connsiteY3296" fmla="*/ 4068339 h 6479439"/>
              <a:gd name="connsiteX3297" fmla="*/ 9103722 w 9586368"/>
              <a:gd name="connsiteY3297" fmla="*/ 4068339 h 6479439"/>
              <a:gd name="connsiteX3298" fmla="*/ 9107741 w 9586368"/>
              <a:gd name="connsiteY3298" fmla="*/ 4072377 h 6479439"/>
              <a:gd name="connsiteX3299" fmla="*/ 9107741 w 9586368"/>
              <a:gd name="connsiteY3299" fmla="*/ 4082248 h 6479439"/>
              <a:gd name="connsiteX3300" fmla="*/ 9103722 w 9586368"/>
              <a:gd name="connsiteY3300" fmla="*/ 4086287 h 6479439"/>
              <a:gd name="connsiteX3301" fmla="*/ 9093811 w 9586368"/>
              <a:gd name="connsiteY3301" fmla="*/ 4086287 h 6479439"/>
              <a:gd name="connsiteX3302" fmla="*/ 9089792 w 9586368"/>
              <a:gd name="connsiteY3302" fmla="*/ 4082248 h 6479439"/>
              <a:gd name="connsiteX3303" fmla="*/ 9089792 w 9586368"/>
              <a:gd name="connsiteY3303" fmla="*/ 4072377 h 6479439"/>
              <a:gd name="connsiteX3304" fmla="*/ 8854496 w 9586368"/>
              <a:gd name="connsiteY3304" fmla="*/ 4068339 h 6479439"/>
              <a:gd name="connsiteX3305" fmla="*/ 8864407 w 9586368"/>
              <a:gd name="connsiteY3305" fmla="*/ 4068339 h 6479439"/>
              <a:gd name="connsiteX3306" fmla="*/ 8868426 w 9586368"/>
              <a:gd name="connsiteY3306" fmla="*/ 4072377 h 6479439"/>
              <a:gd name="connsiteX3307" fmla="*/ 8868426 w 9586368"/>
              <a:gd name="connsiteY3307" fmla="*/ 4082248 h 6479439"/>
              <a:gd name="connsiteX3308" fmla="*/ 8864407 w 9586368"/>
              <a:gd name="connsiteY3308" fmla="*/ 4086287 h 6479439"/>
              <a:gd name="connsiteX3309" fmla="*/ 8854496 w 9586368"/>
              <a:gd name="connsiteY3309" fmla="*/ 4086287 h 6479439"/>
              <a:gd name="connsiteX3310" fmla="*/ 8850477 w 9586368"/>
              <a:gd name="connsiteY3310" fmla="*/ 4082248 h 6479439"/>
              <a:gd name="connsiteX3311" fmla="*/ 8850477 w 9586368"/>
              <a:gd name="connsiteY3311" fmla="*/ 4072377 h 6479439"/>
              <a:gd name="connsiteX3312" fmla="*/ 8615184 w 9586368"/>
              <a:gd name="connsiteY3312" fmla="*/ 4068339 h 6479439"/>
              <a:gd name="connsiteX3313" fmla="*/ 8625095 w 9586368"/>
              <a:gd name="connsiteY3313" fmla="*/ 4068339 h 6479439"/>
              <a:gd name="connsiteX3314" fmla="*/ 8629114 w 9586368"/>
              <a:gd name="connsiteY3314" fmla="*/ 4072377 h 6479439"/>
              <a:gd name="connsiteX3315" fmla="*/ 8629114 w 9586368"/>
              <a:gd name="connsiteY3315" fmla="*/ 4082248 h 6479439"/>
              <a:gd name="connsiteX3316" fmla="*/ 8625095 w 9586368"/>
              <a:gd name="connsiteY3316" fmla="*/ 4086287 h 6479439"/>
              <a:gd name="connsiteX3317" fmla="*/ 8615184 w 9586368"/>
              <a:gd name="connsiteY3317" fmla="*/ 4086287 h 6479439"/>
              <a:gd name="connsiteX3318" fmla="*/ 8611165 w 9586368"/>
              <a:gd name="connsiteY3318" fmla="*/ 4082248 h 6479439"/>
              <a:gd name="connsiteX3319" fmla="*/ 8611165 w 9586368"/>
              <a:gd name="connsiteY3319" fmla="*/ 4072377 h 6479439"/>
              <a:gd name="connsiteX3320" fmla="*/ 8375869 w 9586368"/>
              <a:gd name="connsiteY3320" fmla="*/ 4068339 h 6479439"/>
              <a:gd name="connsiteX3321" fmla="*/ 8385779 w 9586368"/>
              <a:gd name="connsiteY3321" fmla="*/ 4068339 h 6479439"/>
              <a:gd name="connsiteX3322" fmla="*/ 8389799 w 9586368"/>
              <a:gd name="connsiteY3322" fmla="*/ 4072377 h 6479439"/>
              <a:gd name="connsiteX3323" fmla="*/ 8389799 w 9586368"/>
              <a:gd name="connsiteY3323" fmla="*/ 4082248 h 6479439"/>
              <a:gd name="connsiteX3324" fmla="*/ 8385779 w 9586368"/>
              <a:gd name="connsiteY3324" fmla="*/ 4086287 h 6479439"/>
              <a:gd name="connsiteX3325" fmla="*/ 8375869 w 9586368"/>
              <a:gd name="connsiteY3325" fmla="*/ 4086287 h 6479439"/>
              <a:gd name="connsiteX3326" fmla="*/ 8371850 w 9586368"/>
              <a:gd name="connsiteY3326" fmla="*/ 4082248 h 6479439"/>
              <a:gd name="connsiteX3327" fmla="*/ 8371850 w 9586368"/>
              <a:gd name="connsiteY3327" fmla="*/ 4072377 h 6479439"/>
              <a:gd name="connsiteX3328" fmla="*/ 8136553 w 9586368"/>
              <a:gd name="connsiteY3328" fmla="*/ 4068339 h 6479439"/>
              <a:gd name="connsiteX3329" fmla="*/ 8146464 w 9586368"/>
              <a:gd name="connsiteY3329" fmla="*/ 4068339 h 6479439"/>
              <a:gd name="connsiteX3330" fmla="*/ 8150483 w 9586368"/>
              <a:gd name="connsiteY3330" fmla="*/ 4072377 h 6479439"/>
              <a:gd name="connsiteX3331" fmla="*/ 8150483 w 9586368"/>
              <a:gd name="connsiteY3331" fmla="*/ 4082248 h 6479439"/>
              <a:gd name="connsiteX3332" fmla="*/ 8146464 w 9586368"/>
              <a:gd name="connsiteY3332" fmla="*/ 4086287 h 6479439"/>
              <a:gd name="connsiteX3333" fmla="*/ 8136553 w 9586368"/>
              <a:gd name="connsiteY3333" fmla="*/ 4086287 h 6479439"/>
              <a:gd name="connsiteX3334" fmla="*/ 8132534 w 9586368"/>
              <a:gd name="connsiteY3334" fmla="*/ 4082248 h 6479439"/>
              <a:gd name="connsiteX3335" fmla="*/ 8132534 w 9586368"/>
              <a:gd name="connsiteY3335" fmla="*/ 4072377 h 6479439"/>
              <a:gd name="connsiteX3336" fmla="*/ 7897241 w 9586368"/>
              <a:gd name="connsiteY3336" fmla="*/ 4068339 h 6479439"/>
              <a:gd name="connsiteX3337" fmla="*/ 7907151 w 9586368"/>
              <a:gd name="connsiteY3337" fmla="*/ 4068339 h 6479439"/>
              <a:gd name="connsiteX3338" fmla="*/ 7911170 w 9586368"/>
              <a:gd name="connsiteY3338" fmla="*/ 4072377 h 6479439"/>
              <a:gd name="connsiteX3339" fmla="*/ 7911170 w 9586368"/>
              <a:gd name="connsiteY3339" fmla="*/ 4082248 h 6479439"/>
              <a:gd name="connsiteX3340" fmla="*/ 7907151 w 9586368"/>
              <a:gd name="connsiteY3340" fmla="*/ 4086287 h 6479439"/>
              <a:gd name="connsiteX3341" fmla="*/ 7897241 w 9586368"/>
              <a:gd name="connsiteY3341" fmla="*/ 4086287 h 6479439"/>
              <a:gd name="connsiteX3342" fmla="*/ 7893222 w 9586368"/>
              <a:gd name="connsiteY3342" fmla="*/ 4082248 h 6479439"/>
              <a:gd name="connsiteX3343" fmla="*/ 7893222 w 9586368"/>
              <a:gd name="connsiteY3343" fmla="*/ 4072377 h 6479439"/>
              <a:gd name="connsiteX3344" fmla="*/ 7657926 w 9586368"/>
              <a:gd name="connsiteY3344" fmla="*/ 4068339 h 6479439"/>
              <a:gd name="connsiteX3345" fmla="*/ 7667836 w 9586368"/>
              <a:gd name="connsiteY3345" fmla="*/ 4068339 h 6479439"/>
              <a:gd name="connsiteX3346" fmla="*/ 7671855 w 9586368"/>
              <a:gd name="connsiteY3346" fmla="*/ 4072377 h 6479439"/>
              <a:gd name="connsiteX3347" fmla="*/ 7671855 w 9586368"/>
              <a:gd name="connsiteY3347" fmla="*/ 4082248 h 6479439"/>
              <a:gd name="connsiteX3348" fmla="*/ 7667836 w 9586368"/>
              <a:gd name="connsiteY3348" fmla="*/ 4086287 h 6479439"/>
              <a:gd name="connsiteX3349" fmla="*/ 7657926 w 9586368"/>
              <a:gd name="connsiteY3349" fmla="*/ 4086287 h 6479439"/>
              <a:gd name="connsiteX3350" fmla="*/ 7653906 w 9586368"/>
              <a:gd name="connsiteY3350" fmla="*/ 4082248 h 6479439"/>
              <a:gd name="connsiteX3351" fmla="*/ 7653906 w 9586368"/>
              <a:gd name="connsiteY3351" fmla="*/ 4072377 h 6479439"/>
              <a:gd name="connsiteX3352" fmla="*/ 7418611 w 9586368"/>
              <a:gd name="connsiteY3352" fmla="*/ 4068339 h 6479439"/>
              <a:gd name="connsiteX3353" fmla="*/ 7428521 w 9586368"/>
              <a:gd name="connsiteY3353" fmla="*/ 4068339 h 6479439"/>
              <a:gd name="connsiteX3354" fmla="*/ 7432540 w 9586368"/>
              <a:gd name="connsiteY3354" fmla="*/ 4072377 h 6479439"/>
              <a:gd name="connsiteX3355" fmla="*/ 7432540 w 9586368"/>
              <a:gd name="connsiteY3355" fmla="*/ 4082248 h 6479439"/>
              <a:gd name="connsiteX3356" fmla="*/ 7428521 w 9586368"/>
              <a:gd name="connsiteY3356" fmla="*/ 4086287 h 6479439"/>
              <a:gd name="connsiteX3357" fmla="*/ 7418611 w 9586368"/>
              <a:gd name="connsiteY3357" fmla="*/ 4086287 h 6479439"/>
              <a:gd name="connsiteX3358" fmla="*/ 7414592 w 9586368"/>
              <a:gd name="connsiteY3358" fmla="*/ 4082248 h 6479439"/>
              <a:gd name="connsiteX3359" fmla="*/ 7414592 w 9586368"/>
              <a:gd name="connsiteY3359" fmla="*/ 4072377 h 6479439"/>
              <a:gd name="connsiteX3360" fmla="*/ 7179298 w 9586368"/>
              <a:gd name="connsiteY3360" fmla="*/ 4068339 h 6479439"/>
              <a:gd name="connsiteX3361" fmla="*/ 7189209 w 9586368"/>
              <a:gd name="connsiteY3361" fmla="*/ 4068339 h 6479439"/>
              <a:gd name="connsiteX3362" fmla="*/ 7193228 w 9586368"/>
              <a:gd name="connsiteY3362" fmla="*/ 4072377 h 6479439"/>
              <a:gd name="connsiteX3363" fmla="*/ 7193228 w 9586368"/>
              <a:gd name="connsiteY3363" fmla="*/ 4082248 h 6479439"/>
              <a:gd name="connsiteX3364" fmla="*/ 7189209 w 9586368"/>
              <a:gd name="connsiteY3364" fmla="*/ 4086287 h 6479439"/>
              <a:gd name="connsiteX3365" fmla="*/ 7179298 w 9586368"/>
              <a:gd name="connsiteY3365" fmla="*/ 4086287 h 6479439"/>
              <a:gd name="connsiteX3366" fmla="*/ 7175279 w 9586368"/>
              <a:gd name="connsiteY3366" fmla="*/ 4082248 h 6479439"/>
              <a:gd name="connsiteX3367" fmla="*/ 7175279 w 9586368"/>
              <a:gd name="connsiteY3367" fmla="*/ 4072377 h 6479439"/>
              <a:gd name="connsiteX3368" fmla="*/ 6939983 w 9586368"/>
              <a:gd name="connsiteY3368" fmla="*/ 4068339 h 6479439"/>
              <a:gd name="connsiteX3369" fmla="*/ 6949894 w 9586368"/>
              <a:gd name="connsiteY3369" fmla="*/ 4068339 h 6479439"/>
              <a:gd name="connsiteX3370" fmla="*/ 6953913 w 9586368"/>
              <a:gd name="connsiteY3370" fmla="*/ 4072377 h 6479439"/>
              <a:gd name="connsiteX3371" fmla="*/ 6953913 w 9586368"/>
              <a:gd name="connsiteY3371" fmla="*/ 4082248 h 6479439"/>
              <a:gd name="connsiteX3372" fmla="*/ 6949894 w 9586368"/>
              <a:gd name="connsiteY3372" fmla="*/ 4086287 h 6479439"/>
              <a:gd name="connsiteX3373" fmla="*/ 6939983 w 9586368"/>
              <a:gd name="connsiteY3373" fmla="*/ 4086287 h 6479439"/>
              <a:gd name="connsiteX3374" fmla="*/ 6935964 w 9586368"/>
              <a:gd name="connsiteY3374" fmla="*/ 4082248 h 6479439"/>
              <a:gd name="connsiteX3375" fmla="*/ 6935964 w 9586368"/>
              <a:gd name="connsiteY3375" fmla="*/ 4072377 h 6479439"/>
              <a:gd name="connsiteX3376" fmla="*/ 6700670 w 9586368"/>
              <a:gd name="connsiteY3376" fmla="*/ 4068339 h 6479439"/>
              <a:gd name="connsiteX3377" fmla="*/ 6710581 w 9586368"/>
              <a:gd name="connsiteY3377" fmla="*/ 4068339 h 6479439"/>
              <a:gd name="connsiteX3378" fmla="*/ 6714600 w 9586368"/>
              <a:gd name="connsiteY3378" fmla="*/ 4072377 h 6479439"/>
              <a:gd name="connsiteX3379" fmla="*/ 6714600 w 9586368"/>
              <a:gd name="connsiteY3379" fmla="*/ 4082248 h 6479439"/>
              <a:gd name="connsiteX3380" fmla="*/ 6710581 w 9586368"/>
              <a:gd name="connsiteY3380" fmla="*/ 4086287 h 6479439"/>
              <a:gd name="connsiteX3381" fmla="*/ 6700670 w 9586368"/>
              <a:gd name="connsiteY3381" fmla="*/ 4086287 h 6479439"/>
              <a:gd name="connsiteX3382" fmla="*/ 6696651 w 9586368"/>
              <a:gd name="connsiteY3382" fmla="*/ 4082248 h 6479439"/>
              <a:gd name="connsiteX3383" fmla="*/ 6696651 w 9586368"/>
              <a:gd name="connsiteY3383" fmla="*/ 4072377 h 6479439"/>
              <a:gd name="connsiteX3384" fmla="*/ 6461356 w 9586368"/>
              <a:gd name="connsiteY3384" fmla="*/ 4068339 h 6479439"/>
              <a:gd name="connsiteX3385" fmla="*/ 6471266 w 9586368"/>
              <a:gd name="connsiteY3385" fmla="*/ 4068339 h 6479439"/>
              <a:gd name="connsiteX3386" fmla="*/ 6475285 w 9586368"/>
              <a:gd name="connsiteY3386" fmla="*/ 4072377 h 6479439"/>
              <a:gd name="connsiteX3387" fmla="*/ 6475285 w 9586368"/>
              <a:gd name="connsiteY3387" fmla="*/ 4082248 h 6479439"/>
              <a:gd name="connsiteX3388" fmla="*/ 6471266 w 9586368"/>
              <a:gd name="connsiteY3388" fmla="*/ 4086287 h 6479439"/>
              <a:gd name="connsiteX3389" fmla="*/ 6461356 w 9586368"/>
              <a:gd name="connsiteY3389" fmla="*/ 4086287 h 6479439"/>
              <a:gd name="connsiteX3390" fmla="*/ 6457337 w 9586368"/>
              <a:gd name="connsiteY3390" fmla="*/ 4082248 h 6479439"/>
              <a:gd name="connsiteX3391" fmla="*/ 6457337 w 9586368"/>
              <a:gd name="connsiteY3391" fmla="*/ 4072377 h 6479439"/>
              <a:gd name="connsiteX3392" fmla="*/ 6222042 w 9586368"/>
              <a:gd name="connsiteY3392" fmla="*/ 4068339 h 6479439"/>
              <a:gd name="connsiteX3393" fmla="*/ 6231952 w 9586368"/>
              <a:gd name="connsiteY3393" fmla="*/ 4068339 h 6479439"/>
              <a:gd name="connsiteX3394" fmla="*/ 6235971 w 9586368"/>
              <a:gd name="connsiteY3394" fmla="*/ 4072377 h 6479439"/>
              <a:gd name="connsiteX3395" fmla="*/ 6235971 w 9586368"/>
              <a:gd name="connsiteY3395" fmla="*/ 4082248 h 6479439"/>
              <a:gd name="connsiteX3396" fmla="*/ 6231952 w 9586368"/>
              <a:gd name="connsiteY3396" fmla="*/ 4086287 h 6479439"/>
              <a:gd name="connsiteX3397" fmla="*/ 6222042 w 9586368"/>
              <a:gd name="connsiteY3397" fmla="*/ 4086287 h 6479439"/>
              <a:gd name="connsiteX3398" fmla="*/ 6218023 w 9586368"/>
              <a:gd name="connsiteY3398" fmla="*/ 4082248 h 6479439"/>
              <a:gd name="connsiteX3399" fmla="*/ 6218023 w 9586368"/>
              <a:gd name="connsiteY3399" fmla="*/ 4072377 h 6479439"/>
              <a:gd name="connsiteX3400" fmla="*/ 5982729 w 9586368"/>
              <a:gd name="connsiteY3400" fmla="*/ 4068339 h 6479439"/>
              <a:gd name="connsiteX3401" fmla="*/ 5992639 w 9586368"/>
              <a:gd name="connsiteY3401" fmla="*/ 4068339 h 6479439"/>
              <a:gd name="connsiteX3402" fmla="*/ 5996658 w 9586368"/>
              <a:gd name="connsiteY3402" fmla="*/ 4072377 h 6479439"/>
              <a:gd name="connsiteX3403" fmla="*/ 5996658 w 9586368"/>
              <a:gd name="connsiteY3403" fmla="*/ 4082248 h 6479439"/>
              <a:gd name="connsiteX3404" fmla="*/ 5992639 w 9586368"/>
              <a:gd name="connsiteY3404" fmla="*/ 4086287 h 6479439"/>
              <a:gd name="connsiteX3405" fmla="*/ 5982729 w 9586368"/>
              <a:gd name="connsiteY3405" fmla="*/ 4086287 h 6479439"/>
              <a:gd name="connsiteX3406" fmla="*/ 5978710 w 9586368"/>
              <a:gd name="connsiteY3406" fmla="*/ 4082248 h 6479439"/>
              <a:gd name="connsiteX3407" fmla="*/ 5978710 w 9586368"/>
              <a:gd name="connsiteY3407" fmla="*/ 4072377 h 6479439"/>
              <a:gd name="connsiteX3408" fmla="*/ 5743412 w 9586368"/>
              <a:gd name="connsiteY3408" fmla="*/ 4068339 h 6479439"/>
              <a:gd name="connsiteX3409" fmla="*/ 5753323 w 9586368"/>
              <a:gd name="connsiteY3409" fmla="*/ 4068339 h 6479439"/>
              <a:gd name="connsiteX3410" fmla="*/ 5757342 w 9586368"/>
              <a:gd name="connsiteY3410" fmla="*/ 4072377 h 6479439"/>
              <a:gd name="connsiteX3411" fmla="*/ 5757342 w 9586368"/>
              <a:gd name="connsiteY3411" fmla="*/ 4082248 h 6479439"/>
              <a:gd name="connsiteX3412" fmla="*/ 5753323 w 9586368"/>
              <a:gd name="connsiteY3412" fmla="*/ 4086287 h 6479439"/>
              <a:gd name="connsiteX3413" fmla="*/ 5743412 w 9586368"/>
              <a:gd name="connsiteY3413" fmla="*/ 4086287 h 6479439"/>
              <a:gd name="connsiteX3414" fmla="*/ 5739393 w 9586368"/>
              <a:gd name="connsiteY3414" fmla="*/ 4082248 h 6479439"/>
              <a:gd name="connsiteX3415" fmla="*/ 5739393 w 9586368"/>
              <a:gd name="connsiteY3415" fmla="*/ 4072377 h 6479439"/>
              <a:gd name="connsiteX3416" fmla="*/ 5504099 w 9586368"/>
              <a:gd name="connsiteY3416" fmla="*/ 4068339 h 6479439"/>
              <a:gd name="connsiteX3417" fmla="*/ 5514010 w 9586368"/>
              <a:gd name="connsiteY3417" fmla="*/ 4068339 h 6479439"/>
              <a:gd name="connsiteX3418" fmla="*/ 5518029 w 9586368"/>
              <a:gd name="connsiteY3418" fmla="*/ 4072377 h 6479439"/>
              <a:gd name="connsiteX3419" fmla="*/ 5518029 w 9586368"/>
              <a:gd name="connsiteY3419" fmla="*/ 4082248 h 6479439"/>
              <a:gd name="connsiteX3420" fmla="*/ 5514010 w 9586368"/>
              <a:gd name="connsiteY3420" fmla="*/ 4086287 h 6479439"/>
              <a:gd name="connsiteX3421" fmla="*/ 5504099 w 9586368"/>
              <a:gd name="connsiteY3421" fmla="*/ 4086287 h 6479439"/>
              <a:gd name="connsiteX3422" fmla="*/ 5500080 w 9586368"/>
              <a:gd name="connsiteY3422" fmla="*/ 4082248 h 6479439"/>
              <a:gd name="connsiteX3423" fmla="*/ 5500080 w 9586368"/>
              <a:gd name="connsiteY3423" fmla="*/ 4072377 h 6479439"/>
              <a:gd name="connsiteX3424" fmla="*/ 5264784 w 9586368"/>
              <a:gd name="connsiteY3424" fmla="*/ 4068339 h 6479439"/>
              <a:gd name="connsiteX3425" fmla="*/ 5274694 w 9586368"/>
              <a:gd name="connsiteY3425" fmla="*/ 4068339 h 6479439"/>
              <a:gd name="connsiteX3426" fmla="*/ 5278713 w 9586368"/>
              <a:gd name="connsiteY3426" fmla="*/ 4072377 h 6479439"/>
              <a:gd name="connsiteX3427" fmla="*/ 5278713 w 9586368"/>
              <a:gd name="connsiteY3427" fmla="*/ 4082248 h 6479439"/>
              <a:gd name="connsiteX3428" fmla="*/ 5274694 w 9586368"/>
              <a:gd name="connsiteY3428" fmla="*/ 4086287 h 6479439"/>
              <a:gd name="connsiteX3429" fmla="*/ 5264784 w 9586368"/>
              <a:gd name="connsiteY3429" fmla="*/ 4086287 h 6479439"/>
              <a:gd name="connsiteX3430" fmla="*/ 5260765 w 9586368"/>
              <a:gd name="connsiteY3430" fmla="*/ 4082248 h 6479439"/>
              <a:gd name="connsiteX3431" fmla="*/ 5260765 w 9586368"/>
              <a:gd name="connsiteY3431" fmla="*/ 4072377 h 6479439"/>
              <a:gd name="connsiteX3432" fmla="*/ 5025470 w 9586368"/>
              <a:gd name="connsiteY3432" fmla="*/ 4068339 h 6479439"/>
              <a:gd name="connsiteX3433" fmla="*/ 5035381 w 9586368"/>
              <a:gd name="connsiteY3433" fmla="*/ 4068339 h 6479439"/>
              <a:gd name="connsiteX3434" fmla="*/ 5039400 w 9586368"/>
              <a:gd name="connsiteY3434" fmla="*/ 4072377 h 6479439"/>
              <a:gd name="connsiteX3435" fmla="*/ 5039400 w 9586368"/>
              <a:gd name="connsiteY3435" fmla="*/ 4082248 h 6479439"/>
              <a:gd name="connsiteX3436" fmla="*/ 5035381 w 9586368"/>
              <a:gd name="connsiteY3436" fmla="*/ 4086287 h 6479439"/>
              <a:gd name="connsiteX3437" fmla="*/ 5025470 w 9586368"/>
              <a:gd name="connsiteY3437" fmla="*/ 4086287 h 6479439"/>
              <a:gd name="connsiteX3438" fmla="*/ 5021451 w 9586368"/>
              <a:gd name="connsiteY3438" fmla="*/ 4082248 h 6479439"/>
              <a:gd name="connsiteX3439" fmla="*/ 5021451 w 9586368"/>
              <a:gd name="connsiteY3439" fmla="*/ 4072377 h 6479439"/>
              <a:gd name="connsiteX3440" fmla="*/ 4786241 w 9586368"/>
              <a:gd name="connsiteY3440" fmla="*/ 4068339 h 6479439"/>
              <a:gd name="connsiteX3441" fmla="*/ 4796152 w 9586368"/>
              <a:gd name="connsiteY3441" fmla="*/ 4068339 h 6479439"/>
              <a:gd name="connsiteX3442" fmla="*/ 4800171 w 9586368"/>
              <a:gd name="connsiteY3442" fmla="*/ 4072377 h 6479439"/>
              <a:gd name="connsiteX3443" fmla="*/ 4800171 w 9586368"/>
              <a:gd name="connsiteY3443" fmla="*/ 4082248 h 6479439"/>
              <a:gd name="connsiteX3444" fmla="*/ 4796152 w 9586368"/>
              <a:gd name="connsiteY3444" fmla="*/ 4086287 h 6479439"/>
              <a:gd name="connsiteX3445" fmla="*/ 4786241 w 9586368"/>
              <a:gd name="connsiteY3445" fmla="*/ 4086287 h 6479439"/>
              <a:gd name="connsiteX3446" fmla="*/ 4782224 w 9586368"/>
              <a:gd name="connsiteY3446" fmla="*/ 4082248 h 6479439"/>
              <a:gd name="connsiteX3447" fmla="*/ 4782224 w 9586368"/>
              <a:gd name="connsiteY3447" fmla="*/ 4072377 h 6479439"/>
              <a:gd name="connsiteX3448" fmla="*/ 4546929 w 9586368"/>
              <a:gd name="connsiteY3448" fmla="*/ 4068339 h 6479439"/>
              <a:gd name="connsiteX3449" fmla="*/ 4556840 w 9586368"/>
              <a:gd name="connsiteY3449" fmla="*/ 4068339 h 6479439"/>
              <a:gd name="connsiteX3450" fmla="*/ 4560859 w 9586368"/>
              <a:gd name="connsiteY3450" fmla="*/ 4072377 h 6479439"/>
              <a:gd name="connsiteX3451" fmla="*/ 4560859 w 9586368"/>
              <a:gd name="connsiteY3451" fmla="*/ 4082248 h 6479439"/>
              <a:gd name="connsiteX3452" fmla="*/ 4556840 w 9586368"/>
              <a:gd name="connsiteY3452" fmla="*/ 4086287 h 6479439"/>
              <a:gd name="connsiteX3453" fmla="*/ 4546929 w 9586368"/>
              <a:gd name="connsiteY3453" fmla="*/ 4086287 h 6479439"/>
              <a:gd name="connsiteX3454" fmla="*/ 4542910 w 9586368"/>
              <a:gd name="connsiteY3454" fmla="*/ 4082248 h 6479439"/>
              <a:gd name="connsiteX3455" fmla="*/ 4542910 w 9586368"/>
              <a:gd name="connsiteY3455" fmla="*/ 4072377 h 6479439"/>
              <a:gd name="connsiteX3456" fmla="*/ 4307612 w 9586368"/>
              <a:gd name="connsiteY3456" fmla="*/ 4068339 h 6479439"/>
              <a:gd name="connsiteX3457" fmla="*/ 4317523 w 9586368"/>
              <a:gd name="connsiteY3457" fmla="*/ 4068339 h 6479439"/>
              <a:gd name="connsiteX3458" fmla="*/ 4321543 w 9586368"/>
              <a:gd name="connsiteY3458" fmla="*/ 4072377 h 6479439"/>
              <a:gd name="connsiteX3459" fmla="*/ 4321543 w 9586368"/>
              <a:gd name="connsiteY3459" fmla="*/ 4082248 h 6479439"/>
              <a:gd name="connsiteX3460" fmla="*/ 4317523 w 9586368"/>
              <a:gd name="connsiteY3460" fmla="*/ 4086287 h 6479439"/>
              <a:gd name="connsiteX3461" fmla="*/ 4307612 w 9586368"/>
              <a:gd name="connsiteY3461" fmla="*/ 4086287 h 6479439"/>
              <a:gd name="connsiteX3462" fmla="*/ 4303595 w 9586368"/>
              <a:gd name="connsiteY3462" fmla="*/ 4082248 h 6479439"/>
              <a:gd name="connsiteX3463" fmla="*/ 4303595 w 9586368"/>
              <a:gd name="connsiteY3463" fmla="*/ 4072377 h 6479439"/>
              <a:gd name="connsiteX3464" fmla="*/ 4068297 w 9586368"/>
              <a:gd name="connsiteY3464" fmla="*/ 4068339 h 6479439"/>
              <a:gd name="connsiteX3465" fmla="*/ 4078210 w 9586368"/>
              <a:gd name="connsiteY3465" fmla="*/ 4068339 h 6479439"/>
              <a:gd name="connsiteX3466" fmla="*/ 4082229 w 9586368"/>
              <a:gd name="connsiteY3466" fmla="*/ 4072377 h 6479439"/>
              <a:gd name="connsiteX3467" fmla="*/ 4082229 w 9586368"/>
              <a:gd name="connsiteY3467" fmla="*/ 4082248 h 6479439"/>
              <a:gd name="connsiteX3468" fmla="*/ 4078210 w 9586368"/>
              <a:gd name="connsiteY3468" fmla="*/ 4086287 h 6479439"/>
              <a:gd name="connsiteX3469" fmla="*/ 4068297 w 9586368"/>
              <a:gd name="connsiteY3469" fmla="*/ 4086287 h 6479439"/>
              <a:gd name="connsiteX3470" fmla="*/ 4064278 w 9586368"/>
              <a:gd name="connsiteY3470" fmla="*/ 4082248 h 6479439"/>
              <a:gd name="connsiteX3471" fmla="*/ 4064278 w 9586368"/>
              <a:gd name="connsiteY3471" fmla="*/ 4072377 h 6479439"/>
              <a:gd name="connsiteX3472" fmla="*/ 3828990 w 9586368"/>
              <a:gd name="connsiteY3472" fmla="*/ 4068339 h 6479439"/>
              <a:gd name="connsiteX3473" fmla="*/ 3838899 w 9586368"/>
              <a:gd name="connsiteY3473" fmla="*/ 4068339 h 6479439"/>
              <a:gd name="connsiteX3474" fmla="*/ 3842917 w 9586368"/>
              <a:gd name="connsiteY3474" fmla="*/ 4072377 h 6479439"/>
              <a:gd name="connsiteX3475" fmla="*/ 3842917 w 9586368"/>
              <a:gd name="connsiteY3475" fmla="*/ 4082248 h 6479439"/>
              <a:gd name="connsiteX3476" fmla="*/ 3838899 w 9586368"/>
              <a:gd name="connsiteY3476" fmla="*/ 4086287 h 6479439"/>
              <a:gd name="connsiteX3477" fmla="*/ 3828990 w 9586368"/>
              <a:gd name="connsiteY3477" fmla="*/ 4086287 h 6479439"/>
              <a:gd name="connsiteX3478" fmla="*/ 3824971 w 9586368"/>
              <a:gd name="connsiteY3478" fmla="*/ 4082248 h 6479439"/>
              <a:gd name="connsiteX3479" fmla="*/ 3824971 w 9586368"/>
              <a:gd name="connsiteY3479" fmla="*/ 4072377 h 6479439"/>
              <a:gd name="connsiteX3480" fmla="*/ 3589676 w 9586368"/>
              <a:gd name="connsiteY3480" fmla="*/ 4068339 h 6479439"/>
              <a:gd name="connsiteX3481" fmla="*/ 3599585 w 9586368"/>
              <a:gd name="connsiteY3481" fmla="*/ 4068339 h 6479439"/>
              <a:gd name="connsiteX3482" fmla="*/ 3603604 w 9586368"/>
              <a:gd name="connsiteY3482" fmla="*/ 4072377 h 6479439"/>
              <a:gd name="connsiteX3483" fmla="*/ 3603604 w 9586368"/>
              <a:gd name="connsiteY3483" fmla="*/ 4082248 h 6479439"/>
              <a:gd name="connsiteX3484" fmla="*/ 3599585 w 9586368"/>
              <a:gd name="connsiteY3484" fmla="*/ 4086287 h 6479439"/>
              <a:gd name="connsiteX3485" fmla="*/ 3589676 w 9586368"/>
              <a:gd name="connsiteY3485" fmla="*/ 4086287 h 6479439"/>
              <a:gd name="connsiteX3486" fmla="*/ 3585657 w 9586368"/>
              <a:gd name="connsiteY3486" fmla="*/ 4082248 h 6479439"/>
              <a:gd name="connsiteX3487" fmla="*/ 3585657 w 9586368"/>
              <a:gd name="connsiteY3487" fmla="*/ 4072377 h 6479439"/>
              <a:gd name="connsiteX3488" fmla="*/ 3350359 w 9586368"/>
              <a:gd name="connsiteY3488" fmla="*/ 4068339 h 6479439"/>
              <a:gd name="connsiteX3489" fmla="*/ 3360268 w 9586368"/>
              <a:gd name="connsiteY3489" fmla="*/ 4068339 h 6479439"/>
              <a:gd name="connsiteX3490" fmla="*/ 3364287 w 9586368"/>
              <a:gd name="connsiteY3490" fmla="*/ 4072377 h 6479439"/>
              <a:gd name="connsiteX3491" fmla="*/ 3364287 w 9586368"/>
              <a:gd name="connsiteY3491" fmla="*/ 4082248 h 6479439"/>
              <a:gd name="connsiteX3492" fmla="*/ 3360268 w 9586368"/>
              <a:gd name="connsiteY3492" fmla="*/ 4086287 h 6479439"/>
              <a:gd name="connsiteX3493" fmla="*/ 3350359 w 9586368"/>
              <a:gd name="connsiteY3493" fmla="*/ 4086287 h 6479439"/>
              <a:gd name="connsiteX3494" fmla="*/ 3346340 w 9586368"/>
              <a:gd name="connsiteY3494" fmla="*/ 4082248 h 6479439"/>
              <a:gd name="connsiteX3495" fmla="*/ 3346340 w 9586368"/>
              <a:gd name="connsiteY3495" fmla="*/ 4072377 h 6479439"/>
              <a:gd name="connsiteX3496" fmla="*/ 3111048 w 9586368"/>
              <a:gd name="connsiteY3496" fmla="*/ 4068339 h 6479439"/>
              <a:gd name="connsiteX3497" fmla="*/ 3120959 w 9586368"/>
              <a:gd name="connsiteY3497" fmla="*/ 4068339 h 6479439"/>
              <a:gd name="connsiteX3498" fmla="*/ 3124977 w 9586368"/>
              <a:gd name="connsiteY3498" fmla="*/ 4072377 h 6479439"/>
              <a:gd name="connsiteX3499" fmla="*/ 3124977 w 9586368"/>
              <a:gd name="connsiteY3499" fmla="*/ 4082248 h 6479439"/>
              <a:gd name="connsiteX3500" fmla="*/ 3120959 w 9586368"/>
              <a:gd name="connsiteY3500" fmla="*/ 4086287 h 6479439"/>
              <a:gd name="connsiteX3501" fmla="*/ 3111048 w 9586368"/>
              <a:gd name="connsiteY3501" fmla="*/ 4086287 h 6479439"/>
              <a:gd name="connsiteX3502" fmla="*/ 3107029 w 9586368"/>
              <a:gd name="connsiteY3502" fmla="*/ 4082248 h 6479439"/>
              <a:gd name="connsiteX3503" fmla="*/ 3107029 w 9586368"/>
              <a:gd name="connsiteY3503" fmla="*/ 4072377 h 6479439"/>
              <a:gd name="connsiteX3504" fmla="*/ 2871737 w 9586368"/>
              <a:gd name="connsiteY3504" fmla="*/ 4068339 h 6479439"/>
              <a:gd name="connsiteX3505" fmla="*/ 2881646 w 9586368"/>
              <a:gd name="connsiteY3505" fmla="*/ 4068339 h 6479439"/>
              <a:gd name="connsiteX3506" fmla="*/ 2885666 w 9586368"/>
              <a:gd name="connsiteY3506" fmla="*/ 4072377 h 6479439"/>
              <a:gd name="connsiteX3507" fmla="*/ 2885666 w 9586368"/>
              <a:gd name="connsiteY3507" fmla="*/ 4082248 h 6479439"/>
              <a:gd name="connsiteX3508" fmla="*/ 2881646 w 9586368"/>
              <a:gd name="connsiteY3508" fmla="*/ 4086287 h 6479439"/>
              <a:gd name="connsiteX3509" fmla="*/ 2871737 w 9586368"/>
              <a:gd name="connsiteY3509" fmla="*/ 4086287 h 6479439"/>
              <a:gd name="connsiteX3510" fmla="*/ 2867717 w 9586368"/>
              <a:gd name="connsiteY3510" fmla="*/ 4082248 h 6479439"/>
              <a:gd name="connsiteX3511" fmla="*/ 2867717 w 9586368"/>
              <a:gd name="connsiteY3511" fmla="*/ 4072377 h 6479439"/>
              <a:gd name="connsiteX3512" fmla="*/ 2632423 w 9586368"/>
              <a:gd name="connsiteY3512" fmla="*/ 4068339 h 6479439"/>
              <a:gd name="connsiteX3513" fmla="*/ 2642334 w 9586368"/>
              <a:gd name="connsiteY3513" fmla="*/ 4068339 h 6479439"/>
              <a:gd name="connsiteX3514" fmla="*/ 2646352 w 9586368"/>
              <a:gd name="connsiteY3514" fmla="*/ 4072377 h 6479439"/>
              <a:gd name="connsiteX3515" fmla="*/ 2646352 w 9586368"/>
              <a:gd name="connsiteY3515" fmla="*/ 4082248 h 6479439"/>
              <a:gd name="connsiteX3516" fmla="*/ 2642334 w 9586368"/>
              <a:gd name="connsiteY3516" fmla="*/ 4086287 h 6479439"/>
              <a:gd name="connsiteX3517" fmla="*/ 2632423 w 9586368"/>
              <a:gd name="connsiteY3517" fmla="*/ 4086287 h 6479439"/>
              <a:gd name="connsiteX3518" fmla="*/ 2628404 w 9586368"/>
              <a:gd name="connsiteY3518" fmla="*/ 4082248 h 6479439"/>
              <a:gd name="connsiteX3519" fmla="*/ 2628404 w 9586368"/>
              <a:gd name="connsiteY3519" fmla="*/ 4072377 h 6479439"/>
              <a:gd name="connsiteX3520" fmla="*/ 2393104 w 9586368"/>
              <a:gd name="connsiteY3520" fmla="*/ 4068339 h 6479439"/>
              <a:gd name="connsiteX3521" fmla="*/ 2403015 w 9586368"/>
              <a:gd name="connsiteY3521" fmla="*/ 4068339 h 6479439"/>
              <a:gd name="connsiteX3522" fmla="*/ 2407034 w 9586368"/>
              <a:gd name="connsiteY3522" fmla="*/ 4072377 h 6479439"/>
              <a:gd name="connsiteX3523" fmla="*/ 2407034 w 9586368"/>
              <a:gd name="connsiteY3523" fmla="*/ 4082248 h 6479439"/>
              <a:gd name="connsiteX3524" fmla="*/ 2403015 w 9586368"/>
              <a:gd name="connsiteY3524" fmla="*/ 4086287 h 6479439"/>
              <a:gd name="connsiteX3525" fmla="*/ 2393104 w 9586368"/>
              <a:gd name="connsiteY3525" fmla="*/ 4086287 h 6479439"/>
              <a:gd name="connsiteX3526" fmla="*/ 2389087 w 9586368"/>
              <a:gd name="connsiteY3526" fmla="*/ 4082248 h 6479439"/>
              <a:gd name="connsiteX3527" fmla="*/ 2389087 w 9586368"/>
              <a:gd name="connsiteY3527" fmla="*/ 4072377 h 6479439"/>
              <a:gd name="connsiteX3528" fmla="*/ 2157819 w 9586368"/>
              <a:gd name="connsiteY3528" fmla="*/ 4068339 h 6479439"/>
              <a:gd name="connsiteX3529" fmla="*/ 2167729 w 9586368"/>
              <a:gd name="connsiteY3529" fmla="*/ 4068339 h 6479439"/>
              <a:gd name="connsiteX3530" fmla="*/ 2171749 w 9586368"/>
              <a:gd name="connsiteY3530" fmla="*/ 4072377 h 6479439"/>
              <a:gd name="connsiteX3531" fmla="*/ 2171749 w 9586368"/>
              <a:gd name="connsiteY3531" fmla="*/ 4082248 h 6479439"/>
              <a:gd name="connsiteX3532" fmla="*/ 2167729 w 9586368"/>
              <a:gd name="connsiteY3532" fmla="*/ 4086287 h 6479439"/>
              <a:gd name="connsiteX3533" fmla="*/ 2157819 w 9586368"/>
              <a:gd name="connsiteY3533" fmla="*/ 4086287 h 6479439"/>
              <a:gd name="connsiteX3534" fmla="*/ 2153801 w 9586368"/>
              <a:gd name="connsiteY3534" fmla="*/ 4082248 h 6479439"/>
              <a:gd name="connsiteX3535" fmla="*/ 2153801 w 9586368"/>
              <a:gd name="connsiteY3535" fmla="*/ 4072377 h 6479439"/>
              <a:gd name="connsiteX3536" fmla="*/ 1918511 w 9586368"/>
              <a:gd name="connsiteY3536" fmla="*/ 4068339 h 6479439"/>
              <a:gd name="connsiteX3537" fmla="*/ 1928421 w 9586368"/>
              <a:gd name="connsiteY3537" fmla="*/ 4068339 h 6479439"/>
              <a:gd name="connsiteX3538" fmla="*/ 1932440 w 9586368"/>
              <a:gd name="connsiteY3538" fmla="*/ 4072377 h 6479439"/>
              <a:gd name="connsiteX3539" fmla="*/ 1932440 w 9586368"/>
              <a:gd name="connsiteY3539" fmla="*/ 4082248 h 6479439"/>
              <a:gd name="connsiteX3540" fmla="*/ 1928421 w 9586368"/>
              <a:gd name="connsiteY3540" fmla="*/ 4086287 h 6479439"/>
              <a:gd name="connsiteX3541" fmla="*/ 1918511 w 9586368"/>
              <a:gd name="connsiteY3541" fmla="*/ 4086287 h 6479439"/>
              <a:gd name="connsiteX3542" fmla="*/ 1914492 w 9586368"/>
              <a:gd name="connsiteY3542" fmla="*/ 4082248 h 6479439"/>
              <a:gd name="connsiteX3543" fmla="*/ 1914492 w 9586368"/>
              <a:gd name="connsiteY3543" fmla="*/ 4072377 h 6479439"/>
              <a:gd name="connsiteX3544" fmla="*/ 1679207 w 9586368"/>
              <a:gd name="connsiteY3544" fmla="*/ 4068339 h 6479439"/>
              <a:gd name="connsiteX3545" fmla="*/ 1689117 w 9586368"/>
              <a:gd name="connsiteY3545" fmla="*/ 4068339 h 6479439"/>
              <a:gd name="connsiteX3546" fmla="*/ 1693137 w 9586368"/>
              <a:gd name="connsiteY3546" fmla="*/ 4072377 h 6479439"/>
              <a:gd name="connsiteX3547" fmla="*/ 1693137 w 9586368"/>
              <a:gd name="connsiteY3547" fmla="*/ 4082248 h 6479439"/>
              <a:gd name="connsiteX3548" fmla="*/ 1689117 w 9586368"/>
              <a:gd name="connsiteY3548" fmla="*/ 4086287 h 6479439"/>
              <a:gd name="connsiteX3549" fmla="*/ 1679207 w 9586368"/>
              <a:gd name="connsiteY3549" fmla="*/ 4086287 h 6479439"/>
              <a:gd name="connsiteX3550" fmla="*/ 1675189 w 9586368"/>
              <a:gd name="connsiteY3550" fmla="*/ 4082248 h 6479439"/>
              <a:gd name="connsiteX3551" fmla="*/ 1675189 w 9586368"/>
              <a:gd name="connsiteY3551" fmla="*/ 4072377 h 6479439"/>
              <a:gd name="connsiteX3552" fmla="*/ 1439891 w 9586368"/>
              <a:gd name="connsiteY3552" fmla="*/ 4068339 h 6479439"/>
              <a:gd name="connsiteX3553" fmla="*/ 1449802 w 9586368"/>
              <a:gd name="connsiteY3553" fmla="*/ 4068339 h 6479439"/>
              <a:gd name="connsiteX3554" fmla="*/ 1453820 w 9586368"/>
              <a:gd name="connsiteY3554" fmla="*/ 4072377 h 6479439"/>
              <a:gd name="connsiteX3555" fmla="*/ 1453820 w 9586368"/>
              <a:gd name="connsiteY3555" fmla="*/ 4082248 h 6479439"/>
              <a:gd name="connsiteX3556" fmla="*/ 1449802 w 9586368"/>
              <a:gd name="connsiteY3556" fmla="*/ 4086287 h 6479439"/>
              <a:gd name="connsiteX3557" fmla="*/ 1439891 w 9586368"/>
              <a:gd name="connsiteY3557" fmla="*/ 4086287 h 6479439"/>
              <a:gd name="connsiteX3558" fmla="*/ 1435873 w 9586368"/>
              <a:gd name="connsiteY3558" fmla="*/ 4082248 h 6479439"/>
              <a:gd name="connsiteX3559" fmla="*/ 1435873 w 9586368"/>
              <a:gd name="connsiteY3559" fmla="*/ 4072377 h 6479439"/>
              <a:gd name="connsiteX3560" fmla="*/ 1200576 w 9586368"/>
              <a:gd name="connsiteY3560" fmla="*/ 4068339 h 6479439"/>
              <a:gd name="connsiteX3561" fmla="*/ 1210486 w 9586368"/>
              <a:gd name="connsiteY3561" fmla="*/ 4068339 h 6479439"/>
              <a:gd name="connsiteX3562" fmla="*/ 1214505 w 9586368"/>
              <a:gd name="connsiteY3562" fmla="*/ 4072377 h 6479439"/>
              <a:gd name="connsiteX3563" fmla="*/ 1214505 w 9586368"/>
              <a:gd name="connsiteY3563" fmla="*/ 4082248 h 6479439"/>
              <a:gd name="connsiteX3564" fmla="*/ 1210486 w 9586368"/>
              <a:gd name="connsiteY3564" fmla="*/ 4086287 h 6479439"/>
              <a:gd name="connsiteX3565" fmla="*/ 1200576 w 9586368"/>
              <a:gd name="connsiteY3565" fmla="*/ 4086287 h 6479439"/>
              <a:gd name="connsiteX3566" fmla="*/ 1196558 w 9586368"/>
              <a:gd name="connsiteY3566" fmla="*/ 4082248 h 6479439"/>
              <a:gd name="connsiteX3567" fmla="*/ 1196558 w 9586368"/>
              <a:gd name="connsiteY3567" fmla="*/ 4072377 h 6479439"/>
              <a:gd name="connsiteX3568" fmla="*/ 961263 w 9586368"/>
              <a:gd name="connsiteY3568" fmla="*/ 4068339 h 6479439"/>
              <a:gd name="connsiteX3569" fmla="*/ 971174 w 9586368"/>
              <a:gd name="connsiteY3569" fmla="*/ 4068339 h 6479439"/>
              <a:gd name="connsiteX3570" fmla="*/ 975192 w 9586368"/>
              <a:gd name="connsiteY3570" fmla="*/ 4072377 h 6479439"/>
              <a:gd name="connsiteX3571" fmla="*/ 975192 w 9586368"/>
              <a:gd name="connsiteY3571" fmla="*/ 4082248 h 6479439"/>
              <a:gd name="connsiteX3572" fmla="*/ 971174 w 9586368"/>
              <a:gd name="connsiteY3572" fmla="*/ 4086287 h 6479439"/>
              <a:gd name="connsiteX3573" fmla="*/ 961263 w 9586368"/>
              <a:gd name="connsiteY3573" fmla="*/ 4086287 h 6479439"/>
              <a:gd name="connsiteX3574" fmla="*/ 957244 w 9586368"/>
              <a:gd name="connsiteY3574" fmla="*/ 4082248 h 6479439"/>
              <a:gd name="connsiteX3575" fmla="*/ 957244 w 9586368"/>
              <a:gd name="connsiteY3575" fmla="*/ 4072377 h 6479439"/>
              <a:gd name="connsiteX3576" fmla="*/ 721965 w 9586368"/>
              <a:gd name="connsiteY3576" fmla="*/ 4068339 h 6479439"/>
              <a:gd name="connsiteX3577" fmla="*/ 731876 w 9586368"/>
              <a:gd name="connsiteY3577" fmla="*/ 4068339 h 6479439"/>
              <a:gd name="connsiteX3578" fmla="*/ 735894 w 9586368"/>
              <a:gd name="connsiteY3578" fmla="*/ 4072377 h 6479439"/>
              <a:gd name="connsiteX3579" fmla="*/ 735894 w 9586368"/>
              <a:gd name="connsiteY3579" fmla="*/ 4082248 h 6479439"/>
              <a:gd name="connsiteX3580" fmla="*/ 731876 w 9586368"/>
              <a:gd name="connsiteY3580" fmla="*/ 4086287 h 6479439"/>
              <a:gd name="connsiteX3581" fmla="*/ 721965 w 9586368"/>
              <a:gd name="connsiteY3581" fmla="*/ 4086287 h 6479439"/>
              <a:gd name="connsiteX3582" fmla="*/ 717946 w 9586368"/>
              <a:gd name="connsiteY3582" fmla="*/ 4082248 h 6479439"/>
              <a:gd name="connsiteX3583" fmla="*/ 717946 w 9586368"/>
              <a:gd name="connsiteY3583" fmla="*/ 4072377 h 6479439"/>
              <a:gd name="connsiteX3584" fmla="*/ 482653 w 9586368"/>
              <a:gd name="connsiteY3584" fmla="*/ 4068339 h 6479439"/>
              <a:gd name="connsiteX3585" fmla="*/ 492563 w 9586368"/>
              <a:gd name="connsiteY3585" fmla="*/ 4068339 h 6479439"/>
              <a:gd name="connsiteX3586" fmla="*/ 496583 w 9586368"/>
              <a:gd name="connsiteY3586" fmla="*/ 4072377 h 6479439"/>
              <a:gd name="connsiteX3587" fmla="*/ 496583 w 9586368"/>
              <a:gd name="connsiteY3587" fmla="*/ 4082248 h 6479439"/>
              <a:gd name="connsiteX3588" fmla="*/ 492563 w 9586368"/>
              <a:gd name="connsiteY3588" fmla="*/ 4086287 h 6479439"/>
              <a:gd name="connsiteX3589" fmla="*/ 482653 w 9586368"/>
              <a:gd name="connsiteY3589" fmla="*/ 4086287 h 6479439"/>
              <a:gd name="connsiteX3590" fmla="*/ 478634 w 9586368"/>
              <a:gd name="connsiteY3590" fmla="*/ 4082248 h 6479439"/>
              <a:gd name="connsiteX3591" fmla="*/ 478634 w 9586368"/>
              <a:gd name="connsiteY3591" fmla="*/ 4072377 h 6479439"/>
              <a:gd name="connsiteX3592" fmla="*/ 243339 w 9586368"/>
              <a:gd name="connsiteY3592" fmla="*/ 4068339 h 6479439"/>
              <a:gd name="connsiteX3593" fmla="*/ 253250 w 9586368"/>
              <a:gd name="connsiteY3593" fmla="*/ 4068339 h 6479439"/>
              <a:gd name="connsiteX3594" fmla="*/ 257269 w 9586368"/>
              <a:gd name="connsiteY3594" fmla="*/ 4072377 h 6479439"/>
              <a:gd name="connsiteX3595" fmla="*/ 257269 w 9586368"/>
              <a:gd name="connsiteY3595" fmla="*/ 4082248 h 6479439"/>
              <a:gd name="connsiteX3596" fmla="*/ 253250 w 9586368"/>
              <a:gd name="connsiteY3596" fmla="*/ 4086287 h 6479439"/>
              <a:gd name="connsiteX3597" fmla="*/ 243339 w 9586368"/>
              <a:gd name="connsiteY3597" fmla="*/ 4086287 h 6479439"/>
              <a:gd name="connsiteX3598" fmla="*/ 239320 w 9586368"/>
              <a:gd name="connsiteY3598" fmla="*/ 4082248 h 6479439"/>
              <a:gd name="connsiteX3599" fmla="*/ 239320 w 9586368"/>
              <a:gd name="connsiteY3599" fmla="*/ 4072377 h 6479439"/>
              <a:gd name="connsiteX3600" fmla="*/ 4026 w 9586368"/>
              <a:gd name="connsiteY3600" fmla="*/ 4068339 h 6479439"/>
              <a:gd name="connsiteX3601" fmla="*/ 13936 w 9586368"/>
              <a:gd name="connsiteY3601" fmla="*/ 4068339 h 6479439"/>
              <a:gd name="connsiteX3602" fmla="*/ 17956 w 9586368"/>
              <a:gd name="connsiteY3602" fmla="*/ 4072377 h 6479439"/>
              <a:gd name="connsiteX3603" fmla="*/ 17956 w 9586368"/>
              <a:gd name="connsiteY3603" fmla="*/ 4082248 h 6479439"/>
              <a:gd name="connsiteX3604" fmla="*/ 13936 w 9586368"/>
              <a:gd name="connsiteY3604" fmla="*/ 4086287 h 6479439"/>
              <a:gd name="connsiteX3605" fmla="*/ 4026 w 9586368"/>
              <a:gd name="connsiteY3605" fmla="*/ 4086287 h 6479439"/>
              <a:gd name="connsiteX3606" fmla="*/ 7 w 9586368"/>
              <a:gd name="connsiteY3606" fmla="*/ 4082248 h 6479439"/>
              <a:gd name="connsiteX3607" fmla="*/ 7 w 9586368"/>
              <a:gd name="connsiteY3607" fmla="*/ 4072377 h 6479439"/>
              <a:gd name="connsiteX3608" fmla="*/ 2157820 w 9586368"/>
              <a:gd name="connsiteY3608" fmla="*/ 3829058 h 6479439"/>
              <a:gd name="connsiteX3609" fmla="*/ 2167731 w 9586368"/>
              <a:gd name="connsiteY3609" fmla="*/ 3829058 h 6479439"/>
              <a:gd name="connsiteX3610" fmla="*/ 2171749 w 9586368"/>
              <a:gd name="connsiteY3610" fmla="*/ 3833097 h 6479439"/>
              <a:gd name="connsiteX3611" fmla="*/ 2171749 w 9586368"/>
              <a:gd name="connsiteY3611" fmla="*/ 3842968 h 6479439"/>
              <a:gd name="connsiteX3612" fmla="*/ 2167731 w 9586368"/>
              <a:gd name="connsiteY3612" fmla="*/ 3847007 h 6479439"/>
              <a:gd name="connsiteX3613" fmla="*/ 2157820 w 9586368"/>
              <a:gd name="connsiteY3613" fmla="*/ 3847007 h 6479439"/>
              <a:gd name="connsiteX3614" fmla="*/ 2153801 w 9586368"/>
              <a:gd name="connsiteY3614" fmla="*/ 3842968 h 6479439"/>
              <a:gd name="connsiteX3615" fmla="*/ 2153801 w 9586368"/>
              <a:gd name="connsiteY3615" fmla="*/ 3833097 h 6479439"/>
              <a:gd name="connsiteX3616" fmla="*/ 1918511 w 9586368"/>
              <a:gd name="connsiteY3616" fmla="*/ 3829058 h 6479439"/>
              <a:gd name="connsiteX3617" fmla="*/ 1928421 w 9586368"/>
              <a:gd name="connsiteY3617" fmla="*/ 3829058 h 6479439"/>
              <a:gd name="connsiteX3618" fmla="*/ 1932440 w 9586368"/>
              <a:gd name="connsiteY3618" fmla="*/ 3833097 h 6479439"/>
              <a:gd name="connsiteX3619" fmla="*/ 1932440 w 9586368"/>
              <a:gd name="connsiteY3619" fmla="*/ 3842968 h 6479439"/>
              <a:gd name="connsiteX3620" fmla="*/ 1928421 w 9586368"/>
              <a:gd name="connsiteY3620" fmla="*/ 3847007 h 6479439"/>
              <a:gd name="connsiteX3621" fmla="*/ 1918511 w 9586368"/>
              <a:gd name="connsiteY3621" fmla="*/ 3847007 h 6479439"/>
              <a:gd name="connsiteX3622" fmla="*/ 1914493 w 9586368"/>
              <a:gd name="connsiteY3622" fmla="*/ 3842968 h 6479439"/>
              <a:gd name="connsiteX3623" fmla="*/ 1914493 w 9586368"/>
              <a:gd name="connsiteY3623" fmla="*/ 3833097 h 6479439"/>
              <a:gd name="connsiteX3624" fmla="*/ 1679209 w 9586368"/>
              <a:gd name="connsiteY3624" fmla="*/ 3829058 h 6479439"/>
              <a:gd name="connsiteX3625" fmla="*/ 1689118 w 9586368"/>
              <a:gd name="connsiteY3625" fmla="*/ 3829058 h 6479439"/>
              <a:gd name="connsiteX3626" fmla="*/ 1693137 w 9586368"/>
              <a:gd name="connsiteY3626" fmla="*/ 3833097 h 6479439"/>
              <a:gd name="connsiteX3627" fmla="*/ 1693137 w 9586368"/>
              <a:gd name="connsiteY3627" fmla="*/ 3842968 h 6479439"/>
              <a:gd name="connsiteX3628" fmla="*/ 1689118 w 9586368"/>
              <a:gd name="connsiteY3628" fmla="*/ 3847007 h 6479439"/>
              <a:gd name="connsiteX3629" fmla="*/ 1679209 w 9586368"/>
              <a:gd name="connsiteY3629" fmla="*/ 3847007 h 6479439"/>
              <a:gd name="connsiteX3630" fmla="*/ 1675189 w 9586368"/>
              <a:gd name="connsiteY3630" fmla="*/ 3842968 h 6479439"/>
              <a:gd name="connsiteX3631" fmla="*/ 1675189 w 9586368"/>
              <a:gd name="connsiteY3631" fmla="*/ 3833097 h 6479439"/>
              <a:gd name="connsiteX3632" fmla="*/ 1439892 w 9586368"/>
              <a:gd name="connsiteY3632" fmla="*/ 3829058 h 6479439"/>
              <a:gd name="connsiteX3633" fmla="*/ 1449802 w 9586368"/>
              <a:gd name="connsiteY3633" fmla="*/ 3829058 h 6479439"/>
              <a:gd name="connsiteX3634" fmla="*/ 1453820 w 9586368"/>
              <a:gd name="connsiteY3634" fmla="*/ 3833097 h 6479439"/>
              <a:gd name="connsiteX3635" fmla="*/ 1453820 w 9586368"/>
              <a:gd name="connsiteY3635" fmla="*/ 3842968 h 6479439"/>
              <a:gd name="connsiteX3636" fmla="*/ 1449802 w 9586368"/>
              <a:gd name="connsiteY3636" fmla="*/ 3847007 h 6479439"/>
              <a:gd name="connsiteX3637" fmla="*/ 1439892 w 9586368"/>
              <a:gd name="connsiteY3637" fmla="*/ 3847007 h 6479439"/>
              <a:gd name="connsiteX3638" fmla="*/ 1435874 w 9586368"/>
              <a:gd name="connsiteY3638" fmla="*/ 3842968 h 6479439"/>
              <a:gd name="connsiteX3639" fmla="*/ 1435874 w 9586368"/>
              <a:gd name="connsiteY3639" fmla="*/ 3833097 h 6479439"/>
              <a:gd name="connsiteX3640" fmla="*/ 1200577 w 9586368"/>
              <a:gd name="connsiteY3640" fmla="*/ 3829058 h 6479439"/>
              <a:gd name="connsiteX3641" fmla="*/ 1210487 w 9586368"/>
              <a:gd name="connsiteY3641" fmla="*/ 3829058 h 6479439"/>
              <a:gd name="connsiteX3642" fmla="*/ 1214506 w 9586368"/>
              <a:gd name="connsiteY3642" fmla="*/ 3833097 h 6479439"/>
              <a:gd name="connsiteX3643" fmla="*/ 1214506 w 9586368"/>
              <a:gd name="connsiteY3643" fmla="*/ 3842968 h 6479439"/>
              <a:gd name="connsiteX3644" fmla="*/ 1210487 w 9586368"/>
              <a:gd name="connsiteY3644" fmla="*/ 3847007 h 6479439"/>
              <a:gd name="connsiteX3645" fmla="*/ 1200577 w 9586368"/>
              <a:gd name="connsiteY3645" fmla="*/ 3847007 h 6479439"/>
              <a:gd name="connsiteX3646" fmla="*/ 1196558 w 9586368"/>
              <a:gd name="connsiteY3646" fmla="*/ 3842968 h 6479439"/>
              <a:gd name="connsiteX3647" fmla="*/ 1196558 w 9586368"/>
              <a:gd name="connsiteY3647" fmla="*/ 3833097 h 6479439"/>
              <a:gd name="connsiteX3648" fmla="*/ 961264 w 9586368"/>
              <a:gd name="connsiteY3648" fmla="*/ 3829058 h 6479439"/>
              <a:gd name="connsiteX3649" fmla="*/ 971174 w 9586368"/>
              <a:gd name="connsiteY3649" fmla="*/ 3829058 h 6479439"/>
              <a:gd name="connsiteX3650" fmla="*/ 975193 w 9586368"/>
              <a:gd name="connsiteY3650" fmla="*/ 3833097 h 6479439"/>
              <a:gd name="connsiteX3651" fmla="*/ 975193 w 9586368"/>
              <a:gd name="connsiteY3651" fmla="*/ 3842968 h 6479439"/>
              <a:gd name="connsiteX3652" fmla="*/ 971174 w 9586368"/>
              <a:gd name="connsiteY3652" fmla="*/ 3847007 h 6479439"/>
              <a:gd name="connsiteX3653" fmla="*/ 961264 w 9586368"/>
              <a:gd name="connsiteY3653" fmla="*/ 3847007 h 6479439"/>
              <a:gd name="connsiteX3654" fmla="*/ 957245 w 9586368"/>
              <a:gd name="connsiteY3654" fmla="*/ 3842968 h 6479439"/>
              <a:gd name="connsiteX3655" fmla="*/ 957245 w 9586368"/>
              <a:gd name="connsiteY3655" fmla="*/ 3833097 h 6479439"/>
              <a:gd name="connsiteX3656" fmla="*/ 9572438 w 9586368"/>
              <a:gd name="connsiteY3656" fmla="*/ 3829008 h 6479439"/>
              <a:gd name="connsiteX3657" fmla="*/ 9582349 w 9586368"/>
              <a:gd name="connsiteY3657" fmla="*/ 3829008 h 6479439"/>
              <a:gd name="connsiteX3658" fmla="*/ 9586368 w 9586368"/>
              <a:gd name="connsiteY3658" fmla="*/ 3833046 h 6479439"/>
              <a:gd name="connsiteX3659" fmla="*/ 9586368 w 9586368"/>
              <a:gd name="connsiteY3659" fmla="*/ 3842917 h 6479439"/>
              <a:gd name="connsiteX3660" fmla="*/ 9582349 w 9586368"/>
              <a:gd name="connsiteY3660" fmla="*/ 3846956 h 6479439"/>
              <a:gd name="connsiteX3661" fmla="*/ 9572438 w 9586368"/>
              <a:gd name="connsiteY3661" fmla="*/ 3846956 h 6479439"/>
              <a:gd name="connsiteX3662" fmla="*/ 9568419 w 9586368"/>
              <a:gd name="connsiteY3662" fmla="*/ 3842917 h 6479439"/>
              <a:gd name="connsiteX3663" fmla="*/ 9568419 w 9586368"/>
              <a:gd name="connsiteY3663" fmla="*/ 3833046 h 6479439"/>
              <a:gd name="connsiteX3664" fmla="*/ 9333125 w 9586368"/>
              <a:gd name="connsiteY3664" fmla="*/ 3829008 h 6479439"/>
              <a:gd name="connsiteX3665" fmla="*/ 9343036 w 9586368"/>
              <a:gd name="connsiteY3665" fmla="*/ 3829008 h 6479439"/>
              <a:gd name="connsiteX3666" fmla="*/ 9347055 w 9586368"/>
              <a:gd name="connsiteY3666" fmla="*/ 3833046 h 6479439"/>
              <a:gd name="connsiteX3667" fmla="*/ 9347055 w 9586368"/>
              <a:gd name="connsiteY3667" fmla="*/ 3842917 h 6479439"/>
              <a:gd name="connsiteX3668" fmla="*/ 9343036 w 9586368"/>
              <a:gd name="connsiteY3668" fmla="*/ 3846956 h 6479439"/>
              <a:gd name="connsiteX3669" fmla="*/ 9333125 w 9586368"/>
              <a:gd name="connsiteY3669" fmla="*/ 3846956 h 6479439"/>
              <a:gd name="connsiteX3670" fmla="*/ 9329106 w 9586368"/>
              <a:gd name="connsiteY3670" fmla="*/ 3842917 h 6479439"/>
              <a:gd name="connsiteX3671" fmla="*/ 9329106 w 9586368"/>
              <a:gd name="connsiteY3671" fmla="*/ 3833046 h 6479439"/>
              <a:gd name="connsiteX3672" fmla="*/ 9093811 w 9586368"/>
              <a:gd name="connsiteY3672" fmla="*/ 3829008 h 6479439"/>
              <a:gd name="connsiteX3673" fmla="*/ 9103722 w 9586368"/>
              <a:gd name="connsiteY3673" fmla="*/ 3829008 h 6479439"/>
              <a:gd name="connsiteX3674" fmla="*/ 9107741 w 9586368"/>
              <a:gd name="connsiteY3674" fmla="*/ 3833046 h 6479439"/>
              <a:gd name="connsiteX3675" fmla="*/ 9107741 w 9586368"/>
              <a:gd name="connsiteY3675" fmla="*/ 3842917 h 6479439"/>
              <a:gd name="connsiteX3676" fmla="*/ 9103722 w 9586368"/>
              <a:gd name="connsiteY3676" fmla="*/ 3846956 h 6479439"/>
              <a:gd name="connsiteX3677" fmla="*/ 9093811 w 9586368"/>
              <a:gd name="connsiteY3677" fmla="*/ 3846956 h 6479439"/>
              <a:gd name="connsiteX3678" fmla="*/ 9089792 w 9586368"/>
              <a:gd name="connsiteY3678" fmla="*/ 3842917 h 6479439"/>
              <a:gd name="connsiteX3679" fmla="*/ 9089792 w 9586368"/>
              <a:gd name="connsiteY3679" fmla="*/ 3833046 h 6479439"/>
              <a:gd name="connsiteX3680" fmla="*/ 8854496 w 9586368"/>
              <a:gd name="connsiteY3680" fmla="*/ 3829008 h 6479439"/>
              <a:gd name="connsiteX3681" fmla="*/ 8864407 w 9586368"/>
              <a:gd name="connsiteY3681" fmla="*/ 3829008 h 6479439"/>
              <a:gd name="connsiteX3682" fmla="*/ 8868426 w 9586368"/>
              <a:gd name="connsiteY3682" fmla="*/ 3833046 h 6479439"/>
              <a:gd name="connsiteX3683" fmla="*/ 8868426 w 9586368"/>
              <a:gd name="connsiteY3683" fmla="*/ 3842917 h 6479439"/>
              <a:gd name="connsiteX3684" fmla="*/ 8864407 w 9586368"/>
              <a:gd name="connsiteY3684" fmla="*/ 3846956 h 6479439"/>
              <a:gd name="connsiteX3685" fmla="*/ 8854496 w 9586368"/>
              <a:gd name="connsiteY3685" fmla="*/ 3846956 h 6479439"/>
              <a:gd name="connsiteX3686" fmla="*/ 8850477 w 9586368"/>
              <a:gd name="connsiteY3686" fmla="*/ 3842917 h 6479439"/>
              <a:gd name="connsiteX3687" fmla="*/ 8850477 w 9586368"/>
              <a:gd name="connsiteY3687" fmla="*/ 3833046 h 6479439"/>
              <a:gd name="connsiteX3688" fmla="*/ 8615184 w 9586368"/>
              <a:gd name="connsiteY3688" fmla="*/ 3829008 h 6479439"/>
              <a:gd name="connsiteX3689" fmla="*/ 8625095 w 9586368"/>
              <a:gd name="connsiteY3689" fmla="*/ 3829008 h 6479439"/>
              <a:gd name="connsiteX3690" fmla="*/ 8629114 w 9586368"/>
              <a:gd name="connsiteY3690" fmla="*/ 3833046 h 6479439"/>
              <a:gd name="connsiteX3691" fmla="*/ 8629114 w 9586368"/>
              <a:gd name="connsiteY3691" fmla="*/ 3842917 h 6479439"/>
              <a:gd name="connsiteX3692" fmla="*/ 8625095 w 9586368"/>
              <a:gd name="connsiteY3692" fmla="*/ 3846956 h 6479439"/>
              <a:gd name="connsiteX3693" fmla="*/ 8615184 w 9586368"/>
              <a:gd name="connsiteY3693" fmla="*/ 3846956 h 6479439"/>
              <a:gd name="connsiteX3694" fmla="*/ 8611165 w 9586368"/>
              <a:gd name="connsiteY3694" fmla="*/ 3842917 h 6479439"/>
              <a:gd name="connsiteX3695" fmla="*/ 8611165 w 9586368"/>
              <a:gd name="connsiteY3695" fmla="*/ 3833046 h 6479439"/>
              <a:gd name="connsiteX3696" fmla="*/ 8375869 w 9586368"/>
              <a:gd name="connsiteY3696" fmla="*/ 3829008 h 6479439"/>
              <a:gd name="connsiteX3697" fmla="*/ 8385779 w 9586368"/>
              <a:gd name="connsiteY3697" fmla="*/ 3829008 h 6479439"/>
              <a:gd name="connsiteX3698" fmla="*/ 8389799 w 9586368"/>
              <a:gd name="connsiteY3698" fmla="*/ 3833046 h 6479439"/>
              <a:gd name="connsiteX3699" fmla="*/ 8389799 w 9586368"/>
              <a:gd name="connsiteY3699" fmla="*/ 3842917 h 6479439"/>
              <a:gd name="connsiteX3700" fmla="*/ 8385779 w 9586368"/>
              <a:gd name="connsiteY3700" fmla="*/ 3846956 h 6479439"/>
              <a:gd name="connsiteX3701" fmla="*/ 8375869 w 9586368"/>
              <a:gd name="connsiteY3701" fmla="*/ 3846956 h 6479439"/>
              <a:gd name="connsiteX3702" fmla="*/ 8371850 w 9586368"/>
              <a:gd name="connsiteY3702" fmla="*/ 3842917 h 6479439"/>
              <a:gd name="connsiteX3703" fmla="*/ 8371850 w 9586368"/>
              <a:gd name="connsiteY3703" fmla="*/ 3833046 h 6479439"/>
              <a:gd name="connsiteX3704" fmla="*/ 8136553 w 9586368"/>
              <a:gd name="connsiteY3704" fmla="*/ 3829008 h 6479439"/>
              <a:gd name="connsiteX3705" fmla="*/ 8146464 w 9586368"/>
              <a:gd name="connsiteY3705" fmla="*/ 3829008 h 6479439"/>
              <a:gd name="connsiteX3706" fmla="*/ 8150483 w 9586368"/>
              <a:gd name="connsiteY3706" fmla="*/ 3833046 h 6479439"/>
              <a:gd name="connsiteX3707" fmla="*/ 8150483 w 9586368"/>
              <a:gd name="connsiteY3707" fmla="*/ 3842917 h 6479439"/>
              <a:gd name="connsiteX3708" fmla="*/ 8146464 w 9586368"/>
              <a:gd name="connsiteY3708" fmla="*/ 3846956 h 6479439"/>
              <a:gd name="connsiteX3709" fmla="*/ 8136553 w 9586368"/>
              <a:gd name="connsiteY3709" fmla="*/ 3846956 h 6479439"/>
              <a:gd name="connsiteX3710" fmla="*/ 8132534 w 9586368"/>
              <a:gd name="connsiteY3710" fmla="*/ 3842917 h 6479439"/>
              <a:gd name="connsiteX3711" fmla="*/ 8132534 w 9586368"/>
              <a:gd name="connsiteY3711" fmla="*/ 3833046 h 6479439"/>
              <a:gd name="connsiteX3712" fmla="*/ 7897241 w 9586368"/>
              <a:gd name="connsiteY3712" fmla="*/ 3829008 h 6479439"/>
              <a:gd name="connsiteX3713" fmla="*/ 7907151 w 9586368"/>
              <a:gd name="connsiteY3713" fmla="*/ 3829008 h 6479439"/>
              <a:gd name="connsiteX3714" fmla="*/ 7911170 w 9586368"/>
              <a:gd name="connsiteY3714" fmla="*/ 3833046 h 6479439"/>
              <a:gd name="connsiteX3715" fmla="*/ 7911170 w 9586368"/>
              <a:gd name="connsiteY3715" fmla="*/ 3842917 h 6479439"/>
              <a:gd name="connsiteX3716" fmla="*/ 7907151 w 9586368"/>
              <a:gd name="connsiteY3716" fmla="*/ 3846956 h 6479439"/>
              <a:gd name="connsiteX3717" fmla="*/ 7897241 w 9586368"/>
              <a:gd name="connsiteY3717" fmla="*/ 3846956 h 6479439"/>
              <a:gd name="connsiteX3718" fmla="*/ 7893222 w 9586368"/>
              <a:gd name="connsiteY3718" fmla="*/ 3842917 h 6479439"/>
              <a:gd name="connsiteX3719" fmla="*/ 7893222 w 9586368"/>
              <a:gd name="connsiteY3719" fmla="*/ 3833046 h 6479439"/>
              <a:gd name="connsiteX3720" fmla="*/ 7657926 w 9586368"/>
              <a:gd name="connsiteY3720" fmla="*/ 3829008 h 6479439"/>
              <a:gd name="connsiteX3721" fmla="*/ 7667836 w 9586368"/>
              <a:gd name="connsiteY3721" fmla="*/ 3829008 h 6479439"/>
              <a:gd name="connsiteX3722" fmla="*/ 7671855 w 9586368"/>
              <a:gd name="connsiteY3722" fmla="*/ 3833046 h 6479439"/>
              <a:gd name="connsiteX3723" fmla="*/ 7671855 w 9586368"/>
              <a:gd name="connsiteY3723" fmla="*/ 3842917 h 6479439"/>
              <a:gd name="connsiteX3724" fmla="*/ 7667836 w 9586368"/>
              <a:gd name="connsiteY3724" fmla="*/ 3846956 h 6479439"/>
              <a:gd name="connsiteX3725" fmla="*/ 7657926 w 9586368"/>
              <a:gd name="connsiteY3725" fmla="*/ 3846956 h 6479439"/>
              <a:gd name="connsiteX3726" fmla="*/ 7653906 w 9586368"/>
              <a:gd name="connsiteY3726" fmla="*/ 3842917 h 6479439"/>
              <a:gd name="connsiteX3727" fmla="*/ 7653906 w 9586368"/>
              <a:gd name="connsiteY3727" fmla="*/ 3833046 h 6479439"/>
              <a:gd name="connsiteX3728" fmla="*/ 7418611 w 9586368"/>
              <a:gd name="connsiteY3728" fmla="*/ 3829008 h 6479439"/>
              <a:gd name="connsiteX3729" fmla="*/ 7428521 w 9586368"/>
              <a:gd name="connsiteY3729" fmla="*/ 3829008 h 6479439"/>
              <a:gd name="connsiteX3730" fmla="*/ 7432540 w 9586368"/>
              <a:gd name="connsiteY3730" fmla="*/ 3833046 h 6479439"/>
              <a:gd name="connsiteX3731" fmla="*/ 7432540 w 9586368"/>
              <a:gd name="connsiteY3731" fmla="*/ 3842917 h 6479439"/>
              <a:gd name="connsiteX3732" fmla="*/ 7428521 w 9586368"/>
              <a:gd name="connsiteY3732" fmla="*/ 3846956 h 6479439"/>
              <a:gd name="connsiteX3733" fmla="*/ 7418611 w 9586368"/>
              <a:gd name="connsiteY3733" fmla="*/ 3846956 h 6479439"/>
              <a:gd name="connsiteX3734" fmla="*/ 7414592 w 9586368"/>
              <a:gd name="connsiteY3734" fmla="*/ 3842917 h 6479439"/>
              <a:gd name="connsiteX3735" fmla="*/ 7414592 w 9586368"/>
              <a:gd name="connsiteY3735" fmla="*/ 3833046 h 6479439"/>
              <a:gd name="connsiteX3736" fmla="*/ 7179298 w 9586368"/>
              <a:gd name="connsiteY3736" fmla="*/ 3829008 h 6479439"/>
              <a:gd name="connsiteX3737" fmla="*/ 7189209 w 9586368"/>
              <a:gd name="connsiteY3737" fmla="*/ 3829008 h 6479439"/>
              <a:gd name="connsiteX3738" fmla="*/ 7193228 w 9586368"/>
              <a:gd name="connsiteY3738" fmla="*/ 3833046 h 6479439"/>
              <a:gd name="connsiteX3739" fmla="*/ 7193228 w 9586368"/>
              <a:gd name="connsiteY3739" fmla="*/ 3842917 h 6479439"/>
              <a:gd name="connsiteX3740" fmla="*/ 7189209 w 9586368"/>
              <a:gd name="connsiteY3740" fmla="*/ 3846956 h 6479439"/>
              <a:gd name="connsiteX3741" fmla="*/ 7179298 w 9586368"/>
              <a:gd name="connsiteY3741" fmla="*/ 3846956 h 6479439"/>
              <a:gd name="connsiteX3742" fmla="*/ 7175279 w 9586368"/>
              <a:gd name="connsiteY3742" fmla="*/ 3842917 h 6479439"/>
              <a:gd name="connsiteX3743" fmla="*/ 7175279 w 9586368"/>
              <a:gd name="connsiteY3743" fmla="*/ 3833046 h 6479439"/>
              <a:gd name="connsiteX3744" fmla="*/ 6939983 w 9586368"/>
              <a:gd name="connsiteY3744" fmla="*/ 3829008 h 6479439"/>
              <a:gd name="connsiteX3745" fmla="*/ 6949894 w 9586368"/>
              <a:gd name="connsiteY3745" fmla="*/ 3829008 h 6479439"/>
              <a:gd name="connsiteX3746" fmla="*/ 6953913 w 9586368"/>
              <a:gd name="connsiteY3746" fmla="*/ 3833046 h 6479439"/>
              <a:gd name="connsiteX3747" fmla="*/ 6953913 w 9586368"/>
              <a:gd name="connsiteY3747" fmla="*/ 3842917 h 6479439"/>
              <a:gd name="connsiteX3748" fmla="*/ 6949894 w 9586368"/>
              <a:gd name="connsiteY3748" fmla="*/ 3846956 h 6479439"/>
              <a:gd name="connsiteX3749" fmla="*/ 6939983 w 9586368"/>
              <a:gd name="connsiteY3749" fmla="*/ 3846956 h 6479439"/>
              <a:gd name="connsiteX3750" fmla="*/ 6935964 w 9586368"/>
              <a:gd name="connsiteY3750" fmla="*/ 3842917 h 6479439"/>
              <a:gd name="connsiteX3751" fmla="*/ 6935964 w 9586368"/>
              <a:gd name="connsiteY3751" fmla="*/ 3833046 h 6479439"/>
              <a:gd name="connsiteX3752" fmla="*/ 6700670 w 9586368"/>
              <a:gd name="connsiteY3752" fmla="*/ 3829008 h 6479439"/>
              <a:gd name="connsiteX3753" fmla="*/ 6710581 w 9586368"/>
              <a:gd name="connsiteY3753" fmla="*/ 3829008 h 6479439"/>
              <a:gd name="connsiteX3754" fmla="*/ 6714600 w 9586368"/>
              <a:gd name="connsiteY3754" fmla="*/ 3833046 h 6479439"/>
              <a:gd name="connsiteX3755" fmla="*/ 6714600 w 9586368"/>
              <a:gd name="connsiteY3755" fmla="*/ 3842917 h 6479439"/>
              <a:gd name="connsiteX3756" fmla="*/ 6710581 w 9586368"/>
              <a:gd name="connsiteY3756" fmla="*/ 3846956 h 6479439"/>
              <a:gd name="connsiteX3757" fmla="*/ 6700670 w 9586368"/>
              <a:gd name="connsiteY3757" fmla="*/ 3846956 h 6479439"/>
              <a:gd name="connsiteX3758" fmla="*/ 6696651 w 9586368"/>
              <a:gd name="connsiteY3758" fmla="*/ 3842917 h 6479439"/>
              <a:gd name="connsiteX3759" fmla="*/ 6696651 w 9586368"/>
              <a:gd name="connsiteY3759" fmla="*/ 3833046 h 6479439"/>
              <a:gd name="connsiteX3760" fmla="*/ 6461356 w 9586368"/>
              <a:gd name="connsiteY3760" fmla="*/ 3829008 h 6479439"/>
              <a:gd name="connsiteX3761" fmla="*/ 6471266 w 9586368"/>
              <a:gd name="connsiteY3761" fmla="*/ 3829008 h 6479439"/>
              <a:gd name="connsiteX3762" fmla="*/ 6475285 w 9586368"/>
              <a:gd name="connsiteY3762" fmla="*/ 3833046 h 6479439"/>
              <a:gd name="connsiteX3763" fmla="*/ 6475285 w 9586368"/>
              <a:gd name="connsiteY3763" fmla="*/ 3842917 h 6479439"/>
              <a:gd name="connsiteX3764" fmla="*/ 6471266 w 9586368"/>
              <a:gd name="connsiteY3764" fmla="*/ 3846956 h 6479439"/>
              <a:gd name="connsiteX3765" fmla="*/ 6461356 w 9586368"/>
              <a:gd name="connsiteY3765" fmla="*/ 3846956 h 6479439"/>
              <a:gd name="connsiteX3766" fmla="*/ 6457337 w 9586368"/>
              <a:gd name="connsiteY3766" fmla="*/ 3842917 h 6479439"/>
              <a:gd name="connsiteX3767" fmla="*/ 6457337 w 9586368"/>
              <a:gd name="connsiteY3767" fmla="*/ 3833046 h 6479439"/>
              <a:gd name="connsiteX3768" fmla="*/ 6222042 w 9586368"/>
              <a:gd name="connsiteY3768" fmla="*/ 3829008 h 6479439"/>
              <a:gd name="connsiteX3769" fmla="*/ 6231952 w 9586368"/>
              <a:gd name="connsiteY3769" fmla="*/ 3829008 h 6479439"/>
              <a:gd name="connsiteX3770" fmla="*/ 6235971 w 9586368"/>
              <a:gd name="connsiteY3770" fmla="*/ 3833046 h 6479439"/>
              <a:gd name="connsiteX3771" fmla="*/ 6235971 w 9586368"/>
              <a:gd name="connsiteY3771" fmla="*/ 3842917 h 6479439"/>
              <a:gd name="connsiteX3772" fmla="*/ 6231952 w 9586368"/>
              <a:gd name="connsiteY3772" fmla="*/ 3846956 h 6479439"/>
              <a:gd name="connsiteX3773" fmla="*/ 6222042 w 9586368"/>
              <a:gd name="connsiteY3773" fmla="*/ 3846956 h 6479439"/>
              <a:gd name="connsiteX3774" fmla="*/ 6218023 w 9586368"/>
              <a:gd name="connsiteY3774" fmla="*/ 3842917 h 6479439"/>
              <a:gd name="connsiteX3775" fmla="*/ 6218023 w 9586368"/>
              <a:gd name="connsiteY3775" fmla="*/ 3833046 h 6479439"/>
              <a:gd name="connsiteX3776" fmla="*/ 5982729 w 9586368"/>
              <a:gd name="connsiteY3776" fmla="*/ 3829008 h 6479439"/>
              <a:gd name="connsiteX3777" fmla="*/ 5992639 w 9586368"/>
              <a:gd name="connsiteY3777" fmla="*/ 3829008 h 6479439"/>
              <a:gd name="connsiteX3778" fmla="*/ 5996658 w 9586368"/>
              <a:gd name="connsiteY3778" fmla="*/ 3833046 h 6479439"/>
              <a:gd name="connsiteX3779" fmla="*/ 5996658 w 9586368"/>
              <a:gd name="connsiteY3779" fmla="*/ 3842917 h 6479439"/>
              <a:gd name="connsiteX3780" fmla="*/ 5992639 w 9586368"/>
              <a:gd name="connsiteY3780" fmla="*/ 3846956 h 6479439"/>
              <a:gd name="connsiteX3781" fmla="*/ 5982729 w 9586368"/>
              <a:gd name="connsiteY3781" fmla="*/ 3846956 h 6479439"/>
              <a:gd name="connsiteX3782" fmla="*/ 5978710 w 9586368"/>
              <a:gd name="connsiteY3782" fmla="*/ 3842917 h 6479439"/>
              <a:gd name="connsiteX3783" fmla="*/ 5978710 w 9586368"/>
              <a:gd name="connsiteY3783" fmla="*/ 3833046 h 6479439"/>
              <a:gd name="connsiteX3784" fmla="*/ 5743412 w 9586368"/>
              <a:gd name="connsiteY3784" fmla="*/ 3829008 h 6479439"/>
              <a:gd name="connsiteX3785" fmla="*/ 5753323 w 9586368"/>
              <a:gd name="connsiteY3785" fmla="*/ 3829008 h 6479439"/>
              <a:gd name="connsiteX3786" fmla="*/ 5757342 w 9586368"/>
              <a:gd name="connsiteY3786" fmla="*/ 3833046 h 6479439"/>
              <a:gd name="connsiteX3787" fmla="*/ 5757342 w 9586368"/>
              <a:gd name="connsiteY3787" fmla="*/ 3842917 h 6479439"/>
              <a:gd name="connsiteX3788" fmla="*/ 5753323 w 9586368"/>
              <a:gd name="connsiteY3788" fmla="*/ 3846956 h 6479439"/>
              <a:gd name="connsiteX3789" fmla="*/ 5743412 w 9586368"/>
              <a:gd name="connsiteY3789" fmla="*/ 3846956 h 6479439"/>
              <a:gd name="connsiteX3790" fmla="*/ 5739393 w 9586368"/>
              <a:gd name="connsiteY3790" fmla="*/ 3842917 h 6479439"/>
              <a:gd name="connsiteX3791" fmla="*/ 5739393 w 9586368"/>
              <a:gd name="connsiteY3791" fmla="*/ 3833046 h 6479439"/>
              <a:gd name="connsiteX3792" fmla="*/ 5504099 w 9586368"/>
              <a:gd name="connsiteY3792" fmla="*/ 3829008 h 6479439"/>
              <a:gd name="connsiteX3793" fmla="*/ 5514010 w 9586368"/>
              <a:gd name="connsiteY3793" fmla="*/ 3829008 h 6479439"/>
              <a:gd name="connsiteX3794" fmla="*/ 5518029 w 9586368"/>
              <a:gd name="connsiteY3794" fmla="*/ 3833046 h 6479439"/>
              <a:gd name="connsiteX3795" fmla="*/ 5518029 w 9586368"/>
              <a:gd name="connsiteY3795" fmla="*/ 3842917 h 6479439"/>
              <a:gd name="connsiteX3796" fmla="*/ 5514010 w 9586368"/>
              <a:gd name="connsiteY3796" fmla="*/ 3846956 h 6479439"/>
              <a:gd name="connsiteX3797" fmla="*/ 5504099 w 9586368"/>
              <a:gd name="connsiteY3797" fmla="*/ 3846956 h 6479439"/>
              <a:gd name="connsiteX3798" fmla="*/ 5500080 w 9586368"/>
              <a:gd name="connsiteY3798" fmla="*/ 3842917 h 6479439"/>
              <a:gd name="connsiteX3799" fmla="*/ 5500080 w 9586368"/>
              <a:gd name="connsiteY3799" fmla="*/ 3833046 h 6479439"/>
              <a:gd name="connsiteX3800" fmla="*/ 5264784 w 9586368"/>
              <a:gd name="connsiteY3800" fmla="*/ 3829008 h 6479439"/>
              <a:gd name="connsiteX3801" fmla="*/ 5274694 w 9586368"/>
              <a:gd name="connsiteY3801" fmla="*/ 3829008 h 6479439"/>
              <a:gd name="connsiteX3802" fmla="*/ 5278713 w 9586368"/>
              <a:gd name="connsiteY3802" fmla="*/ 3833046 h 6479439"/>
              <a:gd name="connsiteX3803" fmla="*/ 5278713 w 9586368"/>
              <a:gd name="connsiteY3803" fmla="*/ 3842917 h 6479439"/>
              <a:gd name="connsiteX3804" fmla="*/ 5274694 w 9586368"/>
              <a:gd name="connsiteY3804" fmla="*/ 3846956 h 6479439"/>
              <a:gd name="connsiteX3805" fmla="*/ 5264784 w 9586368"/>
              <a:gd name="connsiteY3805" fmla="*/ 3846956 h 6479439"/>
              <a:gd name="connsiteX3806" fmla="*/ 5260765 w 9586368"/>
              <a:gd name="connsiteY3806" fmla="*/ 3842917 h 6479439"/>
              <a:gd name="connsiteX3807" fmla="*/ 5260765 w 9586368"/>
              <a:gd name="connsiteY3807" fmla="*/ 3833046 h 6479439"/>
              <a:gd name="connsiteX3808" fmla="*/ 5025470 w 9586368"/>
              <a:gd name="connsiteY3808" fmla="*/ 3829008 h 6479439"/>
              <a:gd name="connsiteX3809" fmla="*/ 5035381 w 9586368"/>
              <a:gd name="connsiteY3809" fmla="*/ 3829008 h 6479439"/>
              <a:gd name="connsiteX3810" fmla="*/ 5039400 w 9586368"/>
              <a:gd name="connsiteY3810" fmla="*/ 3833046 h 6479439"/>
              <a:gd name="connsiteX3811" fmla="*/ 5039400 w 9586368"/>
              <a:gd name="connsiteY3811" fmla="*/ 3842917 h 6479439"/>
              <a:gd name="connsiteX3812" fmla="*/ 5035381 w 9586368"/>
              <a:gd name="connsiteY3812" fmla="*/ 3846956 h 6479439"/>
              <a:gd name="connsiteX3813" fmla="*/ 5025470 w 9586368"/>
              <a:gd name="connsiteY3813" fmla="*/ 3846956 h 6479439"/>
              <a:gd name="connsiteX3814" fmla="*/ 5021451 w 9586368"/>
              <a:gd name="connsiteY3814" fmla="*/ 3842917 h 6479439"/>
              <a:gd name="connsiteX3815" fmla="*/ 5021451 w 9586368"/>
              <a:gd name="connsiteY3815" fmla="*/ 3833046 h 6479439"/>
              <a:gd name="connsiteX3816" fmla="*/ 4786241 w 9586368"/>
              <a:gd name="connsiteY3816" fmla="*/ 3829008 h 6479439"/>
              <a:gd name="connsiteX3817" fmla="*/ 4796152 w 9586368"/>
              <a:gd name="connsiteY3817" fmla="*/ 3829008 h 6479439"/>
              <a:gd name="connsiteX3818" fmla="*/ 4800171 w 9586368"/>
              <a:gd name="connsiteY3818" fmla="*/ 3833046 h 6479439"/>
              <a:gd name="connsiteX3819" fmla="*/ 4800171 w 9586368"/>
              <a:gd name="connsiteY3819" fmla="*/ 3842917 h 6479439"/>
              <a:gd name="connsiteX3820" fmla="*/ 4796152 w 9586368"/>
              <a:gd name="connsiteY3820" fmla="*/ 3846956 h 6479439"/>
              <a:gd name="connsiteX3821" fmla="*/ 4786241 w 9586368"/>
              <a:gd name="connsiteY3821" fmla="*/ 3846956 h 6479439"/>
              <a:gd name="connsiteX3822" fmla="*/ 4782224 w 9586368"/>
              <a:gd name="connsiteY3822" fmla="*/ 3842917 h 6479439"/>
              <a:gd name="connsiteX3823" fmla="*/ 4782224 w 9586368"/>
              <a:gd name="connsiteY3823" fmla="*/ 3833046 h 6479439"/>
              <a:gd name="connsiteX3824" fmla="*/ 4546929 w 9586368"/>
              <a:gd name="connsiteY3824" fmla="*/ 3829008 h 6479439"/>
              <a:gd name="connsiteX3825" fmla="*/ 4556840 w 9586368"/>
              <a:gd name="connsiteY3825" fmla="*/ 3829008 h 6479439"/>
              <a:gd name="connsiteX3826" fmla="*/ 4560859 w 9586368"/>
              <a:gd name="connsiteY3826" fmla="*/ 3833046 h 6479439"/>
              <a:gd name="connsiteX3827" fmla="*/ 4560859 w 9586368"/>
              <a:gd name="connsiteY3827" fmla="*/ 3842917 h 6479439"/>
              <a:gd name="connsiteX3828" fmla="*/ 4556840 w 9586368"/>
              <a:gd name="connsiteY3828" fmla="*/ 3846956 h 6479439"/>
              <a:gd name="connsiteX3829" fmla="*/ 4546929 w 9586368"/>
              <a:gd name="connsiteY3829" fmla="*/ 3846956 h 6479439"/>
              <a:gd name="connsiteX3830" fmla="*/ 4542910 w 9586368"/>
              <a:gd name="connsiteY3830" fmla="*/ 3842917 h 6479439"/>
              <a:gd name="connsiteX3831" fmla="*/ 4542910 w 9586368"/>
              <a:gd name="connsiteY3831" fmla="*/ 3833046 h 6479439"/>
              <a:gd name="connsiteX3832" fmla="*/ 4307612 w 9586368"/>
              <a:gd name="connsiteY3832" fmla="*/ 3829008 h 6479439"/>
              <a:gd name="connsiteX3833" fmla="*/ 4317523 w 9586368"/>
              <a:gd name="connsiteY3833" fmla="*/ 3829008 h 6479439"/>
              <a:gd name="connsiteX3834" fmla="*/ 4321543 w 9586368"/>
              <a:gd name="connsiteY3834" fmla="*/ 3833046 h 6479439"/>
              <a:gd name="connsiteX3835" fmla="*/ 4321543 w 9586368"/>
              <a:gd name="connsiteY3835" fmla="*/ 3842917 h 6479439"/>
              <a:gd name="connsiteX3836" fmla="*/ 4317523 w 9586368"/>
              <a:gd name="connsiteY3836" fmla="*/ 3846956 h 6479439"/>
              <a:gd name="connsiteX3837" fmla="*/ 4307612 w 9586368"/>
              <a:gd name="connsiteY3837" fmla="*/ 3846956 h 6479439"/>
              <a:gd name="connsiteX3838" fmla="*/ 4303595 w 9586368"/>
              <a:gd name="connsiteY3838" fmla="*/ 3842917 h 6479439"/>
              <a:gd name="connsiteX3839" fmla="*/ 4303595 w 9586368"/>
              <a:gd name="connsiteY3839" fmla="*/ 3833046 h 6479439"/>
              <a:gd name="connsiteX3840" fmla="*/ 4068297 w 9586368"/>
              <a:gd name="connsiteY3840" fmla="*/ 3829008 h 6479439"/>
              <a:gd name="connsiteX3841" fmla="*/ 4078210 w 9586368"/>
              <a:gd name="connsiteY3841" fmla="*/ 3829008 h 6479439"/>
              <a:gd name="connsiteX3842" fmla="*/ 4082229 w 9586368"/>
              <a:gd name="connsiteY3842" fmla="*/ 3833046 h 6479439"/>
              <a:gd name="connsiteX3843" fmla="*/ 4082229 w 9586368"/>
              <a:gd name="connsiteY3843" fmla="*/ 3842917 h 6479439"/>
              <a:gd name="connsiteX3844" fmla="*/ 4078210 w 9586368"/>
              <a:gd name="connsiteY3844" fmla="*/ 3846956 h 6479439"/>
              <a:gd name="connsiteX3845" fmla="*/ 4068297 w 9586368"/>
              <a:gd name="connsiteY3845" fmla="*/ 3846956 h 6479439"/>
              <a:gd name="connsiteX3846" fmla="*/ 4064278 w 9586368"/>
              <a:gd name="connsiteY3846" fmla="*/ 3842917 h 6479439"/>
              <a:gd name="connsiteX3847" fmla="*/ 4064278 w 9586368"/>
              <a:gd name="connsiteY3847" fmla="*/ 3833046 h 6479439"/>
              <a:gd name="connsiteX3848" fmla="*/ 3828990 w 9586368"/>
              <a:gd name="connsiteY3848" fmla="*/ 3829008 h 6479439"/>
              <a:gd name="connsiteX3849" fmla="*/ 3838899 w 9586368"/>
              <a:gd name="connsiteY3849" fmla="*/ 3829008 h 6479439"/>
              <a:gd name="connsiteX3850" fmla="*/ 3842917 w 9586368"/>
              <a:gd name="connsiteY3850" fmla="*/ 3833046 h 6479439"/>
              <a:gd name="connsiteX3851" fmla="*/ 3842917 w 9586368"/>
              <a:gd name="connsiteY3851" fmla="*/ 3842917 h 6479439"/>
              <a:gd name="connsiteX3852" fmla="*/ 3838899 w 9586368"/>
              <a:gd name="connsiteY3852" fmla="*/ 3846956 h 6479439"/>
              <a:gd name="connsiteX3853" fmla="*/ 3828990 w 9586368"/>
              <a:gd name="connsiteY3853" fmla="*/ 3846956 h 6479439"/>
              <a:gd name="connsiteX3854" fmla="*/ 3824971 w 9586368"/>
              <a:gd name="connsiteY3854" fmla="*/ 3842917 h 6479439"/>
              <a:gd name="connsiteX3855" fmla="*/ 3824971 w 9586368"/>
              <a:gd name="connsiteY3855" fmla="*/ 3833046 h 6479439"/>
              <a:gd name="connsiteX3856" fmla="*/ 3589676 w 9586368"/>
              <a:gd name="connsiteY3856" fmla="*/ 3829008 h 6479439"/>
              <a:gd name="connsiteX3857" fmla="*/ 3599585 w 9586368"/>
              <a:gd name="connsiteY3857" fmla="*/ 3829008 h 6479439"/>
              <a:gd name="connsiteX3858" fmla="*/ 3603604 w 9586368"/>
              <a:gd name="connsiteY3858" fmla="*/ 3833046 h 6479439"/>
              <a:gd name="connsiteX3859" fmla="*/ 3603604 w 9586368"/>
              <a:gd name="connsiteY3859" fmla="*/ 3842917 h 6479439"/>
              <a:gd name="connsiteX3860" fmla="*/ 3599585 w 9586368"/>
              <a:gd name="connsiteY3860" fmla="*/ 3846956 h 6479439"/>
              <a:gd name="connsiteX3861" fmla="*/ 3589676 w 9586368"/>
              <a:gd name="connsiteY3861" fmla="*/ 3846956 h 6479439"/>
              <a:gd name="connsiteX3862" fmla="*/ 3585657 w 9586368"/>
              <a:gd name="connsiteY3862" fmla="*/ 3842917 h 6479439"/>
              <a:gd name="connsiteX3863" fmla="*/ 3585657 w 9586368"/>
              <a:gd name="connsiteY3863" fmla="*/ 3833046 h 6479439"/>
              <a:gd name="connsiteX3864" fmla="*/ 3350359 w 9586368"/>
              <a:gd name="connsiteY3864" fmla="*/ 3829008 h 6479439"/>
              <a:gd name="connsiteX3865" fmla="*/ 3360268 w 9586368"/>
              <a:gd name="connsiteY3865" fmla="*/ 3829008 h 6479439"/>
              <a:gd name="connsiteX3866" fmla="*/ 3364287 w 9586368"/>
              <a:gd name="connsiteY3866" fmla="*/ 3833046 h 6479439"/>
              <a:gd name="connsiteX3867" fmla="*/ 3364287 w 9586368"/>
              <a:gd name="connsiteY3867" fmla="*/ 3842917 h 6479439"/>
              <a:gd name="connsiteX3868" fmla="*/ 3360268 w 9586368"/>
              <a:gd name="connsiteY3868" fmla="*/ 3846956 h 6479439"/>
              <a:gd name="connsiteX3869" fmla="*/ 3350359 w 9586368"/>
              <a:gd name="connsiteY3869" fmla="*/ 3846956 h 6479439"/>
              <a:gd name="connsiteX3870" fmla="*/ 3346340 w 9586368"/>
              <a:gd name="connsiteY3870" fmla="*/ 3842917 h 6479439"/>
              <a:gd name="connsiteX3871" fmla="*/ 3346340 w 9586368"/>
              <a:gd name="connsiteY3871" fmla="*/ 3833046 h 6479439"/>
              <a:gd name="connsiteX3872" fmla="*/ 3111048 w 9586368"/>
              <a:gd name="connsiteY3872" fmla="*/ 3829008 h 6479439"/>
              <a:gd name="connsiteX3873" fmla="*/ 3120959 w 9586368"/>
              <a:gd name="connsiteY3873" fmla="*/ 3829008 h 6479439"/>
              <a:gd name="connsiteX3874" fmla="*/ 3124977 w 9586368"/>
              <a:gd name="connsiteY3874" fmla="*/ 3833046 h 6479439"/>
              <a:gd name="connsiteX3875" fmla="*/ 3124977 w 9586368"/>
              <a:gd name="connsiteY3875" fmla="*/ 3842917 h 6479439"/>
              <a:gd name="connsiteX3876" fmla="*/ 3120959 w 9586368"/>
              <a:gd name="connsiteY3876" fmla="*/ 3846956 h 6479439"/>
              <a:gd name="connsiteX3877" fmla="*/ 3111048 w 9586368"/>
              <a:gd name="connsiteY3877" fmla="*/ 3846956 h 6479439"/>
              <a:gd name="connsiteX3878" fmla="*/ 3107029 w 9586368"/>
              <a:gd name="connsiteY3878" fmla="*/ 3842917 h 6479439"/>
              <a:gd name="connsiteX3879" fmla="*/ 3107029 w 9586368"/>
              <a:gd name="connsiteY3879" fmla="*/ 3833046 h 6479439"/>
              <a:gd name="connsiteX3880" fmla="*/ 2871737 w 9586368"/>
              <a:gd name="connsiteY3880" fmla="*/ 3829008 h 6479439"/>
              <a:gd name="connsiteX3881" fmla="*/ 2881646 w 9586368"/>
              <a:gd name="connsiteY3881" fmla="*/ 3829008 h 6479439"/>
              <a:gd name="connsiteX3882" fmla="*/ 2885666 w 9586368"/>
              <a:gd name="connsiteY3882" fmla="*/ 3833046 h 6479439"/>
              <a:gd name="connsiteX3883" fmla="*/ 2885666 w 9586368"/>
              <a:gd name="connsiteY3883" fmla="*/ 3842917 h 6479439"/>
              <a:gd name="connsiteX3884" fmla="*/ 2881646 w 9586368"/>
              <a:gd name="connsiteY3884" fmla="*/ 3846956 h 6479439"/>
              <a:gd name="connsiteX3885" fmla="*/ 2871737 w 9586368"/>
              <a:gd name="connsiteY3885" fmla="*/ 3846956 h 6479439"/>
              <a:gd name="connsiteX3886" fmla="*/ 2867717 w 9586368"/>
              <a:gd name="connsiteY3886" fmla="*/ 3842917 h 6479439"/>
              <a:gd name="connsiteX3887" fmla="*/ 2867717 w 9586368"/>
              <a:gd name="connsiteY3887" fmla="*/ 3833046 h 6479439"/>
              <a:gd name="connsiteX3888" fmla="*/ 2632423 w 9586368"/>
              <a:gd name="connsiteY3888" fmla="*/ 3829008 h 6479439"/>
              <a:gd name="connsiteX3889" fmla="*/ 2642334 w 9586368"/>
              <a:gd name="connsiteY3889" fmla="*/ 3829008 h 6479439"/>
              <a:gd name="connsiteX3890" fmla="*/ 2646352 w 9586368"/>
              <a:gd name="connsiteY3890" fmla="*/ 3833046 h 6479439"/>
              <a:gd name="connsiteX3891" fmla="*/ 2646352 w 9586368"/>
              <a:gd name="connsiteY3891" fmla="*/ 3842917 h 6479439"/>
              <a:gd name="connsiteX3892" fmla="*/ 2642334 w 9586368"/>
              <a:gd name="connsiteY3892" fmla="*/ 3846956 h 6479439"/>
              <a:gd name="connsiteX3893" fmla="*/ 2632423 w 9586368"/>
              <a:gd name="connsiteY3893" fmla="*/ 3846956 h 6479439"/>
              <a:gd name="connsiteX3894" fmla="*/ 2628404 w 9586368"/>
              <a:gd name="connsiteY3894" fmla="*/ 3842917 h 6479439"/>
              <a:gd name="connsiteX3895" fmla="*/ 2628404 w 9586368"/>
              <a:gd name="connsiteY3895" fmla="*/ 3833046 h 6479439"/>
              <a:gd name="connsiteX3896" fmla="*/ 2393104 w 9586368"/>
              <a:gd name="connsiteY3896" fmla="*/ 3829008 h 6479439"/>
              <a:gd name="connsiteX3897" fmla="*/ 2403015 w 9586368"/>
              <a:gd name="connsiteY3897" fmla="*/ 3829008 h 6479439"/>
              <a:gd name="connsiteX3898" fmla="*/ 2407034 w 9586368"/>
              <a:gd name="connsiteY3898" fmla="*/ 3833046 h 6479439"/>
              <a:gd name="connsiteX3899" fmla="*/ 2407034 w 9586368"/>
              <a:gd name="connsiteY3899" fmla="*/ 3842917 h 6479439"/>
              <a:gd name="connsiteX3900" fmla="*/ 2403015 w 9586368"/>
              <a:gd name="connsiteY3900" fmla="*/ 3846956 h 6479439"/>
              <a:gd name="connsiteX3901" fmla="*/ 2393104 w 9586368"/>
              <a:gd name="connsiteY3901" fmla="*/ 3846956 h 6479439"/>
              <a:gd name="connsiteX3902" fmla="*/ 2389087 w 9586368"/>
              <a:gd name="connsiteY3902" fmla="*/ 3842917 h 6479439"/>
              <a:gd name="connsiteX3903" fmla="*/ 2389087 w 9586368"/>
              <a:gd name="connsiteY3903" fmla="*/ 3833046 h 6479439"/>
              <a:gd name="connsiteX3904" fmla="*/ 721966 w 9586368"/>
              <a:gd name="connsiteY3904" fmla="*/ 3829008 h 6479439"/>
              <a:gd name="connsiteX3905" fmla="*/ 731876 w 9586368"/>
              <a:gd name="connsiteY3905" fmla="*/ 3829008 h 6479439"/>
              <a:gd name="connsiteX3906" fmla="*/ 735895 w 9586368"/>
              <a:gd name="connsiteY3906" fmla="*/ 3833046 h 6479439"/>
              <a:gd name="connsiteX3907" fmla="*/ 735895 w 9586368"/>
              <a:gd name="connsiteY3907" fmla="*/ 3842917 h 6479439"/>
              <a:gd name="connsiteX3908" fmla="*/ 731876 w 9586368"/>
              <a:gd name="connsiteY3908" fmla="*/ 3846956 h 6479439"/>
              <a:gd name="connsiteX3909" fmla="*/ 721966 w 9586368"/>
              <a:gd name="connsiteY3909" fmla="*/ 3846956 h 6479439"/>
              <a:gd name="connsiteX3910" fmla="*/ 717947 w 9586368"/>
              <a:gd name="connsiteY3910" fmla="*/ 3842917 h 6479439"/>
              <a:gd name="connsiteX3911" fmla="*/ 717947 w 9586368"/>
              <a:gd name="connsiteY3911" fmla="*/ 3833046 h 6479439"/>
              <a:gd name="connsiteX3912" fmla="*/ 482654 w 9586368"/>
              <a:gd name="connsiteY3912" fmla="*/ 3829008 h 6479439"/>
              <a:gd name="connsiteX3913" fmla="*/ 492564 w 9586368"/>
              <a:gd name="connsiteY3913" fmla="*/ 3829008 h 6479439"/>
              <a:gd name="connsiteX3914" fmla="*/ 496583 w 9586368"/>
              <a:gd name="connsiteY3914" fmla="*/ 3833046 h 6479439"/>
              <a:gd name="connsiteX3915" fmla="*/ 496583 w 9586368"/>
              <a:gd name="connsiteY3915" fmla="*/ 3842917 h 6479439"/>
              <a:gd name="connsiteX3916" fmla="*/ 492564 w 9586368"/>
              <a:gd name="connsiteY3916" fmla="*/ 3846956 h 6479439"/>
              <a:gd name="connsiteX3917" fmla="*/ 482654 w 9586368"/>
              <a:gd name="connsiteY3917" fmla="*/ 3846956 h 6479439"/>
              <a:gd name="connsiteX3918" fmla="*/ 478635 w 9586368"/>
              <a:gd name="connsiteY3918" fmla="*/ 3842917 h 6479439"/>
              <a:gd name="connsiteX3919" fmla="*/ 478635 w 9586368"/>
              <a:gd name="connsiteY3919" fmla="*/ 3833046 h 6479439"/>
              <a:gd name="connsiteX3920" fmla="*/ 243340 w 9586368"/>
              <a:gd name="connsiteY3920" fmla="*/ 3829008 h 6479439"/>
              <a:gd name="connsiteX3921" fmla="*/ 253250 w 9586368"/>
              <a:gd name="connsiteY3921" fmla="*/ 3829008 h 6479439"/>
              <a:gd name="connsiteX3922" fmla="*/ 257269 w 9586368"/>
              <a:gd name="connsiteY3922" fmla="*/ 3833046 h 6479439"/>
              <a:gd name="connsiteX3923" fmla="*/ 257269 w 9586368"/>
              <a:gd name="connsiteY3923" fmla="*/ 3842917 h 6479439"/>
              <a:gd name="connsiteX3924" fmla="*/ 253250 w 9586368"/>
              <a:gd name="connsiteY3924" fmla="*/ 3846956 h 6479439"/>
              <a:gd name="connsiteX3925" fmla="*/ 243340 w 9586368"/>
              <a:gd name="connsiteY3925" fmla="*/ 3846956 h 6479439"/>
              <a:gd name="connsiteX3926" fmla="*/ 239321 w 9586368"/>
              <a:gd name="connsiteY3926" fmla="*/ 3842917 h 6479439"/>
              <a:gd name="connsiteX3927" fmla="*/ 239321 w 9586368"/>
              <a:gd name="connsiteY3927" fmla="*/ 3833046 h 6479439"/>
              <a:gd name="connsiteX3928" fmla="*/ 4027 w 9586368"/>
              <a:gd name="connsiteY3928" fmla="*/ 3829008 h 6479439"/>
              <a:gd name="connsiteX3929" fmla="*/ 13937 w 9586368"/>
              <a:gd name="connsiteY3929" fmla="*/ 3829008 h 6479439"/>
              <a:gd name="connsiteX3930" fmla="*/ 17956 w 9586368"/>
              <a:gd name="connsiteY3930" fmla="*/ 3833046 h 6479439"/>
              <a:gd name="connsiteX3931" fmla="*/ 17956 w 9586368"/>
              <a:gd name="connsiteY3931" fmla="*/ 3842917 h 6479439"/>
              <a:gd name="connsiteX3932" fmla="*/ 13937 w 9586368"/>
              <a:gd name="connsiteY3932" fmla="*/ 3846956 h 6479439"/>
              <a:gd name="connsiteX3933" fmla="*/ 4027 w 9586368"/>
              <a:gd name="connsiteY3933" fmla="*/ 3846956 h 6479439"/>
              <a:gd name="connsiteX3934" fmla="*/ 8 w 9586368"/>
              <a:gd name="connsiteY3934" fmla="*/ 3842917 h 6479439"/>
              <a:gd name="connsiteX3935" fmla="*/ 8 w 9586368"/>
              <a:gd name="connsiteY3935" fmla="*/ 3833046 h 6479439"/>
              <a:gd name="connsiteX3936" fmla="*/ 2157820 w 9586368"/>
              <a:gd name="connsiteY3936" fmla="*/ 3589728 h 6479439"/>
              <a:gd name="connsiteX3937" fmla="*/ 2167731 w 9586368"/>
              <a:gd name="connsiteY3937" fmla="*/ 3589728 h 6479439"/>
              <a:gd name="connsiteX3938" fmla="*/ 2171749 w 9586368"/>
              <a:gd name="connsiteY3938" fmla="*/ 3593767 h 6479439"/>
              <a:gd name="connsiteX3939" fmla="*/ 2171749 w 9586368"/>
              <a:gd name="connsiteY3939" fmla="*/ 3603637 h 6479439"/>
              <a:gd name="connsiteX3940" fmla="*/ 2167731 w 9586368"/>
              <a:gd name="connsiteY3940" fmla="*/ 3607676 h 6479439"/>
              <a:gd name="connsiteX3941" fmla="*/ 2157820 w 9586368"/>
              <a:gd name="connsiteY3941" fmla="*/ 3607676 h 6479439"/>
              <a:gd name="connsiteX3942" fmla="*/ 2153801 w 9586368"/>
              <a:gd name="connsiteY3942" fmla="*/ 3603637 h 6479439"/>
              <a:gd name="connsiteX3943" fmla="*/ 2153801 w 9586368"/>
              <a:gd name="connsiteY3943" fmla="*/ 3593767 h 6479439"/>
              <a:gd name="connsiteX3944" fmla="*/ 1918511 w 9586368"/>
              <a:gd name="connsiteY3944" fmla="*/ 3589728 h 6479439"/>
              <a:gd name="connsiteX3945" fmla="*/ 1928421 w 9586368"/>
              <a:gd name="connsiteY3945" fmla="*/ 3589728 h 6479439"/>
              <a:gd name="connsiteX3946" fmla="*/ 1932441 w 9586368"/>
              <a:gd name="connsiteY3946" fmla="*/ 3593767 h 6479439"/>
              <a:gd name="connsiteX3947" fmla="*/ 1932441 w 9586368"/>
              <a:gd name="connsiteY3947" fmla="*/ 3603637 h 6479439"/>
              <a:gd name="connsiteX3948" fmla="*/ 1928421 w 9586368"/>
              <a:gd name="connsiteY3948" fmla="*/ 3607676 h 6479439"/>
              <a:gd name="connsiteX3949" fmla="*/ 1918511 w 9586368"/>
              <a:gd name="connsiteY3949" fmla="*/ 3607676 h 6479439"/>
              <a:gd name="connsiteX3950" fmla="*/ 1914493 w 9586368"/>
              <a:gd name="connsiteY3950" fmla="*/ 3603637 h 6479439"/>
              <a:gd name="connsiteX3951" fmla="*/ 1914493 w 9586368"/>
              <a:gd name="connsiteY3951" fmla="*/ 3593767 h 6479439"/>
              <a:gd name="connsiteX3952" fmla="*/ 1679209 w 9586368"/>
              <a:gd name="connsiteY3952" fmla="*/ 3589728 h 6479439"/>
              <a:gd name="connsiteX3953" fmla="*/ 1689118 w 9586368"/>
              <a:gd name="connsiteY3953" fmla="*/ 3589728 h 6479439"/>
              <a:gd name="connsiteX3954" fmla="*/ 1693138 w 9586368"/>
              <a:gd name="connsiteY3954" fmla="*/ 3593767 h 6479439"/>
              <a:gd name="connsiteX3955" fmla="*/ 1693138 w 9586368"/>
              <a:gd name="connsiteY3955" fmla="*/ 3603637 h 6479439"/>
              <a:gd name="connsiteX3956" fmla="*/ 1689118 w 9586368"/>
              <a:gd name="connsiteY3956" fmla="*/ 3607676 h 6479439"/>
              <a:gd name="connsiteX3957" fmla="*/ 1679209 w 9586368"/>
              <a:gd name="connsiteY3957" fmla="*/ 3607676 h 6479439"/>
              <a:gd name="connsiteX3958" fmla="*/ 1675190 w 9586368"/>
              <a:gd name="connsiteY3958" fmla="*/ 3603637 h 6479439"/>
              <a:gd name="connsiteX3959" fmla="*/ 1675190 w 9586368"/>
              <a:gd name="connsiteY3959" fmla="*/ 3593767 h 6479439"/>
              <a:gd name="connsiteX3960" fmla="*/ 1439892 w 9586368"/>
              <a:gd name="connsiteY3960" fmla="*/ 3589728 h 6479439"/>
              <a:gd name="connsiteX3961" fmla="*/ 1449803 w 9586368"/>
              <a:gd name="connsiteY3961" fmla="*/ 3589728 h 6479439"/>
              <a:gd name="connsiteX3962" fmla="*/ 1453822 w 9586368"/>
              <a:gd name="connsiteY3962" fmla="*/ 3593767 h 6479439"/>
              <a:gd name="connsiteX3963" fmla="*/ 1453822 w 9586368"/>
              <a:gd name="connsiteY3963" fmla="*/ 3603637 h 6479439"/>
              <a:gd name="connsiteX3964" fmla="*/ 1449803 w 9586368"/>
              <a:gd name="connsiteY3964" fmla="*/ 3607676 h 6479439"/>
              <a:gd name="connsiteX3965" fmla="*/ 1439892 w 9586368"/>
              <a:gd name="connsiteY3965" fmla="*/ 3607676 h 6479439"/>
              <a:gd name="connsiteX3966" fmla="*/ 1435874 w 9586368"/>
              <a:gd name="connsiteY3966" fmla="*/ 3603637 h 6479439"/>
              <a:gd name="connsiteX3967" fmla="*/ 1435874 w 9586368"/>
              <a:gd name="connsiteY3967" fmla="*/ 3593767 h 6479439"/>
              <a:gd name="connsiteX3968" fmla="*/ 1200577 w 9586368"/>
              <a:gd name="connsiteY3968" fmla="*/ 3589728 h 6479439"/>
              <a:gd name="connsiteX3969" fmla="*/ 1210488 w 9586368"/>
              <a:gd name="connsiteY3969" fmla="*/ 3589728 h 6479439"/>
              <a:gd name="connsiteX3970" fmla="*/ 1214506 w 9586368"/>
              <a:gd name="connsiteY3970" fmla="*/ 3593767 h 6479439"/>
              <a:gd name="connsiteX3971" fmla="*/ 1214506 w 9586368"/>
              <a:gd name="connsiteY3971" fmla="*/ 3603637 h 6479439"/>
              <a:gd name="connsiteX3972" fmla="*/ 1210488 w 9586368"/>
              <a:gd name="connsiteY3972" fmla="*/ 3607676 h 6479439"/>
              <a:gd name="connsiteX3973" fmla="*/ 1200577 w 9586368"/>
              <a:gd name="connsiteY3973" fmla="*/ 3607676 h 6479439"/>
              <a:gd name="connsiteX3974" fmla="*/ 1196559 w 9586368"/>
              <a:gd name="connsiteY3974" fmla="*/ 3603637 h 6479439"/>
              <a:gd name="connsiteX3975" fmla="*/ 1196559 w 9586368"/>
              <a:gd name="connsiteY3975" fmla="*/ 3593767 h 6479439"/>
              <a:gd name="connsiteX3976" fmla="*/ 961265 w 9586368"/>
              <a:gd name="connsiteY3976" fmla="*/ 3589728 h 6479439"/>
              <a:gd name="connsiteX3977" fmla="*/ 971175 w 9586368"/>
              <a:gd name="connsiteY3977" fmla="*/ 3589728 h 6479439"/>
              <a:gd name="connsiteX3978" fmla="*/ 975193 w 9586368"/>
              <a:gd name="connsiteY3978" fmla="*/ 3593767 h 6479439"/>
              <a:gd name="connsiteX3979" fmla="*/ 975193 w 9586368"/>
              <a:gd name="connsiteY3979" fmla="*/ 3603637 h 6479439"/>
              <a:gd name="connsiteX3980" fmla="*/ 971175 w 9586368"/>
              <a:gd name="connsiteY3980" fmla="*/ 3607676 h 6479439"/>
              <a:gd name="connsiteX3981" fmla="*/ 961265 w 9586368"/>
              <a:gd name="connsiteY3981" fmla="*/ 3607676 h 6479439"/>
              <a:gd name="connsiteX3982" fmla="*/ 957246 w 9586368"/>
              <a:gd name="connsiteY3982" fmla="*/ 3603637 h 6479439"/>
              <a:gd name="connsiteX3983" fmla="*/ 957246 w 9586368"/>
              <a:gd name="connsiteY3983" fmla="*/ 3593767 h 6479439"/>
              <a:gd name="connsiteX3984" fmla="*/ 9572438 w 9586368"/>
              <a:gd name="connsiteY3984" fmla="*/ 3589677 h 6479439"/>
              <a:gd name="connsiteX3985" fmla="*/ 9582349 w 9586368"/>
              <a:gd name="connsiteY3985" fmla="*/ 3589677 h 6479439"/>
              <a:gd name="connsiteX3986" fmla="*/ 9586368 w 9586368"/>
              <a:gd name="connsiteY3986" fmla="*/ 3593716 h 6479439"/>
              <a:gd name="connsiteX3987" fmla="*/ 9586368 w 9586368"/>
              <a:gd name="connsiteY3987" fmla="*/ 3603586 h 6479439"/>
              <a:gd name="connsiteX3988" fmla="*/ 9582349 w 9586368"/>
              <a:gd name="connsiteY3988" fmla="*/ 3607625 h 6479439"/>
              <a:gd name="connsiteX3989" fmla="*/ 9572438 w 9586368"/>
              <a:gd name="connsiteY3989" fmla="*/ 3607625 h 6479439"/>
              <a:gd name="connsiteX3990" fmla="*/ 9568419 w 9586368"/>
              <a:gd name="connsiteY3990" fmla="*/ 3603586 h 6479439"/>
              <a:gd name="connsiteX3991" fmla="*/ 9568419 w 9586368"/>
              <a:gd name="connsiteY3991" fmla="*/ 3593716 h 6479439"/>
              <a:gd name="connsiteX3992" fmla="*/ 9333125 w 9586368"/>
              <a:gd name="connsiteY3992" fmla="*/ 3589677 h 6479439"/>
              <a:gd name="connsiteX3993" fmla="*/ 9343036 w 9586368"/>
              <a:gd name="connsiteY3993" fmla="*/ 3589677 h 6479439"/>
              <a:gd name="connsiteX3994" fmla="*/ 9347055 w 9586368"/>
              <a:gd name="connsiteY3994" fmla="*/ 3593716 h 6479439"/>
              <a:gd name="connsiteX3995" fmla="*/ 9347055 w 9586368"/>
              <a:gd name="connsiteY3995" fmla="*/ 3603586 h 6479439"/>
              <a:gd name="connsiteX3996" fmla="*/ 9343036 w 9586368"/>
              <a:gd name="connsiteY3996" fmla="*/ 3607625 h 6479439"/>
              <a:gd name="connsiteX3997" fmla="*/ 9333125 w 9586368"/>
              <a:gd name="connsiteY3997" fmla="*/ 3607625 h 6479439"/>
              <a:gd name="connsiteX3998" fmla="*/ 9329106 w 9586368"/>
              <a:gd name="connsiteY3998" fmla="*/ 3603586 h 6479439"/>
              <a:gd name="connsiteX3999" fmla="*/ 9329106 w 9586368"/>
              <a:gd name="connsiteY3999" fmla="*/ 3593716 h 6479439"/>
              <a:gd name="connsiteX4000" fmla="*/ 9093811 w 9586368"/>
              <a:gd name="connsiteY4000" fmla="*/ 3589677 h 6479439"/>
              <a:gd name="connsiteX4001" fmla="*/ 9103722 w 9586368"/>
              <a:gd name="connsiteY4001" fmla="*/ 3589677 h 6479439"/>
              <a:gd name="connsiteX4002" fmla="*/ 9107741 w 9586368"/>
              <a:gd name="connsiteY4002" fmla="*/ 3593716 h 6479439"/>
              <a:gd name="connsiteX4003" fmla="*/ 9107741 w 9586368"/>
              <a:gd name="connsiteY4003" fmla="*/ 3603586 h 6479439"/>
              <a:gd name="connsiteX4004" fmla="*/ 9103722 w 9586368"/>
              <a:gd name="connsiteY4004" fmla="*/ 3607625 h 6479439"/>
              <a:gd name="connsiteX4005" fmla="*/ 9093811 w 9586368"/>
              <a:gd name="connsiteY4005" fmla="*/ 3607625 h 6479439"/>
              <a:gd name="connsiteX4006" fmla="*/ 9089792 w 9586368"/>
              <a:gd name="connsiteY4006" fmla="*/ 3603586 h 6479439"/>
              <a:gd name="connsiteX4007" fmla="*/ 9089792 w 9586368"/>
              <a:gd name="connsiteY4007" fmla="*/ 3593716 h 6479439"/>
              <a:gd name="connsiteX4008" fmla="*/ 8854496 w 9586368"/>
              <a:gd name="connsiteY4008" fmla="*/ 3589677 h 6479439"/>
              <a:gd name="connsiteX4009" fmla="*/ 8864407 w 9586368"/>
              <a:gd name="connsiteY4009" fmla="*/ 3589677 h 6479439"/>
              <a:gd name="connsiteX4010" fmla="*/ 8868426 w 9586368"/>
              <a:gd name="connsiteY4010" fmla="*/ 3593716 h 6479439"/>
              <a:gd name="connsiteX4011" fmla="*/ 8868426 w 9586368"/>
              <a:gd name="connsiteY4011" fmla="*/ 3603586 h 6479439"/>
              <a:gd name="connsiteX4012" fmla="*/ 8864407 w 9586368"/>
              <a:gd name="connsiteY4012" fmla="*/ 3607625 h 6479439"/>
              <a:gd name="connsiteX4013" fmla="*/ 8854496 w 9586368"/>
              <a:gd name="connsiteY4013" fmla="*/ 3607625 h 6479439"/>
              <a:gd name="connsiteX4014" fmla="*/ 8850477 w 9586368"/>
              <a:gd name="connsiteY4014" fmla="*/ 3603586 h 6479439"/>
              <a:gd name="connsiteX4015" fmla="*/ 8850477 w 9586368"/>
              <a:gd name="connsiteY4015" fmla="*/ 3593716 h 6479439"/>
              <a:gd name="connsiteX4016" fmla="*/ 8615184 w 9586368"/>
              <a:gd name="connsiteY4016" fmla="*/ 3589677 h 6479439"/>
              <a:gd name="connsiteX4017" fmla="*/ 8625095 w 9586368"/>
              <a:gd name="connsiteY4017" fmla="*/ 3589677 h 6479439"/>
              <a:gd name="connsiteX4018" fmla="*/ 8629114 w 9586368"/>
              <a:gd name="connsiteY4018" fmla="*/ 3593716 h 6479439"/>
              <a:gd name="connsiteX4019" fmla="*/ 8629114 w 9586368"/>
              <a:gd name="connsiteY4019" fmla="*/ 3603586 h 6479439"/>
              <a:gd name="connsiteX4020" fmla="*/ 8625095 w 9586368"/>
              <a:gd name="connsiteY4020" fmla="*/ 3607625 h 6479439"/>
              <a:gd name="connsiteX4021" fmla="*/ 8615184 w 9586368"/>
              <a:gd name="connsiteY4021" fmla="*/ 3607625 h 6479439"/>
              <a:gd name="connsiteX4022" fmla="*/ 8611165 w 9586368"/>
              <a:gd name="connsiteY4022" fmla="*/ 3603586 h 6479439"/>
              <a:gd name="connsiteX4023" fmla="*/ 8611165 w 9586368"/>
              <a:gd name="connsiteY4023" fmla="*/ 3593716 h 6479439"/>
              <a:gd name="connsiteX4024" fmla="*/ 8375869 w 9586368"/>
              <a:gd name="connsiteY4024" fmla="*/ 3589677 h 6479439"/>
              <a:gd name="connsiteX4025" fmla="*/ 8385779 w 9586368"/>
              <a:gd name="connsiteY4025" fmla="*/ 3589677 h 6479439"/>
              <a:gd name="connsiteX4026" fmla="*/ 8389799 w 9586368"/>
              <a:gd name="connsiteY4026" fmla="*/ 3593716 h 6479439"/>
              <a:gd name="connsiteX4027" fmla="*/ 8389799 w 9586368"/>
              <a:gd name="connsiteY4027" fmla="*/ 3603586 h 6479439"/>
              <a:gd name="connsiteX4028" fmla="*/ 8385779 w 9586368"/>
              <a:gd name="connsiteY4028" fmla="*/ 3607625 h 6479439"/>
              <a:gd name="connsiteX4029" fmla="*/ 8375869 w 9586368"/>
              <a:gd name="connsiteY4029" fmla="*/ 3607625 h 6479439"/>
              <a:gd name="connsiteX4030" fmla="*/ 8371850 w 9586368"/>
              <a:gd name="connsiteY4030" fmla="*/ 3603586 h 6479439"/>
              <a:gd name="connsiteX4031" fmla="*/ 8371850 w 9586368"/>
              <a:gd name="connsiteY4031" fmla="*/ 3593716 h 6479439"/>
              <a:gd name="connsiteX4032" fmla="*/ 8136553 w 9586368"/>
              <a:gd name="connsiteY4032" fmla="*/ 3589677 h 6479439"/>
              <a:gd name="connsiteX4033" fmla="*/ 8146464 w 9586368"/>
              <a:gd name="connsiteY4033" fmla="*/ 3589677 h 6479439"/>
              <a:gd name="connsiteX4034" fmla="*/ 8150483 w 9586368"/>
              <a:gd name="connsiteY4034" fmla="*/ 3593716 h 6479439"/>
              <a:gd name="connsiteX4035" fmla="*/ 8150483 w 9586368"/>
              <a:gd name="connsiteY4035" fmla="*/ 3603586 h 6479439"/>
              <a:gd name="connsiteX4036" fmla="*/ 8146464 w 9586368"/>
              <a:gd name="connsiteY4036" fmla="*/ 3607625 h 6479439"/>
              <a:gd name="connsiteX4037" fmla="*/ 8136553 w 9586368"/>
              <a:gd name="connsiteY4037" fmla="*/ 3607625 h 6479439"/>
              <a:gd name="connsiteX4038" fmla="*/ 8132534 w 9586368"/>
              <a:gd name="connsiteY4038" fmla="*/ 3603586 h 6479439"/>
              <a:gd name="connsiteX4039" fmla="*/ 8132534 w 9586368"/>
              <a:gd name="connsiteY4039" fmla="*/ 3593716 h 6479439"/>
              <a:gd name="connsiteX4040" fmla="*/ 7897241 w 9586368"/>
              <a:gd name="connsiteY4040" fmla="*/ 3589677 h 6479439"/>
              <a:gd name="connsiteX4041" fmla="*/ 7907151 w 9586368"/>
              <a:gd name="connsiteY4041" fmla="*/ 3589677 h 6479439"/>
              <a:gd name="connsiteX4042" fmla="*/ 7911170 w 9586368"/>
              <a:gd name="connsiteY4042" fmla="*/ 3593716 h 6479439"/>
              <a:gd name="connsiteX4043" fmla="*/ 7911170 w 9586368"/>
              <a:gd name="connsiteY4043" fmla="*/ 3603586 h 6479439"/>
              <a:gd name="connsiteX4044" fmla="*/ 7907151 w 9586368"/>
              <a:gd name="connsiteY4044" fmla="*/ 3607625 h 6479439"/>
              <a:gd name="connsiteX4045" fmla="*/ 7897241 w 9586368"/>
              <a:gd name="connsiteY4045" fmla="*/ 3607625 h 6479439"/>
              <a:gd name="connsiteX4046" fmla="*/ 7893222 w 9586368"/>
              <a:gd name="connsiteY4046" fmla="*/ 3603586 h 6479439"/>
              <a:gd name="connsiteX4047" fmla="*/ 7893222 w 9586368"/>
              <a:gd name="connsiteY4047" fmla="*/ 3593716 h 6479439"/>
              <a:gd name="connsiteX4048" fmla="*/ 7657926 w 9586368"/>
              <a:gd name="connsiteY4048" fmla="*/ 3589677 h 6479439"/>
              <a:gd name="connsiteX4049" fmla="*/ 7667836 w 9586368"/>
              <a:gd name="connsiteY4049" fmla="*/ 3589677 h 6479439"/>
              <a:gd name="connsiteX4050" fmla="*/ 7671855 w 9586368"/>
              <a:gd name="connsiteY4050" fmla="*/ 3593716 h 6479439"/>
              <a:gd name="connsiteX4051" fmla="*/ 7671855 w 9586368"/>
              <a:gd name="connsiteY4051" fmla="*/ 3603586 h 6479439"/>
              <a:gd name="connsiteX4052" fmla="*/ 7667836 w 9586368"/>
              <a:gd name="connsiteY4052" fmla="*/ 3607625 h 6479439"/>
              <a:gd name="connsiteX4053" fmla="*/ 7657926 w 9586368"/>
              <a:gd name="connsiteY4053" fmla="*/ 3607625 h 6479439"/>
              <a:gd name="connsiteX4054" fmla="*/ 7653906 w 9586368"/>
              <a:gd name="connsiteY4054" fmla="*/ 3603586 h 6479439"/>
              <a:gd name="connsiteX4055" fmla="*/ 7653906 w 9586368"/>
              <a:gd name="connsiteY4055" fmla="*/ 3593716 h 6479439"/>
              <a:gd name="connsiteX4056" fmla="*/ 7418611 w 9586368"/>
              <a:gd name="connsiteY4056" fmla="*/ 3589677 h 6479439"/>
              <a:gd name="connsiteX4057" fmla="*/ 7428521 w 9586368"/>
              <a:gd name="connsiteY4057" fmla="*/ 3589677 h 6479439"/>
              <a:gd name="connsiteX4058" fmla="*/ 7432540 w 9586368"/>
              <a:gd name="connsiteY4058" fmla="*/ 3593716 h 6479439"/>
              <a:gd name="connsiteX4059" fmla="*/ 7432540 w 9586368"/>
              <a:gd name="connsiteY4059" fmla="*/ 3603586 h 6479439"/>
              <a:gd name="connsiteX4060" fmla="*/ 7428521 w 9586368"/>
              <a:gd name="connsiteY4060" fmla="*/ 3607625 h 6479439"/>
              <a:gd name="connsiteX4061" fmla="*/ 7418611 w 9586368"/>
              <a:gd name="connsiteY4061" fmla="*/ 3607625 h 6479439"/>
              <a:gd name="connsiteX4062" fmla="*/ 7414592 w 9586368"/>
              <a:gd name="connsiteY4062" fmla="*/ 3603586 h 6479439"/>
              <a:gd name="connsiteX4063" fmla="*/ 7414592 w 9586368"/>
              <a:gd name="connsiteY4063" fmla="*/ 3593716 h 6479439"/>
              <a:gd name="connsiteX4064" fmla="*/ 7179298 w 9586368"/>
              <a:gd name="connsiteY4064" fmla="*/ 3589677 h 6479439"/>
              <a:gd name="connsiteX4065" fmla="*/ 7189209 w 9586368"/>
              <a:gd name="connsiteY4065" fmla="*/ 3589677 h 6479439"/>
              <a:gd name="connsiteX4066" fmla="*/ 7193228 w 9586368"/>
              <a:gd name="connsiteY4066" fmla="*/ 3593716 h 6479439"/>
              <a:gd name="connsiteX4067" fmla="*/ 7193228 w 9586368"/>
              <a:gd name="connsiteY4067" fmla="*/ 3603586 h 6479439"/>
              <a:gd name="connsiteX4068" fmla="*/ 7189209 w 9586368"/>
              <a:gd name="connsiteY4068" fmla="*/ 3607625 h 6479439"/>
              <a:gd name="connsiteX4069" fmla="*/ 7179298 w 9586368"/>
              <a:gd name="connsiteY4069" fmla="*/ 3607625 h 6479439"/>
              <a:gd name="connsiteX4070" fmla="*/ 7175279 w 9586368"/>
              <a:gd name="connsiteY4070" fmla="*/ 3603586 h 6479439"/>
              <a:gd name="connsiteX4071" fmla="*/ 7175279 w 9586368"/>
              <a:gd name="connsiteY4071" fmla="*/ 3593716 h 6479439"/>
              <a:gd name="connsiteX4072" fmla="*/ 6939983 w 9586368"/>
              <a:gd name="connsiteY4072" fmla="*/ 3589677 h 6479439"/>
              <a:gd name="connsiteX4073" fmla="*/ 6949894 w 9586368"/>
              <a:gd name="connsiteY4073" fmla="*/ 3589677 h 6479439"/>
              <a:gd name="connsiteX4074" fmla="*/ 6953913 w 9586368"/>
              <a:gd name="connsiteY4074" fmla="*/ 3593716 h 6479439"/>
              <a:gd name="connsiteX4075" fmla="*/ 6953913 w 9586368"/>
              <a:gd name="connsiteY4075" fmla="*/ 3603586 h 6479439"/>
              <a:gd name="connsiteX4076" fmla="*/ 6949894 w 9586368"/>
              <a:gd name="connsiteY4076" fmla="*/ 3607625 h 6479439"/>
              <a:gd name="connsiteX4077" fmla="*/ 6939983 w 9586368"/>
              <a:gd name="connsiteY4077" fmla="*/ 3607625 h 6479439"/>
              <a:gd name="connsiteX4078" fmla="*/ 6935964 w 9586368"/>
              <a:gd name="connsiteY4078" fmla="*/ 3603586 h 6479439"/>
              <a:gd name="connsiteX4079" fmla="*/ 6935964 w 9586368"/>
              <a:gd name="connsiteY4079" fmla="*/ 3593716 h 6479439"/>
              <a:gd name="connsiteX4080" fmla="*/ 6700670 w 9586368"/>
              <a:gd name="connsiteY4080" fmla="*/ 3589677 h 6479439"/>
              <a:gd name="connsiteX4081" fmla="*/ 6710581 w 9586368"/>
              <a:gd name="connsiteY4081" fmla="*/ 3589677 h 6479439"/>
              <a:gd name="connsiteX4082" fmla="*/ 6714600 w 9586368"/>
              <a:gd name="connsiteY4082" fmla="*/ 3593716 h 6479439"/>
              <a:gd name="connsiteX4083" fmla="*/ 6714600 w 9586368"/>
              <a:gd name="connsiteY4083" fmla="*/ 3603586 h 6479439"/>
              <a:gd name="connsiteX4084" fmla="*/ 6710581 w 9586368"/>
              <a:gd name="connsiteY4084" fmla="*/ 3607625 h 6479439"/>
              <a:gd name="connsiteX4085" fmla="*/ 6700670 w 9586368"/>
              <a:gd name="connsiteY4085" fmla="*/ 3607625 h 6479439"/>
              <a:gd name="connsiteX4086" fmla="*/ 6696651 w 9586368"/>
              <a:gd name="connsiteY4086" fmla="*/ 3603586 h 6479439"/>
              <a:gd name="connsiteX4087" fmla="*/ 6696651 w 9586368"/>
              <a:gd name="connsiteY4087" fmla="*/ 3593716 h 6479439"/>
              <a:gd name="connsiteX4088" fmla="*/ 6461356 w 9586368"/>
              <a:gd name="connsiteY4088" fmla="*/ 3589677 h 6479439"/>
              <a:gd name="connsiteX4089" fmla="*/ 6471266 w 9586368"/>
              <a:gd name="connsiteY4089" fmla="*/ 3589677 h 6479439"/>
              <a:gd name="connsiteX4090" fmla="*/ 6475285 w 9586368"/>
              <a:gd name="connsiteY4090" fmla="*/ 3593716 h 6479439"/>
              <a:gd name="connsiteX4091" fmla="*/ 6475285 w 9586368"/>
              <a:gd name="connsiteY4091" fmla="*/ 3603586 h 6479439"/>
              <a:gd name="connsiteX4092" fmla="*/ 6471266 w 9586368"/>
              <a:gd name="connsiteY4092" fmla="*/ 3607625 h 6479439"/>
              <a:gd name="connsiteX4093" fmla="*/ 6461356 w 9586368"/>
              <a:gd name="connsiteY4093" fmla="*/ 3607625 h 6479439"/>
              <a:gd name="connsiteX4094" fmla="*/ 6457337 w 9586368"/>
              <a:gd name="connsiteY4094" fmla="*/ 3603586 h 6479439"/>
              <a:gd name="connsiteX4095" fmla="*/ 6457337 w 9586368"/>
              <a:gd name="connsiteY4095" fmla="*/ 3593716 h 6479439"/>
              <a:gd name="connsiteX4096" fmla="*/ 6222042 w 9586368"/>
              <a:gd name="connsiteY4096" fmla="*/ 3589677 h 6479439"/>
              <a:gd name="connsiteX4097" fmla="*/ 6231952 w 9586368"/>
              <a:gd name="connsiteY4097" fmla="*/ 3589677 h 6479439"/>
              <a:gd name="connsiteX4098" fmla="*/ 6235971 w 9586368"/>
              <a:gd name="connsiteY4098" fmla="*/ 3593716 h 6479439"/>
              <a:gd name="connsiteX4099" fmla="*/ 6235971 w 9586368"/>
              <a:gd name="connsiteY4099" fmla="*/ 3603586 h 6479439"/>
              <a:gd name="connsiteX4100" fmla="*/ 6231952 w 9586368"/>
              <a:gd name="connsiteY4100" fmla="*/ 3607625 h 6479439"/>
              <a:gd name="connsiteX4101" fmla="*/ 6222042 w 9586368"/>
              <a:gd name="connsiteY4101" fmla="*/ 3607625 h 6479439"/>
              <a:gd name="connsiteX4102" fmla="*/ 6218023 w 9586368"/>
              <a:gd name="connsiteY4102" fmla="*/ 3603586 h 6479439"/>
              <a:gd name="connsiteX4103" fmla="*/ 6218023 w 9586368"/>
              <a:gd name="connsiteY4103" fmla="*/ 3593716 h 6479439"/>
              <a:gd name="connsiteX4104" fmla="*/ 5982729 w 9586368"/>
              <a:gd name="connsiteY4104" fmla="*/ 3589677 h 6479439"/>
              <a:gd name="connsiteX4105" fmla="*/ 5992639 w 9586368"/>
              <a:gd name="connsiteY4105" fmla="*/ 3589677 h 6479439"/>
              <a:gd name="connsiteX4106" fmla="*/ 5996658 w 9586368"/>
              <a:gd name="connsiteY4106" fmla="*/ 3593716 h 6479439"/>
              <a:gd name="connsiteX4107" fmla="*/ 5996658 w 9586368"/>
              <a:gd name="connsiteY4107" fmla="*/ 3603586 h 6479439"/>
              <a:gd name="connsiteX4108" fmla="*/ 5992639 w 9586368"/>
              <a:gd name="connsiteY4108" fmla="*/ 3607625 h 6479439"/>
              <a:gd name="connsiteX4109" fmla="*/ 5982729 w 9586368"/>
              <a:gd name="connsiteY4109" fmla="*/ 3607625 h 6479439"/>
              <a:gd name="connsiteX4110" fmla="*/ 5978710 w 9586368"/>
              <a:gd name="connsiteY4110" fmla="*/ 3603586 h 6479439"/>
              <a:gd name="connsiteX4111" fmla="*/ 5978710 w 9586368"/>
              <a:gd name="connsiteY4111" fmla="*/ 3593716 h 6479439"/>
              <a:gd name="connsiteX4112" fmla="*/ 5743412 w 9586368"/>
              <a:gd name="connsiteY4112" fmla="*/ 3589677 h 6479439"/>
              <a:gd name="connsiteX4113" fmla="*/ 5753323 w 9586368"/>
              <a:gd name="connsiteY4113" fmla="*/ 3589677 h 6479439"/>
              <a:gd name="connsiteX4114" fmla="*/ 5757342 w 9586368"/>
              <a:gd name="connsiteY4114" fmla="*/ 3593716 h 6479439"/>
              <a:gd name="connsiteX4115" fmla="*/ 5757342 w 9586368"/>
              <a:gd name="connsiteY4115" fmla="*/ 3603586 h 6479439"/>
              <a:gd name="connsiteX4116" fmla="*/ 5753323 w 9586368"/>
              <a:gd name="connsiteY4116" fmla="*/ 3607625 h 6479439"/>
              <a:gd name="connsiteX4117" fmla="*/ 5743412 w 9586368"/>
              <a:gd name="connsiteY4117" fmla="*/ 3607625 h 6479439"/>
              <a:gd name="connsiteX4118" fmla="*/ 5739393 w 9586368"/>
              <a:gd name="connsiteY4118" fmla="*/ 3603586 h 6479439"/>
              <a:gd name="connsiteX4119" fmla="*/ 5739393 w 9586368"/>
              <a:gd name="connsiteY4119" fmla="*/ 3593716 h 6479439"/>
              <a:gd name="connsiteX4120" fmla="*/ 5504099 w 9586368"/>
              <a:gd name="connsiteY4120" fmla="*/ 3589677 h 6479439"/>
              <a:gd name="connsiteX4121" fmla="*/ 5514010 w 9586368"/>
              <a:gd name="connsiteY4121" fmla="*/ 3589677 h 6479439"/>
              <a:gd name="connsiteX4122" fmla="*/ 5518029 w 9586368"/>
              <a:gd name="connsiteY4122" fmla="*/ 3593716 h 6479439"/>
              <a:gd name="connsiteX4123" fmla="*/ 5518029 w 9586368"/>
              <a:gd name="connsiteY4123" fmla="*/ 3603586 h 6479439"/>
              <a:gd name="connsiteX4124" fmla="*/ 5514010 w 9586368"/>
              <a:gd name="connsiteY4124" fmla="*/ 3607625 h 6479439"/>
              <a:gd name="connsiteX4125" fmla="*/ 5504099 w 9586368"/>
              <a:gd name="connsiteY4125" fmla="*/ 3607625 h 6479439"/>
              <a:gd name="connsiteX4126" fmla="*/ 5500080 w 9586368"/>
              <a:gd name="connsiteY4126" fmla="*/ 3603586 h 6479439"/>
              <a:gd name="connsiteX4127" fmla="*/ 5500080 w 9586368"/>
              <a:gd name="connsiteY4127" fmla="*/ 3593716 h 6479439"/>
              <a:gd name="connsiteX4128" fmla="*/ 5264784 w 9586368"/>
              <a:gd name="connsiteY4128" fmla="*/ 3589677 h 6479439"/>
              <a:gd name="connsiteX4129" fmla="*/ 5274694 w 9586368"/>
              <a:gd name="connsiteY4129" fmla="*/ 3589677 h 6479439"/>
              <a:gd name="connsiteX4130" fmla="*/ 5278713 w 9586368"/>
              <a:gd name="connsiteY4130" fmla="*/ 3593716 h 6479439"/>
              <a:gd name="connsiteX4131" fmla="*/ 5278713 w 9586368"/>
              <a:gd name="connsiteY4131" fmla="*/ 3603586 h 6479439"/>
              <a:gd name="connsiteX4132" fmla="*/ 5274694 w 9586368"/>
              <a:gd name="connsiteY4132" fmla="*/ 3607625 h 6479439"/>
              <a:gd name="connsiteX4133" fmla="*/ 5264784 w 9586368"/>
              <a:gd name="connsiteY4133" fmla="*/ 3607625 h 6479439"/>
              <a:gd name="connsiteX4134" fmla="*/ 5260765 w 9586368"/>
              <a:gd name="connsiteY4134" fmla="*/ 3603586 h 6479439"/>
              <a:gd name="connsiteX4135" fmla="*/ 5260765 w 9586368"/>
              <a:gd name="connsiteY4135" fmla="*/ 3593716 h 6479439"/>
              <a:gd name="connsiteX4136" fmla="*/ 5025470 w 9586368"/>
              <a:gd name="connsiteY4136" fmla="*/ 3589677 h 6479439"/>
              <a:gd name="connsiteX4137" fmla="*/ 5035381 w 9586368"/>
              <a:gd name="connsiteY4137" fmla="*/ 3589677 h 6479439"/>
              <a:gd name="connsiteX4138" fmla="*/ 5039400 w 9586368"/>
              <a:gd name="connsiteY4138" fmla="*/ 3593716 h 6479439"/>
              <a:gd name="connsiteX4139" fmla="*/ 5039400 w 9586368"/>
              <a:gd name="connsiteY4139" fmla="*/ 3603586 h 6479439"/>
              <a:gd name="connsiteX4140" fmla="*/ 5035381 w 9586368"/>
              <a:gd name="connsiteY4140" fmla="*/ 3607625 h 6479439"/>
              <a:gd name="connsiteX4141" fmla="*/ 5025470 w 9586368"/>
              <a:gd name="connsiteY4141" fmla="*/ 3607625 h 6479439"/>
              <a:gd name="connsiteX4142" fmla="*/ 5021451 w 9586368"/>
              <a:gd name="connsiteY4142" fmla="*/ 3603586 h 6479439"/>
              <a:gd name="connsiteX4143" fmla="*/ 5021451 w 9586368"/>
              <a:gd name="connsiteY4143" fmla="*/ 3593716 h 6479439"/>
              <a:gd name="connsiteX4144" fmla="*/ 4786241 w 9586368"/>
              <a:gd name="connsiteY4144" fmla="*/ 3589677 h 6479439"/>
              <a:gd name="connsiteX4145" fmla="*/ 4796152 w 9586368"/>
              <a:gd name="connsiteY4145" fmla="*/ 3589677 h 6479439"/>
              <a:gd name="connsiteX4146" fmla="*/ 4800171 w 9586368"/>
              <a:gd name="connsiteY4146" fmla="*/ 3593716 h 6479439"/>
              <a:gd name="connsiteX4147" fmla="*/ 4800171 w 9586368"/>
              <a:gd name="connsiteY4147" fmla="*/ 3603586 h 6479439"/>
              <a:gd name="connsiteX4148" fmla="*/ 4796152 w 9586368"/>
              <a:gd name="connsiteY4148" fmla="*/ 3607625 h 6479439"/>
              <a:gd name="connsiteX4149" fmla="*/ 4786241 w 9586368"/>
              <a:gd name="connsiteY4149" fmla="*/ 3607625 h 6479439"/>
              <a:gd name="connsiteX4150" fmla="*/ 4782224 w 9586368"/>
              <a:gd name="connsiteY4150" fmla="*/ 3603586 h 6479439"/>
              <a:gd name="connsiteX4151" fmla="*/ 4782224 w 9586368"/>
              <a:gd name="connsiteY4151" fmla="*/ 3593716 h 6479439"/>
              <a:gd name="connsiteX4152" fmla="*/ 4546929 w 9586368"/>
              <a:gd name="connsiteY4152" fmla="*/ 3589677 h 6479439"/>
              <a:gd name="connsiteX4153" fmla="*/ 4556840 w 9586368"/>
              <a:gd name="connsiteY4153" fmla="*/ 3589677 h 6479439"/>
              <a:gd name="connsiteX4154" fmla="*/ 4560859 w 9586368"/>
              <a:gd name="connsiteY4154" fmla="*/ 3593716 h 6479439"/>
              <a:gd name="connsiteX4155" fmla="*/ 4560859 w 9586368"/>
              <a:gd name="connsiteY4155" fmla="*/ 3603586 h 6479439"/>
              <a:gd name="connsiteX4156" fmla="*/ 4556840 w 9586368"/>
              <a:gd name="connsiteY4156" fmla="*/ 3607625 h 6479439"/>
              <a:gd name="connsiteX4157" fmla="*/ 4546929 w 9586368"/>
              <a:gd name="connsiteY4157" fmla="*/ 3607625 h 6479439"/>
              <a:gd name="connsiteX4158" fmla="*/ 4542910 w 9586368"/>
              <a:gd name="connsiteY4158" fmla="*/ 3603586 h 6479439"/>
              <a:gd name="connsiteX4159" fmla="*/ 4542910 w 9586368"/>
              <a:gd name="connsiteY4159" fmla="*/ 3593716 h 6479439"/>
              <a:gd name="connsiteX4160" fmla="*/ 4307612 w 9586368"/>
              <a:gd name="connsiteY4160" fmla="*/ 3589677 h 6479439"/>
              <a:gd name="connsiteX4161" fmla="*/ 4317523 w 9586368"/>
              <a:gd name="connsiteY4161" fmla="*/ 3589677 h 6479439"/>
              <a:gd name="connsiteX4162" fmla="*/ 4321543 w 9586368"/>
              <a:gd name="connsiteY4162" fmla="*/ 3593716 h 6479439"/>
              <a:gd name="connsiteX4163" fmla="*/ 4321543 w 9586368"/>
              <a:gd name="connsiteY4163" fmla="*/ 3603586 h 6479439"/>
              <a:gd name="connsiteX4164" fmla="*/ 4317523 w 9586368"/>
              <a:gd name="connsiteY4164" fmla="*/ 3607625 h 6479439"/>
              <a:gd name="connsiteX4165" fmla="*/ 4307612 w 9586368"/>
              <a:gd name="connsiteY4165" fmla="*/ 3607625 h 6479439"/>
              <a:gd name="connsiteX4166" fmla="*/ 4303595 w 9586368"/>
              <a:gd name="connsiteY4166" fmla="*/ 3603586 h 6479439"/>
              <a:gd name="connsiteX4167" fmla="*/ 4303595 w 9586368"/>
              <a:gd name="connsiteY4167" fmla="*/ 3593716 h 6479439"/>
              <a:gd name="connsiteX4168" fmla="*/ 4068297 w 9586368"/>
              <a:gd name="connsiteY4168" fmla="*/ 3589677 h 6479439"/>
              <a:gd name="connsiteX4169" fmla="*/ 4078210 w 9586368"/>
              <a:gd name="connsiteY4169" fmla="*/ 3589677 h 6479439"/>
              <a:gd name="connsiteX4170" fmla="*/ 4082229 w 9586368"/>
              <a:gd name="connsiteY4170" fmla="*/ 3593716 h 6479439"/>
              <a:gd name="connsiteX4171" fmla="*/ 4082229 w 9586368"/>
              <a:gd name="connsiteY4171" fmla="*/ 3603586 h 6479439"/>
              <a:gd name="connsiteX4172" fmla="*/ 4078210 w 9586368"/>
              <a:gd name="connsiteY4172" fmla="*/ 3607625 h 6479439"/>
              <a:gd name="connsiteX4173" fmla="*/ 4068297 w 9586368"/>
              <a:gd name="connsiteY4173" fmla="*/ 3607625 h 6479439"/>
              <a:gd name="connsiteX4174" fmla="*/ 4064278 w 9586368"/>
              <a:gd name="connsiteY4174" fmla="*/ 3603586 h 6479439"/>
              <a:gd name="connsiteX4175" fmla="*/ 4064278 w 9586368"/>
              <a:gd name="connsiteY4175" fmla="*/ 3593716 h 6479439"/>
              <a:gd name="connsiteX4176" fmla="*/ 3828990 w 9586368"/>
              <a:gd name="connsiteY4176" fmla="*/ 3589677 h 6479439"/>
              <a:gd name="connsiteX4177" fmla="*/ 3838899 w 9586368"/>
              <a:gd name="connsiteY4177" fmla="*/ 3589677 h 6479439"/>
              <a:gd name="connsiteX4178" fmla="*/ 3842917 w 9586368"/>
              <a:gd name="connsiteY4178" fmla="*/ 3593716 h 6479439"/>
              <a:gd name="connsiteX4179" fmla="*/ 3842917 w 9586368"/>
              <a:gd name="connsiteY4179" fmla="*/ 3603586 h 6479439"/>
              <a:gd name="connsiteX4180" fmla="*/ 3838899 w 9586368"/>
              <a:gd name="connsiteY4180" fmla="*/ 3607625 h 6479439"/>
              <a:gd name="connsiteX4181" fmla="*/ 3828990 w 9586368"/>
              <a:gd name="connsiteY4181" fmla="*/ 3607625 h 6479439"/>
              <a:gd name="connsiteX4182" fmla="*/ 3824971 w 9586368"/>
              <a:gd name="connsiteY4182" fmla="*/ 3603586 h 6479439"/>
              <a:gd name="connsiteX4183" fmla="*/ 3824971 w 9586368"/>
              <a:gd name="connsiteY4183" fmla="*/ 3593716 h 6479439"/>
              <a:gd name="connsiteX4184" fmla="*/ 3589676 w 9586368"/>
              <a:gd name="connsiteY4184" fmla="*/ 3589677 h 6479439"/>
              <a:gd name="connsiteX4185" fmla="*/ 3599585 w 9586368"/>
              <a:gd name="connsiteY4185" fmla="*/ 3589677 h 6479439"/>
              <a:gd name="connsiteX4186" fmla="*/ 3603604 w 9586368"/>
              <a:gd name="connsiteY4186" fmla="*/ 3593716 h 6479439"/>
              <a:gd name="connsiteX4187" fmla="*/ 3603604 w 9586368"/>
              <a:gd name="connsiteY4187" fmla="*/ 3603586 h 6479439"/>
              <a:gd name="connsiteX4188" fmla="*/ 3599585 w 9586368"/>
              <a:gd name="connsiteY4188" fmla="*/ 3607625 h 6479439"/>
              <a:gd name="connsiteX4189" fmla="*/ 3589676 w 9586368"/>
              <a:gd name="connsiteY4189" fmla="*/ 3607625 h 6479439"/>
              <a:gd name="connsiteX4190" fmla="*/ 3585657 w 9586368"/>
              <a:gd name="connsiteY4190" fmla="*/ 3603586 h 6479439"/>
              <a:gd name="connsiteX4191" fmla="*/ 3585657 w 9586368"/>
              <a:gd name="connsiteY4191" fmla="*/ 3593716 h 6479439"/>
              <a:gd name="connsiteX4192" fmla="*/ 3350359 w 9586368"/>
              <a:gd name="connsiteY4192" fmla="*/ 3589677 h 6479439"/>
              <a:gd name="connsiteX4193" fmla="*/ 3360268 w 9586368"/>
              <a:gd name="connsiteY4193" fmla="*/ 3589677 h 6479439"/>
              <a:gd name="connsiteX4194" fmla="*/ 3364287 w 9586368"/>
              <a:gd name="connsiteY4194" fmla="*/ 3593716 h 6479439"/>
              <a:gd name="connsiteX4195" fmla="*/ 3364287 w 9586368"/>
              <a:gd name="connsiteY4195" fmla="*/ 3603586 h 6479439"/>
              <a:gd name="connsiteX4196" fmla="*/ 3360268 w 9586368"/>
              <a:gd name="connsiteY4196" fmla="*/ 3607625 h 6479439"/>
              <a:gd name="connsiteX4197" fmla="*/ 3350359 w 9586368"/>
              <a:gd name="connsiteY4197" fmla="*/ 3607625 h 6479439"/>
              <a:gd name="connsiteX4198" fmla="*/ 3346340 w 9586368"/>
              <a:gd name="connsiteY4198" fmla="*/ 3603586 h 6479439"/>
              <a:gd name="connsiteX4199" fmla="*/ 3346340 w 9586368"/>
              <a:gd name="connsiteY4199" fmla="*/ 3593716 h 6479439"/>
              <a:gd name="connsiteX4200" fmla="*/ 3111048 w 9586368"/>
              <a:gd name="connsiteY4200" fmla="*/ 3589677 h 6479439"/>
              <a:gd name="connsiteX4201" fmla="*/ 3120959 w 9586368"/>
              <a:gd name="connsiteY4201" fmla="*/ 3589677 h 6479439"/>
              <a:gd name="connsiteX4202" fmla="*/ 3124977 w 9586368"/>
              <a:gd name="connsiteY4202" fmla="*/ 3593716 h 6479439"/>
              <a:gd name="connsiteX4203" fmla="*/ 3124977 w 9586368"/>
              <a:gd name="connsiteY4203" fmla="*/ 3603586 h 6479439"/>
              <a:gd name="connsiteX4204" fmla="*/ 3120959 w 9586368"/>
              <a:gd name="connsiteY4204" fmla="*/ 3607625 h 6479439"/>
              <a:gd name="connsiteX4205" fmla="*/ 3111048 w 9586368"/>
              <a:gd name="connsiteY4205" fmla="*/ 3607625 h 6479439"/>
              <a:gd name="connsiteX4206" fmla="*/ 3107029 w 9586368"/>
              <a:gd name="connsiteY4206" fmla="*/ 3603586 h 6479439"/>
              <a:gd name="connsiteX4207" fmla="*/ 3107029 w 9586368"/>
              <a:gd name="connsiteY4207" fmla="*/ 3593716 h 6479439"/>
              <a:gd name="connsiteX4208" fmla="*/ 2871737 w 9586368"/>
              <a:gd name="connsiteY4208" fmla="*/ 3589677 h 6479439"/>
              <a:gd name="connsiteX4209" fmla="*/ 2881646 w 9586368"/>
              <a:gd name="connsiteY4209" fmla="*/ 3589677 h 6479439"/>
              <a:gd name="connsiteX4210" fmla="*/ 2885666 w 9586368"/>
              <a:gd name="connsiteY4210" fmla="*/ 3593716 h 6479439"/>
              <a:gd name="connsiteX4211" fmla="*/ 2885666 w 9586368"/>
              <a:gd name="connsiteY4211" fmla="*/ 3603586 h 6479439"/>
              <a:gd name="connsiteX4212" fmla="*/ 2881646 w 9586368"/>
              <a:gd name="connsiteY4212" fmla="*/ 3607625 h 6479439"/>
              <a:gd name="connsiteX4213" fmla="*/ 2871737 w 9586368"/>
              <a:gd name="connsiteY4213" fmla="*/ 3607625 h 6479439"/>
              <a:gd name="connsiteX4214" fmla="*/ 2867717 w 9586368"/>
              <a:gd name="connsiteY4214" fmla="*/ 3603586 h 6479439"/>
              <a:gd name="connsiteX4215" fmla="*/ 2867717 w 9586368"/>
              <a:gd name="connsiteY4215" fmla="*/ 3593716 h 6479439"/>
              <a:gd name="connsiteX4216" fmla="*/ 2632423 w 9586368"/>
              <a:gd name="connsiteY4216" fmla="*/ 3589677 h 6479439"/>
              <a:gd name="connsiteX4217" fmla="*/ 2642334 w 9586368"/>
              <a:gd name="connsiteY4217" fmla="*/ 3589677 h 6479439"/>
              <a:gd name="connsiteX4218" fmla="*/ 2646352 w 9586368"/>
              <a:gd name="connsiteY4218" fmla="*/ 3593716 h 6479439"/>
              <a:gd name="connsiteX4219" fmla="*/ 2646352 w 9586368"/>
              <a:gd name="connsiteY4219" fmla="*/ 3603586 h 6479439"/>
              <a:gd name="connsiteX4220" fmla="*/ 2642334 w 9586368"/>
              <a:gd name="connsiteY4220" fmla="*/ 3607625 h 6479439"/>
              <a:gd name="connsiteX4221" fmla="*/ 2632423 w 9586368"/>
              <a:gd name="connsiteY4221" fmla="*/ 3607625 h 6479439"/>
              <a:gd name="connsiteX4222" fmla="*/ 2628404 w 9586368"/>
              <a:gd name="connsiteY4222" fmla="*/ 3603586 h 6479439"/>
              <a:gd name="connsiteX4223" fmla="*/ 2628404 w 9586368"/>
              <a:gd name="connsiteY4223" fmla="*/ 3593716 h 6479439"/>
              <a:gd name="connsiteX4224" fmla="*/ 2393104 w 9586368"/>
              <a:gd name="connsiteY4224" fmla="*/ 3589677 h 6479439"/>
              <a:gd name="connsiteX4225" fmla="*/ 2403015 w 9586368"/>
              <a:gd name="connsiteY4225" fmla="*/ 3589677 h 6479439"/>
              <a:gd name="connsiteX4226" fmla="*/ 2407034 w 9586368"/>
              <a:gd name="connsiteY4226" fmla="*/ 3593716 h 6479439"/>
              <a:gd name="connsiteX4227" fmla="*/ 2407034 w 9586368"/>
              <a:gd name="connsiteY4227" fmla="*/ 3603586 h 6479439"/>
              <a:gd name="connsiteX4228" fmla="*/ 2403015 w 9586368"/>
              <a:gd name="connsiteY4228" fmla="*/ 3607625 h 6479439"/>
              <a:gd name="connsiteX4229" fmla="*/ 2393104 w 9586368"/>
              <a:gd name="connsiteY4229" fmla="*/ 3607625 h 6479439"/>
              <a:gd name="connsiteX4230" fmla="*/ 2389087 w 9586368"/>
              <a:gd name="connsiteY4230" fmla="*/ 3603586 h 6479439"/>
              <a:gd name="connsiteX4231" fmla="*/ 2389087 w 9586368"/>
              <a:gd name="connsiteY4231" fmla="*/ 3593716 h 6479439"/>
              <a:gd name="connsiteX4232" fmla="*/ 721966 w 9586368"/>
              <a:gd name="connsiteY4232" fmla="*/ 3589677 h 6479439"/>
              <a:gd name="connsiteX4233" fmla="*/ 731877 w 9586368"/>
              <a:gd name="connsiteY4233" fmla="*/ 3589677 h 6479439"/>
              <a:gd name="connsiteX4234" fmla="*/ 735896 w 9586368"/>
              <a:gd name="connsiteY4234" fmla="*/ 3593716 h 6479439"/>
              <a:gd name="connsiteX4235" fmla="*/ 735896 w 9586368"/>
              <a:gd name="connsiteY4235" fmla="*/ 3603586 h 6479439"/>
              <a:gd name="connsiteX4236" fmla="*/ 731877 w 9586368"/>
              <a:gd name="connsiteY4236" fmla="*/ 3607625 h 6479439"/>
              <a:gd name="connsiteX4237" fmla="*/ 721966 w 9586368"/>
              <a:gd name="connsiteY4237" fmla="*/ 3607625 h 6479439"/>
              <a:gd name="connsiteX4238" fmla="*/ 717948 w 9586368"/>
              <a:gd name="connsiteY4238" fmla="*/ 3603586 h 6479439"/>
              <a:gd name="connsiteX4239" fmla="*/ 717948 w 9586368"/>
              <a:gd name="connsiteY4239" fmla="*/ 3593716 h 6479439"/>
              <a:gd name="connsiteX4240" fmla="*/ 482654 w 9586368"/>
              <a:gd name="connsiteY4240" fmla="*/ 3589677 h 6479439"/>
              <a:gd name="connsiteX4241" fmla="*/ 492565 w 9586368"/>
              <a:gd name="connsiteY4241" fmla="*/ 3589677 h 6479439"/>
              <a:gd name="connsiteX4242" fmla="*/ 496584 w 9586368"/>
              <a:gd name="connsiteY4242" fmla="*/ 3593716 h 6479439"/>
              <a:gd name="connsiteX4243" fmla="*/ 496584 w 9586368"/>
              <a:gd name="connsiteY4243" fmla="*/ 3603586 h 6479439"/>
              <a:gd name="connsiteX4244" fmla="*/ 492565 w 9586368"/>
              <a:gd name="connsiteY4244" fmla="*/ 3607625 h 6479439"/>
              <a:gd name="connsiteX4245" fmla="*/ 482654 w 9586368"/>
              <a:gd name="connsiteY4245" fmla="*/ 3607625 h 6479439"/>
              <a:gd name="connsiteX4246" fmla="*/ 478635 w 9586368"/>
              <a:gd name="connsiteY4246" fmla="*/ 3603586 h 6479439"/>
              <a:gd name="connsiteX4247" fmla="*/ 478635 w 9586368"/>
              <a:gd name="connsiteY4247" fmla="*/ 3593716 h 6479439"/>
              <a:gd name="connsiteX4248" fmla="*/ 243341 w 9586368"/>
              <a:gd name="connsiteY4248" fmla="*/ 3589677 h 6479439"/>
              <a:gd name="connsiteX4249" fmla="*/ 253251 w 9586368"/>
              <a:gd name="connsiteY4249" fmla="*/ 3589677 h 6479439"/>
              <a:gd name="connsiteX4250" fmla="*/ 257270 w 9586368"/>
              <a:gd name="connsiteY4250" fmla="*/ 3593716 h 6479439"/>
              <a:gd name="connsiteX4251" fmla="*/ 257270 w 9586368"/>
              <a:gd name="connsiteY4251" fmla="*/ 3603586 h 6479439"/>
              <a:gd name="connsiteX4252" fmla="*/ 253251 w 9586368"/>
              <a:gd name="connsiteY4252" fmla="*/ 3607625 h 6479439"/>
              <a:gd name="connsiteX4253" fmla="*/ 243341 w 9586368"/>
              <a:gd name="connsiteY4253" fmla="*/ 3607625 h 6479439"/>
              <a:gd name="connsiteX4254" fmla="*/ 239321 w 9586368"/>
              <a:gd name="connsiteY4254" fmla="*/ 3603586 h 6479439"/>
              <a:gd name="connsiteX4255" fmla="*/ 239321 w 9586368"/>
              <a:gd name="connsiteY4255" fmla="*/ 3593716 h 6479439"/>
              <a:gd name="connsiteX4256" fmla="*/ 4027 w 9586368"/>
              <a:gd name="connsiteY4256" fmla="*/ 3589677 h 6479439"/>
              <a:gd name="connsiteX4257" fmla="*/ 13938 w 9586368"/>
              <a:gd name="connsiteY4257" fmla="*/ 3589677 h 6479439"/>
              <a:gd name="connsiteX4258" fmla="*/ 17957 w 9586368"/>
              <a:gd name="connsiteY4258" fmla="*/ 3593716 h 6479439"/>
              <a:gd name="connsiteX4259" fmla="*/ 17957 w 9586368"/>
              <a:gd name="connsiteY4259" fmla="*/ 3603586 h 6479439"/>
              <a:gd name="connsiteX4260" fmla="*/ 13938 w 9586368"/>
              <a:gd name="connsiteY4260" fmla="*/ 3607625 h 6479439"/>
              <a:gd name="connsiteX4261" fmla="*/ 4027 w 9586368"/>
              <a:gd name="connsiteY4261" fmla="*/ 3607625 h 6479439"/>
              <a:gd name="connsiteX4262" fmla="*/ 8 w 9586368"/>
              <a:gd name="connsiteY4262" fmla="*/ 3603586 h 6479439"/>
              <a:gd name="connsiteX4263" fmla="*/ 8 w 9586368"/>
              <a:gd name="connsiteY4263" fmla="*/ 3593716 h 6479439"/>
              <a:gd name="connsiteX4264" fmla="*/ 9572438 w 9586368"/>
              <a:gd name="connsiteY4264" fmla="*/ 3350398 h 6479439"/>
              <a:gd name="connsiteX4265" fmla="*/ 9582349 w 9586368"/>
              <a:gd name="connsiteY4265" fmla="*/ 3350398 h 6479439"/>
              <a:gd name="connsiteX4266" fmla="*/ 9586368 w 9586368"/>
              <a:gd name="connsiteY4266" fmla="*/ 3354436 h 6479439"/>
              <a:gd name="connsiteX4267" fmla="*/ 9586368 w 9586368"/>
              <a:gd name="connsiteY4267" fmla="*/ 3364306 h 6479439"/>
              <a:gd name="connsiteX4268" fmla="*/ 9582349 w 9586368"/>
              <a:gd name="connsiteY4268" fmla="*/ 3368345 h 6479439"/>
              <a:gd name="connsiteX4269" fmla="*/ 9572438 w 9586368"/>
              <a:gd name="connsiteY4269" fmla="*/ 3368345 h 6479439"/>
              <a:gd name="connsiteX4270" fmla="*/ 9568419 w 9586368"/>
              <a:gd name="connsiteY4270" fmla="*/ 3364306 h 6479439"/>
              <a:gd name="connsiteX4271" fmla="*/ 9568419 w 9586368"/>
              <a:gd name="connsiteY4271" fmla="*/ 3354436 h 6479439"/>
              <a:gd name="connsiteX4272" fmla="*/ 9333125 w 9586368"/>
              <a:gd name="connsiteY4272" fmla="*/ 3350398 h 6479439"/>
              <a:gd name="connsiteX4273" fmla="*/ 9343036 w 9586368"/>
              <a:gd name="connsiteY4273" fmla="*/ 3350398 h 6479439"/>
              <a:gd name="connsiteX4274" fmla="*/ 9347055 w 9586368"/>
              <a:gd name="connsiteY4274" fmla="*/ 3354436 h 6479439"/>
              <a:gd name="connsiteX4275" fmla="*/ 9347055 w 9586368"/>
              <a:gd name="connsiteY4275" fmla="*/ 3364306 h 6479439"/>
              <a:gd name="connsiteX4276" fmla="*/ 9343036 w 9586368"/>
              <a:gd name="connsiteY4276" fmla="*/ 3368345 h 6479439"/>
              <a:gd name="connsiteX4277" fmla="*/ 9333125 w 9586368"/>
              <a:gd name="connsiteY4277" fmla="*/ 3368345 h 6479439"/>
              <a:gd name="connsiteX4278" fmla="*/ 9329106 w 9586368"/>
              <a:gd name="connsiteY4278" fmla="*/ 3364306 h 6479439"/>
              <a:gd name="connsiteX4279" fmla="*/ 9329106 w 9586368"/>
              <a:gd name="connsiteY4279" fmla="*/ 3354436 h 6479439"/>
              <a:gd name="connsiteX4280" fmla="*/ 9093811 w 9586368"/>
              <a:gd name="connsiteY4280" fmla="*/ 3350398 h 6479439"/>
              <a:gd name="connsiteX4281" fmla="*/ 9103722 w 9586368"/>
              <a:gd name="connsiteY4281" fmla="*/ 3350398 h 6479439"/>
              <a:gd name="connsiteX4282" fmla="*/ 9107741 w 9586368"/>
              <a:gd name="connsiteY4282" fmla="*/ 3354436 h 6479439"/>
              <a:gd name="connsiteX4283" fmla="*/ 9107741 w 9586368"/>
              <a:gd name="connsiteY4283" fmla="*/ 3364306 h 6479439"/>
              <a:gd name="connsiteX4284" fmla="*/ 9103722 w 9586368"/>
              <a:gd name="connsiteY4284" fmla="*/ 3368345 h 6479439"/>
              <a:gd name="connsiteX4285" fmla="*/ 9093811 w 9586368"/>
              <a:gd name="connsiteY4285" fmla="*/ 3368345 h 6479439"/>
              <a:gd name="connsiteX4286" fmla="*/ 9089792 w 9586368"/>
              <a:gd name="connsiteY4286" fmla="*/ 3364306 h 6479439"/>
              <a:gd name="connsiteX4287" fmla="*/ 9089792 w 9586368"/>
              <a:gd name="connsiteY4287" fmla="*/ 3354436 h 6479439"/>
              <a:gd name="connsiteX4288" fmla="*/ 8854496 w 9586368"/>
              <a:gd name="connsiteY4288" fmla="*/ 3350398 h 6479439"/>
              <a:gd name="connsiteX4289" fmla="*/ 8864407 w 9586368"/>
              <a:gd name="connsiteY4289" fmla="*/ 3350398 h 6479439"/>
              <a:gd name="connsiteX4290" fmla="*/ 8868426 w 9586368"/>
              <a:gd name="connsiteY4290" fmla="*/ 3354436 h 6479439"/>
              <a:gd name="connsiteX4291" fmla="*/ 8868426 w 9586368"/>
              <a:gd name="connsiteY4291" fmla="*/ 3364306 h 6479439"/>
              <a:gd name="connsiteX4292" fmla="*/ 8864407 w 9586368"/>
              <a:gd name="connsiteY4292" fmla="*/ 3368345 h 6479439"/>
              <a:gd name="connsiteX4293" fmla="*/ 8854496 w 9586368"/>
              <a:gd name="connsiteY4293" fmla="*/ 3368345 h 6479439"/>
              <a:gd name="connsiteX4294" fmla="*/ 8850477 w 9586368"/>
              <a:gd name="connsiteY4294" fmla="*/ 3364306 h 6479439"/>
              <a:gd name="connsiteX4295" fmla="*/ 8850477 w 9586368"/>
              <a:gd name="connsiteY4295" fmla="*/ 3354436 h 6479439"/>
              <a:gd name="connsiteX4296" fmla="*/ 8615184 w 9586368"/>
              <a:gd name="connsiteY4296" fmla="*/ 3350398 h 6479439"/>
              <a:gd name="connsiteX4297" fmla="*/ 8625095 w 9586368"/>
              <a:gd name="connsiteY4297" fmla="*/ 3350398 h 6479439"/>
              <a:gd name="connsiteX4298" fmla="*/ 8629114 w 9586368"/>
              <a:gd name="connsiteY4298" fmla="*/ 3354436 h 6479439"/>
              <a:gd name="connsiteX4299" fmla="*/ 8629114 w 9586368"/>
              <a:gd name="connsiteY4299" fmla="*/ 3364306 h 6479439"/>
              <a:gd name="connsiteX4300" fmla="*/ 8625095 w 9586368"/>
              <a:gd name="connsiteY4300" fmla="*/ 3368345 h 6479439"/>
              <a:gd name="connsiteX4301" fmla="*/ 8615184 w 9586368"/>
              <a:gd name="connsiteY4301" fmla="*/ 3368345 h 6479439"/>
              <a:gd name="connsiteX4302" fmla="*/ 8611165 w 9586368"/>
              <a:gd name="connsiteY4302" fmla="*/ 3364306 h 6479439"/>
              <a:gd name="connsiteX4303" fmla="*/ 8611165 w 9586368"/>
              <a:gd name="connsiteY4303" fmla="*/ 3354436 h 6479439"/>
              <a:gd name="connsiteX4304" fmla="*/ 8375869 w 9586368"/>
              <a:gd name="connsiteY4304" fmla="*/ 3350398 h 6479439"/>
              <a:gd name="connsiteX4305" fmla="*/ 8385779 w 9586368"/>
              <a:gd name="connsiteY4305" fmla="*/ 3350398 h 6479439"/>
              <a:gd name="connsiteX4306" fmla="*/ 8389799 w 9586368"/>
              <a:gd name="connsiteY4306" fmla="*/ 3354436 h 6479439"/>
              <a:gd name="connsiteX4307" fmla="*/ 8389799 w 9586368"/>
              <a:gd name="connsiteY4307" fmla="*/ 3364306 h 6479439"/>
              <a:gd name="connsiteX4308" fmla="*/ 8385779 w 9586368"/>
              <a:gd name="connsiteY4308" fmla="*/ 3368345 h 6479439"/>
              <a:gd name="connsiteX4309" fmla="*/ 8375869 w 9586368"/>
              <a:gd name="connsiteY4309" fmla="*/ 3368345 h 6479439"/>
              <a:gd name="connsiteX4310" fmla="*/ 8371850 w 9586368"/>
              <a:gd name="connsiteY4310" fmla="*/ 3364306 h 6479439"/>
              <a:gd name="connsiteX4311" fmla="*/ 8371850 w 9586368"/>
              <a:gd name="connsiteY4311" fmla="*/ 3354436 h 6479439"/>
              <a:gd name="connsiteX4312" fmla="*/ 8136553 w 9586368"/>
              <a:gd name="connsiteY4312" fmla="*/ 3350398 h 6479439"/>
              <a:gd name="connsiteX4313" fmla="*/ 8146464 w 9586368"/>
              <a:gd name="connsiteY4313" fmla="*/ 3350398 h 6479439"/>
              <a:gd name="connsiteX4314" fmla="*/ 8150483 w 9586368"/>
              <a:gd name="connsiteY4314" fmla="*/ 3354436 h 6479439"/>
              <a:gd name="connsiteX4315" fmla="*/ 8150483 w 9586368"/>
              <a:gd name="connsiteY4315" fmla="*/ 3364306 h 6479439"/>
              <a:gd name="connsiteX4316" fmla="*/ 8146464 w 9586368"/>
              <a:gd name="connsiteY4316" fmla="*/ 3368345 h 6479439"/>
              <a:gd name="connsiteX4317" fmla="*/ 8136553 w 9586368"/>
              <a:gd name="connsiteY4317" fmla="*/ 3368345 h 6479439"/>
              <a:gd name="connsiteX4318" fmla="*/ 8132534 w 9586368"/>
              <a:gd name="connsiteY4318" fmla="*/ 3364306 h 6479439"/>
              <a:gd name="connsiteX4319" fmla="*/ 8132534 w 9586368"/>
              <a:gd name="connsiteY4319" fmla="*/ 3354436 h 6479439"/>
              <a:gd name="connsiteX4320" fmla="*/ 7897241 w 9586368"/>
              <a:gd name="connsiteY4320" fmla="*/ 3350398 h 6479439"/>
              <a:gd name="connsiteX4321" fmla="*/ 7907151 w 9586368"/>
              <a:gd name="connsiteY4321" fmla="*/ 3350398 h 6479439"/>
              <a:gd name="connsiteX4322" fmla="*/ 7911170 w 9586368"/>
              <a:gd name="connsiteY4322" fmla="*/ 3354436 h 6479439"/>
              <a:gd name="connsiteX4323" fmla="*/ 7911170 w 9586368"/>
              <a:gd name="connsiteY4323" fmla="*/ 3364306 h 6479439"/>
              <a:gd name="connsiteX4324" fmla="*/ 7907151 w 9586368"/>
              <a:gd name="connsiteY4324" fmla="*/ 3368345 h 6479439"/>
              <a:gd name="connsiteX4325" fmla="*/ 7897241 w 9586368"/>
              <a:gd name="connsiteY4325" fmla="*/ 3368345 h 6479439"/>
              <a:gd name="connsiteX4326" fmla="*/ 7893222 w 9586368"/>
              <a:gd name="connsiteY4326" fmla="*/ 3364306 h 6479439"/>
              <a:gd name="connsiteX4327" fmla="*/ 7893222 w 9586368"/>
              <a:gd name="connsiteY4327" fmla="*/ 3354436 h 6479439"/>
              <a:gd name="connsiteX4328" fmla="*/ 7657926 w 9586368"/>
              <a:gd name="connsiteY4328" fmla="*/ 3350398 h 6479439"/>
              <a:gd name="connsiteX4329" fmla="*/ 7667836 w 9586368"/>
              <a:gd name="connsiteY4329" fmla="*/ 3350398 h 6479439"/>
              <a:gd name="connsiteX4330" fmla="*/ 7671855 w 9586368"/>
              <a:gd name="connsiteY4330" fmla="*/ 3354436 h 6479439"/>
              <a:gd name="connsiteX4331" fmla="*/ 7671855 w 9586368"/>
              <a:gd name="connsiteY4331" fmla="*/ 3364306 h 6479439"/>
              <a:gd name="connsiteX4332" fmla="*/ 7667836 w 9586368"/>
              <a:gd name="connsiteY4332" fmla="*/ 3368345 h 6479439"/>
              <a:gd name="connsiteX4333" fmla="*/ 7657926 w 9586368"/>
              <a:gd name="connsiteY4333" fmla="*/ 3368345 h 6479439"/>
              <a:gd name="connsiteX4334" fmla="*/ 7653906 w 9586368"/>
              <a:gd name="connsiteY4334" fmla="*/ 3364306 h 6479439"/>
              <a:gd name="connsiteX4335" fmla="*/ 7653906 w 9586368"/>
              <a:gd name="connsiteY4335" fmla="*/ 3354436 h 6479439"/>
              <a:gd name="connsiteX4336" fmla="*/ 7418611 w 9586368"/>
              <a:gd name="connsiteY4336" fmla="*/ 3350398 h 6479439"/>
              <a:gd name="connsiteX4337" fmla="*/ 7428521 w 9586368"/>
              <a:gd name="connsiteY4337" fmla="*/ 3350398 h 6479439"/>
              <a:gd name="connsiteX4338" fmla="*/ 7432540 w 9586368"/>
              <a:gd name="connsiteY4338" fmla="*/ 3354436 h 6479439"/>
              <a:gd name="connsiteX4339" fmla="*/ 7432540 w 9586368"/>
              <a:gd name="connsiteY4339" fmla="*/ 3364306 h 6479439"/>
              <a:gd name="connsiteX4340" fmla="*/ 7428521 w 9586368"/>
              <a:gd name="connsiteY4340" fmla="*/ 3368345 h 6479439"/>
              <a:gd name="connsiteX4341" fmla="*/ 7418611 w 9586368"/>
              <a:gd name="connsiteY4341" fmla="*/ 3368345 h 6479439"/>
              <a:gd name="connsiteX4342" fmla="*/ 7414592 w 9586368"/>
              <a:gd name="connsiteY4342" fmla="*/ 3364306 h 6479439"/>
              <a:gd name="connsiteX4343" fmla="*/ 7414592 w 9586368"/>
              <a:gd name="connsiteY4343" fmla="*/ 3354436 h 6479439"/>
              <a:gd name="connsiteX4344" fmla="*/ 7179298 w 9586368"/>
              <a:gd name="connsiteY4344" fmla="*/ 3350398 h 6479439"/>
              <a:gd name="connsiteX4345" fmla="*/ 7189209 w 9586368"/>
              <a:gd name="connsiteY4345" fmla="*/ 3350398 h 6479439"/>
              <a:gd name="connsiteX4346" fmla="*/ 7193228 w 9586368"/>
              <a:gd name="connsiteY4346" fmla="*/ 3354436 h 6479439"/>
              <a:gd name="connsiteX4347" fmla="*/ 7193228 w 9586368"/>
              <a:gd name="connsiteY4347" fmla="*/ 3364306 h 6479439"/>
              <a:gd name="connsiteX4348" fmla="*/ 7189209 w 9586368"/>
              <a:gd name="connsiteY4348" fmla="*/ 3368345 h 6479439"/>
              <a:gd name="connsiteX4349" fmla="*/ 7179298 w 9586368"/>
              <a:gd name="connsiteY4349" fmla="*/ 3368345 h 6479439"/>
              <a:gd name="connsiteX4350" fmla="*/ 7175279 w 9586368"/>
              <a:gd name="connsiteY4350" fmla="*/ 3364306 h 6479439"/>
              <a:gd name="connsiteX4351" fmla="*/ 7175279 w 9586368"/>
              <a:gd name="connsiteY4351" fmla="*/ 3354436 h 6479439"/>
              <a:gd name="connsiteX4352" fmla="*/ 6939983 w 9586368"/>
              <a:gd name="connsiteY4352" fmla="*/ 3350398 h 6479439"/>
              <a:gd name="connsiteX4353" fmla="*/ 6949894 w 9586368"/>
              <a:gd name="connsiteY4353" fmla="*/ 3350398 h 6479439"/>
              <a:gd name="connsiteX4354" fmla="*/ 6953913 w 9586368"/>
              <a:gd name="connsiteY4354" fmla="*/ 3354436 h 6479439"/>
              <a:gd name="connsiteX4355" fmla="*/ 6953913 w 9586368"/>
              <a:gd name="connsiteY4355" fmla="*/ 3364306 h 6479439"/>
              <a:gd name="connsiteX4356" fmla="*/ 6949894 w 9586368"/>
              <a:gd name="connsiteY4356" fmla="*/ 3368345 h 6479439"/>
              <a:gd name="connsiteX4357" fmla="*/ 6939983 w 9586368"/>
              <a:gd name="connsiteY4357" fmla="*/ 3368345 h 6479439"/>
              <a:gd name="connsiteX4358" fmla="*/ 6935964 w 9586368"/>
              <a:gd name="connsiteY4358" fmla="*/ 3364306 h 6479439"/>
              <a:gd name="connsiteX4359" fmla="*/ 6935964 w 9586368"/>
              <a:gd name="connsiteY4359" fmla="*/ 3354436 h 6479439"/>
              <a:gd name="connsiteX4360" fmla="*/ 6700670 w 9586368"/>
              <a:gd name="connsiteY4360" fmla="*/ 3350398 h 6479439"/>
              <a:gd name="connsiteX4361" fmla="*/ 6710581 w 9586368"/>
              <a:gd name="connsiteY4361" fmla="*/ 3350398 h 6479439"/>
              <a:gd name="connsiteX4362" fmla="*/ 6714600 w 9586368"/>
              <a:gd name="connsiteY4362" fmla="*/ 3354436 h 6479439"/>
              <a:gd name="connsiteX4363" fmla="*/ 6714600 w 9586368"/>
              <a:gd name="connsiteY4363" fmla="*/ 3364306 h 6479439"/>
              <a:gd name="connsiteX4364" fmla="*/ 6710581 w 9586368"/>
              <a:gd name="connsiteY4364" fmla="*/ 3368345 h 6479439"/>
              <a:gd name="connsiteX4365" fmla="*/ 6700670 w 9586368"/>
              <a:gd name="connsiteY4365" fmla="*/ 3368345 h 6479439"/>
              <a:gd name="connsiteX4366" fmla="*/ 6696651 w 9586368"/>
              <a:gd name="connsiteY4366" fmla="*/ 3364306 h 6479439"/>
              <a:gd name="connsiteX4367" fmla="*/ 6696651 w 9586368"/>
              <a:gd name="connsiteY4367" fmla="*/ 3354436 h 6479439"/>
              <a:gd name="connsiteX4368" fmla="*/ 6461356 w 9586368"/>
              <a:gd name="connsiteY4368" fmla="*/ 3350398 h 6479439"/>
              <a:gd name="connsiteX4369" fmla="*/ 6471266 w 9586368"/>
              <a:gd name="connsiteY4369" fmla="*/ 3350398 h 6479439"/>
              <a:gd name="connsiteX4370" fmla="*/ 6475285 w 9586368"/>
              <a:gd name="connsiteY4370" fmla="*/ 3354436 h 6479439"/>
              <a:gd name="connsiteX4371" fmla="*/ 6475285 w 9586368"/>
              <a:gd name="connsiteY4371" fmla="*/ 3364306 h 6479439"/>
              <a:gd name="connsiteX4372" fmla="*/ 6471266 w 9586368"/>
              <a:gd name="connsiteY4372" fmla="*/ 3368345 h 6479439"/>
              <a:gd name="connsiteX4373" fmla="*/ 6461356 w 9586368"/>
              <a:gd name="connsiteY4373" fmla="*/ 3368345 h 6479439"/>
              <a:gd name="connsiteX4374" fmla="*/ 6457337 w 9586368"/>
              <a:gd name="connsiteY4374" fmla="*/ 3364306 h 6479439"/>
              <a:gd name="connsiteX4375" fmla="*/ 6457337 w 9586368"/>
              <a:gd name="connsiteY4375" fmla="*/ 3354436 h 6479439"/>
              <a:gd name="connsiteX4376" fmla="*/ 6222042 w 9586368"/>
              <a:gd name="connsiteY4376" fmla="*/ 3350398 h 6479439"/>
              <a:gd name="connsiteX4377" fmla="*/ 6231952 w 9586368"/>
              <a:gd name="connsiteY4377" fmla="*/ 3350398 h 6479439"/>
              <a:gd name="connsiteX4378" fmla="*/ 6235971 w 9586368"/>
              <a:gd name="connsiteY4378" fmla="*/ 3354436 h 6479439"/>
              <a:gd name="connsiteX4379" fmla="*/ 6235971 w 9586368"/>
              <a:gd name="connsiteY4379" fmla="*/ 3364306 h 6479439"/>
              <a:gd name="connsiteX4380" fmla="*/ 6231952 w 9586368"/>
              <a:gd name="connsiteY4380" fmla="*/ 3368345 h 6479439"/>
              <a:gd name="connsiteX4381" fmla="*/ 6222042 w 9586368"/>
              <a:gd name="connsiteY4381" fmla="*/ 3368345 h 6479439"/>
              <a:gd name="connsiteX4382" fmla="*/ 6218023 w 9586368"/>
              <a:gd name="connsiteY4382" fmla="*/ 3364306 h 6479439"/>
              <a:gd name="connsiteX4383" fmla="*/ 6218023 w 9586368"/>
              <a:gd name="connsiteY4383" fmla="*/ 3354436 h 6479439"/>
              <a:gd name="connsiteX4384" fmla="*/ 5982729 w 9586368"/>
              <a:gd name="connsiteY4384" fmla="*/ 3350398 h 6479439"/>
              <a:gd name="connsiteX4385" fmla="*/ 5992639 w 9586368"/>
              <a:gd name="connsiteY4385" fmla="*/ 3350398 h 6479439"/>
              <a:gd name="connsiteX4386" fmla="*/ 5996658 w 9586368"/>
              <a:gd name="connsiteY4386" fmla="*/ 3354436 h 6479439"/>
              <a:gd name="connsiteX4387" fmla="*/ 5996658 w 9586368"/>
              <a:gd name="connsiteY4387" fmla="*/ 3364306 h 6479439"/>
              <a:gd name="connsiteX4388" fmla="*/ 5992639 w 9586368"/>
              <a:gd name="connsiteY4388" fmla="*/ 3368345 h 6479439"/>
              <a:gd name="connsiteX4389" fmla="*/ 5982729 w 9586368"/>
              <a:gd name="connsiteY4389" fmla="*/ 3368345 h 6479439"/>
              <a:gd name="connsiteX4390" fmla="*/ 5978710 w 9586368"/>
              <a:gd name="connsiteY4390" fmla="*/ 3364306 h 6479439"/>
              <a:gd name="connsiteX4391" fmla="*/ 5978710 w 9586368"/>
              <a:gd name="connsiteY4391" fmla="*/ 3354436 h 6479439"/>
              <a:gd name="connsiteX4392" fmla="*/ 5743412 w 9586368"/>
              <a:gd name="connsiteY4392" fmla="*/ 3350398 h 6479439"/>
              <a:gd name="connsiteX4393" fmla="*/ 5753323 w 9586368"/>
              <a:gd name="connsiteY4393" fmla="*/ 3350398 h 6479439"/>
              <a:gd name="connsiteX4394" fmla="*/ 5757342 w 9586368"/>
              <a:gd name="connsiteY4394" fmla="*/ 3354436 h 6479439"/>
              <a:gd name="connsiteX4395" fmla="*/ 5757342 w 9586368"/>
              <a:gd name="connsiteY4395" fmla="*/ 3364306 h 6479439"/>
              <a:gd name="connsiteX4396" fmla="*/ 5753323 w 9586368"/>
              <a:gd name="connsiteY4396" fmla="*/ 3368345 h 6479439"/>
              <a:gd name="connsiteX4397" fmla="*/ 5743412 w 9586368"/>
              <a:gd name="connsiteY4397" fmla="*/ 3368345 h 6479439"/>
              <a:gd name="connsiteX4398" fmla="*/ 5739393 w 9586368"/>
              <a:gd name="connsiteY4398" fmla="*/ 3364306 h 6479439"/>
              <a:gd name="connsiteX4399" fmla="*/ 5739393 w 9586368"/>
              <a:gd name="connsiteY4399" fmla="*/ 3354436 h 6479439"/>
              <a:gd name="connsiteX4400" fmla="*/ 5504099 w 9586368"/>
              <a:gd name="connsiteY4400" fmla="*/ 3350398 h 6479439"/>
              <a:gd name="connsiteX4401" fmla="*/ 5514010 w 9586368"/>
              <a:gd name="connsiteY4401" fmla="*/ 3350398 h 6479439"/>
              <a:gd name="connsiteX4402" fmla="*/ 5518029 w 9586368"/>
              <a:gd name="connsiteY4402" fmla="*/ 3354436 h 6479439"/>
              <a:gd name="connsiteX4403" fmla="*/ 5518029 w 9586368"/>
              <a:gd name="connsiteY4403" fmla="*/ 3364306 h 6479439"/>
              <a:gd name="connsiteX4404" fmla="*/ 5514010 w 9586368"/>
              <a:gd name="connsiteY4404" fmla="*/ 3368345 h 6479439"/>
              <a:gd name="connsiteX4405" fmla="*/ 5504099 w 9586368"/>
              <a:gd name="connsiteY4405" fmla="*/ 3368345 h 6479439"/>
              <a:gd name="connsiteX4406" fmla="*/ 5500080 w 9586368"/>
              <a:gd name="connsiteY4406" fmla="*/ 3364306 h 6479439"/>
              <a:gd name="connsiteX4407" fmla="*/ 5500080 w 9586368"/>
              <a:gd name="connsiteY4407" fmla="*/ 3354436 h 6479439"/>
              <a:gd name="connsiteX4408" fmla="*/ 5264784 w 9586368"/>
              <a:gd name="connsiteY4408" fmla="*/ 3350398 h 6479439"/>
              <a:gd name="connsiteX4409" fmla="*/ 5274694 w 9586368"/>
              <a:gd name="connsiteY4409" fmla="*/ 3350398 h 6479439"/>
              <a:gd name="connsiteX4410" fmla="*/ 5278713 w 9586368"/>
              <a:gd name="connsiteY4410" fmla="*/ 3354436 h 6479439"/>
              <a:gd name="connsiteX4411" fmla="*/ 5278713 w 9586368"/>
              <a:gd name="connsiteY4411" fmla="*/ 3364306 h 6479439"/>
              <a:gd name="connsiteX4412" fmla="*/ 5274694 w 9586368"/>
              <a:gd name="connsiteY4412" fmla="*/ 3368345 h 6479439"/>
              <a:gd name="connsiteX4413" fmla="*/ 5264784 w 9586368"/>
              <a:gd name="connsiteY4413" fmla="*/ 3368345 h 6479439"/>
              <a:gd name="connsiteX4414" fmla="*/ 5260765 w 9586368"/>
              <a:gd name="connsiteY4414" fmla="*/ 3364306 h 6479439"/>
              <a:gd name="connsiteX4415" fmla="*/ 5260765 w 9586368"/>
              <a:gd name="connsiteY4415" fmla="*/ 3354436 h 6479439"/>
              <a:gd name="connsiteX4416" fmla="*/ 5025470 w 9586368"/>
              <a:gd name="connsiteY4416" fmla="*/ 3350398 h 6479439"/>
              <a:gd name="connsiteX4417" fmla="*/ 5035381 w 9586368"/>
              <a:gd name="connsiteY4417" fmla="*/ 3350398 h 6479439"/>
              <a:gd name="connsiteX4418" fmla="*/ 5039400 w 9586368"/>
              <a:gd name="connsiteY4418" fmla="*/ 3354436 h 6479439"/>
              <a:gd name="connsiteX4419" fmla="*/ 5039400 w 9586368"/>
              <a:gd name="connsiteY4419" fmla="*/ 3364306 h 6479439"/>
              <a:gd name="connsiteX4420" fmla="*/ 5035381 w 9586368"/>
              <a:gd name="connsiteY4420" fmla="*/ 3368345 h 6479439"/>
              <a:gd name="connsiteX4421" fmla="*/ 5025470 w 9586368"/>
              <a:gd name="connsiteY4421" fmla="*/ 3368345 h 6479439"/>
              <a:gd name="connsiteX4422" fmla="*/ 5021451 w 9586368"/>
              <a:gd name="connsiteY4422" fmla="*/ 3364306 h 6479439"/>
              <a:gd name="connsiteX4423" fmla="*/ 5021451 w 9586368"/>
              <a:gd name="connsiteY4423" fmla="*/ 3354436 h 6479439"/>
              <a:gd name="connsiteX4424" fmla="*/ 4786241 w 9586368"/>
              <a:gd name="connsiteY4424" fmla="*/ 3350398 h 6479439"/>
              <a:gd name="connsiteX4425" fmla="*/ 4796152 w 9586368"/>
              <a:gd name="connsiteY4425" fmla="*/ 3350398 h 6479439"/>
              <a:gd name="connsiteX4426" fmla="*/ 4800171 w 9586368"/>
              <a:gd name="connsiteY4426" fmla="*/ 3354436 h 6479439"/>
              <a:gd name="connsiteX4427" fmla="*/ 4800171 w 9586368"/>
              <a:gd name="connsiteY4427" fmla="*/ 3364306 h 6479439"/>
              <a:gd name="connsiteX4428" fmla="*/ 4796152 w 9586368"/>
              <a:gd name="connsiteY4428" fmla="*/ 3368345 h 6479439"/>
              <a:gd name="connsiteX4429" fmla="*/ 4786241 w 9586368"/>
              <a:gd name="connsiteY4429" fmla="*/ 3368345 h 6479439"/>
              <a:gd name="connsiteX4430" fmla="*/ 4782224 w 9586368"/>
              <a:gd name="connsiteY4430" fmla="*/ 3364306 h 6479439"/>
              <a:gd name="connsiteX4431" fmla="*/ 4782224 w 9586368"/>
              <a:gd name="connsiteY4431" fmla="*/ 3354436 h 6479439"/>
              <a:gd name="connsiteX4432" fmla="*/ 4546929 w 9586368"/>
              <a:gd name="connsiteY4432" fmla="*/ 3350398 h 6479439"/>
              <a:gd name="connsiteX4433" fmla="*/ 4556840 w 9586368"/>
              <a:gd name="connsiteY4433" fmla="*/ 3350398 h 6479439"/>
              <a:gd name="connsiteX4434" fmla="*/ 4560859 w 9586368"/>
              <a:gd name="connsiteY4434" fmla="*/ 3354436 h 6479439"/>
              <a:gd name="connsiteX4435" fmla="*/ 4560859 w 9586368"/>
              <a:gd name="connsiteY4435" fmla="*/ 3364306 h 6479439"/>
              <a:gd name="connsiteX4436" fmla="*/ 4556840 w 9586368"/>
              <a:gd name="connsiteY4436" fmla="*/ 3368345 h 6479439"/>
              <a:gd name="connsiteX4437" fmla="*/ 4546929 w 9586368"/>
              <a:gd name="connsiteY4437" fmla="*/ 3368345 h 6479439"/>
              <a:gd name="connsiteX4438" fmla="*/ 4542910 w 9586368"/>
              <a:gd name="connsiteY4438" fmla="*/ 3364306 h 6479439"/>
              <a:gd name="connsiteX4439" fmla="*/ 4542910 w 9586368"/>
              <a:gd name="connsiteY4439" fmla="*/ 3354436 h 6479439"/>
              <a:gd name="connsiteX4440" fmla="*/ 4307612 w 9586368"/>
              <a:gd name="connsiteY4440" fmla="*/ 3350398 h 6479439"/>
              <a:gd name="connsiteX4441" fmla="*/ 4317523 w 9586368"/>
              <a:gd name="connsiteY4441" fmla="*/ 3350398 h 6479439"/>
              <a:gd name="connsiteX4442" fmla="*/ 4321543 w 9586368"/>
              <a:gd name="connsiteY4442" fmla="*/ 3354436 h 6479439"/>
              <a:gd name="connsiteX4443" fmla="*/ 4321543 w 9586368"/>
              <a:gd name="connsiteY4443" fmla="*/ 3364306 h 6479439"/>
              <a:gd name="connsiteX4444" fmla="*/ 4317523 w 9586368"/>
              <a:gd name="connsiteY4444" fmla="*/ 3368345 h 6479439"/>
              <a:gd name="connsiteX4445" fmla="*/ 4307612 w 9586368"/>
              <a:gd name="connsiteY4445" fmla="*/ 3368345 h 6479439"/>
              <a:gd name="connsiteX4446" fmla="*/ 4303595 w 9586368"/>
              <a:gd name="connsiteY4446" fmla="*/ 3364306 h 6479439"/>
              <a:gd name="connsiteX4447" fmla="*/ 4303595 w 9586368"/>
              <a:gd name="connsiteY4447" fmla="*/ 3354436 h 6479439"/>
              <a:gd name="connsiteX4448" fmla="*/ 4068297 w 9586368"/>
              <a:gd name="connsiteY4448" fmla="*/ 3350398 h 6479439"/>
              <a:gd name="connsiteX4449" fmla="*/ 4078210 w 9586368"/>
              <a:gd name="connsiteY4449" fmla="*/ 3350398 h 6479439"/>
              <a:gd name="connsiteX4450" fmla="*/ 4082229 w 9586368"/>
              <a:gd name="connsiteY4450" fmla="*/ 3354436 h 6479439"/>
              <a:gd name="connsiteX4451" fmla="*/ 4082229 w 9586368"/>
              <a:gd name="connsiteY4451" fmla="*/ 3364306 h 6479439"/>
              <a:gd name="connsiteX4452" fmla="*/ 4078210 w 9586368"/>
              <a:gd name="connsiteY4452" fmla="*/ 3368345 h 6479439"/>
              <a:gd name="connsiteX4453" fmla="*/ 4068297 w 9586368"/>
              <a:gd name="connsiteY4453" fmla="*/ 3368345 h 6479439"/>
              <a:gd name="connsiteX4454" fmla="*/ 4064278 w 9586368"/>
              <a:gd name="connsiteY4454" fmla="*/ 3364306 h 6479439"/>
              <a:gd name="connsiteX4455" fmla="*/ 4064278 w 9586368"/>
              <a:gd name="connsiteY4455" fmla="*/ 3354436 h 6479439"/>
              <a:gd name="connsiteX4456" fmla="*/ 3828990 w 9586368"/>
              <a:gd name="connsiteY4456" fmla="*/ 3350398 h 6479439"/>
              <a:gd name="connsiteX4457" fmla="*/ 3838899 w 9586368"/>
              <a:gd name="connsiteY4457" fmla="*/ 3350398 h 6479439"/>
              <a:gd name="connsiteX4458" fmla="*/ 3842917 w 9586368"/>
              <a:gd name="connsiteY4458" fmla="*/ 3354436 h 6479439"/>
              <a:gd name="connsiteX4459" fmla="*/ 3842917 w 9586368"/>
              <a:gd name="connsiteY4459" fmla="*/ 3364306 h 6479439"/>
              <a:gd name="connsiteX4460" fmla="*/ 3838899 w 9586368"/>
              <a:gd name="connsiteY4460" fmla="*/ 3368345 h 6479439"/>
              <a:gd name="connsiteX4461" fmla="*/ 3828990 w 9586368"/>
              <a:gd name="connsiteY4461" fmla="*/ 3368345 h 6479439"/>
              <a:gd name="connsiteX4462" fmla="*/ 3824971 w 9586368"/>
              <a:gd name="connsiteY4462" fmla="*/ 3364306 h 6479439"/>
              <a:gd name="connsiteX4463" fmla="*/ 3824971 w 9586368"/>
              <a:gd name="connsiteY4463" fmla="*/ 3354436 h 6479439"/>
              <a:gd name="connsiteX4464" fmla="*/ 3589676 w 9586368"/>
              <a:gd name="connsiteY4464" fmla="*/ 3350398 h 6479439"/>
              <a:gd name="connsiteX4465" fmla="*/ 3599585 w 9586368"/>
              <a:gd name="connsiteY4465" fmla="*/ 3350398 h 6479439"/>
              <a:gd name="connsiteX4466" fmla="*/ 3603604 w 9586368"/>
              <a:gd name="connsiteY4466" fmla="*/ 3354436 h 6479439"/>
              <a:gd name="connsiteX4467" fmla="*/ 3603604 w 9586368"/>
              <a:gd name="connsiteY4467" fmla="*/ 3364306 h 6479439"/>
              <a:gd name="connsiteX4468" fmla="*/ 3599585 w 9586368"/>
              <a:gd name="connsiteY4468" fmla="*/ 3368345 h 6479439"/>
              <a:gd name="connsiteX4469" fmla="*/ 3589676 w 9586368"/>
              <a:gd name="connsiteY4469" fmla="*/ 3368345 h 6479439"/>
              <a:gd name="connsiteX4470" fmla="*/ 3585657 w 9586368"/>
              <a:gd name="connsiteY4470" fmla="*/ 3364306 h 6479439"/>
              <a:gd name="connsiteX4471" fmla="*/ 3585657 w 9586368"/>
              <a:gd name="connsiteY4471" fmla="*/ 3354436 h 6479439"/>
              <a:gd name="connsiteX4472" fmla="*/ 3350359 w 9586368"/>
              <a:gd name="connsiteY4472" fmla="*/ 3350398 h 6479439"/>
              <a:gd name="connsiteX4473" fmla="*/ 3360268 w 9586368"/>
              <a:gd name="connsiteY4473" fmla="*/ 3350398 h 6479439"/>
              <a:gd name="connsiteX4474" fmla="*/ 3364287 w 9586368"/>
              <a:gd name="connsiteY4474" fmla="*/ 3354436 h 6479439"/>
              <a:gd name="connsiteX4475" fmla="*/ 3364287 w 9586368"/>
              <a:gd name="connsiteY4475" fmla="*/ 3364306 h 6479439"/>
              <a:gd name="connsiteX4476" fmla="*/ 3360268 w 9586368"/>
              <a:gd name="connsiteY4476" fmla="*/ 3368345 h 6479439"/>
              <a:gd name="connsiteX4477" fmla="*/ 3350359 w 9586368"/>
              <a:gd name="connsiteY4477" fmla="*/ 3368345 h 6479439"/>
              <a:gd name="connsiteX4478" fmla="*/ 3346340 w 9586368"/>
              <a:gd name="connsiteY4478" fmla="*/ 3364306 h 6479439"/>
              <a:gd name="connsiteX4479" fmla="*/ 3346340 w 9586368"/>
              <a:gd name="connsiteY4479" fmla="*/ 3354436 h 6479439"/>
              <a:gd name="connsiteX4480" fmla="*/ 3111048 w 9586368"/>
              <a:gd name="connsiteY4480" fmla="*/ 3350398 h 6479439"/>
              <a:gd name="connsiteX4481" fmla="*/ 3120959 w 9586368"/>
              <a:gd name="connsiteY4481" fmla="*/ 3350398 h 6479439"/>
              <a:gd name="connsiteX4482" fmla="*/ 3124977 w 9586368"/>
              <a:gd name="connsiteY4482" fmla="*/ 3354436 h 6479439"/>
              <a:gd name="connsiteX4483" fmla="*/ 3124977 w 9586368"/>
              <a:gd name="connsiteY4483" fmla="*/ 3364306 h 6479439"/>
              <a:gd name="connsiteX4484" fmla="*/ 3120959 w 9586368"/>
              <a:gd name="connsiteY4484" fmla="*/ 3368345 h 6479439"/>
              <a:gd name="connsiteX4485" fmla="*/ 3111048 w 9586368"/>
              <a:gd name="connsiteY4485" fmla="*/ 3368345 h 6479439"/>
              <a:gd name="connsiteX4486" fmla="*/ 3107029 w 9586368"/>
              <a:gd name="connsiteY4486" fmla="*/ 3364306 h 6479439"/>
              <a:gd name="connsiteX4487" fmla="*/ 3107029 w 9586368"/>
              <a:gd name="connsiteY4487" fmla="*/ 3354436 h 6479439"/>
              <a:gd name="connsiteX4488" fmla="*/ 2871737 w 9586368"/>
              <a:gd name="connsiteY4488" fmla="*/ 3350398 h 6479439"/>
              <a:gd name="connsiteX4489" fmla="*/ 2881646 w 9586368"/>
              <a:gd name="connsiteY4489" fmla="*/ 3350398 h 6479439"/>
              <a:gd name="connsiteX4490" fmla="*/ 2885666 w 9586368"/>
              <a:gd name="connsiteY4490" fmla="*/ 3354436 h 6479439"/>
              <a:gd name="connsiteX4491" fmla="*/ 2885666 w 9586368"/>
              <a:gd name="connsiteY4491" fmla="*/ 3364306 h 6479439"/>
              <a:gd name="connsiteX4492" fmla="*/ 2881646 w 9586368"/>
              <a:gd name="connsiteY4492" fmla="*/ 3368345 h 6479439"/>
              <a:gd name="connsiteX4493" fmla="*/ 2871737 w 9586368"/>
              <a:gd name="connsiteY4493" fmla="*/ 3368345 h 6479439"/>
              <a:gd name="connsiteX4494" fmla="*/ 2867717 w 9586368"/>
              <a:gd name="connsiteY4494" fmla="*/ 3364306 h 6479439"/>
              <a:gd name="connsiteX4495" fmla="*/ 2867717 w 9586368"/>
              <a:gd name="connsiteY4495" fmla="*/ 3354436 h 6479439"/>
              <a:gd name="connsiteX4496" fmla="*/ 2632423 w 9586368"/>
              <a:gd name="connsiteY4496" fmla="*/ 3350398 h 6479439"/>
              <a:gd name="connsiteX4497" fmla="*/ 2642334 w 9586368"/>
              <a:gd name="connsiteY4497" fmla="*/ 3350398 h 6479439"/>
              <a:gd name="connsiteX4498" fmla="*/ 2646352 w 9586368"/>
              <a:gd name="connsiteY4498" fmla="*/ 3354436 h 6479439"/>
              <a:gd name="connsiteX4499" fmla="*/ 2646352 w 9586368"/>
              <a:gd name="connsiteY4499" fmla="*/ 3364306 h 6479439"/>
              <a:gd name="connsiteX4500" fmla="*/ 2642334 w 9586368"/>
              <a:gd name="connsiteY4500" fmla="*/ 3368345 h 6479439"/>
              <a:gd name="connsiteX4501" fmla="*/ 2632423 w 9586368"/>
              <a:gd name="connsiteY4501" fmla="*/ 3368345 h 6479439"/>
              <a:gd name="connsiteX4502" fmla="*/ 2628404 w 9586368"/>
              <a:gd name="connsiteY4502" fmla="*/ 3364306 h 6479439"/>
              <a:gd name="connsiteX4503" fmla="*/ 2628404 w 9586368"/>
              <a:gd name="connsiteY4503" fmla="*/ 3354436 h 6479439"/>
              <a:gd name="connsiteX4504" fmla="*/ 2393104 w 9586368"/>
              <a:gd name="connsiteY4504" fmla="*/ 3350398 h 6479439"/>
              <a:gd name="connsiteX4505" fmla="*/ 2403015 w 9586368"/>
              <a:gd name="connsiteY4505" fmla="*/ 3350398 h 6479439"/>
              <a:gd name="connsiteX4506" fmla="*/ 2407034 w 9586368"/>
              <a:gd name="connsiteY4506" fmla="*/ 3354436 h 6479439"/>
              <a:gd name="connsiteX4507" fmla="*/ 2407034 w 9586368"/>
              <a:gd name="connsiteY4507" fmla="*/ 3364306 h 6479439"/>
              <a:gd name="connsiteX4508" fmla="*/ 2403015 w 9586368"/>
              <a:gd name="connsiteY4508" fmla="*/ 3368345 h 6479439"/>
              <a:gd name="connsiteX4509" fmla="*/ 2393104 w 9586368"/>
              <a:gd name="connsiteY4509" fmla="*/ 3368345 h 6479439"/>
              <a:gd name="connsiteX4510" fmla="*/ 2389087 w 9586368"/>
              <a:gd name="connsiteY4510" fmla="*/ 3364306 h 6479439"/>
              <a:gd name="connsiteX4511" fmla="*/ 2389087 w 9586368"/>
              <a:gd name="connsiteY4511" fmla="*/ 3354436 h 6479439"/>
              <a:gd name="connsiteX4512" fmla="*/ 2157820 w 9586368"/>
              <a:gd name="connsiteY4512" fmla="*/ 3350398 h 6479439"/>
              <a:gd name="connsiteX4513" fmla="*/ 2167731 w 9586368"/>
              <a:gd name="connsiteY4513" fmla="*/ 3350398 h 6479439"/>
              <a:gd name="connsiteX4514" fmla="*/ 2171749 w 9586368"/>
              <a:gd name="connsiteY4514" fmla="*/ 3354436 h 6479439"/>
              <a:gd name="connsiteX4515" fmla="*/ 2171749 w 9586368"/>
              <a:gd name="connsiteY4515" fmla="*/ 3364306 h 6479439"/>
              <a:gd name="connsiteX4516" fmla="*/ 2167731 w 9586368"/>
              <a:gd name="connsiteY4516" fmla="*/ 3368345 h 6479439"/>
              <a:gd name="connsiteX4517" fmla="*/ 2157820 w 9586368"/>
              <a:gd name="connsiteY4517" fmla="*/ 3368345 h 6479439"/>
              <a:gd name="connsiteX4518" fmla="*/ 2153802 w 9586368"/>
              <a:gd name="connsiteY4518" fmla="*/ 3364306 h 6479439"/>
              <a:gd name="connsiteX4519" fmla="*/ 2153802 w 9586368"/>
              <a:gd name="connsiteY4519" fmla="*/ 3354436 h 6479439"/>
              <a:gd name="connsiteX4520" fmla="*/ 1918511 w 9586368"/>
              <a:gd name="connsiteY4520" fmla="*/ 3350398 h 6479439"/>
              <a:gd name="connsiteX4521" fmla="*/ 1928422 w 9586368"/>
              <a:gd name="connsiteY4521" fmla="*/ 3350398 h 6479439"/>
              <a:gd name="connsiteX4522" fmla="*/ 1932441 w 9586368"/>
              <a:gd name="connsiteY4522" fmla="*/ 3354436 h 6479439"/>
              <a:gd name="connsiteX4523" fmla="*/ 1932441 w 9586368"/>
              <a:gd name="connsiteY4523" fmla="*/ 3364306 h 6479439"/>
              <a:gd name="connsiteX4524" fmla="*/ 1928422 w 9586368"/>
              <a:gd name="connsiteY4524" fmla="*/ 3368345 h 6479439"/>
              <a:gd name="connsiteX4525" fmla="*/ 1918511 w 9586368"/>
              <a:gd name="connsiteY4525" fmla="*/ 3368345 h 6479439"/>
              <a:gd name="connsiteX4526" fmla="*/ 1914493 w 9586368"/>
              <a:gd name="connsiteY4526" fmla="*/ 3364306 h 6479439"/>
              <a:gd name="connsiteX4527" fmla="*/ 1914493 w 9586368"/>
              <a:gd name="connsiteY4527" fmla="*/ 3354436 h 6479439"/>
              <a:gd name="connsiteX4528" fmla="*/ 1679210 w 9586368"/>
              <a:gd name="connsiteY4528" fmla="*/ 3350398 h 6479439"/>
              <a:gd name="connsiteX4529" fmla="*/ 1689120 w 9586368"/>
              <a:gd name="connsiteY4529" fmla="*/ 3350398 h 6479439"/>
              <a:gd name="connsiteX4530" fmla="*/ 1693138 w 9586368"/>
              <a:gd name="connsiteY4530" fmla="*/ 3354436 h 6479439"/>
              <a:gd name="connsiteX4531" fmla="*/ 1693138 w 9586368"/>
              <a:gd name="connsiteY4531" fmla="*/ 3364306 h 6479439"/>
              <a:gd name="connsiteX4532" fmla="*/ 1689120 w 9586368"/>
              <a:gd name="connsiteY4532" fmla="*/ 3368345 h 6479439"/>
              <a:gd name="connsiteX4533" fmla="*/ 1679210 w 9586368"/>
              <a:gd name="connsiteY4533" fmla="*/ 3368345 h 6479439"/>
              <a:gd name="connsiteX4534" fmla="*/ 1675191 w 9586368"/>
              <a:gd name="connsiteY4534" fmla="*/ 3364306 h 6479439"/>
              <a:gd name="connsiteX4535" fmla="*/ 1675191 w 9586368"/>
              <a:gd name="connsiteY4535" fmla="*/ 3354436 h 6479439"/>
              <a:gd name="connsiteX4536" fmla="*/ 1439893 w 9586368"/>
              <a:gd name="connsiteY4536" fmla="*/ 3350398 h 6479439"/>
              <a:gd name="connsiteX4537" fmla="*/ 1449803 w 9586368"/>
              <a:gd name="connsiteY4537" fmla="*/ 3350398 h 6479439"/>
              <a:gd name="connsiteX4538" fmla="*/ 1453823 w 9586368"/>
              <a:gd name="connsiteY4538" fmla="*/ 3354436 h 6479439"/>
              <a:gd name="connsiteX4539" fmla="*/ 1453823 w 9586368"/>
              <a:gd name="connsiteY4539" fmla="*/ 3364306 h 6479439"/>
              <a:gd name="connsiteX4540" fmla="*/ 1449803 w 9586368"/>
              <a:gd name="connsiteY4540" fmla="*/ 3368345 h 6479439"/>
              <a:gd name="connsiteX4541" fmla="*/ 1439893 w 9586368"/>
              <a:gd name="connsiteY4541" fmla="*/ 3368345 h 6479439"/>
              <a:gd name="connsiteX4542" fmla="*/ 1435875 w 9586368"/>
              <a:gd name="connsiteY4542" fmla="*/ 3364306 h 6479439"/>
              <a:gd name="connsiteX4543" fmla="*/ 1435875 w 9586368"/>
              <a:gd name="connsiteY4543" fmla="*/ 3354436 h 6479439"/>
              <a:gd name="connsiteX4544" fmla="*/ 1200578 w 9586368"/>
              <a:gd name="connsiteY4544" fmla="*/ 3350398 h 6479439"/>
              <a:gd name="connsiteX4545" fmla="*/ 1210488 w 9586368"/>
              <a:gd name="connsiteY4545" fmla="*/ 3350398 h 6479439"/>
              <a:gd name="connsiteX4546" fmla="*/ 1214507 w 9586368"/>
              <a:gd name="connsiteY4546" fmla="*/ 3354436 h 6479439"/>
              <a:gd name="connsiteX4547" fmla="*/ 1214507 w 9586368"/>
              <a:gd name="connsiteY4547" fmla="*/ 3364306 h 6479439"/>
              <a:gd name="connsiteX4548" fmla="*/ 1210488 w 9586368"/>
              <a:gd name="connsiteY4548" fmla="*/ 3368345 h 6479439"/>
              <a:gd name="connsiteX4549" fmla="*/ 1200578 w 9586368"/>
              <a:gd name="connsiteY4549" fmla="*/ 3368345 h 6479439"/>
              <a:gd name="connsiteX4550" fmla="*/ 1196559 w 9586368"/>
              <a:gd name="connsiteY4550" fmla="*/ 3364306 h 6479439"/>
              <a:gd name="connsiteX4551" fmla="*/ 1196559 w 9586368"/>
              <a:gd name="connsiteY4551" fmla="*/ 3354436 h 6479439"/>
              <a:gd name="connsiteX4552" fmla="*/ 961265 w 9586368"/>
              <a:gd name="connsiteY4552" fmla="*/ 3350398 h 6479439"/>
              <a:gd name="connsiteX4553" fmla="*/ 971176 w 9586368"/>
              <a:gd name="connsiteY4553" fmla="*/ 3350398 h 6479439"/>
              <a:gd name="connsiteX4554" fmla="*/ 975194 w 9586368"/>
              <a:gd name="connsiteY4554" fmla="*/ 3354436 h 6479439"/>
              <a:gd name="connsiteX4555" fmla="*/ 975194 w 9586368"/>
              <a:gd name="connsiteY4555" fmla="*/ 3364306 h 6479439"/>
              <a:gd name="connsiteX4556" fmla="*/ 971176 w 9586368"/>
              <a:gd name="connsiteY4556" fmla="*/ 3368345 h 6479439"/>
              <a:gd name="connsiteX4557" fmla="*/ 961265 w 9586368"/>
              <a:gd name="connsiteY4557" fmla="*/ 3368345 h 6479439"/>
              <a:gd name="connsiteX4558" fmla="*/ 957246 w 9586368"/>
              <a:gd name="connsiteY4558" fmla="*/ 3364306 h 6479439"/>
              <a:gd name="connsiteX4559" fmla="*/ 957246 w 9586368"/>
              <a:gd name="connsiteY4559" fmla="*/ 3354436 h 6479439"/>
              <a:gd name="connsiteX4560" fmla="*/ 721967 w 9586368"/>
              <a:gd name="connsiteY4560" fmla="*/ 3350398 h 6479439"/>
              <a:gd name="connsiteX4561" fmla="*/ 731877 w 9586368"/>
              <a:gd name="connsiteY4561" fmla="*/ 3350398 h 6479439"/>
              <a:gd name="connsiteX4562" fmla="*/ 735896 w 9586368"/>
              <a:gd name="connsiteY4562" fmla="*/ 3354436 h 6479439"/>
              <a:gd name="connsiteX4563" fmla="*/ 735896 w 9586368"/>
              <a:gd name="connsiteY4563" fmla="*/ 3364306 h 6479439"/>
              <a:gd name="connsiteX4564" fmla="*/ 731877 w 9586368"/>
              <a:gd name="connsiteY4564" fmla="*/ 3368345 h 6479439"/>
              <a:gd name="connsiteX4565" fmla="*/ 721967 w 9586368"/>
              <a:gd name="connsiteY4565" fmla="*/ 3368345 h 6479439"/>
              <a:gd name="connsiteX4566" fmla="*/ 717949 w 9586368"/>
              <a:gd name="connsiteY4566" fmla="*/ 3364306 h 6479439"/>
              <a:gd name="connsiteX4567" fmla="*/ 717949 w 9586368"/>
              <a:gd name="connsiteY4567" fmla="*/ 3354436 h 6479439"/>
              <a:gd name="connsiteX4568" fmla="*/ 482655 w 9586368"/>
              <a:gd name="connsiteY4568" fmla="*/ 3350398 h 6479439"/>
              <a:gd name="connsiteX4569" fmla="*/ 492565 w 9586368"/>
              <a:gd name="connsiteY4569" fmla="*/ 3350398 h 6479439"/>
              <a:gd name="connsiteX4570" fmla="*/ 496584 w 9586368"/>
              <a:gd name="connsiteY4570" fmla="*/ 3354436 h 6479439"/>
              <a:gd name="connsiteX4571" fmla="*/ 496584 w 9586368"/>
              <a:gd name="connsiteY4571" fmla="*/ 3364306 h 6479439"/>
              <a:gd name="connsiteX4572" fmla="*/ 492565 w 9586368"/>
              <a:gd name="connsiteY4572" fmla="*/ 3368345 h 6479439"/>
              <a:gd name="connsiteX4573" fmla="*/ 482655 w 9586368"/>
              <a:gd name="connsiteY4573" fmla="*/ 3368345 h 6479439"/>
              <a:gd name="connsiteX4574" fmla="*/ 478636 w 9586368"/>
              <a:gd name="connsiteY4574" fmla="*/ 3364306 h 6479439"/>
              <a:gd name="connsiteX4575" fmla="*/ 478636 w 9586368"/>
              <a:gd name="connsiteY4575" fmla="*/ 3354436 h 6479439"/>
              <a:gd name="connsiteX4576" fmla="*/ 243341 w 9586368"/>
              <a:gd name="connsiteY4576" fmla="*/ 3350398 h 6479439"/>
              <a:gd name="connsiteX4577" fmla="*/ 253252 w 9586368"/>
              <a:gd name="connsiteY4577" fmla="*/ 3350398 h 6479439"/>
              <a:gd name="connsiteX4578" fmla="*/ 257271 w 9586368"/>
              <a:gd name="connsiteY4578" fmla="*/ 3354436 h 6479439"/>
              <a:gd name="connsiteX4579" fmla="*/ 257271 w 9586368"/>
              <a:gd name="connsiteY4579" fmla="*/ 3364306 h 6479439"/>
              <a:gd name="connsiteX4580" fmla="*/ 253252 w 9586368"/>
              <a:gd name="connsiteY4580" fmla="*/ 3368345 h 6479439"/>
              <a:gd name="connsiteX4581" fmla="*/ 243341 w 9586368"/>
              <a:gd name="connsiteY4581" fmla="*/ 3368345 h 6479439"/>
              <a:gd name="connsiteX4582" fmla="*/ 239322 w 9586368"/>
              <a:gd name="connsiteY4582" fmla="*/ 3364306 h 6479439"/>
              <a:gd name="connsiteX4583" fmla="*/ 239322 w 9586368"/>
              <a:gd name="connsiteY4583" fmla="*/ 3354436 h 6479439"/>
              <a:gd name="connsiteX4584" fmla="*/ 4029 w 9586368"/>
              <a:gd name="connsiteY4584" fmla="*/ 3350398 h 6479439"/>
              <a:gd name="connsiteX4585" fmla="*/ 13938 w 9586368"/>
              <a:gd name="connsiteY4585" fmla="*/ 3350398 h 6479439"/>
              <a:gd name="connsiteX4586" fmla="*/ 17957 w 9586368"/>
              <a:gd name="connsiteY4586" fmla="*/ 3354436 h 6479439"/>
              <a:gd name="connsiteX4587" fmla="*/ 17957 w 9586368"/>
              <a:gd name="connsiteY4587" fmla="*/ 3364306 h 6479439"/>
              <a:gd name="connsiteX4588" fmla="*/ 13938 w 9586368"/>
              <a:gd name="connsiteY4588" fmla="*/ 3368345 h 6479439"/>
              <a:gd name="connsiteX4589" fmla="*/ 4029 w 9586368"/>
              <a:gd name="connsiteY4589" fmla="*/ 3368345 h 6479439"/>
              <a:gd name="connsiteX4590" fmla="*/ 9 w 9586368"/>
              <a:gd name="connsiteY4590" fmla="*/ 3364306 h 6479439"/>
              <a:gd name="connsiteX4591" fmla="*/ 9 w 9586368"/>
              <a:gd name="connsiteY4591" fmla="*/ 3354436 h 6479439"/>
              <a:gd name="connsiteX4592" fmla="*/ 2157820 w 9586368"/>
              <a:gd name="connsiteY4592" fmla="*/ 3111118 h 6479439"/>
              <a:gd name="connsiteX4593" fmla="*/ 2167731 w 9586368"/>
              <a:gd name="connsiteY4593" fmla="*/ 3111118 h 6479439"/>
              <a:gd name="connsiteX4594" fmla="*/ 2171750 w 9586368"/>
              <a:gd name="connsiteY4594" fmla="*/ 3115157 h 6479439"/>
              <a:gd name="connsiteX4595" fmla="*/ 2171750 w 9586368"/>
              <a:gd name="connsiteY4595" fmla="*/ 3125027 h 6479439"/>
              <a:gd name="connsiteX4596" fmla="*/ 2167731 w 9586368"/>
              <a:gd name="connsiteY4596" fmla="*/ 3129066 h 6479439"/>
              <a:gd name="connsiteX4597" fmla="*/ 2157820 w 9586368"/>
              <a:gd name="connsiteY4597" fmla="*/ 3129066 h 6479439"/>
              <a:gd name="connsiteX4598" fmla="*/ 2153802 w 9586368"/>
              <a:gd name="connsiteY4598" fmla="*/ 3125027 h 6479439"/>
              <a:gd name="connsiteX4599" fmla="*/ 2153802 w 9586368"/>
              <a:gd name="connsiteY4599" fmla="*/ 3115157 h 6479439"/>
              <a:gd name="connsiteX4600" fmla="*/ 1918513 w 9586368"/>
              <a:gd name="connsiteY4600" fmla="*/ 3111118 h 6479439"/>
              <a:gd name="connsiteX4601" fmla="*/ 1928422 w 9586368"/>
              <a:gd name="connsiteY4601" fmla="*/ 3111118 h 6479439"/>
              <a:gd name="connsiteX4602" fmla="*/ 1932441 w 9586368"/>
              <a:gd name="connsiteY4602" fmla="*/ 3115157 h 6479439"/>
              <a:gd name="connsiteX4603" fmla="*/ 1932441 w 9586368"/>
              <a:gd name="connsiteY4603" fmla="*/ 3125027 h 6479439"/>
              <a:gd name="connsiteX4604" fmla="*/ 1928422 w 9586368"/>
              <a:gd name="connsiteY4604" fmla="*/ 3129066 h 6479439"/>
              <a:gd name="connsiteX4605" fmla="*/ 1918513 w 9586368"/>
              <a:gd name="connsiteY4605" fmla="*/ 3129066 h 6479439"/>
              <a:gd name="connsiteX4606" fmla="*/ 1914493 w 9586368"/>
              <a:gd name="connsiteY4606" fmla="*/ 3125027 h 6479439"/>
              <a:gd name="connsiteX4607" fmla="*/ 1914493 w 9586368"/>
              <a:gd name="connsiteY4607" fmla="*/ 3115157 h 6479439"/>
              <a:gd name="connsiteX4608" fmla="*/ 1679211 w 9586368"/>
              <a:gd name="connsiteY4608" fmla="*/ 3111118 h 6479439"/>
              <a:gd name="connsiteX4609" fmla="*/ 1689121 w 9586368"/>
              <a:gd name="connsiteY4609" fmla="*/ 3111118 h 6479439"/>
              <a:gd name="connsiteX4610" fmla="*/ 1693139 w 9586368"/>
              <a:gd name="connsiteY4610" fmla="*/ 3115157 h 6479439"/>
              <a:gd name="connsiteX4611" fmla="*/ 1693139 w 9586368"/>
              <a:gd name="connsiteY4611" fmla="*/ 3125027 h 6479439"/>
              <a:gd name="connsiteX4612" fmla="*/ 1689121 w 9586368"/>
              <a:gd name="connsiteY4612" fmla="*/ 3129066 h 6479439"/>
              <a:gd name="connsiteX4613" fmla="*/ 1679211 w 9586368"/>
              <a:gd name="connsiteY4613" fmla="*/ 3129066 h 6479439"/>
              <a:gd name="connsiteX4614" fmla="*/ 1675191 w 9586368"/>
              <a:gd name="connsiteY4614" fmla="*/ 3125027 h 6479439"/>
              <a:gd name="connsiteX4615" fmla="*/ 1675191 w 9586368"/>
              <a:gd name="connsiteY4615" fmla="*/ 3115157 h 6479439"/>
              <a:gd name="connsiteX4616" fmla="*/ 1439895 w 9586368"/>
              <a:gd name="connsiteY4616" fmla="*/ 3111118 h 6479439"/>
              <a:gd name="connsiteX4617" fmla="*/ 1449805 w 9586368"/>
              <a:gd name="connsiteY4617" fmla="*/ 3111118 h 6479439"/>
              <a:gd name="connsiteX4618" fmla="*/ 1453823 w 9586368"/>
              <a:gd name="connsiteY4618" fmla="*/ 3115157 h 6479439"/>
              <a:gd name="connsiteX4619" fmla="*/ 1453823 w 9586368"/>
              <a:gd name="connsiteY4619" fmla="*/ 3125027 h 6479439"/>
              <a:gd name="connsiteX4620" fmla="*/ 1449805 w 9586368"/>
              <a:gd name="connsiteY4620" fmla="*/ 3129066 h 6479439"/>
              <a:gd name="connsiteX4621" fmla="*/ 1439895 w 9586368"/>
              <a:gd name="connsiteY4621" fmla="*/ 3129066 h 6479439"/>
              <a:gd name="connsiteX4622" fmla="*/ 1435875 w 9586368"/>
              <a:gd name="connsiteY4622" fmla="*/ 3125027 h 6479439"/>
              <a:gd name="connsiteX4623" fmla="*/ 1435875 w 9586368"/>
              <a:gd name="connsiteY4623" fmla="*/ 3115157 h 6479439"/>
              <a:gd name="connsiteX4624" fmla="*/ 1200578 w 9586368"/>
              <a:gd name="connsiteY4624" fmla="*/ 3111118 h 6479439"/>
              <a:gd name="connsiteX4625" fmla="*/ 1210489 w 9586368"/>
              <a:gd name="connsiteY4625" fmla="*/ 3111118 h 6479439"/>
              <a:gd name="connsiteX4626" fmla="*/ 1214507 w 9586368"/>
              <a:gd name="connsiteY4626" fmla="*/ 3115157 h 6479439"/>
              <a:gd name="connsiteX4627" fmla="*/ 1214507 w 9586368"/>
              <a:gd name="connsiteY4627" fmla="*/ 3125027 h 6479439"/>
              <a:gd name="connsiteX4628" fmla="*/ 1210489 w 9586368"/>
              <a:gd name="connsiteY4628" fmla="*/ 3129066 h 6479439"/>
              <a:gd name="connsiteX4629" fmla="*/ 1200578 w 9586368"/>
              <a:gd name="connsiteY4629" fmla="*/ 3129066 h 6479439"/>
              <a:gd name="connsiteX4630" fmla="*/ 1196560 w 9586368"/>
              <a:gd name="connsiteY4630" fmla="*/ 3125027 h 6479439"/>
              <a:gd name="connsiteX4631" fmla="*/ 1196560 w 9586368"/>
              <a:gd name="connsiteY4631" fmla="*/ 3115157 h 6479439"/>
              <a:gd name="connsiteX4632" fmla="*/ 961266 w 9586368"/>
              <a:gd name="connsiteY4632" fmla="*/ 3111118 h 6479439"/>
              <a:gd name="connsiteX4633" fmla="*/ 971176 w 9586368"/>
              <a:gd name="connsiteY4633" fmla="*/ 3111118 h 6479439"/>
              <a:gd name="connsiteX4634" fmla="*/ 975195 w 9586368"/>
              <a:gd name="connsiteY4634" fmla="*/ 3115157 h 6479439"/>
              <a:gd name="connsiteX4635" fmla="*/ 975195 w 9586368"/>
              <a:gd name="connsiteY4635" fmla="*/ 3125027 h 6479439"/>
              <a:gd name="connsiteX4636" fmla="*/ 971176 w 9586368"/>
              <a:gd name="connsiteY4636" fmla="*/ 3129066 h 6479439"/>
              <a:gd name="connsiteX4637" fmla="*/ 961266 w 9586368"/>
              <a:gd name="connsiteY4637" fmla="*/ 3129066 h 6479439"/>
              <a:gd name="connsiteX4638" fmla="*/ 957247 w 9586368"/>
              <a:gd name="connsiteY4638" fmla="*/ 3125027 h 6479439"/>
              <a:gd name="connsiteX4639" fmla="*/ 957247 w 9586368"/>
              <a:gd name="connsiteY4639" fmla="*/ 3115157 h 6479439"/>
              <a:gd name="connsiteX4640" fmla="*/ 9572438 w 9586368"/>
              <a:gd name="connsiteY4640" fmla="*/ 3111067 h 6479439"/>
              <a:gd name="connsiteX4641" fmla="*/ 9582349 w 9586368"/>
              <a:gd name="connsiteY4641" fmla="*/ 3111067 h 6479439"/>
              <a:gd name="connsiteX4642" fmla="*/ 9586368 w 9586368"/>
              <a:gd name="connsiteY4642" fmla="*/ 3115105 h 6479439"/>
              <a:gd name="connsiteX4643" fmla="*/ 9586368 w 9586368"/>
              <a:gd name="connsiteY4643" fmla="*/ 3124976 h 6479439"/>
              <a:gd name="connsiteX4644" fmla="*/ 9582349 w 9586368"/>
              <a:gd name="connsiteY4644" fmla="*/ 3129015 h 6479439"/>
              <a:gd name="connsiteX4645" fmla="*/ 9572438 w 9586368"/>
              <a:gd name="connsiteY4645" fmla="*/ 3129015 h 6479439"/>
              <a:gd name="connsiteX4646" fmla="*/ 9568419 w 9586368"/>
              <a:gd name="connsiteY4646" fmla="*/ 3124976 h 6479439"/>
              <a:gd name="connsiteX4647" fmla="*/ 9568419 w 9586368"/>
              <a:gd name="connsiteY4647" fmla="*/ 3115105 h 6479439"/>
              <a:gd name="connsiteX4648" fmla="*/ 9333125 w 9586368"/>
              <a:gd name="connsiteY4648" fmla="*/ 3111067 h 6479439"/>
              <a:gd name="connsiteX4649" fmla="*/ 9343036 w 9586368"/>
              <a:gd name="connsiteY4649" fmla="*/ 3111067 h 6479439"/>
              <a:gd name="connsiteX4650" fmla="*/ 9347055 w 9586368"/>
              <a:gd name="connsiteY4650" fmla="*/ 3115105 h 6479439"/>
              <a:gd name="connsiteX4651" fmla="*/ 9347055 w 9586368"/>
              <a:gd name="connsiteY4651" fmla="*/ 3124976 h 6479439"/>
              <a:gd name="connsiteX4652" fmla="*/ 9343036 w 9586368"/>
              <a:gd name="connsiteY4652" fmla="*/ 3129015 h 6479439"/>
              <a:gd name="connsiteX4653" fmla="*/ 9333125 w 9586368"/>
              <a:gd name="connsiteY4653" fmla="*/ 3129015 h 6479439"/>
              <a:gd name="connsiteX4654" fmla="*/ 9329106 w 9586368"/>
              <a:gd name="connsiteY4654" fmla="*/ 3124976 h 6479439"/>
              <a:gd name="connsiteX4655" fmla="*/ 9329106 w 9586368"/>
              <a:gd name="connsiteY4655" fmla="*/ 3115105 h 6479439"/>
              <a:gd name="connsiteX4656" fmla="*/ 9093811 w 9586368"/>
              <a:gd name="connsiteY4656" fmla="*/ 3111067 h 6479439"/>
              <a:gd name="connsiteX4657" fmla="*/ 9103722 w 9586368"/>
              <a:gd name="connsiteY4657" fmla="*/ 3111067 h 6479439"/>
              <a:gd name="connsiteX4658" fmla="*/ 9107741 w 9586368"/>
              <a:gd name="connsiteY4658" fmla="*/ 3115105 h 6479439"/>
              <a:gd name="connsiteX4659" fmla="*/ 9107741 w 9586368"/>
              <a:gd name="connsiteY4659" fmla="*/ 3124976 h 6479439"/>
              <a:gd name="connsiteX4660" fmla="*/ 9103722 w 9586368"/>
              <a:gd name="connsiteY4660" fmla="*/ 3129015 h 6479439"/>
              <a:gd name="connsiteX4661" fmla="*/ 9093811 w 9586368"/>
              <a:gd name="connsiteY4661" fmla="*/ 3129015 h 6479439"/>
              <a:gd name="connsiteX4662" fmla="*/ 9089792 w 9586368"/>
              <a:gd name="connsiteY4662" fmla="*/ 3124976 h 6479439"/>
              <a:gd name="connsiteX4663" fmla="*/ 9089792 w 9586368"/>
              <a:gd name="connsiteY4663" fmla="*/ 3115105 h 6479439"/>
              <a:gd name="connsiteX4664" fmla="*/ 8854496 w 9586368"/>
              <a:gd name="connsiteY4664" fmla="*/ 3111067 h 6479439"/>
              <a:gd name="connsiteX4665" fmla="*/ 8864407 w 9586368"/>
              <a:gd name="connsiteY4665" fmla="*/ 3111067 h 6479439"/>
              <a:gd name="connsiteX4666" fmla="*/ 8868426 w 9586368"/>
              <a:gd name="connsiteY4666" fmla="*/ 3115105 h 6479439"/>
              <a:gd name="connsiteX4667" fmla="*/ 8868426 w 9586368"/>
              <a:gd name="connsiteY4667" fmla="*/ 3124976 h 6479439"/>
              <a:gd name="connsiteX4668" fmla="*/ 8864407 w 9586368"/>
              <a:gd name="connsiteY4668" fmla="*/ 3129015 h 6479439"/>
              <a:gd name="connsiteX4669" fmla="*/ 8854496 w 9586368"/>
              <a:gd name="connsiteY4669" fmla="*/ 3129015 h 6479439"/>
              <a:gd name="connsiteX4670" fmla="*/ 8850477 w 9586368"/>
              <a:gd name="connsiteY4670" fmla="*/ 3124976 h 6479439"/>
              <a:gd name="connsiteX4671" fmla="*/ 8850477 w 9586368"/>
              <a:gd name="connsiteY4671" fmla="*/ 3115105 h 6479439"/>
              <a:gd name="connsiteX4672" fmla="*/ 8615184 w 9586368"/>
              <a:gd name="connsiteY4672" fmla="*/ 3111067 h 6479439"/>
              <a:gd name="connsiteX4673" fmla="*/ 8625095 w 9586368"/>
              <a:gd name="connsiteY4673" fmla="*/ 3111067 h 6479439"/>
              <a:gd name="connsiteX4674" fmla="*/ 8629114 w 9586368"/>
              <a:gd name="connsiteY4674" fmla="*/ 3115105 h 6479439"/>
              <a:gd name="connsiteX4675" fmla="*/ 8629114 w 9586368"/>
              <a:gd name="connsiteY4675" fmla="*/ 3124976 h 6479439"/>
              <a:gd name="connsiteX4676" fmla="*/ 8625095 w 9586368"/>
              <a:gd name="connsiteY4676" fmla="*/ 3129015 h 6479439"/>
              <a:gd name="connsiteX4677" fmla="*/ 8615184 w 9586368"/>
              <a:gd name="connsiteY4677" fmla="*/ 3129015 h 6479439"/>
              <a:gd name="connsiteX4678" fmla="*/ 8611165 w 9586368"/>
              <a:gd name="connsiteY4678" fmla="*/ 3124976 h 6479439"/>
              <a:gd name="connsiteX4679" fmla="*/ 8611165 w 9586368"/>
              <a:gd name="connsiteY4679" fmla="*/ 3115105 h 6479439"/>
              <a:gd name="connsiteX4680" fmla="*/ 8375869 w 9586368"/>
              <a:gd name="connsiteY4680" fmla="*/ 3111067 h 6479439"/>
              <a:gd name="connsiteX4681" fmla="*/ 8385779 w 9586368"/>
              <a:gd name="connsiteY4681" fmla="*/ 3111067 h 6479439"/>
              <a:gd name="connsiteX4682" fmla="*/ 8389799 w 9586368"/>
              <a:gd name="connsiteY4682" fmla="*/ 3115105 h 6479439"/>
              <a:gd name="connsiteX4683" fmla="*/ 8389799 w 9586368"/>
              <a:gd name="connsiteY4683" fmla="*/ 3124976 h 6479439"/>
              <a:gd name="connsiteX4684" fmla="*/ 8385779 w 9586368"/>
              <a:gd name="connsiteY4684" fmla="*/ 3129015 h 6479439"/>
              <a:gd name="connsiteX4685" fmla="*/ 8375869 w 9586368"/>
              <a:gd name="connsiteY4685" fmla="*/ 3129015 h 6479439"/>
              <a:gd name="connsiteX4686" fmla="*/ 8371850 w 9586368"/>
              <a:gd name="connsiteY4686" fmla="*/ 3124976 h 6479439"/>
              <a:gd name="connsiteX4687" fmla="*/ 8371850 w 9586368"/>
              <a:gd name="connsiteY4687" fmla="*/ 3115105 h 6479439"/>
              <a:gd name="connsiteX4688" fmla="*/ 8136553 w 9586368"/>
              <a:gd name="connsiteY4688" fmla="*/ 3111067 h 6479439"/>
              <a:gd name="connsiteX4689" fmla="*/ 8146464 w 9586368"/>
              <a:gd name="connsiteY4689" fmla="*/ 3111067 h 6479439"/>
              <a:gd name="connsiteX4690" fmla="*/ 8150483 w 9586368"/>
              <a:gd name="connsiteY4690" fmla="*/ 3115105 h 6479439"/>
              <a:gd name="connsiteX4691" fmla="*/ 8150483 w 9586368"/>
              <a:gd name="connsiteY4691" fmla="*/ 3124976 h 6479439"/>
              <a:gd name="connsiteX4692" fmla="*/ 8146464 w 9586368"/>
              <a:gd name="connsiteY4692" fmla="*/ 3129015 h 6479439"/>
              <a:gd name="connsiteX4693" fmla="*/ 8136553 w 9586368"/>
              <a:gd name="connsiteY4693" fmla="*/ 3129015 h 6479439"/>
              <a:gd name="connsiteX4694" fmla="*/ 8132534 w 9586368"/>
              <a:gd name="connsiteY4694" fmla="*/ 3124976 h 6479439"/>
              <a:gd name="connsiteX4695" fmla="*/ 8132534 w 9586368"/>
              <a:gd name="connsiteY4695" fmla="*/ 3115105 h 6479439"/>
              <a:gd name="connsiteX4696" fmla="*/ 7897241 w 9586368"/>
              <a:gd name="connsiteY4696" fmla="*/ 3111067 h 6479439"/>
              <a:gd name="connsiteX4697" fmla="*/ 7907151 w 9586368"/>
              <a:gd name="connsiteY4697" fmla="*/ 3111067 h 6479439"/>
              <a:gd name="connsiteX4698" fmla="*/ 7911170 w 9586368"/>
              <a:gd name="connsiteY4698" fmla="*/ 3115105 h 6479439"/>
              <a:gd name="connsiteX4699" fmla="*/ 7911170 w 9586368"/>
              <a:gd name="connsiteY4699" fmla="*/ 3124976 h 6479439"/>
              <a:gd name="connsiteX4700" fmla="*/ 7907151 w 9586368"/>
              <a:gd name="connsiteY4700" fmla="*/ 3129015 h 6479439"/>
              <a:gd name="connsiteX4701" fmla="*/ 7897241 w 9586368"/>
              <a:gd name="connsiteY4701" fmla="*/ 3129015 h 6479439"/>
              <a:gd name="connsiteX4702" fmla="*/ 7893222 w 9586368"/>
              <a:gd name="connsiteY4702" fmla="*/ 3124976 h 6479439"/>
              <a:gd name="connsiteX4703" fmla="*/ 7893222 w 9586368"/>
              <a:gd name="connsiteY4703" fmla="*/ 3115105 h 6479439"/>
              <a:gd name="connsiteX4704" fmla="*/ 7657926 w 9586368"/>
              <a:gd name="connsiteY4704" fmla="*/ 3111067 h 6479439"/>
              <a:gd name="connsiteX4705" fmla="*/ 7667836 w 9586368"/>
              <a:gd name="connsiteY4705" fmla="*/ 3111067 h 6479439"/>
              <a:gd name="connsiteX4706" fmla="*/ 7671855 w 9586368"/>
              <a:gd name="connsiteY4706" fmla="*/ 3115105 h 6479439"/>
              <a:gd name="connsiteX4707" fmla="*/ 7671855 w 9586368"/>
              <a:gd name="connsiteY4707" fmla="*/ 3124976 h 6479439"/>
              <a:gd name="connsiteX4708" fmla="*/ 7667836 w 9586368"/>
              <a:gd name="connsiteY4708" fmla="*/ 3129015 h 6479439"/>
              <a:gd name="connsiteX4709" fmla="*/ 7657926 w 9586368"/>
              <a:gd name="connsiteY4709" fmla="*/ 3129015 h 6479439"/>
              <a:gd name="connsiteX4710" fmla="*/ 7653906 w 9586368"/>
              <a:gd name="connsiteY4710" fmla="*/ 3124976 h 6479439"/>
              <a:gd name="connsiteX4711" fmla="*/ 7653906 w 9586368"/>
              <a:gd name="connsiteY4711" fmla="*/ 3115105 h 6479439"/>
              <a:gd name="connsiteX4712" fmla="*/ 7418611 w 9586368"/>
              <a:gd name="connsiteY4712" fmla="*/ 3111067 h 6479439"/>
              <a:gd name="connsiteX4713" fmla="*/ 7428521 w 9586368"/>
              <a:gd name="connsiteY4713" fmla="*/ 3111067 h 6479439"/>
              <a:gd name="connsiteX4714" fmla="*/ 7432540 w 9586368"/>
              <a:gd name="connsiteY4714" fmla="*/ 3115105 h 6479439"/>
              <a:gd name="connsiteX4715" fmla="*/ 7432540 w 9586368"/>
              <a:gd name="connsiteY4715" fmla="*/ 3124976 h 6479439"/>
              <a:gd name="connsiteX4716" fmla="*/ 7428521 w 9586368"/>
              <a:gd name="connsiteY4716" fmla="*/ 3129015 h 6479439"/>
              <a:gd name="connsiteX4717" fmla="*/ 7418611 w 9586368"/>
              <a:gd name="connsiteY4717" fmla="*/ 3129015 h 6479439"/>
              <a:gd name="connsiteX4718" fmla="*/ 7414592 w 9586368"/>
              <a:gd name="connsiteY4718" fmla="*/ 3124976 h 6479439"/>
              <a:gd name="connsiteX4719" fmla="*/ 7414592 w 9586368"/>
              <a:gd name="connsiteY4719" fmla="*/ 3115105 h 6479439"/>
              <a:gd name="connsiteX4720" fmla="*/ 7179298 w 9586368"/>
              <a:gd name="connsiteY4720" fmla="*/ 3111067 h 6479439"/>
              <a:gd name="connsiteX4721" fmla="*/ 7189209 w 9586368"/>
              <a:gd name="connsiteY4721" fmla="*/ 3111067 h 6479439"/>
              <a:gd name="connsiteX4722" fmla="*/ 7193228 w 9586368"/>
              <a:gd name="connsiteY4722" fmla="*/ 3115105 h 6479439"/>
              <a:gd name="connsiteX4723" fmla="*/ 7193228 w 9586368"/>
              <a:gd name="connsiteY4723" fmla="*/ 3124976 h 6479439"/>
              <a:gd name="connsiteX4724" fmla="*/ 7189209 w 9586368"/>
              <a:gd name="connsiteY4724" fmla="*/ 3129015 h 6479439"/>
              <a:gd name="connsiteX4725" fmla="*/ 7179298 w 9586368"/>
              <a:gd name="connsiteY4725" fmla="*/ 3129015 h 6479439"/>
              <a:gd name="connsiteX4726" fmla="*/ 7175279 w 9586368"/>
              <a:gd name="connsiteY4726" fmla="*/ 3124976 h 6479439"/>
              <a:gd name="connsiteX4727" fmla="*/ 7175279 w 9586368"/>
              <a:gd name="connsiteY4727" fmla="*/ 3115105 h 6479439"/>
              <a:gd name="connsiteX4728" fmla="*/ 6939983 w 9586368"/>
              <a:gd name="connsiteY4728" fmla="*/ 3111067 h 6479439"/>
              <a:gd name="connsiteX4729" fmla="*/ 6949894 w 9586368"/>
              <a:gd name="connsiteY4729" fmla="*/ 3111067 h 6479439"/>
              <a:gd name="connsiteX4730" fmla="*/ 6953913 w 9586368"/>
              <a:gd name="connsiteY4730" fmla="*/ 3115105 h 6479439"/>
              <a:gd name="connsiteX4731" fmla="*/ 6953913 w 9586368"/>
              <a:gd name="connsiteY4731" fmla="*/ 3124976 h 6479439"/>
              <a:gd name="connsiteX4732" fmla="*/ 6949894 w 9586368"/>
              <a:gd name="connsiteY4732" fmla="*/ 3129015 h 6479439"/>
              <a:gd name="connsiteX4733" fmla="*/ 6939983 w 9586368"/>
              <a:gd name="connsiteY4733" fmla="*/ 3129015 h 6479439"/>
              <a:gd name="connsiteX4734" fmla="*/ 6935964 w 9586368"/>
              <a:gd name="connsiteY4734" fmla="*/ 3124976 h 6479439"/>
              <a:gd name="connsiteX4735" fmla="*/ 6935964 w 9586368"/>
              <a:gd name="connsiteY4735" fmla="*/ 3115105 h 6479439"/>
              <a:gd name="connsiteX4736" fmla="*/ 6700670 w 9586368"/>
              <a:gd name="connsiteY4736" fmla="*/ 3111067 h 6479439"/>
              <a:gd name="connsiteX4737" fmla="*/ 6710581 w 9586368"/>
              <a:gd name="connsiteY4737" fmla="*/ 3111067 h 6479439"/>
              <a:gd name="connsiteX4738" fmla="*/ 6714600 w 9586368"/>
              <a:gd name="connsiteY4738" fmla="*/ 3115105 h 6479439"/>
              <a:gd name="connsiteX4739" fmla="*/ 6714600 w 9586368"/>
              <a:gd name="connsiteY4739" fmla="*/ 3124976 h 6479439"/>
              <a:gd name="connsiteX4740" fmla="*/ 6710581 w 9586368"/>
              <a:gd name="connsiteY4740" fmla="*/ 3129015 h 6479439"/>
              <a:gd name="connsiteX4741" fmla="*/ 6700670 w 9586368"/>
              <a:gd name="connsiteY4741" fmla="*/ 3129015 h 6479439"/>
              <a:gd name="connsiteX4742" fmla="*/ 6696651 w 9586368"/>
              <a:gd name="connsiteY4742" fmla="*/ 3124976 h 6479439"/>
              <a:gd name="connsiteX4743" fmla="*/ 6696651 w 9586368"/>
              <a:gd name="connsiteY4743" fmla="*/ 3115105 h 6479439"/>
              <a:gd name="connsiteX4744" fmla="*/ 6461356 w 9586368"/>
              <a:gd name="connsiteY4744" fmla="*/ 3111067 h 6479439"/>
              <a:gd name="connsiteX4745" fmla="*/ 6471266 w 9586368"/>
              <a:gd name="connsiteY4745" fmla="*/ 3111067 h 6479439"/>
              <a:gd name="connsiteX4746" fmla="*/ 6475285 w 9586368"/>
              <a:gd name="connsiteY4746" fmla="*/ 3115105 h 6479439"/>
              <a:gd name="connsiteX4747" fmla="*/ 6475285 w 9586368"/>
              <a:gd name="connsiteY4747" fmla="*/ 3124976 h 6479439"/>
              <a:gd name="connsiteX4748" fmla="*/ 6471266 w 9586368"/>
              <a:gd name="connsiteY4748" fmla="*/ 3129015 h 6479439"/>
              <a:gd name="connsiteX4749" fmla="*/ 6461356 w 9586368"/>
              <a:gd name="connsiteY4749" fmla="*/ 3129015 h 6479439"/>
              <a:gd name="connsiteX4750" fmla="*/ 6457337 w 9586368"/>
              <a:gd name="connsiteY4750" fmla="*/ 3124976 h 6479439"/>
              <a:gd name="connsiteX4751" fmla="*/ 6457337 w 9586368"/>
              <a:gd name="connsiteY4751" fmla="*/ 3115105 h 6479439"/>
              <a:gd name="connsiteX4752" fmla="*/ 6222042 w 9586368"/>
              <a:gd name="connsiteY4752" fmla="*/ 3111067 h 6479439"/>
              <a:gd name="connsiteX4753" fmla="*/ 6231952 w 9586368"/>
              <a:gd name="connsiteY4753" fmla="*/ 3111067 h 6479439"/>
              <a:gd name="connsiteX4754" fmla="*/ 6235971 w 9586368"/>
              <a:gd name="connsiteY4754" fmla="*/ 3115105 h 6479439"/>
              <a:gd name="connsiteX4755" fmla="*/ 6235971 w 9586368"/>
              <a:gd name="connsiteY4755" fmla="*/ 3124976 h 6479439"/>
              <a:gd name="connsiteX4756" fmla="*/ 6231952 w 9586368"/>
              <a:gd name="connsiteY4756" fmla="*/ 3129015 h 6479439"/>
              <a:gd name="connsiteX4757" fmla="*/ 6222042 w 9586368"/>
              <a:gd name="connsiteY4757" fmla="*/ 3129015 h 6479439"/>
              <a:gd name="connsiteX4758" fmla="*/ 6218023 w 9586368"/>
              <a:gd name="connsiteY4758" fmla="*/ 3124976 h 6479439"/>
              <a:gd name="connsiteX4759" fmla="*/ 6218023 w 9586368"/>
              <a:gd name="connsiteY4759" fmla="*/ 3115105 h 6479439"/>
              <a:gd name="connsiteX4760" fmla="*/ 5982729 w 9586368"/>
              <a:gd name="connsiteY4760" fmla="*/ 3111067 h 6479439"/>
              <a:gd name="connsiteX4761" fmla="*/ 5992639 w 9586368"/>
              <a:gd name="connsiteY4761" fmla="*/ 3111067 h 6479439"/>
              <a:gd name="connsiteX4762" fmla="*/ 5996658 w 9586368"/>
              <a:gd name="connsiteY4762" fmla="*/ 3115105 h 6479439"/>
              <a:gd name="connsiteX4763" fmla="*/ 5996658 w 9586368"/>
              <a:gd name="connsiteY4763" fmla="*/ 3124976 h 6479439"/>
              <a:gd name="connsiteX4764" fmla="*/ 5992639 w 9586368"/>
              <a:gd name="connsiteY4764" fmla="*/ 3129015 h 6479439"/>
              <a:gd name="connsiteX4765" fmla="*/ 5982729 w 9586368"/>
              <a:gd name="connsiteY4765" fmla="*/ 3129015 h 6479439"/>
              <a:gd name="connsiteX4766" fmla="*/ 5978710 w 9586368"/>
              <a:gd name="connsiteY4766" fmla="*/ 3124976 h 6479439"/>
              <a:gd name="connsiteX4767" fmla="*/ 5978710 w 9586368"/>
              <a:gd name="connsiteY4767" fmla="*/ 3115105 h 6479439"/>
              <a:gd name="connsiteX4768" fmla="*/ 5743412 w 9586368"/>
              <a:gd name="connsiteY4768" fmla="*/ 3111067 h 6479439"/>
              <a:gd name="connsiteX4769" fmla="*/ 5753323 w 9586368"/>
              <a:gd name="connsiteY4769" fmla="*/ 3111067 h 6479439"/>
              <a:gd name="connsiteX4770" fmla="*/ 5757342 w 9586368"/>
              <a:gd name="connsiteY4770" fmla="*/ 3115105 h 6479439"/>
              <a:gd name="connsiteX4771" fmla="*/ 5757342 w 9586368"/>
              <a:gd name="connsiteY4771" fmla="*/ 3124976 h 6479439"/>
              <a:gd name="connsiteX4772" fmla="*/ 5753323 w 9586368"/>
              <a:gd name="connsiteY4772" fmla="*/ 3129015 h 6479439"/>
              <a:gd name="connsiteX4773" fmla="*/ 5743412 w 9586368"/>
              <a:gd name="connsiteY4773" fmla="*/ 3129015 h 6479439"/>
              <a:gd name="connsiteX4774" fmla="*/ 5739393 w 9586368"/>
              <a:gd name="connsiteY4774" fmla="*/ 3124976 h 6479439"/>
              <a:gd name="connsiteX4775" fmla="*/ 5739393 w 9586368"/>
              <a:gd name="connsiteY4775" fmla="*/ 3115105 h 6479439"/>
              <a:gd name="connsiteX4776" fmla="*/ 5504099 w 9586368"/>
              <a:gd name="connsiteY4776" fmla="*/ 3111067 h 6479439"/>
              <a:gd name="connsiteX4777" fmla="*/ 5514010 w 9586368"/>
              <a:gd name="connsiteY4777" fmla="*/ 3111067 h 6479439"/>
              <a:gd name="connsiteX4778" fmla="*/ 5518029 w 9586368"/>
              <a:gd name="connsiteY4778" fmla="*/ 3115105 h 6479439"/>
              <a:gd name="connsiteX4779" fmla="*/ 5518029 w 9586368"/>
              <a:gd name="connsiteY4779" fmla="*/ 3124976 h 6479439"/>
              <a:gd name="connsiteX4780" fmla="*/ 5514010 w 9586368"/>
              <a:gd name="connsiteY4780" fmla="*/ 3129015 h 6479439"/>
              <a:gd name="connsiteX4781" fmla="*/ 5504099 w 9586368"/>
              <a:gd name="connsiteY4781" fmla="*/ 3129015 h 6479439"/>
              <a:gd name="connsiteX4782" fmla="*/ 5500080 w 9586368"/>
              <a:gd name="connsiteY4782" fmla="*/ 3124976 h 6479439"/>
              <a:gd name="connsiteX4783" fmla="*/ 5500080 w 9586368"/>
              <a:gd name="connsiteY4783" fmla="*/ 3115105 h 6479439"/>
              <a:gd name="connsiteX4784" fmla="*/ 5264784 w 9586368"/>
              <a:gd name="connsiteY4784" fmla="*/ 3111067 h 6479439"/>
              <a:gd name="connsiteX4785" fmla="*/ 5274694 w 9586368"/>
              <a:gd name="connsiteY4785" fmla="*/ 3111067 h 6479439"/>
              <a:gd name="connsiteX4786" fmla="*/ 5278713 w 9586368"/>
              <a:gd name="connsiteY4786" fmla="*/ 3115105 h 6479439"/>
              <a:gd name="connsiteX4787" fmla="*/ 5278713 w 9586368"/>
              <a:gd name="connsiteY4787" fmla="*/ 3124976 h 6479439"/>
              <a:gd name="connsiteX4788" fmla="*/ 5274694 w 9586368"/>
              <a:gd name="connsiteY4788" fmla="*/ 3129015 h 6479439"/>
              <a:gd name="connsiteX4789" fmla="*/ 5264784 w 9586368"/>
              <a:gd name="connsiteY4789" fmla="*/ 3129015 h 6479439"/>
              <a:gd name="connsiteX4790" fmla="*/ 5260765 w 9586368"/>
              <a:gd name="connsiteY4790" fmla="*/ 3124976 h 6479439"/>
              <a:gd name="connsiteX4791" fmla="*/ 5260765 w 9586368"/>
              <a:gd name="connsiteY4791" fmla="*/ 3115105 h 6479439"/>
              <a:gd name="connsiteX4792" fmla="*/ 5025470 w 9586368"/>
              <a:gd name="connsiteY4792" fmla="*/ 3111067 h 6479439"/>
              <a:gd name="connsiteX4793" fmla="*/ 5035381 w 9586368"/>
              <a:gd name="connsiteY4793" fmla="*/ 3111067 h 6479439"/>
              <a:gd name="connsiteX4794" fmla="*/ 5039400 w 9586368"/>
              <a:gd name="connsiteY4794" fmla="*/ 3115105 h 6479439"/>
              <a:gd name="connsiteX4795" fmla="*/ 5039400 w 9586368"/>
              <a:gd name="connsiteY4795" fmla="*/ 3124976 h 6479439"/>
              <a:gd name="connsiteX4796" fmla="*/ 5035381 w 9586368"/>
              <a:gd name="connsiteY4796" fmla="*/ 3129015 h 6479439"/>
              <a:gd name="connsiteX4797" fmla="*/ 5025470 w 9586368"/>
              <a:gd name="connsiteY4797" fmla="*/ 3129015 h 6479439"/>
              <a:gd name="connsiteX4798" fmla="*/ 5021451 w 9586368"/>
              <a:gd name="connsiteY4798" fmla="*/ 3124976 h 6479439"/>
              <a:gd name="connsiteX4799" fmla="*/ 5021451 w 9586368"/>
              <a:gd name="connsiteY4799" fmla="*/ 3115105 h 6479439"/>
              <a:gd name="connsiteX4800" fmla="*/ 4786241 w 9586368"/>
              <a:gd name="connsiteY4800" fmla="*/ 3111067 h 6479439"/>
              <a:gd name="connsiteX4801" fmla="*/ 4796152 w 9586368"/>
              <a:gd name="connsiteY4801" fmla="*/ 3111067 h 6479439"/>
              <a:gd name="connsiteX4802" fmla="*/ 4800171 w 9586368"/>
              <a:gd name="connsiteY4802" fmla="*/ 3115105 h 6479439"/>
              <a:gd name="connsiteX4803" fmla="*/ 4800171 w 9586368"/>
              <a:gd name="connsiteY4803" fmla="*/ 3124976 h 6479439"/>
              <a:gd name="connsiteX4804" fmla="*/ 4796152 w 9586368"/>
              <a:gd name="connsiteY4804" fmla="*/ 3129015 h 6479439"/>
              <a:gd name="connsiteX4805" fmla="*/ 4786241 w 9586368"/>
              <a:gd name="connsiteY4805" fmla="*/ 3129015 h 6479439"/>
              <a:gd name="connsiteX4806" fmla="*/ 4782224 w 9586368"/>
              <a:gd name="connsiteY4806" fmla="*/ 3124976 h 6479439"/>
              <a:gd name="connsiteX4807" fmla="*/ 4782224 w 9586368"/>
              <a:gd name="connsiteY4807" fmla="*/ 3115105 h 6479439"/>
              <a:gd name="connsiteX4808" fmla="*/ 4546929 w 9586368"/>
              <a:gd name="connsiteY4808" fmla="*/ 3111067 h 6479439"/>
              <a:gd name="connsiteX4809" fmla="*/ 4556840 w 9586368"/>
              <a:gd name="connsiteY4809" fmla="*/ 3111067 h 6479439"/>
              <a:gd name="connsiteX4810" fmla="*/ 4560859 w 9586368"/>
              <a:gd name="connsiteY4810" fmla="*/ 3115105 h 6479439"/>
              <a:gd name="connsiteX4811" fmla="*/ 4560859 w 9586368"/>
              <a:gd name="connsiteY4811" fmla="*/ 3124976 h 6479439"/>
              <a:gd name="connsiteX4812" fmla="*/ 4556840 w 9586368"/>
              <a:gd name="connsiteY4812" fmla="*/ 3129015 h 6479439"/>
              <a:gd name="connsiteX4813" fmla="*/ 4546929 w 9586368"/>
              <a:gd name="connsiteY4813" fmla="*/ 3129015 h 6479439"/>
              <a:gd name="connsiteX4814" fmla="*/ 4542910 w 9586368"/>
              <a:gd name="connsiteY4814" fmla="*/ 3124976 h 6479439"/>
              <a:gd name="connsiteX4815" fmla="*/ 4542910 w 9586368"/>
              <a:gd name="connsiteY4815" fmla="*/ 3115105 h 6479439"/>
              <a:gd name="connsiteX4816" fmla="*/ 4307612 w 9586368"/>
              <a:gd name="connsiteY4816" fmla="*/ 3111067 h 6479439"/>
              <a:gd name="connsiteX4817" fmla="*/ 4317523 w 9586368"/>
              <a:gd name="connsiteY4817" fmla="*/ 3111067 h 6479439"/>
              <a:gd name="connsiteX4818" fmla="*/ 4321543 w 9586368"/>
              <a:gd name="connsiteY4818" fmla="*/ 3115105 h 6479439"/>
              <a:gd name="connsiteX4819" fmla="*/ 4321543 w 9586368"/>
              <a:gd name="connsiteY4819" fmla="*/ 3124976 h 6479439"/>
              <a:gd name="connsiteX4820" fmla="*/ 4317523 w 9586368"/>
              <a:gd name="connsiteY4820" fmla="*/ 3129015 h 6479439"/>
              <a:gd name="connsiteX4821" fmla="*/ 4307612 w 9586368"/>
              <a:gd name="connsiteY4821" fmla="*/ 3129015 h 6479439"/>
              <a:gd name="connsiteX4822" fmla="*/ 4303595 w 9586368"/>
              <a:gd name="connsiteY4822" fmla="*/ 3124976 h 6479439"/>
              <a:gd name="connsiteX4823" fmla="*/ 4303595 w 9586368"/>
              <a:gd name="connsiteY4823" fmla="*/ 3115105 h 6479439"/>
              <a:gd name="connsiteX4824" fmla="*/ 4068297 w 9586368"/>
              <a:gd name="connsiteY4824" fmla="*/ 3111067 h 6479439"/>
              <a:gd name="connsiteX4825" fmla="*/ 4078210 w 9586368"/>
              <a:gd name="connsiteY4825" fmla="*/ 3111067 h 6479439"/>
              <a:gd name="connsiteX4826" fmla="*/ 4082229 w 9586368"/>
              <a:gd name="connsiteY4826" fmla="*/ 3115105 h 6479439"/>
              <a:gd name="connsiteX4827" fmla="*/ 4082229 w 9586368"/>
              <a:gd name="connsiteY4827" fmla="*/ 3124976 h 6479439"/>
              <a:gd name="connsiteX4828" fmla="*/ 4078210 w 9586368"/>
              <a:gd name="connsiteY4828" fmla="*/ 3129015 h 6479439"/>
              <a:gd name="connsiteX4829" fmla="*/ 4068297 w 9586368"/>
              <a:gd name="connsiteY4829" fmla="*/ 3129015 h 6479439"/>
              <a:gd name="connsiteX4830" fmla="*/ 4064278 w 9586368"/>
              <a:gd name="connsiteY4830" fmla="*/ 3124976 h 6479439"/>
              <a:gd name="connsiteX4831" fmla="*/ 4064278 w 9586368"/>
              <a:gd name="connsiteY4831" fmla="*/ 3115105 h 6479439"/>
              <a:gd name="connsiteX4832" fmla="*/ 3828990 w 9586368"/>
              <a:gd name="connsiteY4832" fmla="*/ 3111067 h 6479439"/>
              <a:gd name="connsiteX4833" fmla="*/ 3838899 w 9586368"/>
              <a:gd name="connsiteY4833" fmla="*/ 3111067 h 6479439"/>
              <a:gd name="connsiteX4834" fmla="*/ 3842917 w 9586368"/>
              <a:gd name="connsiteY4834" fmla="*/ 3115105 h 6479439"/>
              <a:gd name="connsiteX4835" fmla="*/ 3842917 w 9586368"/>
              <a:gd name="connsiteY4835" fmla="*/ 3124976 h 6479439"/>
              <a:gd name="connsiteX4836" fmla="*/ 3838899 w 9586368"/>
              <a:gd name="connsiteY4836" fmla="*/ 3129015 h 6479439"/>
              <a:gd name="connsiteX4837" fmla="*/ 3828990 w 9586368"/>
              <a:gd name="connsiteY4837" fmla="*/ 3129015 h 6479439"/>
              <a:gd name="connsiteX4838" fmla="*/ 3824971 w 9586368"/>
              <a:gd name="connsiteY4838" fmla="*/ 3124976 h 6479439"/>
              <a:gd name="connsiteX4839" fmla="*/ 3824971 w 9586368"/>
              <a:gd name="connsiteY4839" fmla="*/ 3115105 h 6479439"/>
              <a:gd name="connsiteX4840" fmla="*/ 3589676 w 9586368"/>
              <a:gd name="connsiteY4840" fmla="*/ 3111067 h 6479439"/>
              <a:gd name="connsiteX4841" fmla="*/ 3599585 w 9586368"/>
              <a:gd name="connsiteY4841" fmla="*/ 3111067 h 6479439"/>
              <a:gd name="connsiteX4842" fmla="*/ 3603604 w 9586368"/>
              <a:gd name="connsiteY4842" fmla="*/ 3115105 h 6479439"/>
              <a:gd name="connsiteX4843" fmla="*/ 3603604 w 9586368"/>
              <a:gd name="connsiteY4843" fmla="*/ 3124976 h 6479439"/>
              <a:gd name="connsiteX4844" fmla="*/ 3599585 w 9586368"/>
              <a:gd name="connsiteY4844" fmla="*/ 3129015 h 6479439"/>
              <a:gd name="connsiteX4845" fmla="*/ 3589676 w 9586368"/>
              <a:gd name="connsiteY4845" fmla="*/ 3129015 h 6479439"/>
              <a:gd name="connsiteX4846" fmla="*/ 3585657 w 9586368"/>
              <a:gd name="connsiteY4846" fmla="*/ 3124976 h 6479439"/>
              <a:gd name="connsiteX4847" fmla="*/ 3585657 w 9586368"/>
              <a:gd name="connsiteY4847" fmla="*/ 3115105 h 6479439"/>
              <a:gd name="connsiteX4848" fmla="*/ 3350359 w 9586368"/>
              <a:gd name="connsiteY4848" fmla="*/ 3111067 h 6479439"/>
              <a:gd name="connsiteX4849" fmla="*/ 3360268 w 9586368"/>
              <a:gd name="connsiteY4849" fmla="*/ 3111067 h 6479439"/>
              <a:gd name="connsiteX4850" fmla="*/ 3364287 w 9586368"/>
              <a:gd name="connsiteY4850" fmla="*/ 3115105 h 6479439"/>
              <a:gd name="connsiteX4851" fmla="*/ 3364287 w 9586368"/>
              <a:gd name="connsiteY4851" fmla="*/ 3124976 h 6479439"/>
              <a:gd name="connsiteX4852" fmla="*/ 3360268 w 9586368"/>
              <a:gd name="connsiteY4852" fmla="*/ 3129015 h 6479439"/>
              <a:gd name="connsiteX4853" fmla="*/ 3350359 w 9586368"/>
              <a:gd name="connsiteY4853" fmla="*/ 3129015 h 6479439"/>
              <a:gd name="connsiteX4854" fmla="*/ 3346340 w 9586368"/>
              <a:gd name="connsiteY4854" fmla="*/ 3124976 h 6479439"/>
              <a:gd name="connsiteX4855" fmla="*/ 3346340 w 9586368"/>
              <a:gd name="connsiteY4855" fmla="*/ 3115105 h 6479439"/>
              <a:gd name="connsiteX4856" fmla="*/ 3111048 w 9586368"/>
              <a:gd name="connsiteY4856" fmla="*/ 3111067 h 6479439"/>
              <a:gd name="connsiteX4857" fmla="*/ 3120959 w 9586368"/>
              <a:gd name="connsiteY4857" fmla="*/ 3111067 h 6479439"/>
              <a:gd name="connsiteX4858" fmla="*/ 3124977 w 9586368"/>
              <a:gd name="connsiteY4858" fmla="*/ 3115105 h 6479439"/>
              <a:gd name="connsiteX4859" fmla="*/ 3124977 w 9586368"/>
              <a:gd name="connsiteY4859" fmla="*/ 3124976 h 6479439"/>
              <a:gd name="connsiteX4860" fmla="*/ 3120959 w 9586368"/>
              <a:gd name="connsiteY4860" fmla="*/ 3129015 h 6479439"/>
              <a:gd name="connsiteX4861" fmla="*/ 3111048 w 9586368"/>
              <a:gd name="connsiteY4861" fmla="*/ 3129015 h 6479439"/>
              <a:gd name="connsiteX4862" fmla="*/ 3107029 w 9586368"/>
              <a:gd name="connsiteY4862" fmla="*/ 3124976 h 6479439"/>
              <a:gd name="connsiteX4863" fmla="*/ 3107029 w 9586368"/>
              <a:gd name="connsiteY4863" fmla="*/ 3115105 h 6479439"/>
              <a:gd name="connsiteX4864" fmla="*/ 2871737 w 9586368"/>
              <a:gd name="connsiteY4864" fmla="*/ 3111067 h 6479439"/>
              <a:gd name="connsiteX4865" fmla="*/ 2881646 w 9586368"/>
              <a:gd name="connsiteY4865" fmla="*/ 3111067 h 6479439"/>
              <a:gd name="connsiteX4866" fmla="*/ 2885666 w 9586368"/>
              <a:gd name="connsiteY4866" fmla="*/ 3115105 h 6479439"/>
              <a:gd name="connsiteX4867" fmla="*/ 2885666 w 9586368"/>
              <a:gd name="connsiteY4867" fmla="*/ 3124976 h 6479439"/>
              <a:gd name="connsiteX4868" fmla="*/ 2881646 w 9586368"/>
              <a:gd name="connsiteY4868" fmla="*/ 3129015 h 6479439"/>
              <a:gd name="connsiteX4869" fmla="*/ 2871737 w 9586368"/>
              <a:gd name="connsiteY4869" fmla="*/ 3129015 h 6479439"/>
              <a:gd name="connsiteX4870" fmla="*/ 2867717 w 9586368"/>
              <a:gd name="connsiteY4870" fmla="*/ 3124976 h 6479439"/>
              <a:gd name="connsiteX4871" fmla="*/ 2867717 w 9586368"/>
              <a:gd name="connsiteY4871" fmla="*/ 3115105 h 6479439"/>
              <a:gd name="connsiteX4872" fmla="*/ 2632423 w 9586368"/>
              <a:gd name="connsiteY4872" fmla="*/ 3111067 h 6479439"/>
              <a:gd name="connsiteX4873" fmla="*/ 2642334 w 9586368"/>
              <a:gd name="connsiteY4873" fmla="*/ 3111067 h 6479439"/>
              <a:gd name="connsiteX4874" fmla="*/ 2646352 w 9586368"/>
              <a:gd name="connsiteY4874" fmla="*/ 3115105 h 6479439"/>
              <a:gd name="connsiteX4875" fmla="*/ 2646352 w 9586368"/>
              <a:gd name="connsiteY4875" fmla="*/ 3124976 h 6479439"/>
              <a:gd name="connsiteX4876" fmla="*/ 2642334 w 9586368"/>
              <a:gd name="connsiteY4876" fmla="*/ 3129015 h 6479439"/>
              <a:gd name="connsiteX4877" fmla="*/ 2632423 w 9586368"/>
              <a:gd name="connsiteY4877" fmla="*/ 3129015 h 6479439"/>
              <a:gd name="connsiteX4878" fmla="*/ 2628404 w 9586368"/>
              <a:gd name="connsiteY4878" fmla="*/ 3124976 h 6479439"/>
              <a:gd name="connsiteX4879" fmla="*/ 2628404 w 9586368"/>
              <a:gd name="connsiteY4879" fmla="*/ 3115105 h 6479439"/>
              <a:gd name="connsiteX4880" fmla="*/ 2393104 w 9586368"/>
              <a:gd name="connsiteY4880" fmla="*/ 3111067 h 6479439"/>
              <a:gd name="connsiteX4881" fmla="*/ 2403015 w 9586368"/>
              <a:gd name="connsiteY4881" fmla="*/ 3111067 h 6479439"/>
              <a:gd name="connsiteX4882" fmla="*/ 2407034 w 9586368"/>
              <a:gd name="connsiteY4882" fmla="*/ 3115105 h 6479439"/>
              <a:gd name="connsiteX4883" fmla="*/ 2407034 w 9586368"/>
              <a:gd name="connsiteY4883" fmla="*/ 3124976 h 6479439"/>
              <a:gd name="connsiteX4884" fmla="*/ 2403015 w 9586368"/>
              <a:gd name="connsiteY4884" fmla="*/ 3129015 h 6479439"/>
              <a:gd name="connsiteX4885" fmla="*/ 2393104 w 9586368"/>
              <a:gd name="connsiteY4885" fmla="*/ 3129015 h 6479439"/>
              <a:gd name="connsiteX4886" fmla="*/ 2389087 w 9586368"/>
              <a:gd name="connsiteY4886" fmla="*/ 3124976 h 6479439"/>
              <a:gd name="connsiteX4887" fmla="*/ 2389087 w 9586368"/>
              <a:gd name="connsiteY4887" fmla="*/ 3115105 h 6479439"/>
              <a:gd name="connsiteX4888" fmla="*/ 721968 w 9586368"/>
              <a:gd name="connsiteY4888" fmla="*/ 3111067 h 6479439"/>
              <a:gd name="connsiteX4889" fmla="*/ 731878 w 9586368"/>
              <a:gd name="connsiteY4889" fmla="*/ 3111067 h 6479439"/>
              <a:gd name="connsiteX4890" fmla="*/ 735897 w 9586368"/>
              <a:gd name="connsiteY4890" fmla="*/ 3115105 h 6479439"/>
              <a:gd name="connsiteX4891" fmla="*/ 735897 w 9586368"/>
              <a:gd name="connsiteY4891" fmla="*/ 3124976 h 6479439"/>
              <a:gd name="connsiteX4892" fmla="*/ 731878 w 9586368"/>
              <a:gd name="connsiteY4892" fmla="*/ 3129015 h 6479439"/>
              <a:gd name="connsiteX4893" fmla="*/ 721968 w 9586368"/>
              <a:gd name="connsiteY4893" fmla="*/ 3129015 h 6479439"/>
              <a:gd name="connsiteX4894" fmla="*/ 717949 w 9586368"/>
              <a:gd name="connsiteY4894" fmla="*/ 3124976 h 6479439"/>
              <a:gd name="connsiteX4895" fmla="*/ 717949 w 9586368"/>
              <a:gd name="connsiteY4895" fmla="*/ 3115105 h 6479439"/>
              <a:gd name="connsiteX4896" fmla="*/ 482656 w 9586368"/>
              <a:gd name="connsiteY4896" fmla="*/ 3111067 h 6479439"/>
              <a:gd name="connsiteX4897" fmla="*/ 492566 w 9586368"/>
              <a:gd name="connsiteY4897" fmla="*/ 3111067 h 6479439"/>
              <a:gd name="connsiteX4898" fmla="*/ 496585 w 9586368"/>
              <a:gd name="connsiteY4898" fmla="*/ 3115105 h 6479439"/>
              <a:gd name="connsiteX4899" fmla="*/ 496585 w 9586368"/>
              <a:gd name="connsiteY4899" fmla="*/ 3124976 h 6479439"/>
              <a:gd name="connsiteX4900" fmla="*/ 492566 w 9586368"/>
              <a:gd name="connsiteY4900" fmla="*/ 3129015 h 6479439"/>
              <a:gd name="connsiteX4901" fmla="*/ 482656 w 9586368"/>
              <a:gd name="connsiteY4901" fmla="*/ 3129015 h 6479439"/>
              <a:gd name="connsiteX4902" fmla="*/ 478637 w 9586368"/>
              <a:gd name="connsiteY4902" fmla="*/ 3124976 h 6479439"/>
              <a:gd name="connsiteX4903" fmla="*/ 478637 w 9586368"/>
              <a:gd name="connsiteY4903" fmla="*/ 3115105 h 6479439"/>
              <a:gd name="connsiteX4904" fmla="*/ 243342 w 9586368"/>
              <a:gd name="connsiteY4904" fmla="*/ 3111067 h 6479439"/>
              <a:gd name="connsiteX4905" fmla="*/ 253252 w 9586368"/>
              <a:gd name="connsiteY4905" fmla="*/ 3111067 h 6479439"/>
              <a:gd name="connsiteX4906" fmla="*/ 257271 w 9586368"/>
              <a:gd name="connsiteY4906" fmla="*/ 3115105 h 6479439"/>
              <a:gd name="connsiteX4907" fmla="*/ 257271 w 9586368"/>
              <a:gd name="connsiteY4907" fmla="*/ 3124976 h 6479439"/>
              <a:gd name="connsiteX4908" fmla="*/ 253252 w 9586368"/>
              <a:gd name="connsiteY4908" fmla="*/ 3129015 h 6479439"/>
              <a:gd name="connsiteX4909" fmla="*/ 243342 w 9586368"/>
              <a:gd name="connsiteY4909" fmla="*/ 3129015 h 6479439"/>
              <a:gd name="connsiteX4910" fmla="*/ 239323 w 9586368"/>
              <a:gd name="connsiteY4910" fmla="*/ 3124976 h 6479439"/>
              <a:gd name="connsiteX4911" fmla="*/ 239323 w 9586368"/>
              <a:gd name="connsiteY4911" fmla="*/ 3115105 h 6479439"/>
              <a:gd name="connsiteX4912" fmla="*/ 4029 w 9586368"/>
              <a:gd name="connsiteY4912" fmla="*/ 3111067 h 6479439"/>
              <a:gd name="connsiteX4913" fmla="*/ 13939 w 9586368"/>
              <a:gd name="connsiteY4913" fmla="*/ 3111067 h 6479439"/>
              <a:gd name="connsiteX4914" fmla="*/ 17959 w 9586368"/>
              <a:gd name="connsiteY4914" fmla="*/ 3115105 h 6479439"/>
              <a:gd name="connsiteX4915" fmla="*/ 17959 w 9586368"/>
              <a:gd name="connsiteY4915" fmla="*/ 3124976 h 6479439"/>
              <a:gd name="connsiteX4916" fmla="*/ 13939 w 9586368"/>
              <a:gd name="connsiteY4916" fmla="*/ 3129015 h 6479439"/>
              <a:gd name="connsiteX4917" fmla="*/ 4029 w 9586368"/>
              <a:gd name="connsiteY4917" fmla="*/ 3129015 h 6479439"/>
              <a:gd name="connsiteX4918" fmla="*/ 10 w 9586368"/>
              <a:gd name="connsiteY4918" fmla="*/ 3124976 h 6479439"/>
              <a:gd name="connsiteX4919" fmla="*/ 10 w 9586368"/>
              <a:gd name="connsiteY4919" fmla="*/ 3115105 h 6479439"/>
              <a:gd name="connsiteX4920" fmla="*/ 2157820 w 9586368"/>
              <a:gd name="connsiteY4920" fmla="*/ 2871788 h 6479439"/>
              <a:gd name="connsiteX4921" fmla="*/ 2167732 w 9586368"/>
              <a:gd name="connsiteY4921" fmla="*/ 2871788 h 6479439"/>
              <a:gd name="connsiteX4922" fmla="*/ 2171750 w 9586368"/>
              <a:gd name="connsiteY4922" fmla="*/ 2875826 h 6479439"/>
              <a:gd name="connsiteX4923" fmla="*/ 2171750 w 9586368"/>
              <a:gd name="connsiteY4923" fmla="*/ 2885696 h 6479439"/>
              <a:gd name="connsiteX4924" fmla="*/ 2167732 w 9586368"/>
              <a:gd name="connsiteY4924" fmla="*/ 2889735 h 6479439"/>
              <a:gd name="connsiteX4925" fmla="*/ 2157820 w 9586368"/>
              <a:gd name="connsiteY4925" fmla="*/ 2889735 h 6479439"/>
              <a:gd name="connsiteX4926" fmla="*/ 2153802 w 9586368"/>
              <a:gd name="connsiteY4926" fmla="*/ 2885696 h 6479439"/>
              <a:gd name="connsiteX4927" fmla="*/ 2153802 w 9586368"/>
              <a:gd name="connsiteY4927" fmla="*/ 2875826 h 6479439"/>
              <a:gd name="connsiteX4928" fmla="*/ 1918513 w 9586368"/>
              <a:gd name="connsiteY4928" fmla="*/ 2871788 h 6479439"/>
              <a:gd name="connsiteX4929" fmla="*/ 1928422 w 9586368"/>
              <a:gd name="connsiteY4929" fmla="*/ 2871788 h 6479439"/>
              <a:gd name="connsiteX4930" fmla="*/ 1932441 w 9586368"/>
              <a:gd name="connsiteY4930" fmla="*/ 2875826 h 6479439"/>
              <a:gd name="connsiteX4931" fmla="*/ 1932441 w 9586368"/>
              <a:gd name="connsiteY4931" fmla="*/ 2885696 h 6479439"/>
              <a:gd name="connsiteX4932" fmla="*/ 1928422 w 9586368"/>
              <a:gd name="connsiteY4932" fmla="*/ 2889735 h 6479439"/>
              <a:gd name="connsiteX4933" fmla="*/ 1918513 w 9586368"/>
              <a:gd name="connsiteY4933" fmla="*/ 2889735 h 6479439"/>
              <a:gd name="connsiteX4934" fmla="*/ 1914493 w 9586368"/>
              <a:gd name="connsiteY4934" fmla="*/ 2885696 h 6479439"/>
              <a:gd name="connsiteX4935" fmla="*/ 1914493 w 9586368"/>
              <a:gd name="connsiteY4935" fmla="*/ 2875826 h 6479439"/>
              <a:gd name="connsiteX4936" fmla="*/ 1679211 w 9586368"/>
              <a:gd name="connsiteY4936" fmla="*/ 2871788 h 6479439"/>
              <a:gd name="connsiteX4937" fmla="*/ 1689121 w 9586368"/>
              <a:gd name="connsiteY4937" fmla="*/ 2871788 h 6479439"/>
              <a:gd name="connsiteX4938" fmla="*/ 1693141 w 9586368"/>
              <a:gd name="connsiteY4938" fmla="*/ 2875826 h 6479439"/>
              <a:gd name="connsiteX4939" fmla="*/ 1693141 w 9586368"/>
              <a:gd name="connsiteY4939" fmla="*/ 2885696 h 6479439"/>
              <a:gd name="connsiteX4940" fmla="*/ 1689121 w 9586368"/>
              <a:gd name="connsiteY4940" fmla="*/ 2889735 h 6479439"/>
              <a:gd name="connsiteX4941" fmla="*/ 1679211 w 9586368"/>
              <a:gd name="connsiteY4941" fmla="*/ 2889735 h 6479439"/>
              <a:gd name="connsiteX4942" fmla="*/ 1675193 w 9586368"/>
              <a:gd name="connsiteY4942" fmla="*/ 2885696 h 6479439"/>
              <a:gd name="connsiteX4943" fmla="*/ 1675193 w 9586368"/>
              <a:gd name="connsiteY4943" fmla="*/ 2875826 h 6479439"/>
              <a:gd name="connsiteX4944" fmla="*/ 1439895 w 9586368"/>
              <a:gd name="connsiteY4944" fmla="*/ 2871788 h 6479439"/>
              <a:gd name="connsiteX4945" fmla="*/ 1449805 w 9586368"/>
              <a:gd name="connsiteY4945" fmla="*/ 2871788 h 6479439"/>
              <a:gd name="connsiteX4946" fmla="*/ 1453824 w 9586368"/>
              <a:gd name="connsiteY4946" fmla="*/ 2875826 h 6479439"/>
              <a:gd name="connsiteX4947" fmla="*/ 1453824 w 9586368"/>
              <a:gd name="connsiteY4947" fmla="*/ 2885696 h 6479439"/>
              <a:gd name="connsiteX4948" fmla="*/ 1449805 w 9586368"/>
              <a:gd name="connsiteY4948" fmla="*/ 2889735 h 6479439"/>
              <a:gd name="connsiteX4949" fmla="*/ 1439895 w 9586368"/>
              <a:gd name="connsiteY4949" fmla="*/ 2889735 h 6479439"/>
              <a:gd name="connsiteX4950" fmla="*/ 1435876 w 9586368"/>
              <a:gd name="connsiteY4950" fmla="*/ 2885696 h 6479439"/>
              <a:gd name="connsiteX4951" fmla="*/ 1435876 w 9586368"/>
              <a:gd name="connsiteY4951" fmla="*/ 2875826 h 6479439"/>
              <a:gd name="connsiteX4952" fmla="*/ 1200579 w 9586368"/>
              <a:gd name="connsiteY4952" fmla="*/ 2871788 h 6479439"/>
              <a:gd name="connsiteX4953" fmla="*/ 1210489 w 9586368"/>
              <a:gd name="connsiteY4953" fmla="*/ 2871788 h 6479439"/>
              <a:gd name="connsiteX4954" fmla="*/ 1214509 w 9586368"/>
              <a:gd name="connsiteY4954" fmla="*/ 2875826 h 6479439"/>
              <a:gd name="connsiteX4955" fmla="*/ 1214509 w 9586368"/>
              <a:gd name="connsiteY4955" fmla="*/ 2885696 h 6479439"/>
              <a:gd name="connsiteX4956" fmla="*/ 1210489 w 9586368"/>
              <a:gd name="connsiteY4956" fmla="*/ 2889735 h 6479439"/>
              <a:gd name="connsiteX4957" fmla="*/ 1200579 w 9586368"/>
              <a:gd name="connsiteY4957" fmla="*/ 2889735 h 6479439"/>
              <a:gd name="connsiteX4958" fmla="*/ 1196560 w 9586368"/>
              <a:gd name="connsiteY4958" fmla="*/ 2885696 h 6479439"/>
              <a:gd name="connsiteX4959" fmla="*/ 1196560 w 9586368"/>
              <a:gd name="connsiteY4959" fmla="*/ 2875826 h 6479439"/>
              <a:gd name="connsiteX4960" fmla="*/ 961267 w 9586368"/>
              <a:gd name="connsiteY4960" fmla="*/ 2871788 h 6479439"/>
              <a:gd name="connsiteX4961" fmla="*/ 971177 w 9586368"/>
              <a:gd name="connsiteY4961" fmla="*/ 2871788 h 6479439"/>
              <a:gd name="connsiteX4962" fmla="*/ 975195 w 9586368"/>
              <a:gd name="connsiteY4962" fmla="*/ 2875826 h 6479439"/>
              <a:gd name="connsiteX4963" fmla="*/ 975195 w 9586368"/>
              <a:gd name="connsiteY4963" fmla="*/ 2885696 h 6479439"/>
              <a:gd name="connsiteX4964" fmla="*/ 971177 w 9586368"/>
              <a:gd name="connsiteY4964" fmla="*/ 2889735 h 6479439"/>
              <a:gd name="connsiteX4965" fmla="*/ 961267 w 9586368"/>
              <a:gd name="connsiteY4965" fmla="*/ 2889735 h 6479439"/>
              <a:gd name="connsiteX4966" fmla="*/ 957247 w 9586368"/>
              <a:gd name="connsiteY4966" fmla="*/ 2885696 h 6479439"/>
              <a:gd name="connsiteX4967" fmla="*/ 957247 w 9586368"/>
              <a:gd name="connsiteY4967" fmla="*/ 2875826 h 6479439"/>
              <a:gd name="connsiteX4968" fmla="*/ 9572438 w 9586368"/>
              <a:gd name="connsiteY4968" fmla="*/ 2871736 h 6479439"/>
              <a:gd name="connsiteX4969" fmla="*/ 9582349 w 9586368"/>
              <a:gd name="connsiteY4969" fmla="*/ 2871736 h 6479439"/>
              <a:gd name="connsiteX4970" fmla="*/ 9586368 w 9586368"/>
              <a:gd name="connsiteY4970" fmla="*/ 2875775 h 6479439"/>
              <a:gd name="connsiteX4971" fmla="*/ 9586368 w 9586368"/>
              <a:gd name="connsiteY4971" fmla="*/ 2885645 h 6479439"/>
              <a:gd name="connsiteX4972" fmla="*/ 9582349 w 9586368"/>
              <a:gd name="connsiteY4972" fmla="*/ 2889684 h 6479439"/>
              <a:gd name="connsiteX4973" fmla="*/ 9572438 w 9586368"/>
              <a:gd name="connsiteY4973" fmla="*/ 2889684 h 6479439"/>
              <a:gd name="connsiteX4974" fmla="*/ 9568419 w 9586368"/>
              <a:gd name="connsiteY4974" fmla="*/ 2885645 h 6479439"/>
              <a:gd name="connsiteX4975" fmla="*/ 9568419 w 9586368"/>
              <a:gd name="connsiteY4975" fmla="*/ 2875775 h 6479439"/>
              <a:gd name="connsiteX4976" fmla="*/ 9333125 w 9586368"/>
              <a:gd name="connsiteY4976" fmla="*/ 2871736 h 6479439"/>
              <a:gd name="connsiteX4977" fmla="*/ 9343036 w 9586368"/>
              <a:gd name="connsiteY4977" fmla="*/ 2871736 h 6479439"/>
              <a:gd name="connsiteX4978" fmla="*/ 9347055 w 9586368"/>
              <a:gd name="connsiteY4978" fmla="*/ 2875775 h 6479439"/>
              <a:gd name="connsiteX4979" fmla="*/ 9347055 w 9586368"/>
              <a:gd name="connsiteY4979" fmla="*/ 2885645 h 6479439"/>
              <a:gd name="connsiteX4980" fmla="*/ 9343036 w 9586368"/>
              <a:gd name="connsiteY4980" fmla="*/ 2889684 h 6479439"/>
              <a:gd name="connsiteX4981" fmla="*/ 9333125 w 9586368"/>
              <a:gd name="connsiteY4981" fmla="*/ 2889684 h 6479439"/>
              <a:gd name="connsiteX4982" fmla="*/ 9329106 w 9586368"/>
              <a:gd name="connsiteY4982" fmla="*/ 2885645 h 6479439"/>
              <a:gd name="connsiteX4983" fmla="*/ 9329106 w 9586368"/>
              <a:gd name="connsiteY4983" fmla="*/ 2875775 h 6479439"/>
              <a:gd name="connsiteX4984" fmla="*/ 9093811 w 9586368"/>
              <a:gd name="connsiteY4984" fmla="*/ 2871736 h 6479439"/>
              <a:gd name="connsiteX4985" fmla="*/ 9103722 w 9586368"/>
              <a:gd name="connsiteY4985" fmla="*/ 2871736 h 6479439"/>
              <a:gd name="connsiteX4986" fmla="*/ 9107741 w 9586368"/>
              <a:gd name="connsiteY4986" fmla="*/ 2875775 h 6479439"/>
              <a:gd name="connsiteX4987" fmla="*/ 9107741 w 9586368"/>
              <a:gd name="connsiteY4987" fmla="*/ 2885645 h 6479439"/>
              <a:gd name="connsiteX4988" fmla="*/ 9103722 w 9586368"/>
              <a:gd name="connsiteY4988" fmla="*/ 2889684 h 6479439"/>
              <a:gd name="connsiteX4989" fmla="*/ 9093811 w 9586368"/>
              <a:gd name="connsiteY4989" fmla="*/ 2889684 h 6479439"/>
              <a:gd name="connsiteX4990" fmla="*/ 9089792 w 9586368"/>
              <a:gd name="connsiteY4990" fmla="*/ 2885645 h 6479439"/>
              <a:gd name="connsiteX4991" fmla="*/ 9089792 w 9586368"/>
              <a:gd name="connsiteY4991" fmla="*/ 2875775 h 6479439"/>
              <a:gd name="connsiteX4992" fmla="*/ 8854496 w 9586368"/>
              <a:gd name="connsiteY4992" fmla="*/ 2871736 h 6479439"/>
              <a:gd name="connsiteX4993" fmla="*/ 8864407 w 9586368"/>
              <a:gd name="connsiteY4993" fmla="*/ 2871736 h 6479439"/>
              <a:gd name="connsiteX4994" fmla="*/ 8868426 w 9586368"/>
              <a:gd name="connsiteY4994" fmla="*/ 2875775 h 6479439"/>
              <a:gd name="connsiteX4995" fmla="*/ 8868426 w 9586368"/>
              <a:gd name="connsiteY4995" fmla="*/ 2885645 h 6479439"/>
              <a:gd name="connsiteX4996" fmla="*/ 8864407 w 9586368"/>
              <a:gd name="connsiteY4996" fmla="*/ 2889684 h 6479439"/>
              <a:gd name="connsiteX4997" fmla="*/ 8854496 w 9586368"/>
              <a:gd name="connsiteY4997" fmla="*/ 2889684 h 6479439"/>
              <a:gd name="connsiteX4998" fmla="*/ 8850477 w 9586368"/>
              <a:gd name="connsiteY4998" fmla="*/ 2885645 h 6479439"/>
              <a:gd name="connsiteX4999" fmla="*/ 8850477 w 9586368"/>
              <a:gd name="connsiteY4999" fmla="*/ 2875775 h 6479439"/>
              <a:gd name="connsiteX5000" fmla="*/ 8615184 w 9586368"/>
              <a:gd name="connsiteY5000" fmla="*/ 2871736 h 6479439"/>
              <a:gd name="connsiteX5001" fmla="*/ 8625095 w 9586368"/>
              <a:gd name="connsiteY5001" fmla="*/ 2871736 h 6479439"/>
              <a:gd name="connsiteX5002" fmla="*/ 8629114 w 9586368"/>
              <a:gd name="connsiteY5002" fmla="*/ 2875775 h 6479439"/>
              <a:gd name="connsiteX5003" fmla="*/ 8629114 w 9586368"/>
              <a:gd name="connsiteY5003" fmla="*/ 2885645 h 6479439"/>
              <a:gd name="connsiteX5004" fmla="*/ 8625095 w 9586368"/>
              <a:gd name="connsiteY5004" fmla="*/ 2889684 h 6479439"/>
              <a:gd name="connsiteX5005" fmla="*/ 8615184 w 9586368"/>
              <a:gd name="connsiteY5005" fmla="*/ 2889684 h 6479439"/>
              <a:gd name="connsiteX5006" fmla="*/ 8611165 w 9586368"/>
              <a:gd name="connsiteY5006" fmla="*/ 2885645 h 6479439"/>
              <a:gd name="connsiteX5007" fmla="*/ 8611165 w 9586368"/>
              <a:gd name="connsiteY5007" fmla="*/ 2875775 h 6479439"/>
              <a:gd name="connsiteX5008" fmla="*/ 8375869 w 9586368"/>
              <a:gd name="connsiteY5008" fmla="*/ 2871736 h 6479439"/>
              <a:gd name="connsiteX5009" fmla="*/ 8385779 w 9586368"/>
              <a:gd name="connsiteY5009" fmla="*/ 2871736 h 6479439"/>
              <a:gd name="connsiteX5010" fmla="*/ 8389799 w 9586368"/>
              <a:gd name="connsiteY5010" fmla="*/ 2875775 h 6479439"/>
              <a:gd name="connsiteX5011" fmla="*/ 8389799 w 9586368"/>
              <a:gd name="connsiteY5011" fmla="*/ 2885645 h 6479439"/>
              <a:gd name="connsiteX5012" fmla="*/ 8385779 w 9586368"/>
              <a:gd name="connsiteY5012" fmla="*/ 2889684 h 6479439"/>
              <a:gd name="connsiteX5013" fmla="*/ 8375869 w 9586368"/>
              <a:gd name="connsiteY5013" fmla="*/ 2889684 h 6479439"/>
              <a:gd name="connsiteX5014" fmla="*/ 8371850 w 9586368"/>
              <a:gd name="connsiteY5014" fmla="*/ 2885645 h 6479439"/>
              <a:gd name="connsiteX5015" fmla="*/ 8371850 w 9586368"/>
              <a:gd name="connsiteY5015" fmla="*/ 2875775 h 6479439"/>
              <a:gd name="connsiteX5016" fmla="*/ 8136553 w 9586368"/>
              <a:gd name="connsiteY5016" fmla="*/ 2871736 h 6479439"/>
              <a:gd name="connsiteX5017" fmla="*/ 8146464 w 9586368"/>
              <a:gd name="connsiteY5017" fmla="*/ 2871736 h 6479439"/>
              <a:gd name="connsiteX5018" fmla="*/ 8150483 w 9586368"/>
              <a:gd name="connsiteY5018" fmla="*/ 2875775 h 6479439"/>
              <a:gd name="connsiteX5019" fmla="*/ 8150483 w 9586368"/>
              <a:gd name="connsiteY5019" fmla="*/ 2885645 h 6479439"/>
              <a:gd name="connsiteX5020" fmla="*/ 8146464 w 9586368"/>
              <a:gd name="connsiteY5020" fmla="*/ 2889684 h 6479439"/>
              <a:gd name="connsiteX5021" fmla="*/ 8136553 w 9586368"/>
              <a:gd name="connsiteY5021" fmla="*/ 2889684 h 6479439"/>
              <a:gd name="connsiteX5022" fmla="*/ 8132534 w 9586368"/>
              <a:gd name="connsiteY5022" fmla="*/ 2885645 h 6479439"/>
              <a:gd name="connsiteX5023" fmla="*/ 8132534 w 9586368"/>
              <a:gd name="connsiteY5023" fmla="*/ 2875775 h 6479439"/>
              <a:gd name="connsiteX5024" fmla="*/ 7897241 w 9586368"/>
              <a:gd name="connsiteY5024" fmla="*/ 2871736 h 6479439"/>
              <a:gd name="connsiteX5025" fmla="*/ 7907151 w 9586368"/>
              <a:gd name="connsiteY5025" fmla="*/ 2871736 h 6479439"/>
              <a:gd name="connsiteX5026" fmla="*/ 7911170 w 9586368"/>
              <a:gd name="connsiteY5026" fmla="*/ 2875775 h 6479439"/>
              <a:gd name="connsiteX5027" fmla="*/ 7911170 w 9586368"/>
              <a:gd name="connsiteY5027" fmla="*/ 2885645 h 6479439"/>
              <a:gd name="connsiteX5028" fmla="*/ 7907151 w 9586368"/>
              <a:gd name="connsiteY5028" fmla="*/ 2889684 h 6479439"/>
              <a:gd name="connsiteX5029" fmla="*/ 7897241 w 9586368"/>
              <a:gd name="connsiteY5029" fmla="*/ 2889684 h 6479439"/>
              <a:gd name="connsiteX5030" fmla="*/ 7893222 w 9586368"/>
              <a:gd name="connsiteY5030" fmla="*/ 2885645 h 6479439"/>
              <a:gd name="connsiteX5031" fmla="*/ 7893222 w 9586368"/>
              <a:gd name="connsiteY5031" fmla="*/ 2875775 h 6479439"/>
              <a:gd name="connsiteX5032" fmla="*/ 7657926 w 9586368"/>
              <a:gd name="connsiteY5032" fmla="*/ 2871736 h 6479439"/>
              <a:gd name="connsiteX5033" fmla="*/ 7667836 w 9586368"/>
              <a:gd name="connsiteY5033" fmla="*/ 2871736 h 6479439"/>
              <a:gd name="connsiteX5034" fmla="*/ 7671855 w 9586368"/>
              <a:gd name="connsiteY5034" fmla="*/ 2875775 h 6479439"/>
              <a:gd name="connsiteX5035" fmla="*/ 7671855 w 9586368"/>
              <a:gd name="connsiteY5035" fmla="*/ 2885645 h 6479439"/>
              <a:gd name="connsiteX5036" fmla="*/ 7667836 w 9586368"/>
              <a:gd name="connsiteY5036" fmla="*/ 2889684 h 6479439"/>
              <a:gd name="connsiteX5037" fmla="*/ 7657926 w 9586368"/>
              <a:gd name="connsiteY5037" fmla="*/ 2889684 h 6479439"/>
              <a:gd name="connsiteX5038" fmla="*/ 7653906 w 9586368"/>
              <a:gd name="connsiteY5038" fmla="*/ 2885645 h 6479439"/>
              <a:gd name="connsiteX5039" fmla="*/ 7653906 w 9586368"/>
              <a:gd name="connsiteY5039" fmla="*/ 2875775 h 6479439"/>
              <a:gd name="connsiteX5040" fmla="*/ 7418611 w 9586368"/>
              <a:gd name="connsiteY5040" fmla="*/ 2871736 h 6479439"/>
              <a:gd name="connsiteX5041" fmla="*/ 7428521 w 9586368"/>
              <a:gd name="connsiteY5041" fmla="*/ 2871736 h 6479439"/>
              <a:gd name="connsiteX5042" fmla="*/ 7432540 w 9586368"/>
              <a:gd name="connsiteY5042" fmla="*/ 2875775 h 6479439"/>
              <a:gd name="connsiteX5043" fmla="*/ 7432540 w 9586368"/>
              <a:gd name="connsiteY5043" fmla="*/ 2885645 h 6479439"/>
              <a:gd name="connsiteX5044" fmla="*/ 7428521 w 9586368"/>
              <a:gd name="connsiteY5044" fmla="*/ 2889684 h 6479439"/>
              <a:gd name="connsiteX5045" fmla="*/ 7418611 w 9586368"/>
              <a:gd name="connsiteY5045" fmla="*/ 2889684 h 6479439"/>
              <a:gd name="connsiteX5046" fmla="*/ 7414592 w 9586368"/>
              <a:gd name="connsiteY5046" fmla="*/ 2885645 h 6479439"/>
              <a:gd name="connsiteX5047" fmla="*/ 7414592 w 9586368"/>
              <a:gd name="connsiteY5047" fmla="*/ 2875775 h 6479439"/>
              <a:gd name="connsiteX5048" fmla="*/ 7179298 w 9586368"/>
              <a:gd name="connsiteY5048" fmla="*/ 2871736 h 6479439"/>
              <a:gd name="connsiteX5049" fmla="*/ 7189209 w 9586368"/>
              <a:gd name="connsiteY5049" fmla="*/ 2871736 h 6479439"/>
              <a:gd name="connsiteX5050" fmla="*/ 7193228 w 9586368"/>
              <a:gd name="connsiteY5050" fmla="*/ 2875775 h 6479439"/>
              <a:gd name="connsiteX5051" fmla="*/ 7193228 w 9586368"/>
              <a:gd name="connsiteY5051" fmla="*/ 2885645 h 6479439"/>
              <a:gd name="connsiteX5052" fmla="*/ 7189209 w 9586368"/>
              <a:gd name="connsiteY5052" fmla="*/ 2889684 h 6479439"/>
              <a:gd name="connsiteX5053" fmla="*/ 7179298 w 9586368"/>
              <a:gd name="connsiteY5053" fmla="*/ 2889684 h 6479439"/>
              <a:gd name="connsiteX5054" fmla="*/ 7175279 w 9586368"/>
              <a:gd name="connsiteY5054" fmla="*/ 2885645 h 6479439"/>
              <a:gd name="connsiteX5055" fmla="*/ 7175279 w 9586368"/>
              <a:gd name="connsiteY5055" fmla="*/ 2875775 h 6479439"/>
              <a:gd name="connsiteX5056" fmla="*/ 6939983 w 9586368"/>
              <a:gd name="connsiteY5056" fmla="*/ 2871736 h 6479439"/>
              <a:gd name="connsiteX5057" fmla="*/ 6949894 w 9586368"/>
              <a:gd name="connsiteY5057" fmla="*/ 2871736 h 6479439"/>
              <a:gd name="connsiteX5058" fmla="*/ 6953913 w 9586368"/>
              <a:gd name="connsiteY5058" fmla="*/ 2875775 h 6479439"/>
              <a:gd name="connsiteX5059" fmla="*/ 6953913 w 9586368"/>
              <a:gd name="connsiteY5059" fmla="*/ 2885645 h 6479439"/>
              <a:gd name="connsiteX5060" fmla="*/ 6949894 w 9586368"/>
              <a:gd name="connsiteY5060" fmla="*/ 2889684 h 6479439"/>
              <a:gd name="connsiteX5061" fmla="*/ 6939983 w 9586368"/>
              <a:gd name="connsiteY5061" fmla="*/ 2889684 h 6479439"/>
              <a:gd name="connsiteX5062" fmla="*/ 6935964 w 9586368"/>
              <a:gd name="connsiteY5062" fmla="*/ 2885645 h 6479439"/>
              <a:gd name="connsiteX5063" fmla="*/ 6935964 w 9586368"/>
              <a:gd name="connsiteY5063" fmla="*/ 2875775 h 6479439"/>
              <a:gd name="connsiteX5064" fmla="*/ 6700670 w 9586368"/>
              <a:gd name="connsiteY5064" fmla="*/ 2871736 h 6479439"/>
              <a:gd name="connsiteX5065" fmla="*/ 6710581 w 9586368"/>
              <a:gd name="connsiteY5065" fmla="*/ 2871736 h 6479439"/>
              <a:gd name="connsiteX5066" fmla="*/ 6714600 w 9586368"/>
              <a:gd name="connsiteY5066" fmla="*/ 2875775 h 6479439"/>
              <a:gd name="connsiteX5067" fmla="*/ 6714600 w 9586368"/>
              <a:gd name="connsiteY5067" fmla="*/ 2885645 h 6479439"/>
              <a:gd name="connsiteX5068" fmla="*/ 6710581 w 9586368"/>
              <a:gd name="connsiteY5068" fmla="*/ 2889684 h 6479439"/>
              <a:gd name="connsiteX5069" fmla="*/ 6700670 w 9586368"/>
              <a:gd name="connsiteY5069" fmla="*/ 2889684 h 6479439"/>
              <a:gd name="connsiteX5070" fmla="*/ 6696651 w 9586368"/>
              <a:gd name="connsiteY5070" fmla="*/ 2885645 h 6479439"/>
              <a:gd name="connsiteX5071" fmla="*/ 6696651 w 9586368"/>
              <a:gd name="connsiteY5071" fmla="*/ 2875775 h 6479439"/>
              <a:gd name="connsiteX5072" fmla="*/ 6461356 w 9586368"/>
              <a:gd name="connsiteY5072" fmla="*/ 2871736 h 6479439"/>
              <a:gd name="connsiteX5073" fmla="*/ 6471266 w 9586368"/>
              <a:gd name="connsiteY5073" fmla="*/ 2871736 h 6479439"/>
              <a:gd name="connsiteX5074" fmla="*/ 6475285 w 9586368"/>
              <a:gd name="connsiteY5074" fmla="*/ 2875775 h 6479439"/>
              <a:gd name="connsiteX5075" fmla="*/ 6475285 w 9586368"/>
              <a:gd name="connsiteY5075" fmla="*/ 2885645 h 6479439"/>
              <a:gd name="connsiteX5076" fmla="*/ 6471266 w 9586368"/>
              <a:gd name="connsiteY5076" fmla="*/ 2889684 h 6479439"/>
              <a:gd name="connsiteX5077" fmla="*/ 6461356 w 9586368"/>
              <a:gd name="connsiteY5077" fmla="*/ 2889684 h 6479439"/>
              <a:gd name="connsiteX5078" fmla="*/ 6457337 w 9586368"/>
              <a:gd name="connsiteY5078" fmla="*/ 2885645 h 6479439"/>
              <a:gd name="connsiteX5079" fmla="*/ 6457337 w 9586368"/>
              <a:gd name="connsiteY5079" fmla="*/ 2875775 h 6479439"/>
              <a:gd name="connsiteX5080" fmla="*/ 6222042 w 9586368"/>
              <a:gd name="connsiteY5080" fmla="*/ 2871736 h 6479439"/>
              <a:gd name="connsiteX5081" fmla="*/ 6231952 w 9586368"/>
              <a:gd name="connsiteY5081" fmla="*/ 2871736 h 6479439"/>
              <a:gd name="connsiteX5082" fmla="*/ 6235971 w 9586368"/>
              <a:gd name="connsiteY5082" fmla="*/ 2875775 h 6479439"/>
              <a:gd name="connsiteX5083" fmla="*/ 6235971 w 9586368"/>
              <a:gd name="connsiteY5083" fmla="*/ 2885645 h 6479439"/>
              <a:gd name="connsiteX5084" fmla="*/ 6231952 w 9586368"/>
              <a:gd name="connsiteY5084" fmla="*/ 2889684 h 6479439"/>
              <a:gd name="connsiteX5085" fmla="*/ 6222042 w 9586368"/>
              <a:gd name="connsiteY5085" fmla="*/ 2889684 h 6479439"/>
              <a:gd name="connsiteX5086" fmla="*/ 6218023 w 9586368"/>
              <a:gd name="connsiteY5086" fmla="*/ 2885645 h 6479439"/>
              <a:gd name="connsiteX5087" fmla="*/ 6218023 w 9586368"/>
              <a:gd name="connsiteY5087" fmla="*/ 2875775 h 6479439"/>
              <a:gd name="connsiteX5088" fmla="*/ 5982729 w 9586368"/>
              <a:gd name="connsiteY5088" fmla="*/ 2871736 h 6479439"/>
              <a:gd name="connsiteX5089" fmla="*/ 5992639 w 9586368"/>
              <a:gd name="connsiteY5089" fmla="*/ 2871736 h 6479439"/>
              <a:gd name="connsiteX5090" fmla="*/ 5996658 w 9586368"/>
              <a:gd name="connsiteY5090" fmla="*/ 2875775 h 6479439"/>
              <a:gd name="connsiteX5091" fmla="*/ 5996658 w 9586368"/>
              <a:gd name="connsiteY5091" fmla="*/ 2885645 h 6479439"/>
              <a:gd name="connsiteX5092" fmla="*/ 5992639 w 9586368"/>
              <a:gd name="connsiteY5092" fmla="*/ 2889684 h 6479439"/>
              <a:gd name="connsiteX5093" fmla="*/ 5982729 w 9586368"/>
              <a:gd name="connsiteY5093" fmla="*/ 2889684 h 6479439"/>
              <a:gd name="connsiteX5094" fmla="*/ 5978710 w 9586368"/>
              <a:gd name="connsiteY5094" fmla="*/ 2885645 h 6479439"/>
              <a:gd name="connsiteX5095" fmla="*/ 5978710 w 9586368"/>
              <a:gd name="connsiteY5095" fmla="*/ 2875775 h 6479439"/>
              <a:gd name="connsiteX5096" fmla="*/ 5743412 w 9586368"/>
              <a:gd name="connsiteY5096" fmla="*/ 2871736 h 6479439"/>
              <a:gd name="connsiteX5097" fmla="*/ 5753323 w 9586368"/>
              <a:gd name="connsiteY5097" fmla="*/ 2871736 h 6479439"/>
              <a:gd name="connsiteX5098" fmla="*/ 5757342 w 9586368"/>
              <a:gd name="connsiteY5098" fmla="*/ 2875775 h 6479439"/>
              <a:gd name="connsiteX5099" fmla="*/ 5757342 w 9586368"/>
              <a:gd name="connsiteY5099" fmla="*/ 2885645 h 6479439"/>
              <a:gd name="connsiteX5100" fmla="*/ 5753323 w 9586368"/>
              <a:gd name="connsiteY5100" fmla="*/ 2889684 h 6479439"/>
              <a:gd name="connsiteX5101" fmla="*/ 5743412 w 9586368"/>
              <a:gd name="connsiteY5101" fmla="*/ 2889684 h 6479439"/>
              <a:gd name="connsiteX5102" fmla="*/ 5739393 w 9586368"/>
              <a:gd name="connsiteY5102" fmla="*/ 2885645 h 6479439"/>
              <a:gd name="connsiteX5103" fmla="*/ 5739393 w 9586368"/>
              <a:gd name="connsiteY5103" fmla="*/ 2875775 h 6479439"/>
              <a:gd name="connsiteX5104" fmla="*/ 5504099 w 9586368"/>
              <a:gd name="connsiteY5104" fmla="*/ 2871736 h 6479439"/>
              <a:gd name="connsiteX5105" fmla="*/ 5514010 w 9586368"/>
              <a:gd name="connsiteY5105" fmla="*/ 2871736 h 6479439"/>
              <a:gd name="connsiteX5106" fmla="*/ 5518029 w 9586368"/>
              <a:gd name="connsiteY5106" fmla="*/ 2875775 h 6479439"/>
              <a:gd name="connsiteX5107" fmla="*/ 5518029 w 9586368"/>
              <a:gd name="connsiteY5107" fmla="*/ 2885645 h 6479439"/>
              <a:gd name="connsiteX5108" fmla="*/ 5514010 w 9586368"/>
              <a:gd name="connsiteY5108" fmla="*/ 2889684 h 6479439"/>
              <a:gd name="connsiteX5109" fmla="*/ 5504099 w 9586368"/>
              <a:gd name="connsiteY5109" fmla="*/ 2889684 h 6479439"/>
              <a:gd name="connsiteX5110" fmla="*/ 5500080 w 9586368"/>
              <a:gd name="connsiteY5110" fmla="*/ 2885645 h 6479439"/>
              <a:gd name="connsiteX5111" fmla="*/ 5500080 w 9586368"/>
              <a:gd name="connsiteY5111" fmla="*/ 2875775 h 6479439"/>
              <a:gd name="connsiteX5112" fmla="*/ 5264784 w 9586368"/>
              <a:gd name="connsiteY5112" fmla="*/ 2871736 h 6479439"/>
              <a:gd name="connsiteX5113" fmla="*/ 5274694 w 9586368"/>
              <a:gd name="connsiteY5113" fmla="*/ 2871736 h 6479439"/>
              <a:gd name="connsiteX5114" fmla="*/ 5278713 w 9586368"/>
              <a:gd name="connsiteY5114" fmla="*/ 2875775 h 6479439"/>
              <a:gd name="connsiteX5115" fmla="*/ 5278713 w 9586368"/>
              <a:gd name="connsiteY5115" fmla="*/ 2885645 h 6479439"/>
              <a:gd name="connsiteX5116" fmla="*/ 5274694 w 9586368"/>
              <a:gd name="connsiteY5116" fmla="*/ 2889684 h 6479439"/>
              <a:gd name="connsiteX5117" fmla="*/ 5264784 w 9586368"/>
              <a:gd name="connsiteY5117" fmla="*/ 2889684 h 6479439"/>
              <a:gd name="connsiteX5118" fmla="*/ 5260765 w 9586368"/>
              <a:gd name="connsiteY5118" fmla="*/ 2885645 h 6479439"/>
              <a:gd name="connsiteX5119" fmla="*/ 5260765 w 9586368"/>
              <a:gd name="connsiteY5119" fmla="*/ 2875775 h 6479439"/>
              <a:gd name="connsiteX5120" fmla="*/ 5025470 w 9586368"/>
              <a:gd name="connsiteY5120" fmla="*/ 2871736 h 6479439"/>
              <a:gd name="connsiteX5121" fmla="*/ 5035381 w 9586368"/>
              <a:gd name="connsiteY5121" fmla="*/ 2871736 h 6479439"/>
              <a:gd name="connsiteX5122" fmla="*/ 5039400 w 9586368"/>
              <a:gd name="connsiteY5122" fmla="*/ 2875775 h 6479439"/>
              <a:gd name="connsiteX5123" fmla="*/ 5039400 w 9586368"/>
              <a:gd name="connsiteY5123" fmla="*/ 2885645 h 6479439"/>
              <a:gd name="connsiteX5124" fmla="*/ 5035381 w 9586368"/>
              <a:gd name="connsiteY5124" fmla="*/ 2889684 h 6479439"/>
              <a:gd name="connsiteX5125" fmla="*/ 5025470 w 9586368"/>
              <a:gd name="connsiteY5125" fmla="*/ 2889684 h 6479439"/>
              <a:gd name="connsiteX5126" fmla="*/ 5021451 w 9586368"/>
              <a:gd name="connsiteY5126" fmla="*/ 2885645 h 6479439"/>
              <a:gd name="connsiteX5127" fmla="*/ 5021451 w 9586368"/>
              <a:gd name="connsiteY5127" fmla="*/ 2875775 h 6479439"/>
              <a:gd name="connsiteX5128" fmla="*/ 4786241 w 9586368"/>
              <a:gd name="connsiteY5128" fmla="*/ 2871736 h 6479439"/>
              <a:gd name="connsiteX5129" fmla="*/ 4796152 w 9586368"/>
              <a:gd name="connsiteY5129" fmla="*/ 2871736 h 6479439"/>
              <a:gd name="connsiteX5130" fmla="*/ 4800171 w 9586368"/>
              <a:gd name="connsiteY5130" fmla="*/ 2875775 h 6479439"/>
              <a:gd name="connsiteX5131" fmla="*/ 4800171 w 9586368"/>
              <a:gd name="connsiteY5131" fmla="*/ 2885645 h 6479439"/>
              <a:gd name="connsiteX5132" fmla="*/ 4796152 w 9586368"/>
              <a:gd name="connsiteY5132" fmla="*/ 2889684 h 6479439"/>
              <a:gd name="connsiteX5133" fmla="*/ 4786241 w 9586368"/>
              <a:gd name="connsiteY5133" fmla="*/ 2889684 h 6479439"/>
              <a:gd name="connsiteX5134" fmla="*/ 4782224 w 9586368"/>
              <a:gd name="connsiteY5134" fmla="*/ 2885645 h 6479439"/>
              <a:gd name="connsiteX5135" fmla="*/ 4782224 w 9586368"/>
              <a:gd name="connsiteY5135" fmla="*/ 2875775 h 6479439"/>
              <a:gd name="connsiteX5136" fmla="*/ 4546929 w 9586368"/>
              <a:gd name="connsiteY5136" fmla="*/ 2871736 h 6479439"/>
              <a:gd name="connsiteX5137" fmla="*/ 4556840 w 9586368"/>
              <a:gd name="connsiteY5137" fmla="*/ 2871736 h 6479439"/>
              <a:gd name="connsiteX5138" fmla="*/ 4560859 w 9586368"/>
              <a:gd name="connsiteY5138" fmla="*/ 2875775 h 6479439"/>
              <a:gd name="connsiteX5139" fmla="*/ 4560859 w 9586368"/>
              <a:gd name="connsiteY5139" fmla="*/ 2885645 h 6479439"/>
              <a:gd name="connsiteX5140" fmla="*/ 4556840 w 9586368"/>
              <a:gd name="connsiteY5140" fmla="*/ 2889684 h 6479439"/>
              <a:gd name="connsiteX5141" fmla="*/ 4546929 w 9586368"/>
              <a:gd name="connsiteY5141" fmla="*/ 2889684 h 6479439"/>
              <a:gd name="connsiteX5142" fmla="*/ 4542910 w 9586368"/>
              <a:gd name="connsiteY5142" fmla="*/ 2885645 h 6479439"/>
              <a:gd name="connsiteX5143" fmla="*/ 4542910 w 9586368"/>
              <a:gd name="connsiteY5143" fmla="*/ 2875775 h 6479439"/>
              <a:gd name="connsiteX5144" fmla="*/ 4307612 w 9586368"/>
              <a:gd name="connsiteY5144" fmla="*/ 2871736 h 6479439"/>
              <a:gd name="connsiteX5145" fmla="*/ 4317523 w 9586368"/>
              <a:gd name="connsiteY5145" fmla="*/ 2871736 h 6479439"/>
              <a:gd name="connsiteX5146" fmla="*/ 4321543 w 9586368"/>
              <a:gd name="connsiteY5146" fmla="*/ 2875775 h 6479439"/>
              <a:gd name="connsiteX5147" fmla="*/ 4321543 w 9586368"/>
              <a:gd name="connsiteY5147" fmla="*/ 2885645 h 6479439"/>
              <a:gd name="connsiteX5148" fmla="*/ 4317523 w 9586368"/>
              <a:gd name="connsiteY5148" fmla="*/ 2889684 h 6479439"/>
              <a:gd name="connsiteX5149" fmla="*/ 4307612 w 9586368"/>
              <a:gd name="connsiteY5149" fmla="*/ 2889684 h 6479439"/>
              <a:gd name="connsiteX5150" fmla="*/ 4303595 w 9586368"/>
              <a:gd name="connsiteY5150" fmla="*/ 2885645 h 6479439"/>
              <a:gd name="connsiteX5151" fmla="*/ 4303595 w 9586368"/>
              <a:gd name="connsiteY5151" fmla="*/ 2875775 h 6479439"/>
              <a:gd name="connsiteX5152" fmla="*/ 4068297 w 9586368"/>
              <a:gd name="connsiteY5152" fmla="*/ 2871736 h 6479439"/>
              <a:gd name="connsiteX5153" fmla="*/ 4078210 w 9586368"/>
              <a:gd name="connsiteY5153" fmla="*/ 2871736 h 6479439"/>
              <a:gd name="connsiteX5154" fmla="*/ 4082229 w 9586368"/>
              <a:gd name="connsiteY5154" fmla="*/ 2875775 h 6479439"/>
              <a:gd name="connsiteX5155" fmla="*/ 4082229 w 9586368"/>
              <a:gd name="connsiteY5155" fmla="*/ 2885645 h 6479439"/>
              <a:gd name="connsiteX5156" fmla="*/ 4078210 w 9586368"/>
              <a:gd name="connsiteY5156" fmla="*/ 2889684 h 6479439"/>
              <a:gd name="connsiteX5157" fmla="*/ 4068297 w 9586368"/>
              <a:gd name="connsiteY5157" fmla="*/ 2889684 h 6479439"/>
              <a:gd name="connsiteX5158" fmla="*/ 4064278 w 9586368"/>
              <a:gd name="connsiteY5158" fmla="*/ 2885645 h 6479439"/>
              <a:gd name="connsiteX5159" fmla="*/ 4064278 w 9586368"/>
              <a:gd name="connsiteY5159" fmla="*/ 2875775 h 6479439"/>
              <a:gd name="connsiteX5160" fmla="*/ 3828990 w 9586368"/>
              <a:gd name="connsiteY5160" fmla="*/ 2871736 h 6479439"/>
              <a:gd name="connsiteX5161" fmla="*/ 3838899 w 9586368"/>
              <a:gd name="connsiteY5161" fmla="*/ 2871736 h 6479439"/>
              <a:gd name="connsiteX5162" fmla="*/ 3842917 w 9586368"/>
              <a:gd name="connsiteY5162" fmla="*/ 2875775 h 6479439"/>
              <a:gd name="connsiteX5163" fmla="*/ 3842917 w 9586368"/>
              <a:gd name="connsiteY5163" fmla="*/ 2885645 h 6479439"/>
              <a:gd name="connsiteX5164" fmla="*/ 3838899 w 9586368"/>
              <a:gd name="connsiteY5164" fmla="*/ 2889684 h 6479439"/>
              <a:gd name="connsiteX5165" fmla="*/ 3828990 w 9586368"/>
              <a:gd name="connsiteY5165" fmla="*/ 2889684 h 6479439"/>
              <a:gd name="connsiteX5166" fmla="*/ 3824971 w 9586368"/>
              <a:gd name="connsiteY5166" fmla="*/ 2885645 h 6479439"/>
              <a:gd name="connsiteX5167" fmla="*/ 3824971 w 9586368"/>
              <a:gd name="connsiteY5167" fmla="*/ 2875775 h 6479439"/>
              <a:gd name="connsiteX5168" fmla="*/ 3589676 w 9586368"/>
              <a:gd name="connsiteY5168" fmla="*/ 2871736 h 6479439"/>
              <a:gd name="connsiteX5169" fmla="*/ 3599585 w 9586368"/>
              <a:gd name="connsiteY5169" fmla="*/ 2871736 h 6479439"/>
              <a:gd name="connsiteX5170" fmla="*/ 3603604 w 9586368"/>
              <a:gd name="connsiteY5170" fmla="*/ 2875775 h 6479439"/>
              <a:gd name="connsiteX5171" fmla="*/ 3603604 w 9586368"/>
              <a:gd name="connsiteY5171" fmla="*/ 2885645 h 6479439"/>
              <a:gd name="connsiteX5172" fmla="*/ 3599585 w 9586368"/>
              <a:gd name="connsiteY5172" fmla="*/ 2889684 h 6479439"/>
              <a:gd name="connsiteX5173" fmla="*/ 3589676 w 9586368"/>
              <a:gd name="connsiteY5173" fmla="*/ 2889684 h 6479439"/>
              <a:gd name="connsiteX5174" fmla="*/ 3585657 w 9586368"/>
              <a:gd name="connsiteY5174" fmla="*/ 2885645 h 6479439"/>
              <a:gd name="connsiteX5175" fmla="*/ 3585657 w 9586368"/>
              <a:gd name="connsiteY5175" fmla="*/ 2875775 h 6479439"/>
              <a:gd name="connsiteX5176" fmla="*/ 3350359 w 9586368"/>
              <a:gd name="connsiteY5176" fmla="*/ 2871736 h 6479439"/>
              <a:gd name="connsiteX5177" fmla="*/ 3360268 w 9586368"/>
              <a:gd name="connsiteY5177" fmla="*/ 2871736 h 6479439"/>
              <a:gd name="connsiteX5178" fmla="*/ 3364287 w 9586368"/>
              <a:gd name="connsiteY5178" fmla="*/ 2875775 h 6479439"/>
              <a:gd name="connsiteX5179" fmla="*/ 3364287 w 9586368"/>
              <a:gd name="connsiteY5179" fmla="*/ 2885645 h 6479439"/>
              <a:gd name="connsiteX5180" fmla="*/ 3360268 w 9586368"/>
              <a:gd name="connsiteY5180" fmla="*/ 2889684 h 6479439"/>
              <a:gd name="connsiteX5181" fmla="*/ 3350359 w 9586368"/>
              <a:gd name="connsiteY5181" fmla="*/ 2889684 h 6479439"/>
              <a:gd name="connsiteX5182" fmla="*/ 3346340 w 9586368"/>
              <a:gd name="connsiteY5182" fmla="*/ 2885645 h 6479439"/>
              <a:gd name="connsiteX5183" fmla="*/ 3346340 w 9586368"/>
              <a:gd name="connsiteY5183" fmla="*/ 2875775 h 6479439"/>
              <a:gd name="connsiteX5184" fmla="*/ 3111048 w 9586368"/>
              <a:gd name="connsiteY5184" fmla="*/ 2871736 h 6479439"/>
              <a:gd name="connsiteX5185" fmla="*/ 3120959 w 9586368"/>
              <a:gd name="connsiteY5185" fmla="*/ 2871736 h 6479439"/>
              <a:gd name="connsiteX5186" fmla="*/ 3124977 w 9586368"/>
              <a:gd name="connsiteY5186" fmla="*/ 2875775 h 6479439"/>
              <a:gd name="connsiteX5187" fmla="*/ 3124977 w 9586368"/>
              <a:gd name="connsiteY5187" fmla="*/ 2885645 h 6479439"/>
              <a:gd name="connsiteX5188" fmla="*/ 3120959 w 9586368"/>
              <a:gd name="connsiteY5188" fmla="*/ 2889684 h 6479439"/>
              <a:gd name="connsiteX5189" fmla="*/ 3111048 w 9586368"/>
              <a:gd name="connsiteY5189" fmla="*/ 2889684 h 6479439"/>
              <a:gd name="connsiteX5190" fmla="*/ 3107029 w 9586368"/>
              <a:gd name="connsiteY5190" fmla="*/ 2885645 h 6479439"/>
              <a:gd name="connsiteX5191" fmla="*/ 3107029 w 9586368"/>
              <a:gd name="connsiteY5191" fmla="*/ 2875775 h 6479439"/>
              <a:gd name="connsiteX5192" fmla="*/ 2871737 w 9586368"/>
              <a:gd name="connsiteY5192" fmla="*/ 2871736 h 6479439"/>
              <a:gd name="connsiteX5193" fmla="*/ 2881646 w 9586368"/>
              <a:gd name="connsiteY5193" fmla="*/ 2871736 h 6479439"/>
              <a:gd name="connsiteX5194" fmla="*/ 2885666 w 9586368"/>
              <a:gd name="connsiteY5194" fmla="*/ 2875775 h 6479439"/>
              <a:gd name="connsiteX5195" fmla="*/ 2885666 w 9586368"/>
              <a:gd name="connsiteY5195" fmla="*/ 2885645 h 6479439"/>
              <a:gd name="connsiteX5196" fmla="*/ 2881646 w 9586368"/>
              <a:gd name="connsiteY5196" fmla="*/ 2889684 h 6479439"/>
              <a:gd name="connsiteX5197" fmla="*/ 2871737 w 9586368"/>
              <a:gd name="connsiteY5197" fmla="*/ 2889684 h 6479439"/>
              <a:gd name="connsiteX5198" fmla="*/ 2867717 w 9586368"/>
              <a:gd name="connsiteY5198" fmla="*/ 2885645 h 6479439"/>
              <a:gd name="connsiteX5199" fmla="*/ 2867717 w 9586368"/>
              <a:gd name="connsiteY5199" fmla="*/ 2875775 h 6479439"/>
              <a:gd name="connsiteX5200" fmla="*/ 2632423 w 9586368"/>
              <a:gd name="connsiteY5200" fmla="*/ 2871736 h 6479439"/>
              <a:gd name="connsiteX5201" fmla="*/ 2642334 w 9586368"/>
              <a:gd name="connsiteY5201" fmla="*/ 2871736 h 6479439"/>
              <a:gd name="connsiteX5202" fmla="*/ 2646352 w 9586368"/>
              <a:gd name="connsiteY5202" fmla="*/ 2875775 h 6479439"/>
              <a:gd name="connsiteX5203" fmla="*/ 2646352 w 9586368"/>
              <a:gd name="connsiteY5203" fmla="*/ 2885645 h 6479439"/>
              <a:gd name="connsiteX5204" fmla="*/ 2642334 w 9586368"/>
              <a:gd name="connsiteY5204" fmla="*/ 2889684 h 6479439"/>
              <a:gd name="connsiteX5205" fmla="*/ 2632423 w 9586368"/>
              <a:gd name="connsiteY5205" fmla="*/ 2889684 h 6479439"/>
              <a:gd name="connsiteX5206" fmla="*/ 2628404 w 9586368"/>
              <a:gd name="connsiteY5206" fmla="*/ 2885645 h 6479439"/>
              <a:gd name="connsiteX5207" fmla="*/ 2628404 w 9586368"/>
              <a:gd name="connsiteY5207" fmla="*/ 2875775 h 6479439"/>
              <a:gd name="connsiteX5208" fmla="*/ 2393104 w 9586368"/>
              <a:gd name="connsiteY5208" fmla="*/ 2871736 h 6479439"/>
              <a:gd name="connsiteX5209" fmla="*/ 2403015 w 9586368"/>
              <a:gd name="connsiteY5209" fmla="*/ 2871736 h 6479439"/>
              <a:gd name="connsiteX5210" fmla="*/ 2407034 w 9586368"/>
              <a:gd name="connsiteY5210" fmla="*/ 2875775 h 6479439"/>
              <a:gd name="connsiteX5211" fmla="*/ 2407034 w 9586368"/>
              <a:gd name="connsiteY5211" fmla="*/ 2885645 h 6479439"/>
              <a:gd name="connsiteX5212" fmla="*/ 2403015 w 9586368"/>
              <a:gd name="connsiteY5212" fmla="*/ 2889684 h 6479439"/>
              <a:gd name="connsiteX5213" fmla="*/ 2393104 w 9586368"/>
              <a:gd name="connsiteY5213" fmla="*/ 2889684 h 6479439"/>
              <a:gd name="connsiteX5214" fmla="*/ 2389087 w 9586368"/>
              <a:gd name="connsiteY5214" fmla="*/ 2885645 h 6479439"/>
              <a:gd name="connsiteX5215" fmla="*/ 2389087 w 9586368"/>
              <a:gd name="connsiteY5215" fmla="*/ 2875775 h 6479439"/>
              <a:gd name="connsiteX5216" fmla="*/ 721969 w 9586368"/>
              <a:gd name="connsiteY5216" fmla="*/ 2871736 h 6479439"/>
              <a:gd name="connsiteX5217" fmla="*/ 731879 w 9586368"/>
              <a:gd name="connsiteY5217" fmla="*/ 2871736 h 6479439"/>
              <a:gd name="connsiteX5218" fmla="*/ 735898 w 9586368"/>
              <a:gd name="connsiteY5218" fmla="*/ 2875775 h 6479439"/>
              <a:gd name="connsiteX5219" fmla="*/ 735898 w 9586368"/>
              <a:gd name="connsiteY5219" fmla="*/ 2885645 h 6479439"/>
              <a:gd name="connsiteX5220" fmla="*/ 731879 w 9586368"/>
              <a:gd name="connsiteY5220" fmla="*/ 2889684 h 6479439"/>
              <a:gd name="connsiteX5221" fmla="*/ 721969 w 9586368"/>
              <a:gd name="connsiteY5221" fmla="*/ 2889684 h 6479439"/>
              <a:gd name="connsiteX5222" fmla="*/ 717950 w 9586368"/>
              <a:gd name="connsiteY5222" fmla="*/ 2885645 h 6479439"/>
              <a:gd name="connsiteX5223" fmla="*/ 717950 w 9586368"/>
              <a:gd name="connsiteY5223" fmla="*/ 2875775 h 6479439"/>
              <a:gd name="connsiteX5224" fmla="*/ 482656 w 9586368"/>
              <a:gd name="connsiteY5224" fmla="*/ 2871736 h 6479439"/>
              <a:gd name="connsiteX5225" fmla="*/ 492567 w 9586368"/>
              <a:gd name="connsiteY5225" fmla="*/ 2871736 h 6479439"/>
              <a:gd name="connsiteX5226" fmla="*/ 496586 w 9586368"/>
              <a:gd name="connsiteY5226" fmla="*/ 2875775 h 6479439"/>
              <a:gd name="connsiteX5227" fmla="*/ 496586 w 9586368"/>
              <a:gd name="connsiteY5227" fmla="*/ 2885645 h 6479439"/>
              <a:gd name="connsiteX5228" fmla="*/ 492567 w 9586368"/>
              <a:gd name="connsiteY5228" fmla="*/ 2889684 h 6479439"/>
              <a:gd name="connsiteX5229" fmla="*/ 482656 w 9586368"/>
              <a:gd name="connsiteY5229" fmla="*/ 2889684 h 6479439"/>
              <a:gd name="connsiteX5230" fmla="*/ 478637 w 9586368"/>
              <a:gd name="connsiteY5230" fmla="*/ 2885645 h 6479439"/>
              <a:gd name="connsiteX5231" fmla="*/ 478637 w 9586368"/>
              <a:gd name="connsiteY5231" fmla="*/ 2875775 h 6479439"/>
              <a:gd name="connsiteX5232" fmla="*/ 243343 w 9586368"/>
              <a:gd name="connsiteY5232" fmla="*/ 2871736 h 6479439"/>
              <a:gd name="connsiteX5233" fmla="*/ 253253 w 9586368"/>
              <a:gd name="connsiteY5233" fmla="*/ 2871736 h 6479439"/>
              <a:gd name="connsiteX5234" fmla="*/ 257272 w 9586368"/>
              <a:gd name="connsiteY5234" fmla="*/ 2875775 h 6479439"/>
              <a:gd name="connsiteX5235" fmla="*/ 257272 w 9586368"/>
              <a:gd name="connsiteY5235" fmla="*/ 2885645 h 6479439"/>
              <a:gd name="connsiteX5236" fmla="*/ 253253 w 9586368"/>
              <a:gd name="connsiteY5236" fmla="*/ 2889684 h 6479439"/>
              <a:gd name="connsiteX5237" fmla="*/ 243343 w 9586368"/>
              <a:gd name="connsiteY5237" fmla="*/ 2889684 h 6479439"/>
              <a:gd name="connsiteX5238" fmla="*/ 239324 w 9586368"/>
              <a:gd name="connsiteY5238" fmla="*/ 2885645 h 6479439"/>
              <a:gd name="connsiteX5239" fmla="*/ 239324 w 9586368"/>
              <a:gd name="connsiteY5239" fmla="*/ 2875775 h 6479439"/>
              <a:gd name="connsiteX5240" fmla="*/ 4030 w 9586368"/>
              <a:gd name="connsiteY5240" fmla="*/ 2871736 h 6479439"/>
              <a:gd name="connsiteX5241" fmla="*/ 13940 w 9586368"/>
              <a:gd name="connsiteY5241" fmla="*/ 2871736 h 6479439"/>
              <a:gd name="connsiteX5242" fmla="*/ 17959 w 9586368"/>
              <a:gd name="connsiteY5242" fmla="*/ 2875775 h 6479439"/>
              <a:gd name="connsiteX5243" fmla="*/ 17959 w 9586368"/>
              <a:gd name="connsiteY5243" fmla="*/ 2885645 h 6479439"/>
              <a:gd name="connsiteX5244" fmla="*/ 13940 w 9586368"/>
              <a:gd name="connsiteY5244" fmla="*/ 2889684 h 6479439"/>
              <a:gd name="connsiteX5245" fmla="*/ 4030 w 9586368"/>
              <a:gd name="connsiteY5245" fmla="*/ 2889684 h 6479439"/>
              <a:gd name="connsiteX5246" fmla="*/ 11 w 9586368"/>
              <a:gd name="connsiteY5246" fmla="*/ 2885645 h 6479439"/>
              <a:gd name="connsiteX5247" fmla="*/ 11 w 9586368"/>
              <a:gd name="connsiteY5247" fmla="*/ 2875775 h 6479439"/>
              <a:gd name="connsiteX5248" fmla="*/ 9572438 w 9586368"/>
              <a:gd name="connsiteY5248" fmla="*/ 2632457 h 6479439"/>
              <a:gd name="connsiteX5249" fmla="*/ 9582349 w 9586368"/>
              <a:gd name="connsiteY5249" fmla="*/ 2632457 h 6479439"/>
              <a:gd name="connsiteX5250" fmla="*/ 9586368 w 9586368"/>
              <a:gd name="connsiteY5250" fmla="*/ 2636496 h 6479439"/>
              <a:gd name="connsiteX5251" fmla="*/ 9586368 w 9586368"/>
              <a:gd name="connsiteY5251" fmla="*/ 2646366 h 6479439"/>
              <a:gd name="connsiteX5252" fmla="*/ 9582349 w 9586368"/>
              <a:gd name="connsiteY5252" fmla="*/ 2650405 h 6479439"/>
              <a:gd name="connsiteX5253" fmla="*/ 9572438 w 9586368"/>
              <a:gd name="connsiteY5253" fmla="*/ 2650405 h 6479439"/>
              <a:gd name="connsiteX5254" fmla="*/ 9568419 w 9586368"/>
              <a:gd name="connsiteY5254" fmla="*/ 2646366 h 6479439"/>
              <a:gd name="connsiteX5255" fmla="*/ 9568419 w 9586368"/>
              <a:gd name="connsiteY5255" fmla="*/ 2636496 h 6479439"/>
              <a:gd name="connsiteX5256" fmla="*/ 9333125 w 9586368"/>
              <a:gd name="connsiteY5256" fmla="*/ 2632457 h 6479439"/>
              <a:gd name="connsiteX5257" fmla="*/ 9343036 w 9586368"/>
              <a:gd name="connsiteY5257" fmla="*/ 2632457 h 6479439"/>
              <a:gd name="connsiteX5258" fmla="*/ 9347055 w 9586368"/>
              <a:gd name="connsiteY5258" fmla="*/ 2636496 h 6479439"/>
              <a:gd name="connsiteX5259" fmla="*/ 9347055 w 9586368"/>
              <a:gd name="connsiteY5259" fmla="*/ 2646366 h 6479439"/>
              <a:gd name="connsiteX5260" fmla="*/ 9343036 w 9586368"/>
              <a:gd name="connsiteY5260" fmla="*/ 2650405 h 6479439"/>
              <a:gd name="connsiteX5261" fmla="*/ 9333125 w 9586368"/>
              <a:gd name="connsiteY5261" fmla="*/ 2650405 h 6479439"/>
              <a:gd name="connsiteX5262" fmla="*/ 9329106 w 9586368"/>
              <a:gd name="connsiteY5262" fmla="*/ 2646366 h 6479439"/>
              <a:gd name="connsiteX5263" fmla="*/ 9329106 w 9586368"/>
              <a:gd name="connsiteY5263" fmla="*/ 2636496 h 6479439"/>
              <a:gd name="connsiteX5264" fmla="*/ 9093811 w 9586368"/>
              <a:gd name="connsiteY5264" fmla="*/ 2632457 h 6479439"/>
              <a:gd name="connsiteX5265" fmla="*/ 9103722 w 9586368"/>
              <a:gd name="connsiteY5265" fmla="*/ 2632457 h 6479439"/>
              <a:gd name="connsiteX5266" fmla="*/ 9107741 w 9586368"/>
              <a:gd name="connsiteY5266" fmla="*/ 2636496 h 6479439"/>
              <a:gd name="connsiteX5267" fmla="*/ 9107741 w 9586368"/>
              <a:gd name="connsiteY5267" fmla="*/ 2646366 h 6479439"/>
              <a:gd name="connsiteX5268" fmla="*/ 9103722 w 9586368"/>
              <a:gd name="connsiteY5268" fmla="*/ 2650405 h 6479439"/>
              <a:gd name="connsiteX5269" fmla="*/ 9093811 w 9586368"/>
              <a:gd name="connsiteY5269" fmla="*/ 2650405 h 6479439"/>
              <a:gd name="connsiteX5270" fmla="*/ 9089792 w 9586368"/>
              <a:gd name="connsiteY5270" fmla="*/ 2646366 h 6479439"/>
              <a:gd name="connsiteX5271" fmla="*/ 9089792 w 9586368"/>
              <a:gd name="connsiteY5271" fmla="*/ 2636496 h 6479439"/>
              <a:gd name="connsiteX5272" fmla="*/ 8854496 w 9586368"/>
              <a:gd name="connsiteY5272" fmla="*/ 2632457 h 6479439"/>
              <a:gd name="connsiteX5273" fmla="*/ 8864407 w 9586368"/>
              <a:gd name="connsiteY5273" fmla="*/ 2632457 h 6479439"/>
              <a:gd name="connsiteX5274" fmla="*/ 8868426 w 9586368"/>
              <a:gd name="connsiteY5274" fmla="*/ 2636496 h 6479439"/>
              <a:gd name="connsiteX5275" fmla="*/ 8868426 w 9586368"/>
              <a:gd name="connsiteY5275" fmla="*/ 2646366 h 6479439"/>
              <a:gd name="connsiteX5276" fmla="*/ 8864407 w 9586368"/>
              <a:gd name="connsiteY5276" fmla="*/ 2650405 h 6479439"/>
              <a:gd name="connsiteX5277" fmla="*/ 8854496 w 9586368"/>
              <a:gd name="connsiteY5277" fmla="*/ 2650405 h 6479439"/>
              <a:gd name="connsiteX5278" fmla="*/ 8850477 w 9586368"/>
              <a:gd name="connsiteY5278" fmla="*/ 2646366 h 6479439"/>
              <a:gd name="connsiteX5279" fmla="*/ 8850477 w 9586368"/>
              <a:gd name="connsiteY5279" fmla="*/ 2636496 h 6479439"/>
              <a:gd name="connsiteX5280" fmla="*/ 8615184 w 9586368"/>
              <a:gd name="connsiteY5280" fmla="*/ 2632457 h 6479439"/>
              <a:gd name="connsiteX5281" fmla="*/ 8625095 w 9586368"/>
              <a:gd name="connsiteY5281" fmla="*/ 2632457 h 6479439"/>
              <a:gd name="connsiteX5282" fmla="*/ 8629114 w 9586368"/>
              <a:gd name="connsiteY5282" fmla="*/ 2636496 h 6479439"/>
              <a:gd name="connsiteX5283" fmla="*/ 8629114 w 9586368"/>
              <a:gd name="connsiteY5283" fmla="*/ 2646366 h 6479439"/>
              <a:gd name="connsiteX5284" fmla="*/ 8625095 w 9586368"/>
              <a:gd name="connsiteY5284" fmla="*/ 2650405 h 6479439"/>
              <a:gd name="connsiteX5285" fmla="*/ 8615184 w 9586368"/>
              <a:gd name="connsiteY5285" fmla="*/ 2650405 h 6479439"/>
              <a:gd name="connsiteX5286" fmla="*/ 8611165 w 9586368"/>
              <a:gd name="connsiteY5286" fmla="*/ 2646366 h 6479439"/>
              <a:gd name="connsiteX5287" fmla="*/ 8611165 w 9586368"/>
              <a:gd name="connsiteY5287" fmla="*/ 2636496 h 6479439"/>
              <a:gd name="connsiteX5288" fmla="*/ 8375869 w 9586368"/>
              <a:gd name="connsiteY5288" fmla="*/ 2632457 h 6479439"/>
              <a:gd name="connsiteX5289" fmla="*/ 8385779 w 9586368"/>
              <a:gd name="connsiteY5289" fmla="*/ 2632457 h 6479439"/>
              <a:gd name="connsiteX5290" fmla="*/ 8389799 w 9586368"/>
              <a:gd name="connsiteY5290" fmla="*/ 2636496 h 6479439"/>
              <a:gd name="connsiteX5291" fmla="*/ 8389799 w 9586368"/>
              <a:gd name="connsiteY5291" fmla="*/ 2646366 h 6479439"/>
              <a:gd name="connsiteX5292" fmla="*/ 8385779 w 9586368"/>
              <a:gd name="connsiteY5292" fmla="*/ 2650405 h 6479439"/>
              <a:gd name="connsiteX5293" fmla="*/ 8375869 w 9586368"/>
              <a:gd name="connsiteY5293" fmla="*/ 2650405 h 6479439"/>
              <a:gd name="connsiteX5294" fmla="*/ 8371850 w 9586368"/>
              <a:gd name="connsiteY5294" fmla="*/ 2646366 h 6479439"/>
              <a:gd name="connsiteX5295" fmla="*/ 8371850 w 9586368"/>
              <a:gd name="connsiteY5295" fmla="*/ 2636496 h 6479439"/>
              <a:gd name="connsiteX5296" fmla="*/ 8136553 w 9586368"/>
              <a:gd name="connsiteY5296" fmla="*/ 2632457 h 6479439"/>
              <a:gd name="connsiteX5297" fmla="*/ 8146464 w 9586368"/>
              <a:gd name="connsiteY5297" fmla="*/ 2632457 h 6479439"/>
              <a:gd name="connsiteX5298" fmla="*/ 8150483 w 9586368"/>
              <a:gd name="connsiteY5298" fmla="*/ 2636496 h 6479439"/>
              <a:gd name="connsiteX5299" fmla="*/ 8150483 w 9586368"/>
              <a:gd name="connsiteY5299" fmla="*/ 2646366 h 6479439"/>
              <a:gd name="connsiteX5300" fmla="*/ 8146464 w 9586368"/>
              <a:gd name="connsiteY5300" fmla="*/ 2650405 h 6479439"/>
              <a:gd name="connsiteX5301" fmla="*/ 8136553 w 9586368"/>
              <a:gd name="connsiteY5301" fmla="*/ 2650405 h 6479439"/>
              <a:gd name="connsiteX5302" fmla="*/ 8132534 w 9586368"/>
              <a:gd name="connsiteY5302" fmla="*/ 2646366 h 6479439"/>
              <a:gd name="connsiteX5303" fmla="*/ 8132534 w 9586368"/>
              <a:gd name="connsiteY5303" fmla="*/ 2636496 h 6479439"/>
              <a:gd name="connsiteX5304" fmla="*/ 7897241 w 9586368"/>
              <a:gd name="connsiteY5304" fmla="*/ 2632457 h 6479439"/>
              <a:gd name="connsiteX5305" fmla="*/ 7907151 w 9586368"/>
              <a:gd name="connsiteY5305" fmla="*/ 2632457 h 6479439"/>
              <a:gd name="connsiteX5306" fmla="*/ 7911170 w 9586368"/>
              <a:gd name="connsiteY5306" fmla="*/ 2636496 h 6479439"/>
              <a:gd name="connsiteX5307" fmla="*/ 7911170 w 9586368"/>
              <a:gd name="connsiteY5307" fmla="*/ 2646366 h 6479439"/>
              <a:gd name="connsiteX5308" fmla="*/ 7907151 w 9586368"/>
              <a:gd name="connsiteY5308" fmla="*/ 2650405 h 6479439"/>
              <a:gd name="connsiteX5309" fmla="*/ 7897241 w 9586368"/>
              <a:gd name="connsiteY5309" fmla="*/ 2650405 h 6479439"/>
              <a:gd name="connsiteX5310" fmla="*/ 7893222 w 9586368"/>
              <a:gd name="connsiteY5310" fmla="*/ 2646366 h 6479439"/>
              <a:gd name="connsiteX5311" fmla="*/ 7893222 w 9586368"/>
              <a:gd name="connsiteY5311" fmla="*/ 2636496 h 6479439"/>
              <a:gd name="connsiteX5312" fmla="*/ 7657926 w 9586368"/>
              <a:gd name="connsiteY5312" fmla="*/ 2632457 h 6479439"/>
              <a:gd name="connsiteX5313" fmla="*/ 7667836 w 9586368"/>
              <a:gd name="connsiteY5313" fmla="*/ 2632457 h 6479439"/>
              <a:gd name="connsiteX5314" fmla="*/ 7671855 w 9586368"/>
              <a:gd name="connsiteY5314" fmla="*/ 2636496 h 6479439"/>
              <a:gd name="connsiteX5315" fmla="*/ 7671855 w 9586368"/>
              <a:gd name="connsiteY5315" fmla="*/ 2646366 h 6479439"/>
              <a:gd name="connsiteX5316" fmla="*/ 7667836 w 9586368"/>
              <a:gd name="connsiteY5316" fmla="*/ 2650405 h 6479439"/>
              <a:gd name="connsiteX5317" fmla="*/ 7657926 w 9586368"/>
              <a:gd name="connsiteY5317" fmla="*/ 2650405 h 6479439"/>
              <a:gd name="connsiteX5318" fmla="*/ 7653906 w 9586368"/>
              <a:gd name="connsiteY5318" fmla="*/ 2646366 h 6479439"/>
              <a:gd name="connsiteX5319" fmla="*/ 7653906 w 9586368"/>
              <a:gd name="connsiteY5319" fmla="*/ 2636496 h 6479439"/>
              <a:gd name="connsiteX5320" fmla="*/ 7418611 w 9586368"/>
              <a:gd name="connsiteY5320" fmla="*/ 2632457 h 6479439"/>
              <a:gd name="connsiteX5321" fmla="*/ 7428521 w 9586368"/>
              <a:gd name="connsiteY5321" fmla="*/ 2632457 h 6479439"/>
              <a:gd name="connsiteX5322" fmla="*/ 7432540 w 9586368"/>
              <a:gd name="connsiteY5322" fmla="*/ 2636496 h 6479439"/>
              <a:gd name="connsiteX5323" fmla="*/ 7432540 w 9586368"/>
              <a:gd name="connsiteY5323" fmla="*/ 2646366 h 6479439"/>
              <a:gd name="connsiteX5324" fmla="*/ 7428521 w 9586368"/>
              <a:gd name="connsiteY5324" fmla="*/ 2650405 h 6479439"/>
              <a:gd name="connsiteX5325" fmla="*/ 7418611 w 9586368"/>
              <a:gd name="connsiteY5325" fmla="*/ 2650405 h 6479439"/>
              <a:gd name="connsiteX5326" fmla="*/ 7414592 w 9586368"/>
              <a:gd name="connsiteY5326" fmla="*/ 2646366 h 6479439"/>
              <a:gd name="connsiteX5327" fmla="*/ 7414592 w 9586368"/>
              <a:gd name="connsiteY5327" fmla="*/ 2636496 h 6479439"/>
              <a:gd name="connsiteX5328" fmla="*/ 7179298 w 9586368"/>
              <a:gd name="connsiteY5328" fmla="*/ 2632457 h 6479439"/>
              <a:gd name="connsiteX5329" fmla="*/ 7189209 w 9586368"/>
              <a:gd name="connsiteY5329" fmla="*/ 2632457 h 6479439"/>
              <a:gd name="connsiteX5330" fmla="*/ 7193228 w 9586368"/>
              <a:gd name="connsiteY5330" fmla="*/ 2636496 h 6479439"/>
              <a:gd name="connsiteX5331" fmla="*/ 7193228 w 9586368"/>
              <a:gd name="connsiteY5331" fmla="*/ 2646366 h 6479439"/>
              <a:gd name="connsiteX5332" fmla="*/ 7189209 w 9586368"/>
              <a:gd name="connsiteY5332" fmla="*/ 2650405 h 6479439"/>
              <a:gd name="connsiteX5333" fmla="*/ 7179298 w 9586368"/>
              <a:gd name="connsiteY5333" fmla="*/ 2650405 h 6479439"/>
              <a:gd name="connsiteX5334" fmla="*/ 7175279 w 9586368"/>
              <a:gd name="connsiteY5334" fmla="*/ 2646366 h 6479439"/>
              <a:gd name="connsiteX5335" fmla="*/ 7175279 w 9586368"/>
              <a:gd name="connsiteY5335" fmla="*/ 2636496 h 6479439"/>
              <a:gd name="connsiteX5336" fmla="*/ 6939983 w 9586368"/>
              <a:gd name="connsiteY5336" fmla="*/ 2632457 h 6479439"/>
              <a:gd name="connsiteX5337" fmla="*/ 6949894 w 9586368"/>
              <a:gd name="connsiteY5337" fmla="*/ 2632457 h 6479439"/>
              <a:gd name="connsiteX5338" fmla="*/ 6953913 w 9586368"/>
              <a:gd name="connsiteY5338" fmla="*/ 2636496 h 6479439"/>
              <a:gd name="connsiteX5339" fmla="*/ 6953913 w 9586368"/>
              <a:gd name="connsiteY5339" fmla="*/ 2646366 h 6479439"/>
              <a:gd name="connsiteX5340" fmla="*/ 6949894 w 9586368"/>
              <a:gd name="connsiteY5340" fmla="*/ 2650405 h 6479439"/>
              <a:gd name="connsiteX5341" fmla="*/ 6939983 w 9586368"/>
              <a:gd name="connsiteY5341" fmla="*/ 2650405 h 6479439"/>
              <a:gd name="connsiteX5342" fmla="*/ 6935964 w 9586368"/>
              <a:gd name="connsiteY5342" fmla="*/ 2646366 h 6479439"/>
              <a:gd name="connsiteX5343" fmla="*/ 6935964 w 9586368"/>
              <a:gd name="connsiteY5343" fmla="*/ 2636496 h 6479439"/>
              <a:gd name="connsiteX5344" fmla="*/ 6700670 w 9586368"/>
              <a:gd name="connsiteY5344" fmla="*/ 2632457 h 6479439"/>
              <a:gd name="connsiteX5345" fmla="*/ 6710581 w 9586368"/>
              <a:gd name="connsiteY5345" fmla="*/ 2632457 h 6479439"/>
              <a:gd name="connsiteX5346" fmla="*/ 6714600 w 9586368"/>
              <a:gd name="connsiteY5346" fmla="*/ 2636496 h 6479439"/>
              <a:gd name="connsiteX5347" fmla="*/ 6714600 w 9586368"/>
              <a:gd name="connsiteY5347" fmla="*/ 2646366 h 6479439"/>
              <a:gd name="connsiteX5348" fmla="*/ 6710581 w 9586368"/>
              <a:gd name="connsiteY5348" fmla="*/ 2650405 h 6479439"/>
              <a:gd name="connsiteX5349" fmla="*/ 6700670 w 9586368"/>
              <a:gd name="connsiteY5349" fmla="*/ 2650405 h 6479439"/>
              <a:gd name="connsiteX5350" fmla="*/ 6696651 w 9586368"/>
              <a:gd name="connsiteY5350" fmla="*/ 2646366 h 6479439"/>
              <a:gd name="connsiteX5351" fmla="*/ 6696651 w 9586368"/>
              <a:gd name="connsiteY5351" fmla="*/ 2636496 h 6479439"/>
              <a:gd name="connsiteX5352" fmla="*/ 6461356 w 9586368"/>
              <a:gd name="connsiteY5352" fmla="*/ 2632457 h 6479439"/>
              <a:gd name="connsiteX5353" fmla="*/ 6471266 w 9586368"/>
              <a:gd name="connsiteY5353" fmla="*/ 2632457 h 6479439"/>
              <a:gd name="connsiteX5354" fmla="*/ 6475285 w 9586368"/>
              <a:gd name="connsiteY5354" fmla="*/ 2636496 h 6479439"/>
              <a:gd name="connsiteX5355" fmla="*/ 6475285 w 9586368"/>
              <a:gd name="connsiteY5355" fmla="*/ 2646366 h 6479439"/>
              <a:gd name="connsiteX5356" fmla="*/ 6471266 w 9586368"/>
              <a:gd name="connsiteY5356" fmla="*/ 2650405 h 6479439"/>
              <a:gd name="connsiteX5357" fmla="*/ 6461356 w 9586368"/>
              <a:gd name="connsiteY5357" fmla="*/ 2650405 h 6479439"/>
              <a:gd name="connsiteX5358" fmla="*/ 6457337 w 9586368"/>
              <a:gd name="connsiteY5358" fmla="*/ 2646366 h 6479439"/>
              <a:gd name="connsiteX5359" fmla="*/ 6457337 w 9586368"/>
              <a:gd name="connsiteY5359" fmla="*/ 2636496 h 6479439"/>
              <a:gd name="connsiteX5360" fmla="*/ 6222042 w 9586368"/>
              <a:gd name="connsiteY5360" fmla="*/ 2632457 h 6479439"/>
              <a:gd name="connsiteX5361" fmla="*/ 6231952 w 9586368"/>
              <a:gd name="connsiteY5361" fmla="*/ 2632457 h 6479439"/>
              <a:gd name="connsiteX5362" fmla="*/ 6235971 w 9586368"/>
              <a:gd name="connsiteY5362" fmla="*/ 2636496 h 6479439"/>
              <a:gd name="connsiteX5363" fmla="*/ 6235971 w 9586368"/>
              <a:gd name="connsiteY5363" fmla="*/ 2646366 h 6479439"/>
              <a:gd name="connsiteX5364" fmla="*/ 6231952 w 9586368"/>
              <a:gd name="connsiteY5364" fmla="*/ 2650405 h 6479439"/>
              <a:gd name="connsiteX5365" fmla="*/ 6222042 w 9586368"/>
              <a:gd name="connsiteY5365" fmla="*/ 2650405 h 6479439"/>
              <a:gd name="connsiteX5366" fmla="*/ 6218023 w 9586368"/>
              <a:gd name="connsiteY5366" fmla="*/ 2646366 h 6479439"/>
              <a:gd name="connsiteX5367" fmla="*/ 6218023 w 9586368"/>
              <a:gd name="connsiteY5367" fmla="*/ 2636496 h 6479439"/>
              <a:gd name="connsiteX5368" fmla="*/ 5982729 w 9586368"/>
              <a:gd name="connsiteY5368" fmla="*/ 2632457 h 6479439"/>
              <a:gd name="connsiteX5369" fmla="*/ 5992639 w 9586368"/>
              <a:gd name="connsiteY5369" fmla="*/ 2632457 h 6479439"/>
              <a:gd name="connsiteX5370" fmla="*/ 5996658 w 9586368"/>
              <a:gd name="connsiteY5370" fmla="*/ 2636496 h 6479439"/>
              <a:gd name="connsiteX5371" fmla="*/ 5996658 w 9586368"/>
              <a:gd name="connsiteY5371" fmla="*/ 2646366 h 6479439"/>
              <a:gd name="connsiteX5372" fmla="*/ 5992639 w 9586368"/>
              <a:gd name="connsiteY5372" fmla="*/ 2650405 h 6479439"/>
              <a:gd name="connsiteX5373" fmla="*/ 5982729 w 9586368"/>
              <a:gd name="connsiteY5373" fmla="*/ 2650405 h 6479439"/>
              <a:gd name="connsiteX5374" fmla="*/ 5978710 w 9586368"/>
              <a:gd name="connsiteY5374" fmla="*/ 2646366 h 6479439"/>
              <a:gd name="connsiteX5375" fmla="*/ 5978710 w 9586368"/>
              <a:gd name="connsiteY5375" fmla="*/ 2636496 h 6479439"/>
              <a:gd name="connsiteX5376" fmla="*/ 5743412 w 9586368"/>
              <a:gd name="connsiteY5376" fmla="*/ 2632457 h 6479439"/>
              <a:gd name="connsiteX5377" fmla="*/ 5753323 w 9586368"/>
              <a:gd name="connsiteY5377" fmla="*/ 2632457 h 6479439"/>
              <a:gd name="connsiteX5378" fmla="*/ 5757342 w 9586368"/>
              <a:gd name="connsiteY5378" fmla="*/ 2636496 h 6479439"/>
              <a:gd name="connsiteX5379" fmla="*/ 5757342 w 9586368"/>
              <a:gd name="connsiteY5379" fmla="*/ 2646366 h 6479439"/>
              <a:gd name="connsiteX5380" fmla="*/ 5753323 w 9586368"/>
              <a:gd name="connsiteY5380" fmla="*/ 2650405 h 6479439"/>
              <a:gd name="connsiteX5381" fmla="*/ 5743412 w 9586368"/>
              <a:gd name="connsiteY5381" fmla="*/ 2650405 h 6479439"/>
              <a:gd name="connsiteX5382" fmla="*/ 5739393 w 9586368"/>
              <a:gd name="connsiteY5382" fmla="*/ 2646366 h 6479439"/>
              <a:gd name="connsiteX5383" fmla="*/ 5739393 w 9586368"/>
              <a:gd name="connsiteY5383" fmla="*/ 2636496 h 6479439"/>
              <a:gd name="connsiteX5384" fmla="*/ 5504099 w 9586368"/>
              <a:gd name="connsiteY5384" fmla="*/ 2632457 h 6479439"/>
              <a:gd name="connsiteX5385" fmla="*/ 5514010 w 9586368"/>
              <a:gd name="connsiteY5385" fmla="*/ 2632457 h 6479439"/>
              <a:gd name="connsiteX5386" fmla="*/ 5518029 w 9586368"/>
              <a:gd name="connsiteY5386" fmla="*/ 2636496 h 6479439"/>
              <a:gd name="connsiteX5387" fmla="*/ 5518029 w 9586368"/>
              <a:gd name="connsiteY5387" fmla="*/ 2646366 h 6479439"/>
              <a:gd name="connsiteX5388" fmla="*/ 5514010 w 9586368"/>
              <a:gd name="connsiteY5388" fmla="*/ 2650405 h 6479439"/>
              <a:gd name="connsiteX5389" fmla="*/ 5504099 w 9586368"/>
              <a:gd name="connsiteY5389" fmla="*/ 2650405 h 6479439"/>
              <a:gd name="connsiteX5390" fmla="*/ 5500080 w 9586368"/>
              <a:gd name="connsiteY5390" fmla="*/ 2646366 h 6479439"/>
              <a:gd name="connsiteX5391" fmla="*/ 5500080 w 9586368"/>
              <a:gd name="connsiteY5391" fmla="*/ 2636496 h 6479439"/>
              <a:gd name="connsiteX5392" fmla="*/ 5264784 w 9586368"/>
              <a:gd name="connsiteY5392" fmla="*/ 2632457 h 6479439"/>
              <a:gd name="connsiteX5393" fmla="*/ 5274694 w 9586368"/>
              <a:gd name="connsiteY5393" fmla="*/ 2632457 h 6479439"/>
              <a:gd name="connsiteX5394" fmla="*/ 5278713 w 9586368"/>
              <a:gd name="connsiteY5394" fmla="*/ 2636496 h 6479439"/>
              <a:gd name="connsiteX5395" fmla="*/ 5278713 w 9586368"/>
              <a:gd name="connsiteY5395" fmla="*/ 2646366 h 6479439"/>
              <a:gd name="connsiteX5396" fmla="*/ 5274694 w 9586368"/>
              <a:gd name="connsiteY5396" fmla="*/ 2650405 h 6479439"/>
              <a:gd name="connsiteX5397" fmla="*/ 5264784 w 9586368"/>
              <a:gd name="connsiteY5397" fmla="*/ 2650405 h 6479439"/>
              <a:gd name="connsiteX5398" fmla="*/ 5260765 w 9586368"/>
              <a:gd name="connsiteY5398" fmla="*/ 2646366 h 6479439"/>
              <a:gd name="connsiteX5399" fmla="*/ 5260765 w 9586368"/>
              <a:gd name="connsiteY5399" fmla="*/ 2636496 h 6479439"/>
              <a:gd name="connsiteX5400" fmla="*/ 5025470 w 9586368"/>
              <a:gd name="connsiteY5400" fmla="*/ 2632457 h 6479439"/>
              <a:gd name="connsiteX5401" fmla="*/ 5035381 w 9586368"/>
              <a:gd name="connsiteY5401" fmla="*/ 2632457 h 6479439"/>
              <a:gd name="connsiteX5402" fmla="*/ 5039400 w 9586368"/>
              <a:gd name="connsiteY5402" fmla="*/ 2636496 h 6479439"/>
              <a:gd name="connsiteX5403" fmla="*/ 5039400 w 9586368"/>
              <a:gd name="connsiteY5403" fmla="*/ 2646366 h 6479439"/>
              <a:gd name="connsiteX5404" fmla="*/ 5035381 w 9586368"/>
              <a:gd name="connsiteY5404" fmla="*/ 2650405 h 6479439"/>
              <a:gd name="connsiteX5405" fmla="*/ 5025470 w 9586368"/>
              <a:gd name="connsiteY5405" fmla="*/ 2650405 h 6479439"/>
              <a:gd name="connsiteX5406" fmla="*/ 5021451 w 9586368"/>
              <a:gd name="connsiteY5406" fmla="*/ 2646366 h 6479439"/>
              <a:gd name="connsiteX5407" fmla="*/ 5021451 w 9586368"/>
              <a:gd name="connsiteY5407" fmla="*/ 2636496 h 6479439"/>
              <a:gd name="connsiteX5408" fmla="*/ 4786241 w 9586368"/>
              <a:gd name="connsiteY5408" fmla="*/ 2632457 h 6479439"/>
              <a:gd name="connsiteX5409" fmla="*/ 4796152 w 9586368"/>
              <a:gd name="connsiteY5409" fmla="*/ 2632457 h 6479439"/>
              <a:gd name="connsiteX5410" fmla="*/ 4800171 w 9586368"/>
              <a:gd name="connsiteY5410" fmla="*/ 2636496 h 6479439"/>
              <a:gd name="connsiteX5411" fmla="*/ 4800171 w 9586368"/>
              <a:gd name="connsiteY5411" fmla="*/ 2646366 h 6479439"/>
              <a:gd name="connsiteX5412" fmla="*/ 4796152 w 9586368"/>
              <a:gd name="connsiteY5412" fmla="*/ 2650405 h 6479439"/>
              <a:gd name="connsiteX5413" fmla="*/ 4786241 w 9586368"/>
              <a:gd name="connsiteY5413" fmla="*/ 2650405 h 6479439"/>
              <a:gd name="connsiteX5414" fmla="*/ 4782224 w 9586368"/>
              <a:gd name="connsiteY5414" fmla="*/ 2646366 h 6479439"/>
              <a:gd name="connsiteX5415" fmla="*/ 4782224 w 9586368"/>
              <a:gd name="connsiteY5415" fmla="*/ 2636496 h 6479439"/>
              <a:gd name="connsiteX5416" fmla="*/ 4546929 w 9586368"/>
              <a:gd name="connsiteY5416" fmla="*/ 2632457 h 6479439"/>
              <a:gd name="connsiteX5417" fmla="*/ 4556840 w 9586368"/>
              <a:gd name="connsiteY5417" fmla="*/ 2632457 h 6479439"/>
              <a:gd name="connsiteX5418" fmla="*/ 4560859 w 9586368"/>
              <a:gd name="connsiteY5418" fmla="*/ 2636496 h 6479439"/>
              <a:gd name="connsiteX5419" fmla="*/ 4560859 w 9586368"/>
              <a:gd name="connsiteY5419" fmla="*/ 2646366 h 6479439"/>
              <a:gd name="connsiteX5420" fmla="*/ 4556840 w 9586368"/>
              <a:gd name="connsiteY5420" fmla="*/ 2650405 h 6479439"/>
              <a:gd name="connsiteX5421" fmla="*/ 4546929 w 9586368"/>
              <a:gd name="connsiteY5421" fmla="*/ 2650405 h 6479439"/>
              <a:gd name="connsiteX5422" fmla="*/ 4542910 w 9586368"/>
              <a:gd name="connsiteY5422" fmla="*/ 2646366 h 6479439"/>
              <a:gd name="connsiteX5423" fmla="*/ 4542910 w 9586368"/>
              <a:gd name="connsiteY5423" fmla="*/ 2636496 h 6479439"/>
              <a:gd name="connsiteX5424" fmla="*/ 4307612 w 9586368"/>
              <a:gd name="connsiteY5424" fmla="*/ 2632457 h 6479439"/>
              <a:gd name="connsiteX5425" fmla="*/ 4317523 w 9586368"/>
              <a:gd name="connsiteY5425" fmla="*/ 2632457 h 6479439"/>
              <a:gd name="connsiteX5426" fmla="*/ 4321543 w 9586368"/>
              <a:gd name="connsiteY5426" fmla="*/ 2636496 h 6479439"/>
              <a:gd name="connsiteX5427" fmla="*/ 4321543 w 9586368"/>
              <a:gd name="connsiteY5427" fmla="*/ 2646366 h 6479439"/>
              <a:gd name="connsiteX5428" fmla="*/ 4317523 w 9586368"/>
              <a:gd name="connsiteY5428" fmla="*/ 2650405 h 6479439"/>
              <a:gd name="connsiteX5429" fmla="*/ 4307612 w 9586368"/>
              <a:gd name="connsiteY5429" fmla="*/ 2650405 h 6479439"/>
              <a:gd name="connsiteX5430" fmla="*/ 4303595 w 9586368"/>
              <a:gd name="connsiteY5430" fmla="*/ 2646366 h 6479439"/>
              <a:gd name="connsiteX5431" fmla="*/ 4303595 w 9586368"/>
              <a:gd name="connsiteY5431" fmla="*/ 2636496 h 6479439"/>
              <a:gd name="connsiteX5432" fmla="*/ 4068297 w 9586368"/>
              <a:gd name="connsiteY5432" fmla="*/ 2632457 h 6479439"/>
              <a:gd name="connsiteX5433" fmla="*/ 4078210 w 9586368"/>
              <a:gd name="connsiteY5433" fmla="*/ 2632457 h 6479439"/>
              <a:gd name="connsiteX5434" fmla="*/ 4082229 w 9586368"/>
              <a:gd name="connsiteY5434" fmla="*/ 2636496 h 6479439"/>
              <a:gd name="connsiteX5435" fmla="*/ 4082229 w 9586368"/>
              <a:gd name="connsiteY5435" fmla="*/ 2646366 h 6479439"/>
              <a:gd name="connsiteX5436" fmla="*/ 4078210 w 9586368"/>
              <a:gd name="connsiteY5436" fmla="*/ 2650405 h 6479439"/>
              <a:gd name="connsiteX5437" fmla="*/ 4068297 w 9586368"/>
              <a:gd name="connsiteY5437" fmla="*/ 2650405 h 6479439"/>
              <a:gd name="connsiteX5438" fmla="*/ 4064278 w 9586368"/>
              <a:gd name="connsiteY5438" fmla="*/ 2646366 h 6479439"/>
              <a:gd name="connsiteX5439" fmla="*/ 4064278 w 9586368"/>
              <a:gd name="connsiteY5439" fmla="*/ 2636496 h 6479439"/>
              <a:gd name="connsiteX5440" fmla="*/ 3828990 w 9586368"/>
              <a:gd name="connsiteY5440" fmla="*/ 2632457 h 6479439"/>
              <a:gd name="connsiteX5441" fmla="*/ 3838899 w 9586368"/>
              <a:gd name="connsiteY5441" fmla="*/ 2632457 h 6479439"/>
              <a:gd name="connsiteX5442" fmla="*/ 3842917 w 9586368"/>
              <a:gd name="connsiteY5442" fmla="*/ 2636496 h 6479439"/>
              <a:gd name="connsiteX5443" fmla="*/ 3842917 w 9586368"/>
              <a:gd name="connsiteY5443" fmla="*/ 2646366 h 6479439"/>
              <a:gd name="connsiteX5444" fmla="*/ 3838899 w 9586368"/>
              <a:gd name="connsiteY5444" fmla="*/ 2650405 h 6479439"/>
              <a:gd name="connsiteX5445" fmla="*/ 3828990 w 9586368"/>
              <a:gd name="connsiteY5445" fmla="*/ 2650405 h 6479439"/>
              <a:gd name="connsiteX5446" fmla="*/ 3824971 w 9586368"/>
              <a:gd name="connsiteY5446" fmla="*/ 2646366 h 6479439"/>
              <a:gd name="connsiteX5447" fmla="*/ 3824971 w 9586368"/>
              <a:gd name="connsiteY5447" fmla="*/ 2636496 h 6479439"/>
              <a:gd name="connsiteX5448" fmla="*/ 3589676 w 9586368"/>
              <a:gd name="connsiteY5448" fmla="*/ 2632457 h 6479439"/>
              <a:gd name="connsiteX5449" fmla="*/ 3599585 w 9586368"/>
              <a:gd name="connsiteY5449" fmla="*/ 2632457 h 6479439"/>
              <a:gd name="connsiteX5450" fmla="*/ 3603604 w 9586368"/>
              <a:gd name="connsiteY5450" fmla="*/ 2636496 h 6479439"/>
              <a:gd name="connsiteX5451" fmla="*/ 3603604 w 9586368"/>
              <a:gd name="connsiteY5451" fmla="*/ 2646366 h 6479439"/>
              <a:gd name="connsiteX5452" fmla="*/ 3599585 w 9586368"/>
              <a:gd name="connsiteY5452" fmla="*/ 2650405 h 6479439"/>
              <a:gd name="connsiteX5453" fmla="*/ 3589676 w 9586368"/>
              <a:gd name="connsiteY5453" fmla="*/ 2650405 h 6479439"/>
              <a:gd name="connsiteX5454" fmla="*/ 3585657 w 9586368"/>
              <a:gd name="connsiteY5454" fmla="*/ 2646366 h 6479439"/>
              <a:gd name="connsiteX5455" fmla="*/ 3585657 w 9586368"/>
              <a:gd name="connsiteY5455" fmla="*/ 2636496 h 6479439"/>
              <a:gd name="connsiteX5456" fmla="*/ 3350359 w 9586368"/>
              <a:gd name="connsiteY5456" fmla="*/ 2632457 h 6479439"/>
              <a:gd name="connsiteX5457" fmla="*/ 3360268 w 9586368"/>
              <a:gd name="connsiteY5457" fmla="*/ 2632457 h 6479439"/>
              <a:gd name="connsiteX5458" fmla="*/ 3364287 w 9586368"/>
              <a:gd name="connsiteY5458" fmla="*/ 2636496 h 6479439"/>
              <a:gd name="connsiteX5459" fmla="*/ 3364287 w 9586368"/>
              <a:gd name="connsiteY5459" fmla="*/ 2646366 h 6479439"/>
              <a:gd name="connsiteX5460" fmla="*/ 3360268 w 9586368"/>
              <a:gd name="connsiteY5460" fmla="*/ 2650405 h 6479439"/>
              <a:gd name="connsiteX5461" fmla="*/ 3350359 w 9586368"/>
              <a:gd name="connsiteY5461" fmla="*/ 2650405 h 6479439"/>
              <a:gd name="connsiteX5462" fmla="*/ 3346340 w 9586368"/>
              <a:gd name="connsiteY5462" fmla="*/ 2646366 h 6479439"/>
              <a:gd name="connsiteX5463" fmla="*/ 3346340 w 9586368"/>
              <a:gd name="connsiteY5463" fmla="*/ 2636496 h 6479439"/>
              <a:gd name="connsiteX5464" fmla="*/ 3111048 w 9586368"/>
              <a:gd name="connsiteY5464" fmla="*/ 2632457 h 6479439"/>
              <a:gd name="connsiteX5465" fmla="*/ 3120959 w 9586368"/>
              <a:gd name="connsiteY5465" fmla="*/ 2632457 h 6479439"/>
              <a:gd name="connsiteX5466" fmla="*/ 3124977 w 9586368"/>
              <a:gd name="connsiteY5466" fmla="*/ 2636496 h 6479439"/>
              <a:gd name="connsiteX5467" fmla="*/ 3124977 w 9586368"/>
              <a:gd name="connsiteY5467" fmla="*/ 2646366 h 6479439"/>
              <a:gd name="connsiteX5468" fmla="*/ 3120959 w 9586368"/>
              <a:gd name="connsiteY5468" fmla="*/ 2650405 h 6479439"/>
              <a:gd name="connsiteX5469" fmla="*/ 3111048 w 9586368"/>
              <a:gd name="connsiteY5469" fmla="*/ 2650405 h 6479439"/>
              <a:gd name="connsiteX5470" fmla="*/ 3107029 w 9586368"/>
              <a:gd name="connsiteY5470" fmla="*/ 2646366 h 6479439"/>
              <a:gd name="connsiteX5471" fmla="*/ 3107029 w 9586368"/>
              <a:gd name="connsiteY5471" fmla="*/ 2636496 h 6479439"/>
              <a:gd name="connsiteX5472" fmla="*/ 2871737 w 9586368"/>
              <a:gd name="connsiteY5472" fmla="*/ 2632457 h 6479439"/>
              <a:gd name="connsiteX5473" fmla="*/ 2881646 w 9586368"/>
              <a:gd name="connsiteY5473" fmla="*/ 2632457 h 6479439"/>
              <a:gd name="connsiteX5474" fmla="*/ 2885666 w 9586368"/>
              <a:gd name="connsiteY5474" fmla="*/ 2636496 h 6479439"/>
              <a:gd name="connsiteX5475" fmla="*/ 2885666 w 9586368"/>
              <a:gd name="connsiteY5475" fmla="*/ 2646366 h 6479439"/>
              <a:gd name="connsiteX5476" fmla="*/ 2881646 w 9586368"/>
              <a:gd name="connsiteY5476" fmla="*/ 2650405 h 6479439"/>
              <a:gd name="connsiteX5477" fmla="*/ 2871737 w 9586368"/>
              <a:gd name="connsiteY5477" fmla="*/ 2650405 h 6479439"/>
              <a:gd name="connsiteX5478" fmla="*/ 2867717 w 9586368"/>
              <a:gd name="connsiteY5478" fmla="*/ 2646366 h 6479439"/>
              <a:gd name="connsiteX5479" fmla="*/ 2867717 w 9586368"/>
              <a:gd name="connsiteY5479" fmla="*/ 2636496 h 6479439"/>
              <a:gd name="connsiteX5480" fmla="*/ 2632423 w 9586368"/>
              <a:gd name="connsiteY5480" fmla="*/ 2632457 h 6479439"/>
              <a:gd name="connsiteX5481" fmla="*/ 2642334 w 9586368"/>
              <a:gd name="connsiteY5481" fmla="*/ 2632457 h 6479439"/>
              <a:gd name="connsiteX5482" fmla="*/ 2646352 w 9586368"/>
              <a:gd name="connsiteY5482" fmla="*/ 2636496 h 6479439"/>
              <a:gd name="connsiteX5483" fmla="*/ 2646352 w 9586368"/>
              <a:gd name="connsiteY5483" fmla="*/ 2646366 h 6479439"/>
              <a:gd name="connsiteX5484" fmla="*/ 2642334 w 9586368"/>
              <a:gd name="connsiteY5484" fmla="*/ 2650405 h 6479439"/>
              <a:gd name="connsiteX5485" fmla="*/ 2632423 w 9586368"/>
              <a:gd name="connsiteY5485" fmla="*/ 2650405 h 6479439"/>
              <a:gd name="connsiteX5486" fmla="*/ 2628404 w 9586368"/>
              <a:gd name="connsiteY5486" fmla="*/ 2646366 h 6479439"/>
              <a:gd name="connsiteX5487" fmla="*/ 2628404 w 9586368"/>
              <a:gd name="connsiteY5487" fmla="*/ 2636496 h 6479439"/>
              <a:gd name="connsiteX5488" fmla="*/ 2393104 w 9586368"/>
              <a:gd name="connsiteY5488" fmla="*/ 2632457 h 6479439"/>
              <a:gd name="connsiteX5489" fmla="*/ 2403015 w 9586368"/>
              <a:gd name="connsiteY5489" fmla="*/ 2632457 h 6479439"/>
              <a:gd name="connsiteX5490" fmla="*/ 2407034 w 9586368"/>
              <a:gd name="connsiteY5490" fmla="*/ 2636496 h 6479439"/>
              <a:gd name="connsiteX5491" fmla="*/ 2407034 w 9586368"/>
              <a:gd name="connsiteY5491" fmla="*/ 2646366 h 6479439"/>
              <a:gd name="connsiteX5492" fmla="*/ 2403015 w 9586368"/>
              <a:gd name="connsiteY5492" fmla="*/ 2650405 h 6479439"/>
              <a:gd name="connsiteX5493" fmla="*/ 2393104 w 9586368"/>
              <a:gd name="connsiteY5493" fmla="*/ 2650405 h 6479439"/>
              <a:gd name="connsiteX5494" fmla="*/ 2389087 w 9586368"/>
              <a:gd name="connsiteY5494" fmla="*/ 2646366 h 6479439"/>
              <a:gd name="connsiteX5495" fmla="*/ 2389087 w 9586368"/>
              <a:gd name="connsiteY5495" fmla="*/ 2636496 h 6479439"/>
              <a:gd name="connsiteX5496" fmla="*/ 2157821 w 9586368"/>
              <a:gd name="connsiteY5496" fmla="*/ 2632457 h 6479439"/>
              <a:gd name="connsiteX5497" fmla="*/ 2167732 w 9586368"/>
              <a:gd name="connsiteY5497" fmla="*/ 2632457 h 6479439"/>
              <a:gd name="connsiteX5498" fmla="*/ 2171750 w 9586368"/>
              <a:gd name="connsiteY5498" fmla="*/ 2636496 h 6479439"/>
              <a:gd name="connsiteX5499" fmla="*/ 2171750 w 9586368"/>
              <a:gd name="connsiteY5499" fmla="*/ 2646366 h 6479439"/>
              <a:gd name="connsiteX5500" fmla="*/ 2167732 w 9586368"/>
              <a:gd name="connsiteY5500" fmla="*/ 2650405 h 6479439"/>
              <a:gd name="connsiteX5501" fmla="*/ 2157821 w 9586368"/>
              <a:gd name="connsiteY5501" fmla="*/ 2650405 h 6479439"/>
              <a:gd name="connsiteX5502" fmla="*/ 2153802 w 9586368"/>
              <a:gd name="connsiteY5502" fmla="*/ 2646366 h 6479439"/>
              <a:gd name="connsiteX5503" fmla="*/ 2153802 w 9586368"/>
              <a:gd name="connsiteY5503" fmla="*/ 2636496 h 6479439"/>
              <a:gd name="connsiteX5504" fmla="*/ 1918513 w 9586368"/>
              <a:gd name="connsiteY5504" fmla="*/ 2632457 h 6479439"/>
              <a:gd name="connsiteX5505" fmla="*/ 1928422 w 9586368"/>
              <a:gd name="connsiteY5505" fmla="*/ 2632457 h 6479439"/>
              <a:gd name="connsiteX5506" fmla="*/ 1932441 w 9586368"/>
              <a:gd name="connsiteY5506" fmla="*/ 2636496 h 6479439"/>
              <a:gd name="connsiteX5507" fmla="*/ 1932441 w 9586368"/>
              <a:gd name="connsiteY5507" fmla="*/ 2646366 h 6479439"/>
              <a:gd name="connsiteX5508" fmla="*/ 1928422 w 9586368"/>
              <a:gd name="connsiteY5508" fmla="*/ 2650405 h 6479439"/>
              <a:gd name="connsiteX5509" fmla="*/ 1918513 w 9586368"/>
              <a:gd name="connsiteY5509" fmla="*/ 2650405 h 6479439"/>
              <a:gd name="connsiteX5510" fmla="*/ 1914494 w 9586368"/>
              <a:gd name="connsiteY5510" fmla="*/ 2646366 h 6479439"/>
              <a:gd name="connsiteX5511" fmla="*/ 1914494 w 9586368"/>
              <a:gd name="connsiteY5511" fmla="*/ 2636496 h 6479439"/>
              <a:gd name="connsiteX5512" fmla="*/ 1679212 w 9586368"/>
              <a:gd name="connsiteY5512" fmla="*/ 2632457 h 6479439"/>
              <a:gd name="connsiteX5513" fmla="*/ 1689122 w 9586368"/>
              <a:gd name="connsiteY5513" fmla="*/ 2632457 h 6479439"/>
              <a:gd name="connsiteX5514" fmla="*/ 1693141 w 9586368"/>
              <a:gd name="connsiteY5514" fmla="*/ 2636496 h 6479439"/>
              <a:gd name="connsiteX5515" fmla="*/ 1693141 w 9586368"/>
              <a:gd name="connsiteY5515" fmla="*/ 2646366 h 6479439"/>
              <a:gd name="connsiteX5516" fmla="*/ 1689122 w 9586368"/>
              <a:gd name="connsiteY5516" fmla="*/ 2650405 h 6479439"/>
              <a:gd name="connsiteX5517" fmla="*/ 1679212 w 9586368"/>
              <a:gd name="connsiteY5517" fmla="*/ 2650405 h 6479439"/>
              <a:gd name="connsiteX5518" fmla="*/ 1675193 w 9586368"/>
              <a:gd name="connsiteY5518" fmla="*/ 2646366 h 6479439"/>
              <a:gd name="connsiteX5519" fmla="*/ 1675193 w 9586368"/>
              <a:gd name="connsiteY5519" fmla="*/ 2636496 h 6479439"/>
              <a:gd name="connsiteX5520" fmla="*/ 1439896 w 9586368"/>
              <a:gd name="connsiteY5520" fmla="*/ 2632457 h 6479439"/>
              <a:gd name="connsiteX5521" fmla="*/ 1449806 w 9586368"/>
              <a:gd name="connsiteY5521" fmla="*/ 2632457 h 6479439"/>
              <a:gd name="connsiteX5522" fmla="*/ 1453824 w 9586368"/>
              <a:gd name="connsiteY5522" fmla="*/ 2636496 h 6479439"/>
              <a:gd name="connsiteX5523" fmla="*/ 1453824 w 9586368"/>
              <a:gd name="connsiteY5523" fmla="*/ 2646366 h 6479439"/>
              <a:gd name="connsiteX5524" fmla="*/ 1449806 w 9586368"/>
              <a:gd name="connsiteY5524" fmla="*/ 2650405 h 6479439"/>
              <a:gd name="connsiteX5525" fmla="*/ 1439896 w 9586368"/>
              <a:gd name="connsiteY5525" fmla="*/ 2650405 h 6479439"/>
              <a:gd name="connsiteX5526" fmla="*/ 1435876 w 9586368"/>
              <a:gd name="connsiteY5526" fmla="*/ 2646366 h 6479439"/>
              <a:gd name="connsiteX5527" fmla="*/ 1435876 w 9586368"/>
              <a:gd name="connsiteY5527" fmla="*/ 2636496 h 6479439"/>
              <a:gd name="connsiteX5528" fmla="*/ 1200580 w 9586368"/>
              <a:gd name="connsiteY5528" fmla="*/ 2632457 h 6479439"/>
              <a:gd name="connsiteX5529" fmla="*/ 1210490 w 9586368"/>
              <a:gd name="connsiteY5529" fmla="*/ 2632457 h 6479439"/>
              <a:gd name="connsiteX5530" fmla="*/ 1214509 w 9586368"/>
              <a:gd name="connsiteY5530" fmla="*/ 2636496 h 6479439"/>
              <a:gd name="connsiteX5531" fmla="*/ 1214509 w 9586368"/>
              <a:gd name="connsiteY5531" fmla="*/ 2646366 h 6479439"/>
              <a:gd name="connsiteX5532" fmla="*/ 1210490 w 9586368"/>
              <a:gd name="connsiteY5532" fmla="*/ 2650405 h 6479439"/>
              <a:gd name="connsiteX5533" fmla="*/ 1200580 w 9586368"/>
              <a:gd name="connsiteY5533" fmla="*/ 2650405 h 6479439"/>
              <a:gd name="connsiteX5534" fmla="*/ 1196561 w 9586368"/>
              <a:gd name="connsiteY5534" fmla="*/ 2646366 h 6479439"/>
              <a:gd name="connsiteX5535" fmla="*/ 1196561 w 9586368"/>
              <a:gd name="connsiteY5535" fmla="*/ 2636496 h 6479439"/>
              <a:gd name="connsiteX5536" fmla="*/ 961267 w 9586368"/>
              <a:gd name="connsiteY5536" fmla="*/ 2632457 h 6479439"/>
              <a:gd name="connsiteX5537" fmla="*/ 971178 w 9586368"/>
              <a:gd name="connsiteY5537" fmla="*/ 2632457 h 6479439"/>
              <a:gd name="connsiteX5538" fmla="*/ 975196 w 9586368"/>
              <a:gd name="connsiteY5538" fmla="*/ 2636496 h 6479439"/>
              <a:gd name="connsiteX5539" fmla="*/ 975196 w 9586368"/>
              <a:gd name="connsiteY5539" fmla="*/ 2646366 h 6479439"/>
              <a:gd name="connsiteX5540" fmla="*/ 971178 w 9586368"/>
              <a:gd name="connsiteY5540" fmla="*/ 2650405 h 6479439"/>
              <a:gd name="connsiteX5541" fmla="*/ 961267 w 9586368"/>
              <a:gd name="connsiteY5541" fmla="*/ 2650405 h 6479439"/>
              <a:gd name="connsiteX5542" fmla="*/ 957249 w 9586368"/>
              <a:gd name="connsiteY5542" fmla="*/ 2646366 h 6479439"/>
              <a:gd name="connsiteX5543" fmla="*/ 957249 w 9586368"/>
              <a:gd name="connsiteY5543" fmla="*/ 2636496 h 6479439"/>
              <a:gd name="connsiteX5544" fmla="*/ 721970 w 9586368"/>
              <a:gd name="connsiteY5544" fmla="*/ 2632457 h 6479439"/>
              <a:gd name="connsiteX5545" fmla="*/ 731879 w 9586368"/>
              <a:gd name="connsiteY5545" fmla="*/ 2632457 h 6479439"/>
              <a:gd name="connsiteX5546" fmla="*/ 735898 w 9586368"/>
              <a:gd name="connsiteY5546" fmla="*/ 2636496 h 6479439"/>
              <a:gd name="connsiteX5547" fmla="*/ 735898 w 9586368"/>
              <a:gd name="connsiteY5547" fmla="*/ 2646366 h 6479439"/>
              <a:gd name="connsiteX5548" fmla="*/ 731879 w 9586368"/>
              <a:gd name="connsiteY5548" fmla="*/ 2650405 h 6479439"/>
              <a:gd name="connsiteX5549" fmla="*/ 721970 w 9586368"/>
              <a:gd name="connsiteY5549" fmla="*/ 2650405 h 6479439"/>
              <a:gd name="connsiteX5550" fmla="*/ 717951 w 9586368"/>
              <a:gd name="connsiteY5550" fmla="*/ 2646366 h 6479439"/>
              <a:gd name="connsiteX5551" fmla="*/ 717951 w 9586368"/>
              <a:gd name="connsiteY5551" fmla="*/ 2636496 h 6479439"/>
              <a:gd name="connsiteX5552" fmla="*/ 482657 w 9586368"/>
              <a:gd name="connsiteY5552" fmla="*/ 2632457 h 6479439"/>
              <a:gd name="connsiteX5553" fmla="*/ 492567 w 9586368"/>
              <a:gd name="connsiteY5553" fmla="*/ 2632457 h 6479439"/>
              <a:gd name="connsiteX5554" fmla="*/ 496586 w 9586368"/>
              <a:gd name="connsiteY5554" fmla="*/ 2636496 h 6479439"/>
              <a:gd name="connsiteX5555" fmla="*/ 496586 w 9586368"/>
              <a:gd name="connsiteY5555" fmla="*/ 2646366 h 6479439"/>
              <a:gd name="connsiteX5556" fmla="*/ 492567 w 9586368"/>
              <a:gd name="connsiteY5556" fmla="*/ 2650405 h 6479439"/>
              <a:gd name="connsiteX5557" fmla="*/ 482657 w 9586368"/>
              <a:gd name="connsiteY5557" fmla="*/ 2650405 h 6479439"/>
              <a:gd name="connsiteX5558" fmla="*/ 478638 w 9586368"/>
              <a:gd name="connsiteY5558" fmla="*/ 2646366 h 6479439"/>
              <a:gd name="connsiteX5559" fmla="*/ 478638 w 9586368"/>
              <a:gd name="connsiteY5559" fmla="*/ 2636496 h 6479439"/>
              <a:gd name="connsiteX5560" fmla="*/ 243344 w 9586368"/>
              <a:gd name="connsiteY5560" fmla="*/ 2632457 h 6479439"/>
              <a:gd name="connsiteX5561" fmla="*/ 253254 w 9586368"/>
              <a:gd name="connsiteY5561" fmla="*/ 2632457 h 6479439"/>
              <a:gd name="connsiteX5562" fmla="*/ 257273 w 9586368"/>
              <a:gd name="connsiteY5562" fmla="*/ 2636496 h 6479439"/>
              <a:gd name="connsiteX5563" fmla="*/ 257273 w 9586368"/>
              <a:gd name="connsiteY5563" fmla="*/ 2646366 h 6479439"/>
              <a:gd name="connsiteX5564" fmla="*/ 253254 w 9586368"/>
              <a:gd name="connsiteY5564" fmla="*/ 2650405 h 6479439"/>
              <a:gd name="connsiteX5565" fmla="*/ 243344 w 9586368"/>
              <a:gd name="connsiteY5565" fmla="*/ 2650405 h 6479439"/>
              <a:gd name="connsiteX5566" fmla="*/ 239325 w 9586368"/>
              <a:gd name="connsiteY5566" fmla="*/ 2646366 h 6479439"/>
              <a:gd name="connsiteX5567" fmla="*/ 239325 w 9586368"/>
              <a:gd name="connsiteY5567" fmla="*/ 2636496 h 6479439"/>
              <a:gd name="connsiteX5568" fmla="*/ 4030 w 9586368"/>
              <a:gd name="connsiteY5568" fmla="*/ 2632457 h 6479439"/>
              <a:gd name="connsiteX5569" fmla="*/ 13941 w 9586368"/>
              <a:gd name="connsiteY5569" fmla="*/ 2632457 h 6479439"/>
              <a:gd name="connsiteX5570" fmla="*/ 17960 w 9586368"/>
              <a:gd name="connsiteY5570" fmla="*/ 2636496 h 6479439"/>
              <a:gd name="connsiteX5571" fmla="*/ 17960 w 9586368"/>
              <a:gd name="connsiteY5571" fmla="*/ 2646366 h 6479439"/>
              <a:gd name="connsiteX5572" fmla="*/ 13941 w 9586368"/>
              <a:gd name="connsiteY5572" fmla="*/ 2650405 h 6479439"/>
              <a:gd name="connsiteX5573" fmla="*/ 4030 w 9586368"/>
              <a:gd name="connsiteY5573" fmla="*/ 2650405 h 6479439"/>
              <a:gd name="connsiteX5574" fmla="*/ 11 w 9586368"/>
              <a:gd name="connsiteY5574" fmla="*/ 2646366 h 6479439"/>
              <a:gd name="connsiteX5575" fmla="*/ 11 w 9586368"/>
              <a:gd name="connsiteY5575" fmla="*/ 2636496 h 6479439"/>
              <a:gd name="connsiteX5576" fmla="*/ 2157821 w 9586368"/>
              <a:gd name="connsiteY5576" fmla="*/ 2393178 h 6479439"/>
              <a:gd name="connsiteX5577" fmla="*/ 2167732 w 9586368"/>
              <a:gd name="connsiteY5577" fmla="*/ 2393178 h 6479439"/>
              <a:gd name="connsiteX5578" fmla="*/ 2171750 w 9586368"/>
              <a:gd name="connsiteY5578" fmla="*/ 2397216 h 6479439"/>
              <a:gd name="connsiteX5579" fmla="*/ 2171750 w 9586368"/>
              <a:gd name="connsiteY5579" fmla="*/ 2407087 h 6479439"/>
              <a:gd name="connsiteX5580" fmla="*/ 2167732 w 9586368"/>
              <a:gd name="connsiteY5580" fmla="*/ 2411126 h 6479439"/>
              <a:gd name="connsiteX5581" fmla="*/ 2157821 w 9586368"/>
              <a:gd name="connsiteY5581" fmla="*/ 2411126 h 6479439"/>
              <a:gd name="connsiteX5582" fmla="*/ 2153802 w 9586368"/>
              <a:gd name="connsiteY5582" fmla="*/ 2407087 h 6479439"/>
              <a:gd name="connsiteX5583" fmla="*/ 2153802 w 9586368"/>
              <a:gd name="connsiteY5583" fmla="*/ 2397216 h 6479439"/>
              <a:gd name="connsiteX5584" fmla="*/ 1918513 w 9586368"/>
              <a:gd name="connsiteY5584" fmla="*/ 2393178 h 6479439"/>
              <a:gd name="connsiteX5585" fmla="*/ 1928422 w 9586368"/>
              <a:gd name="connsiteY5585" fmla="*/ 2393178 h 6479439"/>
              <a:gd name="connsiteX5586" fmla="*/ 1932443 w 9586368"/>
              <a:gd name="connsiteY5586" fmla="*/ 2397216 h 6479439"/>
              <a:gd name="connsiteX5587" fmla="*/ 1932443 w 9586368"/>
              <a:gd name="connsiteY5587" fmla="*/ 2407087 h 6479439"/>
              <a:gd name="connsiteX5588" fmla="*/ 1928422 w 9586368"/>
              <a:gd name="connsiteY5588" fmla="*/ 2411126 h 6479439"/>
              <a:gd name="connsiteX5589" fmla="*/ 1918513 w 9586368"/>
              <a:gd name="connsiteY5589" fmla="*/ 2411126 h 6479439"/>
              <a:gd name="connsiteX5590" fmla="*/ 1914494 w 9586368"/>
              <a:gd name="connsiteY5590" fmla="*/ 2407087 h 6479439"/>
              <a:gd name="connsiteX5591" fmla="*/ 1914494 w 9586368"/>
              <a:gd name="connsiteY5591" fmla="*/ 2397216 h 6479439"/>
              <a:gd name="connsiteX5592" fmla="*/ 1679212 w 9586368"/>
              <a:gd name="connsiteY5592" fmla="*/ 2393178 h 6479439"/>
              <a:gd name="connsiteX5593" fmla="*/ 1689123 w 9586368"/>
              <a:gd name="connsiteY5593" fmla="*/ 2393178 h 6479439"/>
              <a:gd name="connsiteX5594" fmla="*/ 1693142 w 9586368"/>
              <a:gd name="connsiteY5594" fmla="*/ 2397216 h 6479439"/>
              <a:gd name="connsiteX5595" fmla="*/ 1693142 w 9586368"/>
              <a:gd name="connsiteY5595" fmla="*/ 2407087 h 6479439"/>
              <a:gd name="connsiteX5596" fmla="*/ 1689123 w 9586368"/>
              <a:gd name="connsiteY5596" fmla="*/ 2411126 h 6479439"/>
              <a:gd name="connsiteX5597" fmla="*/ 1679212 w 9586368"/>
              <a:gd name="connsiteY5597" fmla="*/ 2411126 h 6479439"/>
              <a:gd name="connsiteX5598" fmla="*/ 1675194 w 9586368"/>
              <a:gd name="connsiteY5598" fmla="*/ 2407087 h 6479439"/>
              <a:gd name="connsiteX5599" fmla="*/ 1675194 w 9586368"/>
              <a:gd name="connsiteY5599" fmla="*/ 2397216 h 6479439"/>
              <a:gd name="connsiteX5600" fmla="*/ 1439896 w 9586368"/>
              <a:gd name="connsiteY5600" fmla="*/ 2393178 h 6479439"/>
              <a:gd name="connsiteX5601" fmla="*/ 1449806 w 9586368"/>
              <a:gd name="connsiteY5601" fmla="*/ 2393178 h 6479439"/>
              <a:gd name="connsiteX5602" fmla="*/ 1453826 w 9586368"/>
              <a:gd name="connsiteY5602" fmla="*/ 2397216 h 6479439"/>
              <a:gd name="connsiteX5603" fmla="*/ 1453826 w 9586368"/>
              <a:gd name="connsiteY5603" fmla="*/ 2407087 h 6479439"/>
              <a:gd name="connsiteX5604" fmla="*/ 1449806 w 9586368"/>
              <a:gd name="connsiteY5604" fmla="*/ 2411126 h 6479439"/>
              <a:gd name="connsiteX5605" fmla="*/ 1439896 w 9586368"/>
              <a:gd name="connsiteY5605" fmla="*/ 2411126 h 6479439"/>
              <a:gd name="connsiteX5606" fmla="*/ 1435878 w 9586368"/>
              <a:gd name="connsiteY5606" fmla="*/ 2407087 h 6479439"/>
              <a:gd name="connsiteX5607" fmla="*/ 1435878 w 9586368"/>
              <a:gd name="connsiteY5607" fmla="*/ 2397216 h 6479439"/>
              <a:gd name="connsiteX5608" fmla="*/ 1200580 w 9586368"/>
              <a:gd name="connsiteY5608" fmla="*/ 2393178 h 6479439"/>
              <a:gd name="connsiteX5609" fmla="*/ 1210491 w 9586368"/>
              <a:gd name="connsiteY5609" fmla="*/ 2393178 h 6479439"/>
              <a:gd name="connsiteX5610" fmla="*/ 1214510 w 9586368"/>
              <a:gd name="connsiteY5610" fmla="*/ 2397216 h 6479439"/>
              <a:gd name="connsiteX5611" fmla="*/ 1214510 w 9586368"/>
              <a:gd name="connsiteY5611" fmla="*/ 2407087 h 6479439"/>
              <a:gd name="connsiteX5612" fmla="*/ 1210491 w 9586368"/>
              <a:gd name="connsiteY5612" fmla="*/ 2411126 h 6479439"/>
              <a:gd name="connsiteX5613" fmla="*/ 1200580 w 9586368"/>
              <a:gd name="connsiteY5613" fmla="*/ 2411126 h 6479439"/>
              <a:gd name="connsiteX5614" fmla="*/ 1196562 w 9586368"/>
              <a:gd name="connsiteY5614" fmla="*/ 2407087 h 6479439"/>
              <a:gd name="connsiteX5615" fmla="*/ 1196562 w 9586368"/>
              <a:gd name="connsiteY5615" fmla="*/ 2397216 h 6479439"/>
              <a:gd name="connsiteX5616" fmla="*/ 961268 w 9586368"/>
              <a:gd name="connsiteY5616" fmla="*/ 2393178 h 6479439"/>
              <a:gd name="connsiteX5617" fmla="*/ 971178 w 9586368"/>
              <a:gd name="connsiteY5617" fmla="*/ 2393178 h 6479439"/>
              <a:gd name="connsiteX5618" fmla="*/ 975196 w 9586368"/>
              <a:gd name="connsiteY5618" fmla="*/ 2397216 h 6479439"/>
              <a:gd name="connsiteX5619" fmla="*/ 975196 w 9586368"/>
              <a:gd name="connsiteY5619" fmla="*/ 2407087 h 6479439"/>
              <a:gd name="connsiteX5620" fmla="*/ 971178 w 9586368"/>
              <a:gd name="connsiteY5620" fmla="*/ 2411126 h 6479439"/>
              <a:gd name="connsiteX5621" fmla="*/ 961268 w 9586368"/>
              <a:gd name="connsiteY5621" fmla="*/ 2411126 h 6479439"/>
              <a:gd name="connsiteX5622" fmla="*/ 957249 w 9586368"/>
              <a:gd name="connsiteY5622" fmla="*/ 2407087 h 6479439"/>
              <a:gd name="connsiteX5623" fmla="*/ 957249 w 9586368"/>
              <a:gd name="connsiteY5623" fmla="*/ 2397216 h 6479439"/>
              <a:gd name="connsiteX5624" fmla="*/ 9572438 w 9586368"/>
              <a:gd name="connsiteY5624" fmla="*/ 2393127 h 6479439"/>
              <a:gd name="connsiteX5625" fmla="*/ 9582349 w 9586368"/>
              <a:gd name="connsiteY5625" fmla="*/ 2393127 h 6479439"/>
              <a:gd name="connsiteX5626" fmla="*/ 9586368 w 9586368"/>
              <a:gd name="connsiteY5626" fmla="*/ 2397165 h 6479439"/>
              <a:gd name="connsiteX5627" fmla="*/ 9586368 w 9586368"/>
              <a:gd name="connsiteY5627" fmla="*/ 2407036 h 6479439"/>
              <a:gd name="connsiteX5628" fmla="*/ 9582349 w 9586368"/>
              <a:gd name="connsiteY5628" fmla="*/ 2411074 h 6479439"/>
              <a:gd name="connsiteX5629" fmla="*/ 9572438 w 9586368"/>
              <a:gd name="connsiteY5629" fmla="*/ 2411074 h 6479439"/>
              <a:gd name="connsiteX5630" fmla="*/ 9568419 w 9586368"/>
              <a:gd name="connsiteY5630" fmla="*/ 2407036 h 6479439"/>
              <a:gd name="connsiteX5631" fmla="*/ 9568419 w 9586368"/>
              <a:gd name="connsiteY5631" fmla="*/ 2397165 h 6479439"/>
              <a:gd name="connsiteX5632" fmla="*/ 9333125 w 9586368"/>
              <a:gd name="connsiteY5632" fmla="*/ 2393127 h 6479439"/>
              <a:gd name="connsiteX5633" fmla="*/ 9343036 w 9586368"/>
              <a:gd name="connsiteY5633" fmla="*/ 2393127 h 6479439"/>
              <a:gd name="connsiteX5634" fmla="*/ 9347055 w 9586368"/>
              <a:gd name="connsiteY5634" fmla="*/ 2397165 h 6479439"/>
              <a:gd name="connsiteX5635" fmla="*/ 9347055 w 9586368"/>
              <a:gd name="connsiteY5635" fmla="*/ 2407036 h 6479439"/>
              <a:gd name="connsiteX5636" fmla="*/ 9343036 w 9586368"/>
              <a:gd name="connsiteY5636" fmla="*/ 2411074 h 6479439"/>
              <a:gd name="connsiteX5637" fmla="*/ 9333125 w 9586368"/>
              <a:gd name="connsiteY5637" fmla="*/ 2411074 h 6479439"/>
              <a:gd name="connsiteX5638" fmla="*/ 9329106 w 9586368"/>
              <a:gd name="connsiteY5638" fmla="*/ 2407036 h 6479439"/>
              <a:gd name="connsiteX5639" fmla="*/ 9329106 w 9586368"/>
              <a:gd name="connsiteY5639" fmla="*/ 2397165 h 6479439"/>
              <a:gd name="connsiteX5640" fmla="*/ 9093811 w 9586368"/>
              <a:gd name="connsiteY5640" fmla="*/ 2393127 h 6479439"/>
              <a:gd name="connsiteX5641" fmla="*/ 9103722 w 9586368"/>
              <a:gd name="connsiteY5641" fmla="*/ 2393127 h 6479439"/>
              <a:gd name="connsiteX5642" fmla="*/ 9107741 w 9586368"/>
              <a:gd name="connsiteY5642" fmla="*/ 2397165 h 6479439"/>
              <a:gd name="connsiteX5643" fmla="*/ 9107741 w 9586368"/>
              <a:gd name="connsiteY5643" fmla="*/ 2407036 h 6479439"/>
              <a:gd name="connsiteX5644" fmla="*/ 9103722 w 9586368"/>
              <a:gd name="connsiteY5644" fmla="*/ 2411074 h 6479439"/>
              <a:gd name="connsiteX5645" fmla="*/ 9093811 w 9586368"/>
              <a:gd name="connsiteY5645" fmla="*/ 2411074 h 6479439"/>
              <a:gd name="connsiteX5646" fmla="*/ 9089792 w 9586368"/>
              <a:gd name="connsiteY5646" fmla="*/ 2407036 h 6479439"/>
              <a:gd name="connsiteX5647" fmla="*/ 9089792 w 9586368"/>
              <a:gd name="connsiteY5647" fmla="*/ 2397165 h 6479439"/>
              <a:gd name="connsiteX5648" fmla="*/ 8854496 w 9586368"/>
              <a:gd name="connsiteY5648" fmla="*/ 2393127 h 6479439"/>
              <a:gd name="connsiteX5649" fmla="*/ 8864407 w 9586368"/>
              <a:gd name="connsiteY5649" fmla="*/ 2393127 h 6479439"/>
              <a:gd name="connsiteX5650" fmla="*/ 8868426 w 9586368"/>
              <a:gd name="connsiteY5650" fmla="*/ 2397165 h 6479439"/>
              <a:gd name="connsiteX5651" fmla="*/ 8868426 w 9586368"/>
              <a:gd name="connsiteY5651" fmla="*/ 2407036 h 6479439"/>
              <a:gd name="connsiteX5652" fmla="*/ 8864407 w 9586368"/>
              <a:gd name="connsiteY5652" fmla="*/ 2411074 h 6479439"/>
              <a:gd name="connsiteX5653" fmla="*/ 8854496 w 9586368"/>
              <a:gd name="connsiteY5653" fmla="*/ 2411074 h 6479439"/>
              <a:gd name="connsiteX5654" fmla="*/ 8850477 w 9586368"/>
              <a:gd name="connsiteY5654" fmla="*/ 2407036 h 6479439"/>
              <a:gd name="connsiteX5655" fmla="*/ 8850477 w 9586368"/>
              <a:gd name="connsiteY5655" fmla="*/ 2397165 h 6479439"/>
              <a:gd name="connsiteX5656" fmla="*/ 8615184 w 9586368"/>
              <a:gd name="connsiteY5656" fmla="*/ 2393127 h 6479439"/>
              <a:gd name="connsiteX5657" fmla="*/ 8625095 w 9586368"/>
              <a:gd name="connsiteY5657" fmla="*/ 2393127 h 6479439"/>
              <a:gd name="connsiteX5658" fmla="*/ 8629114 w 9586368"/>
              <a:gd name="connsiteY5658" fmla="*/ 2397165 h 6479439"/>
              <a:gd name="connsiteX5659" fmla="*/ 8629114 w 9586368"/>
              <a:gd name="connsiteY5659" fmla="*/ 2407036 h 6479439"/>
              <a:gd name="connsiteX5660" fmla="*/ 8625095 w 9586368"/>
              <a:gd name="connsiteY5660" fmla="*/ 2411074 h 6479439"/>
              <a:gd name="connsiteX5661" fmla="*/ 8615184 w 9586368"/>
              <a:gd name="connsiteY5661" fmla="*/ 2411074 h 6479439"/>
              <a:gd name="connsiteX5662" fmla="*/ 8611165 w 9586368"/>
              <a:gd name="connsiteY5662" fmla="*/ 2407036 h 6479439"/>
              <a:gd name="connsiteX5663" fmla="*/ 8611165 w 9586368"/>
              <a:gd name="connsiteY5663" fmla="*/ 2397165 h 6479439"/>
              <a:gd name="connsiteX5664" fmla="*/ 8375869 w 9586368"/>
              <a:gd name="connsiteY5664" fmla="*/ 2393127 h 6479439"/>
              <a:gd name="connsiteX5665" fmla="*/ 8385779 w 9586368"/>
              <a:gd name="connsiteY5665" fmla="*/ 2393127 h 6479439"/>
              <a:gd name="connsiteX5666" fmla="*/ 8389799 w 9586368"/>
              <a:gd name="connsiteY5666" fmla="*/ 2397165 h 6479439"/>
              <a:gd name="connsiteX5667" fmla="*/ 8389799 w 9586368"/>
              <a:gd name="connsiteY5667" fmla="*/ 2407036 h 6479439"/>
              <a:gd name="connsiteX5668" fmla="*/ 8385779 w 9586368"/>
              <a:gd name="connsiteY5668" fmla="*/ 2411074 h 6479439"/>
              <a:gd name="connsiteX5669" fmla="*/ 8375869 w 9586368"/>
              <a:gd name="connsiteY5669" fmla="*/ 2411074 h 6479439"/>
              <a:gd name="connsiteX5670" fmla="*/ 8371850 w 9586368"/>
              <a:gd name="connsiteY5670" fmla="*/ 2407036 h 6479439"/>
              <a:gd name="connsiteX5671" fmla="*/ 8371850 w 9586368"/>
              <a:gd name="connsiteY5671" fmla="*/ 2397165 h 6479439"/>
              <a:gd name="connsiteX5672" fmla="*/ 8136553 w 9586368"/>
              <a:gd name="connsiteY5672" fmla="*/ 2393127 h 6479439"/>
              <a:gd name="connsiteX5673" fmla="*/ 8146464 w 9586368"/>
              <a:gd name="connsiteY5673" fmla="*/ 2393127 h 6479439"/>
              <a:gd name="connsiteX5674" fmla="*/ 8150483 w 9586368"/>
              <a:gd name="connsiteY5674" fmla="*/ 2397165 h 6479439"/>
              <a:gd name="connsiteX5675" fmla="*/ 8150483 w 9586368"/>
              <a:gd name="connsiteY5675" fmla="*/ 2407036 h 6479439"/>
              <a:gd name="connsiteX5676" fmla="*/ 8146464 w 9586368"/>
              <a:gd name="connsiteY5676" fmla="*/ 2411074 h 6479439"/>
              <a:gd name="connsiteX5677" fmla="*/ 8136553 w 9586368"/>
              <a:gd name="connsiteY5677" fmla="*/ 2411074 h 6479439"/>
              <a:gd name="connsiteX5678" fmla="*/ 8132534 w 9586368"/>
              <a:gd name="connsiteY5678" fmla="*/ 2407036 h 6479439"/>
              <a:gd name="connsiteX5679" fmla="*/ 8132534 w 9586368"/>
              <a:gd name="connsiteY5679" fmla="*/ 2397165 h 6479439"/>
              <a:gd name="connsiteX5680" fmla="*/ 7897241 w 9586368"/>
              <a:gd name="connsiteY5680" fmla="*/ 2393127 h 6479439"/>
              <a:gd name="connsiteX5681" fmla="*/ 7907151 w 9586368"/>
              <a:gd name="connsiteY5681" fmla="*/ 2393127 h 6479439"/>
              <a:gd name="connsiteX5682" fmla="*/ 7911170 w 9586368"/>
              <a:gd name="connsiteY5682" fmla="*/ 2397165 h 6479439"/>
              <a:gd name="connsiteX5683" fmla="*/ 7911170 w 9586368"/>
              <a:gd name="connsiteY5683" fmla="*/ 2407036 h 6479439"/>
              <a:gd name="connsiteX5684" fmla="*/ 7907151 w 9586368"/>
              <a:gd name="connsiteY5684" fmla="*/ 2411074 h 6479439"/>
              <a:gd name="connsiteX5685" fmla="*/ 7897241 w 9586368"/>
              <a:gd name="connsiteY5685" fmla="*/ 2411074 h 6479439"/>
              <a:gd name="connsiteX5686" fmla="*/ 7893222 w 9586368"/>
              <a:gd name="connsiteY5686" fmla="*/ 2407036 h 6479439"/>
              <a:gd name="connsiteX5687" fmla="*/ 7893222 w 9586368"/>
              <a:gd name="connsiteY5687" fmla="*/ 2397165 h 6479439"/>
              <a:gd name="connsiteX5688" fmla="*/ 7657926 w 9586368"/>
              <a:gd name="connsiteY5688" fmla="*/ 2393127 h 6479439"/>
              <a:gd name="connsiteX5689" fmla="*/ 7667836 w 9586368"/>
              <a:gd name="connsiteY5689" fmla="*/ 2393127 h 6479439"/>
              <a:gd name="connsiteX5690" fmla="*/ 7671855 w 9586368"/>
              <a:gd name="connsiteY5690" fmla="*/ 2397165 h 6479439"/>
              <a:gd name="connsiteX5691" fmla="*/ 7671855 w 9586368"/>
              <a:gd name="connsiteY5691" fmla="*/ 2407036 h 6479439"/>
              <a:gd name="connsiteX5692" fmla="*/ 7667836 w 9586368"/>
              <a:gd name="connsiteY5692" fmla="*/ 2411074 h 6479439"/>
              <a:gd name="connsiteX5693" fmla="*/ 7657926 w 9586368"/>
              <a:gd name="connsiteY5693" fmla="*/ 2411074 h 6479439"/>
              <a:gd name="connsiteX5694" fmla="*/ 7653906 w 9586368"/>
              <a:gd name="connsiteY5694" fmla="*/ 2407036 h 6479439"/>
              <a:gd name="connsiteX5695" fmla="*/ 7653906 w 9586368"/>
              <a:gd name="connsiteY5695" fmla="*/ 2397165 h 6479439"/>
              <a:gd name="connsiteX5696" fmla="*/ 7418611 w 9586368"/>
              <a:gd name="connsiteY5696" fmla="*/ 2393127 h 6479439"/>
              <a:gd name="connsiteX5697" fmla="*/ 7428521 w 9586368"/>
              <a:gd name="connsiteY5697" fmla="*/ 2393127 h 6479439"/>
              <a:gd name="connsiteX5698" fmla="*/ 7432540 w 9586368"/>
              <a:gd name="connsiteY5698" fmla="*/ 2397165 h 6479439"/>
              <a:gd name="connsiteX5699" fmla="*/ 7432540 w 9586368"/>
              <a:gd name="connsiteY5699" fmla="*/ 2407036 h 6479439"/>
              <a:gd name="connsiteX5700" fmla="*/ 7428521 w 9586368"/>
              <a:gd name="connsiteY5700" fmla="*/ 2411074 h 6479439"/>
              <a:gd name="connsiteX5701" fmla="*/ 7418611 w 9586368"/>
              <a:gd name="connsiteY5701" fmla="*/ 2411074 h 6479439"/>
              <a:gd name="connsiteX5702" fmla="*/ 7414592 w 9586368"/>
              <a:gd name="connsiteY5702" fmla="*/ 2407036 h 6479439"/>
              <a:gd name="connsiteX5703" fmla="*/ 7414592 w 9586368"/>
              <a:gd name="connsiteY5703" fmla="*/ 2397165 h 6479439"/>
              <a:gd name="connsiteX5704" fmla="*/ 7179298 w 9586368"/>
              <a:gd name="connsiteY5704" fmla="*/ 2393127 h 6479439"/>
              <a:gd name="connsiteX5705" fmla="*/ 7189209 w 9586368"/>
              <a:gd name="connsiteY5705" fmla="*/ 2393127 h 6479439"/>
              <a:gd name="connsiteX5706" fmla="*/ 7193228 w 9586368"/>
              <a:gd name="connsiteY5706" fmla="*/ 2397165 h 6479439"/>
              <a:gd name="connsiteX5707" fmla="*/ 7193228 w 9586368"/>
              <a:gd name="connsiteY5707" fmla="*/ 2407036 h 6479439"/>
              <a:gd name="connsiteX5708" fmla="*/ 7189209 w 9586368"/>
              <a:gd name="connsiteY5708" fmla="*/ 2411074 h 6479439"/>
              <a:gd name="connsiteX5709" fmla="*/ 7179298 w 9586368"/>
              <a:gd name="connsiteY5709" fmla="*/ 2411074 h 6479439"/>
              <a:gd name="connsiteX5710" fmla="*/ 7175279 w 9586368"/>
              <a:gd name="connsiteY5710" fmla="*/ 2407036 h 6479439"/>
              <a:gd name="connsiteX5711" fmla="*/ 7175279 w 9586368"/>
              <a:gd name="connsiteY5711" fmla="*/ 2397165 h 6479439"/>
              <a:gd name="connsiteX5712" fmla="*/ 6939983 w 9586368"/>
              <a:gd name="connsiteY5712" fmla="*/ 2393127 h 6479439"/>
              <a:gd name="connsiteX5713" fmla="*/ 6949894 w 9586368"/>
              <a:gd name="connsiteY5713" fmla="*/ 2393127 h 6479439"/>
              <a:gd name="connsiteX5714" fmla="*/ 6953913 w 9586368"/>
              <a:gd name="connsiteY5714" fmla="*/ 2397165 h 6479439"/>
              <a:gd name="connsiteX5715" fmla="*/ 6953913 w 9586368"/>
              <a:gd name="connsiteY5715" fmla="*/ 2407036 h 6479439"/>
              <a:gd name="connsiteX5716" fmla="*/ 6949894 w 9586368"/>
              <a:gd name="connsiteY5716" fmla="*/ 2411074 h 6479439"/>
              <a:gd name="connsiteX5717" fmla="*/ 6939983 w 9586368"/>
              <a:gd name="connsiteY5717" fmla="*/ 2411074 h 6479439"/>
              <a:gd name="connsiteX5718" fmla="*/ 6935964 w 9586368"/>
              <a:gd name="connsiteY5718" fmla="*/ 2407036 h 6479439"/>
              <a:gd name="connsiteX5719" fmla="*/ 6935964 w 9586368"/>
              <a:gd name="connsiteY5719" fmla="*/ 2397165 h 6479439"/>
              <a:gd name="connsiteX5720" fmla="*/ 6700670 w 9586368"/>
              <a:gd name="connsiteY5720" fmla="*/ 2393127 h 6479439"/>
              <a:gd name="connsiteX5721" fmla="*/ 6710581 w 9586368"/>
              <a:gd name="connsiteY5721" fmla="*/ 2393127 h 6479439"/>
              <a:gd name="connsiteX5722" fmla="*/ 6714600 w 9586368"/>
              <a:gd name="connsiteY5722" fmla="*/ 2397165 h 6479439"/>
              <a:gd name="connsiteX5723" fmla="*/ 6714600 w 9586368"/>
              <a:gd name="connsiteY5723" fmla="*/ 2407036 h 6479439"/>
              <a:gd name="connsiteX5724" fmla="*/ 6710581 w 9586368"/>
              <a:gd name="connsiteY5724" fmla="*/ 2411074 h 6479439"/>
              <a:gd name="connsiteX5725" fmla="*/ 6700670 w 9586368"/>
              <a:gd name="connsiteY5725" fmla="*/ 2411074 h 6479439"/>
              <a:gd name="connsiteX5726" fmla="*/ 6696651 w 9586368"/>
              <a:gd name="connsiteY5726" fmla="*/ 2407036 h 6479439"/>
              <a:gd name="connsiteX5727" fmla="*/ 6696651 w 9586368"/>
              <a:gd name="connsiteY5727" fmla="*/ 2397165 h 6479439"/>
              <a:gd name="connsiteX5728" fmla="*/ 6461356 w 9586368"/>
              <a:gd name="connsiteY5728" fmla="*/ 2393127 h 6479439"/>
              <a:gd name="connsiteX5729" fmla="*/ 6471266 w 9586368"/>
              <a:gd name="connsiteY5729" fmla="*/ 2393127 h 6479439"/>
              <a:gd name="connsiteX5730" fmla="*/ 6475285 w 9586368"/>
              <a:gd name="connsiteY5730" fmla="*/ 2397165 h 6479439"/>
              <a:gd name="connsiteX5731" fmla="*/ 6475285 w 9586368"/>
              <a:gd name="connsiteY5731" fmla="*/ 2407036 h 6479439"/>
              <a:gd name="connsiteX5732" fmla="*/ 6471266 w 9586368"/>
              <a:gd name="connsiteY5732" fmla="*/ 2411074 h 6479439"/>
              <a:gd name="connsiteX5733" fmla="*/ 6461356 w 9586368"/>
              <a:gd name="connsiteY5733" fmla="*/ 2411074 h 6479439"/>
              <a:gd name="connsiteX5734" fmla="*/ 6457337 w 9586368"/>
              <a:gd name="connsiteY5734" fmla="*/ 2407036 h 6479439"/>
              <a:gd name="connsiteX5735" fmla="*/ 6457337 w 9586368"/>
              <a:gd name="connsiteY5735" fmla="*/ 2397165 h 6479439"/>
              <a:gd name="connsiteX5736" fmla="*/ 6222042 w 9586368"/>
              <a:gd name="connsiteY5736" fmla="*/ 2393127 h 6479439"/>
              <a:gd name="connsiteX5737" fmla="*/ 6231952 w 9586368"/>
              <a:gd name="connsiteY5737" fmla="*/ 2393127 h 6479439"/>
              <a:gd name="connsiteX5738" fmla="*/ 6235971 w 9586368"/>
              <a:gd name="connsiteY5738" fmla="*/ 2397165 h 6479439"/>
              <a:gd name="connsiteX5739" fmla="*/ 6235971 w 9586368"/>
              <a:gd name="connsiteY5739" fmla="*/ 2407036 h 6479439"/>
              <a:gd name="connsiteX5740" fmla="*/ 6231952 w 9586368"/>
              <a:gd name="connsiteY5740" fmla="*/ 2411074 h 6479439"/>
              <a:gd name="connsiteX5741" fmla="*/ 6222042 w 9586368"/>
              <a:gd name="connsiteY5741" fmla="*/ 2411074 h 6479439"/>
              <a:gd name="connsiteX5742" fmla="*/ 6218023 w 9586368"/>
              <a:gd name="connsiteY5742" fmla="*/ 2407036 h 6479439"/>
              <a:gd name="connsiteX5743" fmla="*/ 6218023 w 9586368"/>
              <a:gd name="connsiteY5743" fmla="*/ 2397165 h 6479439"/>
              <a:gd name="connsiteX5744" fmla="*/ 5982729 w 9586368"/>
              <a:gd name="connsiteY5744" fmla="*/ 2393127 h 6479439"/>
              <a:gd name="connsiteX5745" fmla="*/ 5992639 w 9586368"/>
              <a:gd name="connsiteY5745" fmla="*/ 2393127 h 6479439"/>
              <a:gd name="connsiteX5746" fmla="*/ 5996658 w 9586368"/>
              <a:gd name="connsiteY5746" fmla="*/ 2397165 h 6479439"/>
              <a:gd name="connsiteX5747" fmla="*/ 5996658 w 9586368"/>
              <a:gd name="connsiteY5747" fmla="*/ 2407036 h 6479439"/>
              <a:gd name="connsiteX5748" fmla="*/ 5992639 w 9586368"/>
              <a:gd name="connsiteY5748" fmla="*/ 2411074 h 6479439"/>
              <a:gd name="connsiteX5749" fmla="*/ 5982729 w 9586368"/>
              <a:gd name="connsiteY5749" fmla="*/ 2411074 h 6479439"/>
              <a:gd name="connsiteX5750" fmla="*/ 5978710 w 9586368"/>
              <a:gd name="connsiteY5750" fmla="*/ 2407036 h 6479439"/>
              <a:gd name="connsiteX5751" fmla="*/ 5978710 w 9586368"/>
              <a:gd name="connsiteY5751" fmla="*/ 2397165 h 6479439"/>
              <a:gd name="connsiteX5752" fmla="*/ 5743412 w 9586368"/>
              <a:gd name="connsiteY5752" fmla="*/ 2393127 h 6479439"/>
              <a:gd name="connsiteX5753" fmla="*/ 5753323 w 9586368"/>
              <a:gd name="connsiteY5753" fmla="*/ 2393127 h 6479439"/>
              <a:gd name="connsiteX5754" fmla="*/ 5757342 w 9586368"/>
              <a:gd name="connsiteY5754" fmla="*/ 2397165 h 6479439"/>
              <a:gd name="connsiteX5755" fmla="*/ 5757342 w 9586368"/>
              <a:gd name="connsiteY5755" fmla="*/ 2407036 h 6479439"/>
              <a:gd name="connsiteX5756" fmla="*/ 5753323 w 9586368"/>
              <a:gd name="connsiteY5756" fmla="*/ 2411074 h 6479439"/>
              <a:gd name="connsiteX5757" fmla="*/ 5743412 w 9586368"/>
              <a:gd name="connsiteY5757" fmla="*/ 2411074 h 6479439"/>
              <a:gd name="connsiteX5758" fmla="*/ 5739393 w 9586368"/>
              <a:gd name="connsiteY5758" fmla="*/ 2407036 h 6479439"/>
              <a:gd name="connsiteX5759" fmla="*/ 5739393 w 9586368"/>
              <a:gd name="connsiteY5759" fmla="*/ 2397165 h 6479439"/>
              <a:gd name="connsiteX5760" fmla="*/ 5504099 w 9586368"/>
              <a:gd name="connsiteY5760" fmla="*/ 2393127 h 6479439"/>
              <a:gd name="connsiteX5761" fmla="*/ 5514010 w 9586368"/>
              <a:gd name="connsiteY5761" fmla="*/ 2393127 h 6479439"/>
              <a:gd name="connsiteX5762" fmla="*/ 5518029 w 9586368"/>
              <a:gd name="connsiteY5762" fmla="*/ 2397165 h 6479439"/>
              <a:gd name="connsiteX5763" fmla="*/ 5518029 w 9586368"/>
              <a:gd name="connsiteY5763" fmla="*/ 2407036 h 6479439"/>
              <a:gd name="connsiteX5764" fmla="*/ 5514010 w 9586368"/>
              <a:gd name="connsiteY5764" fmla="*/ 2411074 h 6479439"/>
              <a:gd name="connsiteX5765" fmla="*/ 5504099 w 9586368"/>
              <a:gd name="connsiteY5765" fmla="*/ 2411074 h 6479439"/>
              <a:gd name="connsiteX5766" fmla="*/ 5500080 w 9586368"/>
              <a:gd name="connsiteY5766" fmla="*/ 2407036 h 6479439"/>
              <a:gd name="connsiteX5767" fmla="*/ 5500080 w 9586368"/>
              <a:gd name="connsiteY5767" fmla="*/ 2397165 h 6479439"/>
              <a:gd name="connsiteX5768" fmla="*/ 5264784 w 9586368"/>
              <a:gd name="connsiteY5768" fmla="*/ 2393127 h 6479439"/>
              <a:gd name="connsiteX5769" fmla="*/ 5274694 w 9586368"/>
              <a:gd name="connsiteY5769" fmla="*/ 2393127 h 6479439"/>
              <a:gd name="connsiteX5770" fmla="*/ 5278713 w 9586368"/>
              <a:gd name="connsiteY5770" fmla="*/ 2397165 h 6479439"/>
              <a:gd name="connsiteX5771" fmla="*/ 5278713 w 9586368"/>
              <a:gd name="connsiteY5771" fmla="*/ 2407036 h 6479439"/>
              <a:gd name="connsiteX5772" fmla="*/ 5274694 w 9586368"/>
              <a:gd name="connsiteY5772" fmla="*/ 2411074 h 6479439"/>
              <a:gd name="connsiteX5773" fmla="*/ 5264784 w 9586368"/>
              <a:gd name="connsiteY5773" fmla="*/ 2411074 h 6479439"/>
              <a:gd name="connsiteX5774" fmla="*/ 5260765 w 9586368"/>
              <a:gd name="connsiteY5774" fmla="*/ 2407036 h 6479439"/>
              <a:gd name="connsiteX5775" fmla="*/ 5260765 w 9586368"/>
              <a:gd name="connsiteY5775" fmla="*/ 2397165 h 6479439"/>
              <a:gd name="connsiteX5776" fmla="*/ 5025470 w 9586368"/>
              <a:gd name="connsiteY5776" fmla="*/ 2393127 h 6479439"/>
              <a:gd name="connsiteX5777" fmla="*/ 5035381 w 9586368"/>
              <a:gd name="connsiteY5777" fmla="*/ 2393127 h 6479439"/>
              <a:gd name="connsiteX5778" fmla="*/ 5039400 w 9586368"/>
              <a:gd name="connsiteY5778" fmla="*/ 2397165 h 6479439"/>
              <a:gd name="connsiteX5779" fmla="*/ 5039400 w 9586368"/>
              <a:gd name="connsiteY5779" fmla="*/ 2407036 h 6479439"/>
              <a:gd name="connsiteX5780" fmla="*/ 5035381 w 9586368"/>
              <a:gd name="connsiteY5780" fmla="*/ 2411074 h 6479439"/>
              <a:gd name="connsiteX5781" fmla="*/ 5025470 w 9586368"/>
              <a:gd name="connsiteY5781" fmla="*/ 2411074 h 6479439"/>
              <a:gd name="connsiteX5782" fmla="*/ 5021451 w 9586368"/>
              <a:gd name="connsiteY5782" fmla="*/ 2407036 h 6479439"/>
              <a:gd name="connsiteX5783" fmla="*/ 5021451 w 9586368"/>
              <a:gd name="connsiteY5783" fmla="*/ 2397165 h 6479439"/>
              <a:gd name="connsiteX5784" fmla="*/ 4786241 w 9586368"/>
              <a:gd name="connsiteY5784" fmla="*/ 2393127 h 6479439"/>
              <a:gd name="connsiteX5785" fmla="*/ 4796152 w 9586368"/>
              <a:gd name="connsiteY5785" fmla="*/ 2393127 h 6479439"/>
              <a:gd name="connsiteX5786" fmla="*/ 4800171 w 9586368"/>
              <a:gd name="connsiteY5786" fmla="*/ 2397165 h 6479439"/>
              <a:gd name="connsiteX5787" fmla="*/ 4800171 w 9586368"/>
              <a:gd name="connsiteY5787" fmla="*/ 2407036 h 6479439"/>
              <a:gd name="connsiteX5788" fmla="*/ 4796152 w 9586368"/>
              <a:gd name="connsiteY5788" fmla="*/ 2411074 h 6479439"/>
              <a:gd name="connsiteX5789" fmla="*/ 4786241 w 9586368"/>
              <a:gd name="connsiteY5789" fmla="*/ 2411074 h 6479439"/>
              <a:gd name="connsiteX5790" fmla="*/ 4782224 w 9586368"/>
              <a:gd name="connsiteY5790" fmla="*/ 2407036 h 6479439"/>
              <a:gd name="connsiteX5791" fmla="*/ 4782224 w 9586368"/>
              <a:gd name="connsiteY5791" fmla="*/ 2397165 h 6479439"/>
              <a:gd name="connsiteX5792" fmla="*/ 4546929 w 9586368"/>
              <a:gd name="connsiteY5792" fmla="*/ 2393127 h 6479439"/>
              <a:gd name="connsiteX5793" fmla="*/ 4556840 w 9586368"/>
              <a:gd name="connsiteY5793" fmla="*/ 2393127 h 6479439"/>
              <a:gd name="connsiteX5794" fmla="*/ 4560859 w 9586368"/>
              <a:gd name="connsiteY5794" fmla="*/ 2397165 h 6479439"/>
              <a:gd name="connsiteX5795" fmla="*/ 4560859 w 9586368"/>
              <a:gd name="connsiteY5795" fmla="*/ 2407036 h 6479439"/>
              <a:gd name="connsiteX5796" fmla="*/ 4556840 w 9586368"/>
              <a:gd name="connsiteY5796" fmla="*/ 2411074 h 6479439"/>
              <a:gd name="connsiteX5797" fmla="*/ 4546929 w 9586368"/>
              <a:gd name="connsiteY5797" fmla="*/ 2411074 h 6479439"/>
              <a:gd name="connsiteX5798" fmla="*/ 4542910 w 9586368"/>
              <a:gd name="connsiteY5798" fmla="*/ 2407036 h 6479439"/>
              <a:gd name="connsiteX5799" fmla="*/ 4542910 w 9586368"/>
              <a:gd name="connsiteY5799" fmla="*/ 2397165 h 6479439"/>
              <a:gd name="connsiteX5800" fmla="*/ 4307612 w 9586368"/>
              <a:gd name="connsiteY5800" fmla="*/ 2393127 h 6479439"/>
              <a:gd name="connsiteX5801" fmla="*/ 4317523 w 9586368"/>
              <a:gd name="connsiteY5801" fmla="*/ 2393127 h 6479439"/>
              <a:gd name="connsiteX5802" fmla="*/ 4321543 w 9586368"/>
              <a:gd name="connsiteY5802" fmla="*/ 2397165 h 6479439"/>
              <a:gd name="connsiteX5803" fmla="*/ 4321543 w 9586368"/>
              <a:gd name="connsiteY5803" fmla="*/ 2407036 h 6479439"/>
              <a:gd name="connsiteX5804" fmla="*/ 4317523 w 9586368"/>
              <a:gd name="connsiteY5804" fmla="*/ 2411074 h 6479439"/>
              <a:gd name="connsiteX5805" fmla="*/ 4307612 w 9586368"/>
              <a:gd name="connsiteY5805" fmla="*/ 2411074 h 6479439"/>
              <a:gd name="connsiteX5806" fmla="*/ 4303595 w 9586368"/>
              <a:gd name="connsiteY5806" fmla="*/ 2407036 h 6479439"/>
              <a:gd name="connsiteX5807" fmla="*/ 4303595 w 9586368"/>
              <a:gd name="connsiteY5807" fmla="*/ 2397165 h 6479439"/>
              <a:gd name="connsiteX5808" fmla="*/ 4068297 w 9586368"/>
              <a:gd name="connsiteY5808" fmla="*/ 2393127 h 6479439"/>
              <a:gd name="connsiteX5809" fmla="*/ 4078210 w 9586368"/>
              <a:gd name="connsiteY5809" fmla="*/ 2393127 h 6479439"/>
              <a:gd name="connsiteX5810" fmla="*/ 4082229 w 9586368"/>
              <a:gd name="connsiteY5810" fmla="*/ 2397165 h 6479439"/>
              <a:gd name="connsiteX5811" fmla="*/ 4082229 w 9586368"/>
              <a:gd name="connsiteY5811" fmla="*/ 2407036 h 6479439"/>
              <a:gd name="connsiteX5812" fmla="*/ 4078210 w 9586368"/>
              <a:gd name="connsiteY5812" fmla="*/ 2411074 h 6479439"/>
              <a:gd name="connsiteX5813" fmla="*/ 4068297 w 9586368"/>
              <a:gd name="connsiteY5813" fmla="*/ 2411074 h 6479439"/>
              <a:gd name="connsiteX5814" fmla="*/ 4064278 w 9586368"/>
              <a:gd name="connsiteY5814" fmla="*/ 2407036 h 6479439"/>
              <a:gd name="connsiteX5815" fmla="*/ 4064278 w 9586368"/>
              <a:gd name="connsiteY5815" fmla="*/ 2397165 h 6479439"/>
              <a:gd name="connsiteX5816" fmla="*/ 3828990 w 9586368"/>
              <a:gd name="connsiteY5816" fmla="*/ 2393127 h 6479439"/>
              <a:gd name="connsiteX5817" fmla="*/ 3838899 w 9586368"/>
              <a:gd name="connsiteY5817" fmla="*/ 2393127 h 6479439"/>
              <a:gd name="connsiteX5818" fmla="*/ 3842917 w 9586368"/>
              <a:gd name="connsiteY5818" fmla="*/ 2397165 h 6479439"/>
              <a:gd name="connsiteX5819" fmla="*/ 3842917 w 9586368"/>
              <a:gd name="connsiteY5819" fmla="*/ 2407036 h 6479439"/>
              <a:gd name="connsiteX5820" fmla="*/ 3838899 w 9586368"/>
              <a:gd name="connsiteY5820" fmla="*/ 2411074 h 6479439"/>
              <a:gd name="connsiteX5821" fmla="*/ 3828990 w 9586368"/>
              <a:gd name="connsiteY5821" fmla="*/ 2411074 h 6479439"/>
              <a:gd name="connsiteX5822" fmla="*/ 3824971 w 9586368"/>
              <a:gd name="connsiteY5822" fmla="*/ 2407036 h 6479439"/>
              <a:gd name="connsiteX5823" fmla="*/ 3824971 w 9586368"/>
              <a:gd name="connsiteY5823" fmla="*/ 2397165 h 6479439"/>
              <a:gd name="connsiteX5824" fmla="*/ 3589676 w 9586368"/>
              <a:gd name="connsiteY5824" fmla="*/ 2393127 h 6479439"/>
              <a:gd name="connsiteX5825" fmla="*/ 3599585 w 9586368"/>
              <a:gd name="connsiteY5825" fmla="*/ 2393127 h 6479439"/>
              <a:gd name="connsiteX5826" fmla="*/ 3603604 w 9586368"/>
              <a:gd name="connsiteY5826" fmla="*/ 2397165 h 6479439"/>
              <a:gd name="connsiteX5827" fmla="*/ 3603604 w 9586368"/>
              <a:gd name="connsiteY5827" fmla="*/ 2407036 h 6479439"/>
              <a:gd name="connsiteX5828" fmla="*/ 3599585 w 9586368"/>
              <a:gd name="connsiteY5828" fmla="*/ 2411074 h 6479439"/>
              <a:gd name="connsiteX5829" fmla="*/ 3589676 w 9586368"/>
              <a:gd name="connsiteY5829" fmla="*/ 2411074 h 6479439"/>
              <a:gd name="connsiteX5830" fmla="*/ 3585657 w 9586368"/>
              <a:gd name="connsiteY5830" fmla="*/ 2407036 h 6479439"/>
              <a:gd name="connsiteX5831" fmla="*/ 3585657 w 9586368"/>
              <a:gd name="connsiteY5831" fmla="*/ 2397165 h 6479439"/>
              <a:gd name="connsiteX5832" fmla="*/ 3350359 w 9586368"/>
              <a:gd name="connsiteY5832" fmla="*/ 2393127 h 6479439"/>
              <a:gd name="connsiteX5833" fmla="*/ 3360268 w 9586368"/>
              <a:gd name="connsiteY5833" fmla="*/ 2393127 h 6479439"/>
              <a:gd name="connsiteX5834" fmla="*/ 3364287 w 9586368"/>
              <a:gd name="connsiteY5834" fmla="*/ 2397165 h 6479439"/>
              <a:gd name="connsiteX5835" fmla="*/ 3364287 w 9586368"/>
              <a:gd name="connsiteY5835" fmla="*/ 2407036 h 6479439"/>
              <a:gd name="connsiteX5836" fmla="*/ 3360268 w 9586368"/>
              <a:gd name="connsiteY5836" fmla="*/ 2411074 h 6479439"/>
              <a:gd name="connsiteX5837" fmla="*/ 3350359 w 9586368"/>
              <a:gd name="connsiteY5837" fmla="*/ 2411074 h 6479439"/>
              <a:gd name="connsiteX5838" fmla="*/ 3346340 w 9586368"/>
              <a:gd name="connsiteY5838" fmla="*/ 2407036 h 6479439"/>
              <a:gd name="connsiteX5839" fmla="*/ 3346340 w 9586368"/>
              <a:gd name="connsiteY5839" fmla="*/ 2397165 h 6479439"/>
              <a:gd name="connsiteX5840" fmla="*/ 3111048 w 9586368"/>
              <a:gd name="connsiteY5840" fmla="*/ 2393127 h 6479439"/>
              <a:gd name="connsiteX5841" fmla="*/ 3120959 w 9586368"/>
              <a:gd name="connsiteY5841" fmla="*/ 2393127 h 6479439"/>
              <a:gd name="connsiteX5842" fmla="*/ 3124977 w 9586368"/>
              <a:gd name="connsiteY5842" fmla="*/ 2397165 h 6479439"/>
              <a:gd name="connsiteX5843" fmla="*/ 3124977 w 9586368"/>
              <a:gd name="connsiteY5843" fmla="*/ 2407036 h 6479439"/>
              <a:gd name="connsiteX5844" fmla="*/ 3120959 w 9586368"/>
              <a:gd name="connsiteY5844" fmla="*/ 2411074 h 6479439"/>
              <a:gd name="connsiteX5845" fmla="*/ 3111048 w 9586368"/>
              <a:gd name="connsiteY5845" fmla="*/ 2411074 h 6479439"/>
              <a:gd name="connsiteX5846" fmla="*/ 3107029 w 9586368"/>
              <a:gd name="connsiteY5846" fmla="*/ 2407036 h 6479439"/>
              <a:gd name="connsiteX5847" fmla="*/ 3107029 w 9586368"/>
              <a:gd name="connsiteY5847" fmla="*/ 2397165 h 6479439"/>
              <a:gd name="connsiteX5848" fmla="*/ 2871737 w 9586368"/>
              <a:gd name="connsiteY5848" fmla="*/ 2393127 h 6479439"/>
              <a:gd name="connsiteX5849" fmla="*/ 2881646 w 9586368"/>
              <a:gd name="connsiteY5849" fmla="*/ 2393127 h 6479439"/>
              <a:gd name="connsiteX5850" fmla="*/ 2885666 w 9586368"/>
              <a:gd name="connsiteY5850" fmla="*/ 2397165 h 6479439"/>
              <a:gd name="connsiteX5851" fmla="*/ 2885666 w 9586368"/>
              <a:gd name="connsiteY5851" fmla="*/ 2407036 h 6479439"/>
              <a:gd name="connsiteX5852" fmla="*/ 2881646 w 9586368"/>
              <a:gd name="connsiteY5852" fmla="*/ 2411074 h 6479439"/>
              <a:gd name="connsiteX5853" fmla="*/ 2871737 w 9586368"/>
              <a:gd name="connsiteY5853" fmla="*/ 2411074 h 6479439"/>
              <a:gd name="connsiteX5854" fmla="*/ 2867717 w 9586368"/>
              <a:gd name="connsiteY5854" fmla="*/ 2407036 h 6479439"/>
              <a:gd name="connsiteX5855" fmla="*/ 2867717 w 9586368"/>
              <a:gd name="connsiteY5855" fmla="*/ 2397165 h 6479439"/>
              <a:gd name="connsiteX5856" fmla="*/ 2632423 w 9586368"/>
              <a:gd name="connsiteY5856" fmla="*/ 2393127 h 6479439"/>
              <a:gd name="connsiteX5857" fmla="*/ 2642334 w 9586368"/>
              <a:gd name="connsiteY5857" fmla="*/ 2393127 h 6479439"/>
              <a:gd name="connsiteX5858" fmla="*/ 2646352 w 9586368"/>
              <a:gd name="connsiteY5858" fmla="*/ 2397165 h 6479439"/>
              <a:gd name="connsiteX5859" fmla="*/ 2646352 w 9586368"/>
              <a:gd name="connsiteY5859" fmla="*/ 2407036 h 6479439"/>
              <a:gd name="connsiteX5860" fmla="*/ 2642334 w 9586368"/>
              <a:gd name="connsiteY5860" fmla="*/ 2411074 h 6479439"/>
              <a:gd name="connsiteX5861" fmla="*/ 2632423 w 9586368"/>
              <a:gd name="connsiteY5861" fmla="*/ 2411074 h 6479439"/>
              <a:gd name="connsiteX5862" fmla="*/ 2628404 w 9586368"/>
              <a:gd name="connsiteY5862" fmla="*/ 2407036 h 6479439"/>
              <a:gd name="connsiteX5863" fmla="*/ 2628404 w 9586368"/>
              <a:gd name="connsiteY5863" fmla="*/ 2397165 h 6479439"/>
              <a:gd name="connsiteX5864" fmla="*/ 2393104 w 9586368"/>
              <a:gd name="connsiteY5864" fmla="*/ 2393127 h 6479439"/>
              <a:gd name="connsiteX5865" fmla="*/ 2403015 w 9586368"/>
              <a:gd name="connsiteY5865" fmla="*/ 2393127 h 6479439"/>
              <a:gd name="connsiteX5866" fmla="*/ 2407034 w 9586368"/>
              <a:gd name="connsiteY5866" fmla="*/ 2397165 h 6479439"/>
              <a:gd name="connsiteX5867" fmla="*/ 2407034 w 9586368"/>
              <a:gd name="connsiteY5867" fmla="*/ 2407036 h 6479439"/>
              <a:gd name="connsiteX5868" fmla="*/ 2403015 w 9586368"/>
              <a:gd name="connsiteY5868" fmla="*/ 2411074 h 6479439"/>
              <a:gd name="connsiteX5869" fmla="*/ 2393104 w 9586368"/>
              <a:gd name="connsiteY5869" fmla="*/ 2411074 h 6479439"/>
              <a:gd name="connsiteX5870" fmla="*/ 2389087 w 9586368"/>
              <a:gd name="connsiteY5870" fmla="*/ 2407036 h 6479439"/>
              <a:gd name="connsiteX5871" fmla="*/ 2389087 w 9586368"/>
              <a:gd name="connsiteY5871" fmla="*/ 2397165 h 6479439"/>
              <a:gd name="connsiteX5872" fmla="*/ 721970 w 9586368"/>
              <a:gd name="connsiteY5872" fmla="*/ 2393127 h 6479439"/>
              <a:gd name="connsiteX5873" fmla="*/ 731881 w 9586368"/>
              <a:gd name="connsiteY5873" fmla="*/ 2393127 h 6479439"/>
              <a:gd name="connsiteX5874" fmla="*/ 735899 w 9586368"/>
              <a:gd name="connsiteY5874" fmla="*/ 2397165 h 6479439"/>
              <a:gd name="connsiteX5875" fmla="*/ 735899 w 9586368"/>
              <a:gd name="connsiteY5875" fmla="*/ 2407036 h 6479439"/>
              <a:gd name="connsiteX5876" fmla="*/ 731881 w 9586368"/>
              <a:gd name="connsiteY5876" fmla="*/ 2411074 h 6479439"/>
              <a:gd name="connsiteX5877" fmla="*/ 721970 w 9586368"/>
              <a:gd name="connsiteY5877" fmla="*/ 2411074 h 6479439"/>
              <a:gd name="connsiteX5878" fmla="*/ 717951 w 9586368"/>
              <a:gd name="connsiteY5878" fmla="*/ 2407036 h 6479439"/>
              <a:gd name="connsiteX5879" fmla="*/ 717951 w 9586368"/>
              <a:gd name="connsiteY5879" fmla="*/ 2397165 h 6479439"/>
              <a:gd name="connsiteX5880" fmla="*/ 482658 w 9586368"/>
              <a:gd name="connsiteY5880" fmla="*/ 2393127 h 6479439"/>
              <a:gd name="connsiteX5881" fmla="*/ 492568 w 9586368"/>
              <a:gd name="connsiteY5881" fmla="*/ 2393127 h 6479439"/>
              <a:gd name="connsiteX5882" fmla="*/ 496588 w 9586368"/>
              <a:gd name="connsiteY5882" fmla="*/ 2397165 h 6479439"/>
              <a:gd name="connsiteX5883" fmla="*/ 496588 w 9586368"/>
              <a:gd name="connsiteY5883" fmla="*/ 2407036 h 6479439"/>
              <a:gd name="connsiteX5884" fmla="*/ 492568 w 9586368"/>
              <a:gd name="connsiteY5884" fmla="*/ 2411074 h 6479439"/>
              <a:gd name="connsiteX5885" fmla="*/ 482658 w 9586368"/>
              <a:gd name="connsiteY5885" fmla="*/ 2411074 h 6479439"/>
              <a:gd name="connsiteX5886" fmla="*/ 478639 w 9586368"/>
              <a:gd name="connsiteY5886" fmla="*/ 2407036 h 6479439"/>
              <a:gd name="connsiteX5887" fmla="*/ 478639 w 9586368"/>
              <a:gd name="connsiteY5887" fmla="*/ 2397165 h 6479439"/>
              <a:gd name="connsiteX5888" fmla="*/ 243344 w 9586368"/>
              <a:gd name="connsiteY5888" fmla="*/ 2393127 h 6479439"/>
              <a:gd name="connsiteX5889" fmla="*/ 253255 w 9586368"/>
              <a:gd name="connsiteY5889" fmla="*/ 2393127 h 6479439"/>
              <a:gd name="connsiteX5890" fmla="*/ 257274 w 9586368"/>
              <a:gd name="connsiteY5890" fmla="*/ 2397165 h 6479439"/>
              <a:gd name="connsiteX5891" fmla="*/ 257274 w 9586368"/>
              <a:gd name="connsiteY5891" fmla="*/ 2407036 h 6479439"/>
              <a:gd name="connsiteX5892" fmla="*/ 253255 w 9586368"/>
              <a:gd name="connsiteY5892" fmla="*/ 2411074 h 6479439"/>
              <a:gd name="connsiteX5893" fmla="*/ 243344 w 9586368"/>
              <a:gd name="connsiteY5893" fmla="*/ 2411074 h 6479439"/>
              <a:gd name="connsiteX5894" fmla="*/ 239325 w 9586368"/>
              <a:gd name="connsiteY5894" fmla="*/ 2407036 h 6479439"/>
              <a:gd name="connsiteX5895" fmla="*/ 239325 w 9586368"/>
              <a:gd name="connsiteY5895" fmla="*/ 2397165 h 6479439"/>
              <a:gd name="connsiteX5896" fmla="*/ 4031 w 9586368"/>
              <a:gd name="connsiteY5896" fmla="*/ 2393127 h 6479439"/>
              <a:gd name="connsiteX5897" fmla="*/ 13941 w 9586368"/>
              <a:gd name="connsiteY5897" fmla="*/ 2393127 h 6479439"/>
              <a:gd name="connsiteX5898" fmla="*/ 17961 w 9586368"/>
              <a:gd name="connsiteY5898" fmla="*/ 2397165 h 6479439"/>
              <a:gd name="connsiteX5899" fmla="*/ 17961 w 9586368"/>
              <a:gd name="connsiteY5899" fmla="*/ 2407036 h 6479439"/>
              <a:gd name="connsiteX5900" fmla="*/ 13941 w 9586368"/>
              <a:gd name="connsiteY5900" fmla="*/ 2411074 h 6479439"/>
              <a:gd name="connsiteX5901" fmla="*/ 4031 w 9586368"/>
              <a:gd name="connsiteY5901" fmla="*/ 2411074 h 6479439"/>
              <a:gd name="connsiteX5902" fmla="*/ 12 w 9586368"/>
              <a:gd name="connsiteY5902" fmla="*/ 2407036 h 6479439"/>
              <a:gd name="connsiteX5903" fmla="*/ 12 w 9586368"/>
              <a:gd name="connsiteY5903" fmla="*/ 2397165 h 6479439"/>
              <a:gd name="connsiteX5904" fmla="*/ 3111048 w 9586368"/>
              <a:gd name="connsiteY5904" fmla="*/ 2153996 h 6479439"/>
              <a:gd name="connsiteX5905" fmla="*/ 3120959 w 9586368"/>
              <a:gd name="connsiteY5905" fmla="*/ 2153996 h 6479439"/>
              <a:gd name="connsiteX5906" fmla="*/ 3124977 w 9586368"/>
              <a:gd name="connsiteY5906" fmla="*/ 2158034 h 6479439"/>
              <a:gd name="connsiteX5907" fmla="*/ 3124977 w 9586368"/>
              <a:gd name="connsiteY5907" fmla="*/ 2167907 h 6479439"/>
              <a:gd name="connsiteX5908" fmla="*/ 3120959 w 9586368"/>
              <a:gd name="connsiteY5908" fmla="*/ 2171946 h 6479439"/>
              <a:gd name="connsiteX5909" fmla="*/ 3111048 w 9586368"/>
              <a:gd name="connsiteY5909" fmla="*/ 2171946 h 6479439"/>
              <a:gd name="connsiteX5910" fmla="*/ 3107029 w 9586368"/>
              <a:gd name="connsiteY5910" fmla="*/ 2167907 h 6479439"/>
              <a:gd name="connsiteX5911" fmla="*/ 3107029 w 9586368"/>
              <a:gd name="connsiteY5911" fmla="*/ 2158034 h 6479439"/>
              <a:gd name="connsiteX5912" fmla="*/ 2871737 w 9586368"/>
              <a:gd name="connsiteY5912" fmla="*/ 2153996 h 6479439"/>
              <a:gd name="connsiteX5913" fmla="*/ 2881646 w 9586368"/>
              <a:gd name="connsiteY5913" fmla="*/ 2153996 h 6479439"/>
              <a:gd name="connsiteX5914" fmla="*/ 2885666 w 9586368"/>
              <a:gd name="connsiteY5914" fmla="*/ 2158034 h 6479439"/>
              <a:gd name="connsiteX5915" fmla="*/ 2885666 w 9586368"/>
              <a:gd name="connsiteY5915" fmla="*/ 2167907 h 6479439"/>
              <a:gd name="connsiteX5916" fmla="*/ 2881646 w 9586368"/>
              <a:gd name="connsiteY5916" fmla="*/ 2171946 h 6479439"/>
              <a:gd name="connsiteX5917" fmla="*/ 2871737 w 9586368"/>
              <a:gd name="connsiteY5917" fmla="*/ 2171946 h 6479439"/>
              <a:gd name="connsiteX5918" fmla="*/ 2867717 w 9586368"/>
              <a:gd name="connsiteY5918" fmla="*/ 2167907 h 6479439"/>
              <a:gd name="connsiteX5919" fmla="*/ 2867717 w 9586368"/>
              <a:gd name="connsiteY5919" fmla="*/ 2158034 h 6479439"/>
              <a:gd name="connsiteX5920" fmla="*/ 2632423 w 9586368"/>
              <a:gd name="connsiteY5920" fmla="*/ 2153996 h 6479439"/>
              <a:gd name="connsiteX5921" fmla="*/ 2642334 w 9586368"/>
              <a:gd name="connsiteY5921" fmla="*/ 2153996 h 6479439"/>
              <a:gd name="connsiteX5922" fmla="*/ 2646352 w 9586368"/>
              <a:gd name="connsiteY5922" fmla="*/ 2158034 h 6479439"/>
              <a:gd name="connsiteX5923" fmla="*/ 2646352 w 9586368"/>
              <a:gd name="connsiteY5923" fmla="*/ 2167907 h 6479439"/>
              <a:gd name="connsiteX5924" fmla="*/ 2642334 w 9586368"/>
              <a:gd name="connsiteY5924" fmla="*/ 2171947 h 6479439"/>
              <a:gd name="connsiteX5925" fmla="*/ 2632423 w 9586368"/>
              <a:gd name="connsiteY5925" fmla="*/ 2171947 h 6479439"/>
              <a:gd name="connsiteX5926" fmla="*/ 2628404 w 9586368"/>
              <a:gd name="connsiteY5926" fmla="*/ 2167907 h 6479439"/>
              <a:gd name="connsiteX5927" fmla="*/ 2628404 w 9586368"/>
              <a:gd name="connsiteY5927" fmla="*/ 2158034 h 6479439"/>
              <a:gd name="connsiteX5928" fmla="*/ 2393104 w 9586368"/>
              <a:gd name="connsiteY5928" fmla="*/ 2153996 h 6479439"/>
              <a:gd name="connsiteX5929" fmla="*/ 2403015 w 9586368"/>
              <a:gd name="connsiteY5929" fmla="*/ 2153996 h 6479439"/>
              <a:gd name="connsiteX5930" fmla="*/ 2407034 w 9586368"/>
              <a:gd name="connsiteY5930" fmla="*/ 2158034 h 6479439"/>
              <a:gd name="connsiteX5931" fmla="*/ 2407034 w 9586368"/>
              <a:gd name="connsiteY5931" fmla="*/ 2167907 h 6479439"/>
              <a:gd name="connsiteX5932" fmla="*/ 2403015 w 9586368"/>
              <a:gd name="connsiteY5932" fmla="*/ 2171947 h 6479439"/>
              <a:gd name="connsiteX5933" fmla="*/ 2393104 w 9586368"/>
              <a:gd name="connsiteY5933" fmla="*/ 2171947 h 6479439"/>
              <a:gd name="connsiteX5934" fmla="*/ 2389087 w 9586368"/>
              <a:gd name="connsiteY5934" fmla="*/ 2167907 h 6479439"/>
              <a:gd name="connsiteX5935" fmla="*/ 2389087 w 9586368"/>
              <a:gd name="connsiteY5935" fmla="*/ 2158034 h 6479439"/>
              <a:gd name="connsiteX5936" fmla="*/ 3350359 w 9586368"/>
              <a:gd name="connsiteY5936" fmla="*/ 2153995 h 6479439"/>
              <a:gd name="connsiteX5937" fmla="*/ 3360268 w 9586368"/>
              <a:gd name="connsiteY5937" fmla="*/ 2153995 h 6479439"/>
              <a:gd name="connsiteX5938" fmla="*/ 3364287 w 9586368"/>
              <a:gd name="connsiteY5938" fmla="*/ 2158034 h 6479439"/>
              <a:gd name="connsiteX5939" fmla="*/ 3364287 w 9586368"/>
              <a:gd name="connsiteY5939" fmla="*/ 2167907 h 6479439"/>
              <a:gd name="connsiteX5940" fmla="*/ 3360268 w 9586368"/>
              <a:gd name="connsiteY5940" fmla="*/ 2171946 h 6479439"/>
              <a:gd name="connsiteX5941" fmla="*/ 3350359 w 9586368"/>
              <a:gd name="connsiteY5941" fmla="*/ 2171946 h 6479439"/>
              <a:gd name="connsiteX5942" fmla="*/ 3346340 w 9586368"/>
              <a:gd name="connsiteY5942" fmla="*/ 2167907 h 6479439"/>
              <a:gd name="connsiteX5943" fmla="*/ 3346340 w 9586368"/>
              <a:gd name="connsiteY5943" fmla="*/ 2158034 h 6479439"/>
              <a:gd name="connsiteX5944" fmla="*/ 4546929 w 9586368"/>
              <a:gd name="connsiteY5944" fmla="*/ 2153976 h 6479439"/>
              <a:gd name="connsiteX5945" fmla="*/ 4556840 w 9586368"/>
              <a:gd name="connsiteY5945" fmla="*/ 2153976 h 6479439"/>
              <a:gd name="connsiteX5946" fmla="*/ 4560859 w 9586368"/>
              <a:gd name="connsiteY5946" fmla="*/ 2158014 h 6479439"/>
              <a:gd name="connsiteX5947" fmla="*/ 4560859 w 9586368"/>
              <a:gd name="connsiteY5947" fmla="*/ 2167886 h 6479439"/>
              <a:gd name="connsiteX5948" fmla="*/ 4556840 w 9586368"/>
              <a:gd name="connsiteY5948" fmla="*/ 2171926 h 6479439"/>
              <a:gd name="connsiteX5949" fmla="*/ 4546929 w 9586368"/>
              <a:gd name="connsiteY5949" fmla="*/ 2171926 h 6479439"/>
              <a:gd name="connsiteX5950" fmla="*/ 4542910 w 9586368"/>
              <a:gd name="connsiteY5950" fmla="*/ 2167886 h 6479439"/>
              <a:gd name="connsiteX5951" fmla="*/ 4542910 w 9586368"/>
              <a:gd name="connsiteY5951" fmla="*/ 2158014 h 6479439"/>
              <a:gd name="connsiteX5952" fmla="*/ 4307612 w 9586368"/>
              <a:gd name="connsiteY5952" fmla="*/ 2153976 h 6479439"/>
              <a:gd name="connsiteX5953" fmla="*/ 4317523 w 9586368"/>
              <a:gd name="connsiteY5953" fmla="*/ 2153976 h 6479439"/>
              <a:gd name="connsiteX5954" fmla="*/ 4321543 w 9586368"/>
              <a:gd name="connsiteY5954" fmla="*/ 2158014 h 6479439"/>
              <a:gd name="connsiteX5955" fmla="*/ 4321543 w 9586368"/>
              <a:gd name="connsiteY5955" fmla="*/ 2167887 h 6479439"/>
              <a:gd name="connsiteX5956" fmla="*/ 4317523 w 9586368"/>
              <a:gd name="connsiteY5956" fmla="*/ 2171926 h 6479439"/>
              <a:gd name="connsiteX5957" fmla="*/ 4307612 w 9586368"/>
              <a:gd name="connsiteY5957" fmla="*/ 2171926 h 6479439"/>
              <a:gd name="connsiteX5958" fmla="*/ 4303595 w 9586368"/>
              <a:gd name="connsiteY5958" fmla="*/ 2167887 h 6479439"/>
              <a:gd name="connsiteX5959" fmla="*/ 4303595 w 9586368"/>
              <a:gd name="connsiteY5959" fmla="*/ 2158014 h 6479439"/>
              <a:gd name="connsiteX5960" fmla="*/ 4068297 w 9586368"/>
              <a:gd name="connsiteY5960" fmla="*/ 2153976 h 6479439"/>
              <a:gd name="connsiteX5961" fmla="*/ 4078210 w 9586368"/>
              <a:gd name="connsiteY5961" fmla="*/ 2153976 h 6479439"/>
              <a:gd name="connsiteX5962" fmla="*/ 4082229 w 9586368"/>
              <a:gd name="connsiteY5962" fmla="*/ 2158014 h 6479439"/>
              <a:gd name="connsiteX5963" fmla="*/ 4082229 w 9586368"/>
              <a:gd name="connsiteY5963" fmla="*/ 2167887 h 6479439"/>
              <a:gd name="connsiteX5964" fmla="*/ 4078210 w 9586368"/>
              <a:gd name="connsiteY5964" fmla="*/ 2171926 h 6479439"/>
              <a:gd name="connsiteX5965" fmla="*/ 4068297 w 9586368"/>
              <a:gd name="connsiteY5965" fmla="*/ 2171926 h 6479439"/>
              <a:gd name="connsiteX5966" fmla="*/ 4064278 w 9586368"/>
              <a:gd name="connsiteY5966" fmla="*/ 2167887 h 6479439"/>
              <a:gd name="connsiteX5967" fmla="*/ 4064278 w 9586368"/>
              <a:gd name="connsiteY5967" fmla="*/ 2158014 h 6479439"/>
              <a:gd name="connsiteX5968" fmla="*/ 3828990 w 9586368"/>
              <a:gd name="connsiteY5968" fmla="*/ 2153976 h 6479439"/>
              <a:gd name="connsiteX5969" fmla="*/ 3838899 w 9586368"/>
              <a:gd name="connsiteY5969" fmla="*/ 2153976 h 6479439"/>
              <a:gd name="connsiteX5970" fmla="*/ 3842917 w 9586368"/>
              <a:gd name="connsiteY5970" fmla="*/ 2158014 h 6479439"/>
              <a:gd name="connsiteX5971" fmla="*/ 3842917 w 9586368"/>
              <a:gd name="connsiteY5971" fmla="*/ 2167887 h 6479439"/>
              <a:gd name="connsiteX5972" fmla="*/ 3838899 w 9586368"/>
              <a:gd name="connsiteY5972" fmla="*/ 2171926 h 6479439"/>
              <a:gd name="connsiteX5973" fmla="*/ 3828990 w 9586368"/>
              <a:gd name="connsiteY5973" fmla="*/ 2171926 h 6479439"/>
              <a:gd name="connsiteX5974" fmla="*/ 3824971 w 9586368"/>
              <a:gd name="connsiteY5974" fmla="*/ 2167887 h 6479439"/>
              <a:gd name="connsiteX5975" fmla="*/ 3824971 w 9586368"/>
              <a:gd name="connsiteY5975" fmla="*/ 2158014 h 6479439"/>
              <a:gd name="connsiteX5976" fmla="*/ 3589676 w 9586368"/>
              <a:gd name="connsiteY5976" fmla="*/ 2153976 h 6479439"/>
              <a:gd name="connsiteX5977" fmla="*/ 3599585 w 9586368"/>
              <a:gd name="connsiteY5977" fmla="*/ 2153976 h 6479439"/>
              <a:gd name="connsiteX5978" fmla="*/ 3603604 w 9586368"/>
              <a:gd name="connsiteY5978" fmla="*/ 2158014 h 6479439"/>
              <a:gd name="connsiteX5979" fmla="*/ 3603604 w 9586368"/>
              <a:gd name="connsiteY5979" fmla="*/ 2167887 h 6479439"/>
              <a:gd name="connsiteX5980" fmla="*/ 3599585 w 9586368"/>
              <a:gd name="connsiteY5980" fmla="*/ 2171926 h 6479439"/>
              <a:gd name="connsiteX5981" fmla="*/ 3589676 w 9586368"/>
              <a:gd name="connsiteY5981" fmla="*/ 2171926 h 6479439"/>
              <a:gd name="connsiteX5982" fmla="*/ 3585657 w 9586368"/>
              <a:gd name="connsiteY5982" fmla="*/ 2167887 h 6479439"/>
              <a:gd name="connsiteX5983" fmla="*/ 3585657 w 9586368"/>
              <a:gd name="connsiteY5983" fmla="*/ 2158014 h 6479439"/>
              <a:gd name="connsiteX5984" fmla="*/ 5504099 w 9586368"/>
              <a:gd name="connsiteY5984" fmla="*/ 2153956 h 6479439"/>
              <a:gd name="connsiteX5985" fmla="*/ 5514010 w 9586368"/>
              <a:gd name="connsiteY5985" fmla="*/ 2153956 h 6479439"/>
              <a:gd name="connsiteX5986" fmla="*/ 5518029 w 9586368"/>
              <a:gd name="connsiteY5986" fmla="*/ 2157994 h 6479439"/>
              <a:gd name="connsiteX5987" fmla="*/ 5518029 w 9586368"/>
              <a:gd name="connsiteY5987" fmla="*/ 2167867 h 6479439"/>
              <a:gd name="connsiteX5988" fmla="*/ 5514010 w 9586368"/>
              <a:gd name="connsiteY5988" fmla="*/ 2171905 h 6479439"/>
              <a:gd name="connsiteX5989" fmla="*/ 5504099 w 9586368"/>
              <a:gd name="connsiteY5989" fmla="*/ 2171905 h 6479439"/>
              <a:gd name="connsiteX5990" fmla="*/ 5500080 w 9586368"/>
              <a:gd name="connsiteY5990" fmla="*/ 2167867 h 6479439"/>
              <a:gd name="connsiteX5991" fmla="*/ 5500080 w 9586368"/>
              <a:gd name="connsiteY5991" fmla="*/ 2157994 h 6479439"/>
              <a:gd name="connsiteX5992" fmla="*/ 5264784 w 9586368"/>
              <a:gd name="connsiteY5992" fmla="*/ 2153956 h 6479439"/>
              <a:gd name="connsiteX5993" fmla="*/ 5274694 w 9586368"/>
              <a:gd name="connsiteY5993" fmla="*/ 2153956 h 6479439"/>
              <a:gd name="connsiteX5994" fmla="*/ 5278713 w 9586368"/>
              <a:gd name="connsiteY5994" fmla="*/ 2157994 h 6479439"/>
              <a:gd name="connsiteX5995" fmla="*/ 5278713 w 9586368"/>
              <a:gd name="connsiteY5995" fmla="*/ 2167867 h 6479439"/>
              <a:gd name="connsiteX5996" fmla="*/ 5274694 w 9586368"/>
              <a:gd name="connsiteY5996" fmla="*/ 2171905 h 6479439"/>
              <a:gd name="connsiteX5997" fmla="*/ 5264784 w 9586368"/>
              <a:gd name="connsiteY5997" fmla="*/ 2171905 h 6479439"/>
              <a:gd name="connsiteX5998" fmla="*/ 5260765 w 9586368"/>
              <a:gd name="connsiteY5998" fmla="*/ 2167867 h 6479439"/>
              <a:gd name="connsiteX5999" fmla="*/ 5260765 w 9586368"/>
              <a:gd name="connsiteY5999" fmla="*/ 2157994 h 6479439"/>
              <a:gd name="connsiteX6000" fmla="*/ 5025470 w 9586368"/>
              <a:gd name="connsiteY6000" fmla="*/ 2153956 h 6479439"/>
              <a:gd name="connsiteX6001" fmla="*/ 5035381 w 9586368"/>
              <a:gd name="connsiteY6001" fmla="*/ 2153956 h 6479439"/>
              <a:gd name="connsiteX6002" fmla="*/ 5039400 w 9586368"/>
              <a:gd name="connsiteY6002" fmla="*/ 2157994 h 6479439"/>
              <a:gd name="connsiteX6003" fmla="*/ 5039400 w 9586368"/>
              <a:gd name="connsiteY6003" fmla="*/ 2167867 h 6479439"/>
              <a:gd name="connsiteX6004" fmla="*/ 5035381 w 9586368"/>
              <a:gd name="connsiteY6004" fmla="*/ 2171906 h 6479439"/>
              <a:gd name="connsiteX6005" fmla="*/ 5025470 w 9586368"/>
              <a:gd name="connsiteY6005" fmla="*/ 2171906 h 6479439"/>
              <a:gd name="connsiteX6006" fmla="*/ 5021451 w 9586368"/>
              <a:gd name="connsiteY6006" fmla="*/ 2167867 h 6479439"/>
              <a:gd name="connsiteX6007" fmla="*/ 5021451 w 9586368"/>
              <a:gd name="connsiteY6007" fmla="*/ 2157994 h 6479439"/>
              <a:gd name="connsiteX6008" fmla="*/ 4786241 w 9586368"/>
              <a:gd name="connsiteY6008" fmla="*/ 2153956 h 6479439"/>
              <a:gd name="connsiteX6009" fmla="*/ 4796152 w 9586368"/>
              <a:gd name="connsiteY6009" fmla="*/ 2153956 h 6479439"/>
              <a:gd name="connsiteX6010" fmla="*/ 4800171 w 9586368"/>
              <a:gd name="connsiteY6010" fmla="*/ 2157994 h 6479439"/>
              <a:gd name="connsiteX6011" fmla="*/ 4800171 w 9586368"/>
              <a:gd name="connsiteY6011" fmla="*/ 2167867 h 6479439"/>
              <a:gd name="connsiteX6012" fmla="*/ 4796152 w 9586368"/>
              <a:gd name="connsiteY6012" fmla="*/ 2171906 h 6479439"/>
              <a:gd name="connsiteX6013" fmla="*/ 4786241 w 9586368"/>
              <a:gd name="connsiteY6013" fmla="*/ 2171906 h 6479439"/>
              <a:gd name="connsiteX6014" fmla="*/ 4782224 w 9586368"/>
              <a:gd name="connsiteY6014" fmla="*/ 2167867 h 6479439"/>
              <a:gd name="connsiteX6015" fmla="*/ 4782224 w 9586368"/>
              <a:gd name="connsiteY6015" fmla="*/ 2157994 h 6479439"/>
              <a:gd name="connsiteX6016" fmla="*/ 5743412 w 9586368"/>
              <a:gd name="connsiteY6016" fmla="*/ 2153955 h 6479439"/>
              <a:gd name="connsiteX6017" fmla="*/ 5753323 w 9586368"/>
              <a:gd name="connsiteY6017" fmla="*/ 2153955 h 6479439"/>
              <a:gd name="connsiteX6018" fmla="*/ 5757342 w 9586368"/>
              <a:gd name="connsiteY6018" fmla="*/ 2157994 h 6479439"/>
              <a:gd name="connsiteX6019" fmla="*/ 5757342 w 9586368"/>
              <a:gd name="connsiteY6019" fmla="*/ 2167866 h 6479439"/>
              <a:gd name="connsiteX6020" fmla="*/ 5753323 w 9586368"/>
              <a:gd name="connsiteY6020" fmla="*/ 2171905 h 6479439"/>
              <a:gd name="connsiteX6021" fmla="*/ 5743412 w 9586368"/>
              <a:gd name="connsiteY6021" fmla="*/ 2171905 h 6479439"/>
              <a:gd name="connsiteX6022" fmla="*/ 5739393 w 9586368"/>
              <a:gd name="connsiteY6022" fmla="*/ 2167866 h 6479439"/>
              <a:gd name="connsiteX6023" fmla="*/ 5739393 w 9586368"/>
              <a:gd name="connsiteY6023" fmla="*/ 2157994 h 6479439"/>
              <a:gd name="connsiteX6024" fmla="*/ 6222042 w 9586368"/>
              <a:gd name="connsiteY6024" fmla="*/ 2153936 h 6479439"/>
              <a:gd name="connsiteX6025" fmla="*/ 6231952 w 9586368"/>
              <a:gd name="connsiteY6025" fmla="*/ 2153936 h 6479439"/>
              <a:gd name="connsiteX6026" fmla="*/ 6235971 w 9586368"/>
              <a:gd name="connsiteY6026" fmla="*/ 2157974 h 6479439"/>
              <a:gd name="connsiteX6027" fmla="*/ 6235971 w 9586368"/>
              <a:gd name="connsiteY6027" fmla="*/ 2167846 h 6479439"/>
              <a:gd name="connsiteX6028" fmla="*/ 6231952 w 9586368"/>
              <a:gd name="connsiteY6028" fmla="*/ 2171885 h 6479439"/>
              <a:gd name="connsiteX6029" fmla="*/ 6222042 w 9586368"/>
              <a:gd name="connsiteY6029" fmla="*/ 2171885 h 6479439"/>
              <a:gd name="connsiteX6030" fmla="*/ 6218023 w 9586368"/>
              <a:gd name="connsiteY6030" fmla="*/ 2167846 h 6479439"/>
              <a:gd name="connsiteX6031" fmla="*/ 6218023 w 9586368"/>
              <a:gd name="connsiteY6031" fmla="*/ 2157974 h 6479439"/>
              <a:gd name="connsiteX6032" fmla="*/ 5982729 w 9586368"/>
              <a:gd name="connsiteY6032" fmla="*/ 2153936 h 6479439"/>
              <a:gd name="connsiteX6033" fmla="*/ 5992639 w 9586368"/>
              <a:gd name="connsiteY6033" fmla="*/ 2153936 h 6479439"/>
              <a:gd name="connsiteX6034" fmla="*/ 5996658 w 9586368"/>
              <a:gd name="connsiteY6034" fmla="*/ 2157974 h 6479439"/>
              <a:gd name="connsiteX6035" fmla="*/ 5996658 w 9586368"/>
              <a:gd name="connsiteY6035" fmla="*/ 2167846 h 6479439"/>
              <a:gd name="connsiteX6036" fmla="*/ 5992639 w 9586368"/>
              <a:gd name="connsiteY6036" fmla="*/ 2171885 h 6479439"/>
              <a:gd name="connsiteX6037" fmla="*/ 5982729 w 9586368"/>
              <a:gd name="connsiteY6037" fmla="*/ 2171885 h 6479439"/>
              <a:gd name="connsiteX6038" fmla="*/ 5978710 w 9586368"/>
              <a:gd name="connsiteY6038" fmla="*/ 2167846 h 6479439"/>
              <a:gd name="connsiteX6039" fmla="*/ 5978710 w 9586368"/>
              <a:gd name="connsiteY6039" fmla="*/ 2157974 h 6479439"/>
              <a:gd name="connsiteX6040" fmla="*/ 6939983 w 9586368"/>
              <a:gd name="connsiteY6040" fmla="*/ 2153935 h 6479439"/>
              <a:gd name="connsiteX6041" fmla="*/ 6949894 w 9586368"/>
              <a:gd name="connsiteY6041" fmla="*/ 2153935 h 6479439"/>
              <a:gd name="connsiteX6042" fmla="*/ 6953913 w 9586368"/>
              <a:gd name="connsiteY6042" fmla="*/ 2157974 h 6479439"/>
              <a:gd name="connsiteX6043" fmla="*/ 6953913 w 9586368"/>
              <a:gd name="connsiteY6043" fmla="*/ 2167845 h 6479439"/>
              <a:gd name="connsiteX6044" fmla="*/ 6949894 w 9586368"/>
              <a:gd name="connsiteY6044" fmla="*/ 2171885 h 6479439"/>
              <a:gd name="connsiteX6045" fmla="*/ 6939983 w 9586368"/>
              <a:gd name="connsiteY6045" fmla="*/ 2171885 h 6479439"/>
              <a:gd name="connsiteX6046" fmla="*/ 6935964 w 9586368"/>
              <a:gd name="connsiteY6046" fmla="*/ 2167845 h 6479439"/>
              <a:gd name="connsiteX6047" fmla="*/ 6935964 w 9586368"/>
              <a:gd name="connsiteY6047" fmla="*/ 2157974 h 6479439"/>
              <a:gd name="connsiteX6048" fmla="*/ 6700670 w 9586368"/>
              <a:gd name="connsiteY6048" fmla="*/ 2153935 h 6479439"/>
              <a:gd name="connsiteX6049" fmla="*/ 6710581 w 9586368"/>
              <a:gd name="connsiteY6049" fmla="*/ 2153935 h 6479439"/>
              <a:gd name="connsiteX6050" fmla="*/ 6714600 w 9586368"/>
              <a:gd name="connsiteY6050" fmla="*/ 2157974 h 6479439"/>
              <a:gd name="connsiteX6051" fmla="*/ 6714600 w 9586368"/>
              <a:gd name="connsiteY6051" fmla="*/ 2167846 h 6479439"/>
              <a:gd name="connsiteX6052" fmla="*/ 6710581 w 9586368"/>
              <a:gd name="connsiteY6052" fmla="*/ 2171885 h 6479439"/>
              <a:gd name="connsiteX6053" fmla="*/ 6700670 w 9586368"/>
              <a:gd name="connsiteY6053" fmla="*/ 2171885 h 6479439"/>
              <a:gd name="connsiteX6054" fmla="*/ 6696651 w 9586368"/>
              <a:gd name="connsiteY6054" fmla="*/ 2167846 h 6479439"/>
              <a:gd name="connsiteX6055" fmla="*/ 6696651 w 9586368"/>
              <a:gd name="connsiteY6055" fmla="*/ 2157974 h 6479439"/>
              <a:gd name="connsiteX6056" fmla="*/ 6461356 w 9586368"/>
              <a:gd name="connsiteY6056" fmla="*/ 2153935 h 6479439"/>
              <a:gd name="connsiteX6057" fmla="*/ 6471266 w 9586368"/>
              <a:gd name="connsiteY6057" fmla="*/ 2153935 h 6479439"/>
              <a:gd name="connsiteX6058" fmla="*/ 6475285 w 9586368"/>
              <a:gd name="connsiteY6058" fmla="*/ 2157974 h 6479439"/>
              <a:gd name="connsiteX6059" fmla="*/ 6475285 w 9586368"/>
              <a:gd name="connsiteY6059" fmla="*/ 2167846 h 6479439"/>
              <a:gd name="connsiteX6060" fmla="*/ 6471266 w 9586368"/>
              <a:gd name="connsiteY6060" fmla="*/ 2171885 h 6479439"/>
              <a:gd name="connsiteX6061" fmla="*/ 6461356 w 9586368"/>
              <a:gd name="connsiteY6061" fmla="*/ 2171885 h 6479439"/>
              <a:gd name="connsiteX6062" fmla="*/ 6457337 w 9586368"/>
              <a:gd name="connsiteY6062" fmla="*/ 2167846 h 6479439"/>
              <a:gd name="connsiteX6063" fmla="*/ 6457337 w 9586368"/>
              <a:gd name="connsiteY6063" fmla="*/ 2157974 h 6479439"/>
              <a:gd name="connsiteX6064" fmla="*/ 7418611 w 9586368"/>
              <a:gd name="connsiteY6064" fmla="*/ 2153916 h 6479439"/>
              <a:gd name="connsiteX6065" fmla="*/ 7428521 w 9586368"/>
              <a:gd name="connsiteY6065" fmla="*/ 2153916 h 6479439"/>
              <a:gd name="connsiteX6066" fmla="*/ 7432540 w 9586368"/>
              <a:gd name="connsiteY6066" fmla="*/ 2157955 h 6479439"/>
              <a:gd name="connsiteX6067" fmla="*/ 7432540 w 9586368"/>
              <a:gd name="connsiteY6067" fmla="*/ 2167826 h 6479439"/>
              <a:gd name="connsiteX6068" fmla="*/ 7428521 w 9586368"/>
              <a:gd name="connsiteY6068" fmla="*/ 2171865 h 6479439"/>
              <a:gd name="connsiteX6069" fmla="*/ 7418611 w 9586368"/>
              <a:gd name="connsiteY6069" fmla="*/ 2171865 h 6479439"/>
              <a:gd name="connsiteX6070" fmla="*/ 7414592 w 9586368"/>
              <a:gd name="connsiteY6070" fmla="*/ 2167826 h 6479439"/>
              <a:gd name="connsiteX6071" fmla="*/ 7414592 w 9586368"/>
              <a:gd name="connsiteY6071" fmla="*/ 2157955 h 6479439"/>
              <a:gd name="connsiteX6072" fmla="*/ 7179298 w 9586368"/>
              <a:gd name="connsiteY6072" fmla="*/ 2153916 h 6479439"/>
              <a:gd name="connsiteX6073" fmla="*/ 7189209 w 9586368"/>
              <a:gd name="connsiteY6073" fmla="*/ 2153916 h 6479439"/>
              <a:gd name="connsiteX6074" fmla="*/ 7193228 w 9586368"/>
              <a:gd name="connsiteY6074" fmla="*/ 2157955 h 6479439"/>
              <a:gd name="connsiteX6075" fmla="*/ 7193228 w 9586368"/>
              <a:gd name="connsiteY6075" fmla="*/ 2167826 h 6479439"/>
              <a:gd name="connsiteX6076" fmla="*/ 7189209 w 9586368"/>
              <a:gd name="connsiteY6076" fmla="*/ 2171865 h 6479439"/>
              <a:gd name="connsiteX6077" fmla="*/ 7179298 w 9586368"/>
              <a:gd name="connsiteY6077" fmla="*/ 2171865 h 6479439"/>
              <a:gd name="connsiteX6078" fmla="*/ 7175279 w 9586368"/>
              <a:gd name="connsiteY6078" fmla="*/ 2167826 h 6479439"/>
              <a:gd name="connsiteX6079" fmla="*/ 7175279 w 9586368"/>
              <a:gd name="connsiteY6079" fmla="*/ 2157955 h 6479439"/>
              <a:gd name="connsiteX6080" fmla="*/ 8136553 w 9586368"/>
              <a:gd name="connsiteY6080" fmla="*/ 2153915 h 6479439"/>
              <a:gd name="connsiteX6081" fmla="*/ 8146464 w 9586368"/>
              <a:gd name="connsiteY6081" fmla="*/ 2153915 h 6479439"/>
              <a:gd name="connsiteX6082" fmla="*/ 8150483 w 9586368"/>
              <a:gd name="connsiteY6082" fmla="*/ 2157955 h 6479439"/>
              <a:gd name="connsiteX6083" fmla="*/ 8150483 w 9586368"/>
              <a:gd name="connsiteY6083" fmla="*/ 2167825 h 6479439"/>
              <a:gd name="connsiteX6084" fmla="*/ 8146464 w 9586368"/>
              <a:gd name="connsiteY6084" fmla="*/ 2171864 h 6479439"/>
              <a:gd name="connsiteX6085" fmla="*/ 8136553 w 9586368"/>
              <a:gd name="connsiteY6085" fmla="*/ 2171864 h 6479439"/>
              <a:gd name="connsiteX6086" fmla="*/ 8132534 w 9586368"/>
              <a:gd name="connsiteY6086" fmla="*/ 2167825 h 6479439"/>
              <a:gd name="connsiteX6087" fmla="*/ 8132534 w 9586368"/>
              <a:gd name="connsiteY6087" fmla="*/ 2157955 h 6479439"/>
              <a:gd name="connsiteX6088" fmla="*/ 7897241 w 9586368"/>
              <a:gd name="connsiteY6088" fmla="*/ 2153915 h 6479439"/>
              <a:gd name="connsiteX6089" fmla="*/ 7907151 w 9586368"/>
              <a:gd name="connsiteY6089" fmla="*/ 2153915 h 6479439"/>
              <a:gd name="connsiteX6090" fmla="*/ 7911170 w 9586368"/>
              <a:gd name="connsiteY6090" fmla="*/ 2157955 h 6479439"/>
              <a:gd name="connsiteX6091" fmla="*/ 7911170 w 9586368"/>
              <a:gd name="connsiteY6091" fmla="*/ 2167826 h 6479439"/>
              <a:gd name="connsiteX6092" fmla="*/ 7907151 w 9586368"/>
              <a:gd name="connsiteY6092" fmla="*/ 2171864 h 6479439"/>
              <a:gd name="connsiteX6093" fmla="*/ 7897241 w 9586368"/>
              <a:gd name="connsiteY6093" fmla="*/ 2171864 h 6479439"/>
              <a:gd name="connsiteX6094" fmla="*/ 7893222 w 9586368"/>
              <a:gd name="connsiteY6094" fmla="*/ 2167826 h 6479439"/>
              <a:gd name="connsiteX6095" fmla="*/ 7893222 w 9586368"/>
              <a:gd name="connsiteY6095" fmla="*/ 2157955 h 6479439"/>
              <a:gd name="connsiteX6096" fmla="*/ 7657926 w 9586368"/>
              <a:gd name="connsiteY6096" fmla="*/ 2153915 h 6479439"/>
              <a:gd name="connsiteX6097" fmla="*/ 7667836 w 9586368"/>
              <a:gd name="connsiteY6097" fmla="*/ 2153915 h 6479439"/>
              <a:gd name="connsiteX6098" fmla="*/ 7671855 w 9586368"/>
              <a:gd name="connsiteY6098" fmla="*/ 2157955 h 6479439"/>
              <a:gd name="connsiteX6099" fmla="*/ 7671855 w 9586368"/>
              <a:gd name="connsiteY6099" fmla="*/ 2167826 h 6479439"/>
              <a:gd name="connsiteX6100" fmla="*/ 7667836 w 9586368"/>
              <a:gd name="connsiteY6100" fmla="*/ 2171864 h 6479439"/>
              <a:gd name="connsiteX6101" fmla="*/ 7657926 w 9586368"/>
              <a:gd name="connsiteY6101" fmla="*/ 2171864 h 6479439"/>
              <a:gd name="connsiteX6102" fmla="*/ 7653906 w 9586368"/>
              <a:gd name="connsiteY6102" fmla="*/ 2167826 h 6479439"/>
              <a:gd name="connsiteX6103" fmla="*/ 7653906 w 9586368"/>
              <a:gd name="connsiteY6103" fmla="*/ 2157955 h 6479439"/>
              <a:gd name="connsiteX6104" fmla="*/ 8615184 w 9586368"/>
              <a:gd name="connsiteY6104" fmla="*/ 2153896 h 6479439"/>
              <a:gd name="connsiteX6105" fmla="*/ 8625095 w 9586368"/>
              <a:gd name="connsiteY6105" fmla="*/ 2153896 h 6479439"/>
              <a:gd name="connsiteX6106" fmla="*/ 8629114 w 9586368"/>
              <a:gd name="connsiteY6106" fmla="*/ 2157935 h 6479439"/>
              <a:gd name="connsiteX6107" fmla="*/ 8629114 w 9586368"/>
              <a:gd name="connsiteY6107" fmla="*/ 2167805 h 6479439"/>
              <a:gd name="connsiteX6108" fmla="*/ 8625095 w 9586368"/>
              <a:gd name="connsiteY6108" fmla="*/ 2171844 h 6479439"/>
              <a:gd name="connsiteX6109" fmla="*/ 8615184 w 9586368"/>
              <a:gd name="connsiteY6109" fmla="*/ 2171844 h 6479439"/>
              <a:gd name="connsiteX6110" fmla="*/ 8611165 w 9586368"/>
              <a:gd name="connsiteY6110" fmla="*/ 2167805 h 6479439"/>
              <a:gd name="connsiteX6111" fmla="*/ 8611165 w 9586368"/>
              <a:gd name="connsiteY6111" fmla="*/ 2157935 h 6479439"/>
              <a:gd name="connsiteX6112" fmla="*/ 8375869 w 9586368"/>
              <a:gd name="connsiteY6112" fmla="*/ 2153896 h 6479439"/>
              <a:gd name="connsiteX6113" fmla="*/ 8385779 w 9586368"/>
              <a:gd name="connsiteY6113" fmla="*/ 2153896 h 6479439"/>
              <a:gd name="connsiteX6114" fmla="*/ 8389799 w 9586368"/>
              <a:gd name="connsiteY6114" fmla="*/ 2157935 h 6479439"/>
              <a:gd name="connsiteX6115" fmla="*/ 8389799 w 9586368"/>
              <a:gd name="connsiteY6115" fmla="*/ 2167805 h 6479439"/>
              <a:gd name="connsiteX6116" fmla="*/ 8385779 w 9586368"/>
              <a:gd name="connsiteY6116" fmla="*/ 2171844 h 6479439"/>
              <a:gd name="connsiteX6117" fmla="*/ 8375869 w 9586368"/>
              <a:gd name="connsiteY6117" fmla="*/ 2171844 h 6479439"/>
              <a:gd name="connsiteX6118" fmla="*/ 8371850 w 9586368"/>
              <a:gd name="connsiteY6118" fmla="*/ 2167805 h 6479439"/>
              <a:gd name="connsiteX6119" fmla="*/ 8371850 w 9586368"/>
              <a:gd name="connsiteY6119" fmla="*/ 2157935 h 6479439"/>
              <a:gd name="connsiteX6120" fmla="*/ 9333125 w 9586368"/>
              <a:gd name="connsiteY6120" fmla="*/ 2153895 h 6479439"/>
              <a:gd name="connsiteX6121" fmla="*/ 9343036 w 9586368"/>
              <a:gd name="connsiteY6121" fmla="*/ 2153895 h 6479439"/>
              <a:gd name="connsiteX6122" fmla="*/ 9347055 w 9586368"/>
              <a:gd name="connsiteY6122" fmla="*/ 2157934 h 6479439"/>
              <a:gd name="connsiteX6123" fmla="*/ 9347055 w 9586368"/>
              <a:gd name="connsiteY6123" fmla="*/ 2167805 h 6479439"/>
              <a:gd name="connsiteX6124" fmla="*/ 9343036 w 9586368"/>
              <a:gd name="connsiteY6124" fmla="*/ 2171844 h 6479439"/>
              <a:gd name="connsiteX6125" fmla="*/ 9333125 w 9586368"/>
              <a:gd name="connsiteY6125" fmla="*/ 2171844 h 6479439"/>
              <a:gd name="connsiteX6126" fmla="*/ 9329106 w 9586368"/>
              <a:gd name="connsiteY6126" fmla="*/ 2167805 h 6479439"/>
              <a:gd name="connsiteX6127" fmla="*/ 9329106 w 9586368"/>
              <a:gd name="connsiteY6127" fmla="*/ 2157934 h 6479439"/>
              <a:gd name="connsiteX6128" fmla="*/ 9093811 w 9586368"/>
              <a:gd name="connsiteY6128" fmla="*/ 2153895 h 6479439"/>
              <a:gd name="connsiteX6129" fmla="*/ 9103722 w 9586368"/>
              <a:gd name="connsiteY6129" fmla="*/ 2153895 h 6479439"/>
              <a:gd name="connsiteX6130" fmla="*/ 9107741 w 9586368"/>
              <a:gd name="connsiteY6130" fmla="*/ 2157935 h 6479439"/>
              <a:gd name="connsiteX6131" fmla="*/ 9107741 w 9586368"/>
              <a:gd name="connsiteY6131" fmla="*/ 2167805 h 6479439"/>
              <a:gd name="connsiteX6132" fmla="*/ 9103722 w 9586368"/>
              <a:gd name="connsiteY6132" fmla="*/ 2171844 h 6479439"/>
              <a:gd name="connsiteX6133" fmla="*/ 9093811 w 9586368"/>
              <a:gd name="connsiteY6133" fmla="*/ 2171844 h 6479439"/>
              <a:gd name="connsiteX6134" fmla="*/ 9089792 w 9586368"/>
              <a:gd name="connsiteY6134" fmla="*/ 2167805 h 6479439"/>
              <a:gd name="connsiteX6135" fmla="*/ 9089792 w 9586368"/>
              <a:gd name="connsiteY6135" fmla="*/ 2157935 h 6479439"/>
              <a:gd name="connsiteX6136" fmla="*/ 8854496 w 9586368"/>
              <a:gd name="connsiteY6136" fmla="*/ 2153895 h 6479439"/>
              <a:gd name="connsiteX6137" fmla="*/ 8864407 w 9586368"/>
              <a:gd name="connsiteY6137" fmla="*/ 2153895 h 6479439"/>
              <a:gd name="connsiteX6138" fmla="*/ 8868426 w 9586368"/>
              <a:gd name="connsiteY6138" fmla="*/ 2157935 h 6479439"/>
              <a:gd name="connsiteX6139" fmla="*/ 8868426 w 9586368"/>
              <a:gd name="connsiteY6139" fmla="*/ 2167805 h 6479439"/>
              <a:gd name="connsiteX6140" fmla="*/ 8864407 w 9586368"/>
              <a:gd name="connsiteY6140" fmla="*/ 2171844 h 6479439"/>
              <a:gd name="connsiteX6141" fmla="*/ 8854496 w 9586368"/>
              <a:gd name="connsiteY6141" fmla="*/ 2171844 h 6479439"/>
              <a:gd name="connsiteX6142" fmla="*/ 8850477 w 9586368"/>
              <a:gd name="connsiteY6142" fmla="*/ 2167805 h 6479439"/>
              <a:gd name="connsiteX6143" fmla="*/ 8850477 w 9586368"/>
              <a:gd name="connsiteY6143" fmla="*/ 2157935 h 6479439"/>
              <a:gd name="connsiteX6144" fmla="*/ 9572438 w 9586368"/>
              <a:gd name="connsiteY6144" fmla="*/ 2153876 h 6479439"/>
              <a:gd name="connsiteX6145" fmla="*/ 9582349 w 9586368"/>
              <a:gd name="connsiteY6145" fmla="*/ 2153876 h 6479439"/>
              <a:gd name="connsiteX6146" fmla="*/ 9586368 w 9586368"/>
              <a:gd name="connsiteY6146" fmla="*/ 2157914 h 6479439"/>
              <a:gd name="connsiteX6147" fmla="*/ 9586368 w 9586368"/>
              <a:gd name="connsiteY6147" fmla="*/ 2167786 h 6479439"/>
              <a:gd name="connsiteX6148" fmla="*/ 9582349 w 9586368"/>
              <a:gd name="connsiteY6148" fmla="*/ 2171824 h 6479439"/>
              <a:gd name="connsiteX6149" fmla="*/ 9572438 w 9586368"/>
              <a:gd name="connsiteY6149" fmla="*/ 2171824 h 6479439"/>
              <a:gd name="connsiteX6150" fmla="*/ 9568419 w 9586368"/>
              <a:gd name="connsiteY6150" fmla="*/ 2167786 h 6479439"/>
              <a:gd name="connsiteX6151" fmla="*/ 9568419 w 9586368"/>
              <a:gd name="connsiteY6151" fmla="*/ 2157914 h 6479439"/>
              <a:gd name="connsiteX6152" fmla="*/ 1200582 w 9586368"/>
              <a:gd name="connsiteY6152" fmla="*/ 2153867 h 6479439"/>
              <a:gd name="connsiteX6153" fmla="*/ 1210491 w 9586368"/>
              <a:gd name="connsiteY6153" fmla="*/ 2153867 h 6479439"/>
              <a:gd name="connsiteX6154" fmla="*/ 1214510 w 9586368"/>
              <a:gd name="connsiteY6154" fmla="*/ 2157906 h 6479439"/>
              <a:gd name="connsiteX6155" fmla="*/ 1214510 w 9586368"/>
              <a:gd name="connsiteY6155" fmla="*/ 2167776 h 6479439"/>
              <a:gd name="connsiteX6156" fmla="*/ 1210491 w 9586368"/>
              <a:gd name="connsiteY6156" fmla="*/ 2171815 h 6479439"/>
              <a:gd name="connsiteX6157" fmla="*/ 1200582 w 9586368"/>
              <a:gd name="connsiteY6157" fmla="*/ 2171815 h 6479439"/>
              <a:gd name="connsiteX6158" fmla="*/ 1196562 w 9586368"/>
              <a:gd name="connsiteY6158" fmla="*/ 2167776 h 6479439"/>
              <a:gd name="connsiteX6159" fmla="*/ 1196562 w 9586368"/>
              <a:gd name="connsiteY6159" fmla="*/ 2157906 h 6479439"/>
              <a:gd name="connsiteX6160" fmla="*/ 961268 w 9586368"/>
              <a:gd name="connsiteY6160" fmla="*/ 2153867 h 6479439"/>
              <a:gd name="connsiteX6161" fmla="*/ 971179 w 9586368"/>
              <a:gd name="connsiteY6161" fmla="*/ 2153867 h 6479439"/>
              <a:gd name="connsiteX6162" fmla="*/ 975198 w 9586368"/>
              <a:gd name="connsiteY6162" fmla="*/ 2157906 h 6479439"/>
              <a:gd name="connsiteX6163" fmla="*/ 975198 w 9586368"/>
              <a:gd name="connsiteY6163" fmla="*/ 2167776 h 6479439"/>
              <a:gd name="connsiteX6164" fmla="*/ 971179 w 9586368"/>
              <a:gd name="connsiteY6164" fmla="*/ 2171815 h 6479439"/>
              <a:gd name="connsiteX6165" fmla="*/ 961268 w 9586368"/>
              <a:gd name="connsiteY6165" fmla="*/ 2171815 h 6479439"/>
              <a:gd name="connsiteX6166" fmla="*/ 957250 w 9586368"/>
              <a:gd name="connsiteY6166" fmla="*/ 2167776 h 6479439"/>
              <a:gd name="connsiteX6167" fmla="*/ 957250 w 9586368"/>
              <a:gd name="connsiteY6167" fmla="*/ 2157906 h 6479439"/>
              <a:gd name="connsiteX6168" fmla="*/ 1679214 w 9586368"/>
              <a:gd name="connsiteY6168" fmla="*/ 2153867 h 6479439"/>
              <a:gd name="connsiteX6169" fmla="*/ 1689123 w 9586368"/>
              <a:gd name="connsiteY6169" fmla="*/ 2153867 h 6479439"/>
              <a:gd name="connsiteX6170" fmla="*/ 1693144 w 9586368"/>
              <a:gd name="connsiteY6170" fmla="*/ 2157905 h 6479439"/>
              <a:gd name="connsiteX6171" fmla="*/ 1693144 w 9586368"/>
              <a:gd name="connsiteY6171" fmla="*/ 2167775 h 6479439"/>
              <a:gd name="connsiteX6172" fmla="*/ 1689123 w 9586368"/>
              <a:gd name="connsiteY6172" fmla="*/ 2171814 h 6479439"/>
              <a:gd name="connsiteX6173" fmla="*/ 1679214 w 9586368"/>
              <a:gd name="connsiteY6173" fmla="*/ 2171814 h 6479439"/>
              <a:gd name="connsiteX6174" fmla="*/ 1675195 w 9586368"/>
              <a:gd name="connsiteY6174" fmla="*/ 2167775 h 6479439"/>
              <a:gd name="connsiteX6175" fmla="*/ 1675195 w 9586368"/>
              <a:gd name="connsiteY6175" fmla="*/ 2157905 h 6479439"/>
              <a:gd name="connsiteX6176" fmla="*/ 1439897 w 9586368"/>
              <a:gd name="connsiteY6176" fmla="*/ 2153867 h 6479439"/>
              <a:gd name="connsiteX6177" fmla="*/ 1449807 w 9586368"/>
              <a:gd name="connsiteY6177" fmla="*/ 2153867 h 6479439"/>
              <a:gd name="connsiteX6178" fmla="*/ 1453826 w 9586368"/>
              <a:gd name="connsiteY6178" fmla="*/ 2157905 h 6479439"/>
              <a:gd name="connsiteX6179" fmla="*/ 1453826 w 9586368"/>
              <a:gd name="connsiteY6179" fmla="*/ 2167776 h 6479439"/>
              <a:gd name="connsiteX6180" fmla="*/ 1449807 w 9586368"/>
              <a:gd name="connsiteY6180" fmla="*/ 2171814 h 6479439"/>
              <a:gd name="connsiteX6181" fmla="*/ 1439897 w 9586368"/>
              <a:gd name="connsiteY6181" fmla="*/ 2171814 h 6479439"/>
              <a:gd name="connsiteX6182" fmla="*/ 1435878 w 9586368"/>
              <a:gd name="connsiteY6182" fmla="*/ 2167776 h 6479439"/>
              <a:gd name="connsiteX6183" fmla="*/ 1435878 w 9586368"/>
              <a:gd name="connsiteY6183" fmla="*/ 2157905 h 6479439"/>
              <a:gd name="connsiteX6184" fmla="*/ 1918513 w 9586368"/>
              <a:gd name="connsiteY6184" fmla="*/ 2153855 h 6479439"/>
              <a:gd name="connsiteX6185" fmla="*/ 1928422 w 9586368"/>
              <a:gd name="connsiteY6185" fmla="*/ 2153855 h 6479439"/>
              <a:gd name="connsiteX6186" fmla="*/ 1932443 w 9586368"/>
              <a:gd name="connsiteY6186" fmla="*/ 2157892 h 6479439"/>
              <a:gd name="connsiteX6187" fmla="*/ 1932443 w 9586368"/>
              <a:gd name="connsiteY6187" fmla="*/ 2167763 h 6479439"/>
              <a:gd name="connsiteX6188" fmla="*/ 1928422 w 9586368"/>
              <a:gd name="connsiteY6188" fmla="*/ 2171803 h 6479439"/>
              <a:gd name="connsiteX6189" fmla="*/ 1918513 w 9586368"/>
              <a:gd name="connsiteY6189" fmla="*/ 2171803 h 6479439"/>
              <a:gd name="connsiteX6190" fmla="*/ 1914494 w 9586368"/>
              <a:gd name="connsiteY6190" fmla="*/ 2167763 h 6479439"/>
              <a:gd name="connsiteX6191" fmla="*/ 1914494 w 9586368"/>
              <a:gd name="connsiteY6191" fmla="*/ 2157892 h 6479439"/>
              <a:gd name="connsiteX6192" fmla="*/ 2157821 w 9586368"/>
              <a:gd name="connsiteY6192" fmla="*/ 2153850 h 6479439"/>
              <a:gd name="connsiteX6193" fmla="*/ 2167732 w 9586368"/>
              <a:gd name="connsiteY6193" fmla="*/ 2153850 h 6479439"/>
              <a:gd name="connsiteX6194" fmla="*/ 2171750 w 9586368"/>
              <a:gd name="connsiteY6194" fmla="*/ 2157889 h 6479439"/>
              <a:gd name="connsiteX6195" fmla="*/ 2171750 w 9586368"/>
              <a:gd name="connsiteY6195" fmla="*/ 2167759 h 6479439"/>
              <a:gd name="connsiteX6196" fmla="*/ 2167732 w 9586368"/>
              <a:gd name="connsiteY6196" fmla="*/ 2171798 h 6479439"/>
              <a:gd name="connsiteX6197" fmla="*/ 2157821 w 9586368"/>
              <a:gd name="connsiteY6197" fmla="*/ 2171798 h 6479439"/>
              <a:gd name="connsiteX6198" fmla="*/ 2153803 w 9586368"/>
              <a:gd name="connsiteY6198" fmla="*/ 2167759 h 6479439"/>
              <a:gd name="connsiteX6199" fmla="*/ 2153803 w 9586368"/>
              <a:gd name="connsiteY6199" fmla="*/ 2157889 h 6479439"/>
              <a:gd name="connsiteX6200" fmla="*/ 4032 w 9586368"/>
              <a:gd name="connsiteY6200" fmla="*/ 2153832 h 6479439"/>
              <a:gd name="connsiteX6201" fmla="*/ 13942 w 9586368"/>
              <a:gd name="connsiteY6201" fmla="*/ 2153832 h 6479439"/>
              <a:gd name="connsiteX6202" fmla="*/ 17961 w 9586368"/>
              <a:gd name="connsiteY6202" fmla="*/ 2157870 h 6479439"/>
              <a:gd name="connsiteX6203" fmla="*/ 17961 w 9586368"/>
              <a:gd name="connsiteY6203" fmla="*/ 2167741 h 6479439"/>
              <a:gd name="connsiteX6204" fmla="*/ 13942 w 9586368"/>
              <a:gd name="connsiteY6204" fmla="*/ 2171780 h 6479439"/>
              <a:gd name="connsiteX6205" fmla="*/ 4032 w 9586368"/>
              <a:gd name="connsiteY6205" fmla="*/ 2171780 h 6479439"/>
              <a:gd name="connsiteX6206" fmla="*/ 13 w 9586368"/>
              <a:gd name="connsiteY6206" fmla="*/ 2167741 h 6479439"/>
              <a:gd name="connsiteX6207" fmla="*/ 13 w 9586368"/>
              <a:gd name="connsiteY6207" fmla="*/ 2157870 h 6479439"/>
              <a:gd name="connsiteX6208" fmla="*/ 721971 w 9586368"/>
              <a:gd name="connsiteY6208" fmla="*/ 2153832 h 6479439"/>
              <a:gd name="connsiteX6209" fmla="*/ 731881 w 9586368"/>
              <a:gd name="connsiteY6209" fmla="*/ 2153832 h 6479439"/>
              <a:gd name="connsiteX6210" fmla="*/ 735900 w 9586368"/>
              <a:gd name="connsiteY6210" fmla="*/ 2157870 h 6479439"/>
              <a:gd name="connsiteX6211" fmla="*/ 735900 w 9586368"/>
              <a:gd name="connsiteY6211" fmla="*/ 2167740 h 6479439"/>
              <a:gd name="connsiteX6212" fmla="*/ 731881 w 9586368"/>
              <a:gd name="connsiteY6212" fmla="*/ 2171780 h 6479439"/>
              <a:gd name="connsiteX6213" fmla="*/ 721971 w 9586368"/>
              <a:gd name="connsiteY6213" fmla="*/ 2171780 h 6479439"/>
              <a:gd name="connsiteX6214" fmla="*/ 717952 w 9586368"/>
              <a:gd name="connsiteY6214" fmla="*/ 2167740 h 6479439"/>
              <a:gd name="connsiteX6215" fmla="*/ 717952 w 9586368"/>
              <a:gd name="connsiteY6215" fmla="*/ 2157870 h 6479439"/>
              <a:gd name="connsiteX6216" fmla="*/ 482659 w 9586368"/>
              <a:gd name="connsiteY6216" fmla="*/ 2153832 h 6479439"/>
              <a:gd name="connsiteX6217" fmla="*/ 492569 w 9586368"/>
              <a:gd name="connsiteY6217" fmla="*/ 2153832 h 6479439"/>
              <a:gd name="connsiteX6218" fmla="*/ 496588 w 9586368"/>
              <a:gd name="connsiteY6218" fmla="*/ 2157870 h 6479439"/>
              <a:gd name="connsiteX6219" fmla="*/ 496588 w 9586368"/>
              <a:gd name="connsiteY6219" fmla="*/ 2167741 h 6479439"/>
              <a:gd name="connsiteX6220" fmla="*/ 492569 w 9586368"/>
              <a:gd name="connsiteY6220" fmla="*/ 2171780 h 6479439"/>
              <a:gd name="connsiteX6221" fmla="*/ 482659 w 9586368"/>
              <a:gd name="connsiteY6221" fmla="*/ 2171780 h 6479439"/>
              <a:gd name="connsiteX6222" fmla="*/ 478640 w 9586368"/>
              <a:gd name="connsiteY6222" fmla="*/ 2167741 h 6479439"/>
              <a:gd name="connsiteX6223" fmla="*/ 478640 w 9586368"/>
              <a:gd name="connsiteY6223" fmla="*/ 2157870 h 6479439"/>
              <a:gd name="connsiteX6224" fmla="*/ 243345 w 9586368"/>
              <a:gd name="connsiteY6224" fmla="*/ 2153832 h 6479439"/>
              <a:gd name="connsiteX6225" fmla="*/ 253255 w 9586368"/>
              <a:gd name="connsiteY6225" fmla="*/ 2153832 h 6479439"/>
              <a:gd name="connsiteX6226" fmla="*/ 257274 w 9586368"/>
              <a:gd name="connsiteY6226" fmla="*/ 2157870 h 6479439"/>
              <a:gd name="connsiteX6227" fmla="*/ 257274 w 9586368"/>
              <a:gd name="connsiteY6227" fmla="*/ 2167741 h 6479439"/>
              <a:gd name="connsiteX6228" fmla="*/ 253255 w 9586368"/>
              <a:gd name="connsiteY6228" fmla="*/ 2171780 h 6479439"/>
              <a:gd name="connsiteX6229" fmla="*/ 243345 w 9586368"/>
              <a:gd name="connsiteY6229" fmla="*/ 2171780 h 6479439"/>
              <a:gd name="connsiteX6230" fmla="*/ 239326 w 9586368"/>
              <a:gd name="connsiteY6230" fmla="*/ 2167741 h 6479439"/>
              <a:gd name="connsiteX6231" fmla="*/ 239326 w 9586368"/>
              <a:gd name="connsiteY6231" fmla="*/ 2157870 h 6479439"/>
              <a:gd name="connsiteX6232" fmla="*/ 2393104 w 9586368"/>
              <a:gd name="connsiteY6232" fmla="*/ 1914701 h 6479439"/>
              <a:gd name="connsiteX6233" fmla="*/ 2403015 w 9586368"/>
              <a:gd name="connsiteY6233" fmla="*/ 1914701 h 6479439"/>
              <a:gd name="connsiteX6234" fmla="*/ 2407034 w 9586368"/>
              <a:gd name="connsiteY6234" fmla="*/ 1918739 h 6479439"/>
              <a:gd name="connsiteX6235" fmla="*/ 2407034 w 9586368"/>
              <a:gd name="connsiteY6235" fmla="*/ 1928610 h 6479439"/>
              <a:gd name="connsiteX6236" fmla="*/ 2403015 w 9586368"/>
              <a:gd name="connsiteY6236" fmla="*/ 1932649 h 6479439"/>
              <a:gd name="connsiteX6237" fmla="*/ 2393104 w 9586368"/>
              <a:gd name="connsiteY6237" fmla="*/ 1932649 h 6479439"/>
              <a:gd name="connsiteX6238" fmla="*/ 2389087 w 9586368"/>
              <a:gd name="connsiteY6238" fmla="*/ 1928610 h 6479439"/>
              <a:gd name="connsiteX6239" fmla="*/ 2389087 w 9586368"/>
              <a:gd name="connsiteY6239" fmla="*/ 1918739 h 6479439"/>
              <a:gd name="connsiteX6240" fmla="*/ 3350359 w 9586368"/>
              <a:gd name="connsiteY6240" fmla="*/ 1914699 h 6479439"/>
              <a:gd name="connsiteX6241" fmla="*/ 3360268 w 9586368"/>
              <a:gd name="connsiteY6241" fmla="*/ 1914699 h 6479439"/>
              <a:gd name="connsiteX6242" fmla="*/ 3364287 w 9586368"/>
              <a:gd name="connsiteY6242" fmla="*/ 1918738 h 6479439"/>
              <a:gd name="connsiteX6243" fmla="*/ 3364287 w 9586368"/>
              <a:gd name="connsiteY6243" fmla="*/ 1928610 h 6479439"/>
              <a:gd name="connsiteX6244" fmla="*/ 3360268 w 9586368"/>
              <a:gd name="connsiteY6244" fmla="*/ 1932649 h 6479439"/>
              <a:gd name="connsiteX6245" fmla="*/ 3350359 w 9586368"/>
              <a:gd name="connsiteY6245" fmla="*/ 1932649 h 6479439"/>
              <a:gd name="connsiteX6246" fmla="*/ 3346340 w 9586368"/>
              <a:gd name="connsiteY6246" fmla="*/ 1928610 h 6479439"/>
              <a:gd name="connsiteX6247" fmla="*/ 3346340 w 9586368"/>
              <a:gd name="connsiteY6247" fmla="*/ 1918738 h 6479439"/>
              <a:gd name="connsiteX6248" fmla="*/ 3111048 w 9586368"/>
              <a:gd name="connsiteY6248" fmla="*/ 1914699 h 6479439"/>
              <a:gd name="connsiteX6249" fmla="*/ 3120959 w 9586368"/>
              <a:gd name="connsiteY6249" fmla="*/ 1914699 h 6479439"/>
              <a:gd name="connsiteX6250" fmla="*/ 3124977 w 9586368"/>
              <a:gd name="connsiteY6250" fmla="*/ 1918739 h 6479439"/>
              <a:gd name="connsiteX6251" fmla="*/ 3124977 w 9586368"/>
              <a:gd name="connsiteY6251" fmla="*/ 1928610 h 6479439"/>
              <a:gd name="connsiteX6252" fmla="*/ 3120959 w 9586368"/>
              <a:gd name="connsiteY6252" fmla="*/ 1932649 h 6479439"/>
              <a:gd name="connsiteX6253" fmla="*/ 3111048 w 9586368"/>
              <a:gd name="connsiteY6253" fmla="*/ 1932649 h 6479439"/>
              <a:gd name="connsiteX6254" fmla="*/ 3107029 w 9586368"/>
              <a:gd name="connsiteY6254" fmla="*/ 1928610 h 6479439"/>
              <a:gd name="connsiteX6255" fmla="*/ 3107029 w 9586368"/>
              <a:gd name="connsiteY6255" fmla="*/ 1918739 h 6479439"/>
              <a:gd name="connsiteX6256" fmla="*/ 2871737 w 9586368"/>
              <a:gd name="connsiteY6256" fmla="*/ 1914699 h 6479439"/>
              <a:gd name="connsiteX6257" fmla="*/ 2881646 w 9586368"/>
              <a:gd name="connsiteY6257" fmla="*/ 1914699 h 6479439"/>
              <a:gd name="connsiteX6258" fmla="*/ 2885666 w 9586368"/>
              <a:gd name="connsiteY6258" fmla="*/ 1918739 h 6479439"/>
              <a:gd name="connsiteX6259" fmla="*/ 2885666 w 9586368"/>
              <a:gd name="connsiteY6259" fmla="*/ 1928610 h 6479439"/>
              <a:gd name="connsiteX6260" fmla="*/ 2881646 w 9586368"/>
              <a:gd name="connsiteY6260" fmla="*/ 1932649 h 6479439"/>
              <a:gd name="connsiteX6261" fmla="*/ 2871737 w 9586368"/>
              <a:gd name="connsiteY6261" fmla="*/ 1932649 h 6479439"/>
              <a:gd name="connsiteX6262" fmla="*/ 2867717 w 9586368"/>
              <a:gd name="connsiteY6262" fmla="*/ 1928610 h 6479439"/>
              <a:gd name="connsiteX6263" fmla="*/ 2867717 w 9586368"/>
              <a:gd name="connsiteY6263" fmla="*/ 1918739 h 6479439"/>
              <a:gd name="connsiteX6264" fmla="*/ 2632423 w 9586368"/>
              <a:gd name="connsiteY6264" fmla="*/ 1914699 h 6479439"/>
              <a:gd name="connsiteX6265" fmla="*/ 2642334 w 9586368"/>
              <a:gd name="connsiteY6265" fmla="*/ 1914699 h 6479439"/>
              <a:gd name="connsiteX6266" fmla="*/ 2646352 w 9586368"/>
              <a:gd name="connsiteY6266" fmla="*/ 1918739 h 6479439"/>
              <a:gd name="connsiteX6267" fmla="*/ 2646352 w 9586368"/>
              <a:gd name="connsiteY6267" fmla="*/ 1928610 h 6479439"/>
              <a:gd name="connsiteX6268" fmla="*/ 2642334 w 9586368"/>
              <a:gd name="connsiteY6268" fmla="*/ 1932649 h 6479439"/>
              <a:gd name="connsiteX6269" fmla="*/ 2632423 w 9586368"/>
              <a:gd name="connsiteY6269" fmla="*/ 1932649 h 6479439"/>
              <a:gd name="connsiteX6270" fmla="*/ 2628404 w 9586368"/>
              <a:gd name="connsiteY6270" fmla="*/ 1928610 h 6479439"/>
              <a:gd name="connsiteX6271" fmla="*/ 2628404 w 9586368"/>
              <a:gd name="connsiteY6271" fmla="*/ 1918739 h 6479439"/>
              <a:gd name="connsiteX6272" fmla="*/ 3589676 w 9586368"/>
              <a:gd name="connsiteY6272" fmla="*/ 1914682 h 6479439"/>
              <a:gd name="connsiteX6273" fmla="*/ 3599585 w 9586368"/>
              <a:gd name="connsiteY6273" fmla="*/ 1914682 h 6479439"/>
              <a:gd name="connsiteX6274" fmla="*/ 3603604 w 9586368"/>
              <a:gd name="connsiteY6274" fmla="*/ 1918721 h 6479439"/>
              <a:gd name="connsiteX6275" fmla="*/ 3603604 w 9586368"/>
              <a:gd name="connsiteY6275" fmla="*/ 1928592 h 6479439"/>
              <a:gd name="connsiteX6276" fmla="*/ 3599585 w 9586368"/>
              <a:gd name="connsiteY6276" fmla="*/ 1932631 h 6479439"/>
              <a:gd name="connsiteX6277" fmla="*/ 3589676 w 9586368"/>
              <a:gd name="connsiteY6277" fmla="*/ 1932631 h 6479439"/>
              <a:gd name="connsiteX6278" fmla="*/ 3585657 w 9586368"/>
              <a:gd name="connsiteY6278" fmla="*/ 1928592 h 6479439"/>
              <a:gd name="connsiteX6279" fmla="*/ 3585657 w 9586368"/>
              <a:gd name="connsiteY6279" fmla="*/ 1918721 h 6479439"/>
              <a:gd name="connsiteX6280" fmla="*/ 4546929 w 9586368"/>
              <a:gd name="connsiteY6280" fmla="*/ 1914681 h 6479439"/>
              <a:gd name="connsiteX6281" fmla="*/ 4556840 w 9586368"/>
              <a:gd name="connsiteY6281" fmla="*/ 1914681 h 6479439"/>
              <a:gd name="connsiteX6282" fmla="*/ 4560859 w 9586368"/>
              <a:gd name="connsiteY6282" fmla="*/ 1918719 h 6479439"/>
              <a:gd name="connsiteX6283" fmla="*/ 4560859 w 9586368"/>
              <a:gd name="connsiteY6283" fmla="*/ 1928592 h 6479439"/>
              <a:gd name="connsiteX6284" fmla="*/ 4556840 w 9586368"/>
              <a:gd name="connsiteY6284" fmla="*/ 1932631 h 6479439"/>
              <a:gd name="connsiteX6285" fmla="*/ 4546929 w 9586368"/>
              <a:gd name="connsiteY6285" fmla="*/ 1932631 h 6479439"/>
              <a:gd name="connsiteX6286" fmla="*/ 4542910 w 9586368"/>
              <a:gd name="connsiteY6286" fmla="*/ 1928592 h 6479439"/>
              <a:gd name="connsiteX6287" fmla="*/ 4542910 w 9586368"/>
              <a:gd name="connsiteY6287" fmla="*/ 1918719 h 6479439"/>
              <a:gd name="connsiteX6288" fmla="*/ 4307612 w 9586368"/>
              <a:gd name="connsiteY6288" fmla="*/ 1914681 h 6479439"/>
              <a:gd name="connsiteX6289" fmla="*/ 4317523 w 9586368"/>
              <a:gd name="connsiteY6289" fmla="*/ 1914681 h 6479439"/>
              <a:gd name="connsiteX6290" fmla="*/ 4321543 w 9586368"/>
              <a:gd name="connsiteY6290" fmla="*/ 1918720 h 6479439"/>
              <a:gd name="connsiteX6291" fmla="*/ 4321543 w 9586368"/>
              <a:gd name="connsiteY6291" fmla="*/ 1928592 h 6479439"/>
              <a:gd name="connsiteX6292" fmla="*/ 4317523 w 9586368"/>
              <a:gd name="connsiteY6292" fmla="*/ 1932631 h 6479439"/>
              <a:gd name="connsiteX6293" fmla="*/ 4307612 w 9586368"/>
              <a:gd name="connsiteY6293" fmla="*/ 1932631 h 6479439"/>
              <a:gd name="connsiteX6294" fmla="*/ 4303595 w 9586368"/>
              <a:gd name="connsiteY6294" fmla="*/ 1928592 h 6479439"/>
              <a:gd name="connsiteX6295" fmla="*/ 4303595 w 9586368"/>
              <a:gd name="connsiteY6295" fmla="*/ 1918720 h 6479439"/>
              <a:gd name="connsiteX6296" fmla="*/ 4068297 w 9586368"/>
              <a:gd name="connsiteY6296" fmla="*/ 1914681 h 6479439"/>
              <a:gd name="connsiteX6297" fmla="*/ 4078210 w 9586368"/>
              <a:gd name="connsiteY6297" fmla="*/ 1914681 h 6479439"/>
              <a:gd name="connsiteX6298" fmla="*/ 4082229 w 9586368"/>
              <a:gd name="connsiteY6298" fmla="*/ 1918720 h 6479439"/>
              <a:gd name="connsiteX6299" fmla="*/ 4082229 w 9586368"/>
              <a:gd name="connsiteY6299" fmla="*/ 1928592 h 6479439"/>
              <a:gd name="connsiteX6300" fmla="*/ 4078210 w 9586368"/>
              <a:gd name="connsiteY6300" fmla="*/ 1932631 h 6479439"/>
              <a:gd name="connsiteX6301" fmla="*/ 4068297 w 9586368"/>
              <a:gd name="connsiteY6301" fmla="*/ 1932631 h 6479439"/>
              <a:gd name="connsiteX6302" fmla="*/ 4064278 w 9586368"/>
              <a:gd name="connsiteY6302" fmla="*/ 1928592 h 6479439"/>
              <a:gd name="connsiteX6303" fmla="*/ 4064278 w 9586368"/>
              <a:gd name="connsiteY6303" fmla="*/ 1918720 h 6479439"/>
              <a:gd name="connsiteX6304" fmla="*/ 3828990 w 9586368"/>
              <a:gd name="connsiteY6304" fmla="*/ 1914681 h 6479439"/>
              <a:gd name="connsiteX6305" fmla="*/ 3838899 w 9586368"/>
              <a:gd name="connsiteY6305" fmla="*/ 1914681 h 6479439"/>
              <a:gd name="connsiteX6306" fmla="*/ 3842917 w 9586368"/>
              <a:gd name="connsiteY6306" fmla="*/ 1918720 h 6479439"/>
              <a:gd name="connsiteX6307" fmla="*/ 3842917 w 9586368"/>
              <a:gd name="connsiteY6307" fmla="*/ 1928592 h 6479439"/>
              <a:gd name="connsiteX6308" fmla="*/ 3838899 w 9586368"/>
              <a:gd name="connsiteY6308" fmla="*/ 1932631 h 6479439"/>
              <a:gd name="connsiteX6309" fmla="*/ 3828990 w 9586368"/>
              <a:gd name="connsiteY6309" fmla="*/ 1932631 h 6479439"/>
              <a:gd name="connsiteX6310" fmla="*/ 3824971 w 9586368"/>
              <a:gd name="connsiteY6310" fmla="*/ 1928592 h 6479439"/>
              <a:gd name="connsiteX6311" fmla="*/ 3824971 w 9586368"/>
              <a:gd name="connsiteY6311" fmla="*/ 1918720 h 6479439"/>
              <a:gd name="connsiteX6312" fmla="*/ 4786241 w 9586368"/>
              <a:gd name="connsiteY6312" fmla="*/ 1914664 h 6479439"/>
              <a:gd name="connsiteX6313" fmla="*/ 4796152 w 9586368"/>
              <a:gd name="connsiteY6313" fmla="*/ 1914664 h 6479439"/>
              <a:gd name="connsiteX6314" fmla="*/ 4800171 w 9586368"/>
              <a:gd name="connsiteY6314" fmla="*/ 1918702 h 6479439"/>
              <a:gd name="connsiteX6315" fmla="*/ 4800171 w 9586368"/>
              <a:gd name="connsiteY6315" fmla="*/ 1928573 h 6479439"/>
              <a:gd name="connsiteX6316" fmla="*/ 4796152 w 9586368"/>
              <a:gd name="connsiteY6316" fmla="*/ 1932612 h 6479439"/>
              <a:gd name="connsiteX6317" fmla="*/ 4786241 w 9586368"/>
              <a:gd name="connsiteY6317" fmla="*/ 1932612 h 6479439"/>
              <a:gd name="connsiteX6318" fmla="*/ 4782224 w 9586368"/>
              <a:gd name="connsiteY6318" fmla="*/ 1928573 h 6479439"/>
              <a:gd name="connsiteX6319" fmla="*/ 4782224 w 9586368"/>
              <a:gd name="connsiteY6319" fmla="*/ 1918702 h 6479439"/>
              <a:gd name="connsiteX6320" fmla="*/ 5504099 w 9586368"/>
              <a:gd name="connsiteY6320" fmla="*/ 1914663 h 6479439"/>
              <a:gd name="connsiteX6321" fmla="*/ 5514010 w 9586368"/>
              <a:gd name="connsiteY6321" fmla="*/ 1914663 h 6479439"/>
              <a:gd name="connsiteX6322" fmla="*/ 5518029 w 9586368"/>
              <a:gd name="connsiteY6322" fmla="*/ 1918702 h 6479439"/>
              <a:gd name="connsiteX6323" fmla="*/ 5518029 w 9586368"/>
              <a:gd name="connsiteY6323" fmla="*/ 1928572 h 6479439"/>
              <a:gd name="connsiteX6324" fmla="*/ 5514010 w 9586368"/>
              <a:gd name="connsiteY6324" fmla="*/ 1932612 h 6479439"/>
              <a:gd name="connsiteX6325" fmla="*/ 5504099 w 9586368"/>
              <a:gd name="connsiteY6325" fmla="*/ 1932612 h 6479439"/>
              <a:gd name="connsiteX6326" fmla="*/ 5500080 w 9586368"/>
              <a:gd name="connsiteY6326" fmla="*/ 1928572 h 6479439"/>
              <a:gd name="connsiteX6327" fmla="*/ 5500080 w 9586368"/>
              <a:gd name="connsiteY6327" fmla="*/ 1918702 h 6479439"/>
              <a:gd name="connsiteX6328" fmla="*/ 5264784 w 9586368"/>
              <a:gd name="connsiteY6328" fmla="*/ 1914663 h 6479439"/>
              <a:gd name="connsiteX6329" fmla="*/ 5274694 w 9586368"/>
              <a:gd name="connsiteY6329" fmla="*/ 1914663 h 6479439"/>
              <a:gd name="connsiteX6330" fmla="*/ 5278713 w 9586368"/>
              <a:gd name="connsiteY6330" fmla="*/ 1918702 h 6479439"/>
              <a:gd name="connsiteX6331" fmla="*/ 5278713 w 9586368"/>
              <a:gd name="connsiteY6331" fmla="*/ 1928573 h 6479439"/>
              <a:gd name="connsiteX6332" fmla="*/ 5274694 w 9586368"/>
              <a:gd name="connsiteY6332" fmla="*/ 1932612 h 6479439"/>
              <a:gd name="connsiteX6333" fmla="*/ 5264784 w 9586368"/>
              <a:gd name="connsiteY6333" fmla="*/ 1932612 h 6479439"/>
              <a:gd name="connsiteX6334" fmla="*/ 5260765 w 9586368"/>
              <a:gd name="connsiteY6334" fmla="*/ 1928573 h 6479439"/>
              <a:gd name="connsiteX6335" fmla="*/ 5260765 w 9586368"/>
              <a:gd name="connsiteY6335" fmla="*/ 1918702 h 6479439"/>
              <a:gd name="connsiteX6336" fmla="*/ 5025470 w 9586368"/>
              <a:gd name="connsiteY6336" fmla="*/ 1914663 h 6479439"/>
              <a:gd name="connsiteX6337" fmla="*/ 5035381 w 9586368"/>
              <a:gd name="connsiteY6337" fmla="*/ 1914663 h 6479439"/>
              <a:gd name="connsiteX6338" fmla="*/ 5039400 w 9586368"/>
              <a:gd name="connsiteY6338" fmla="*/ 1918702 h 6479439"/>
              <a:gd name="connsiteX6339" fmla="*/ 5039400 w 9586368"/>
              <a:gd name="connsiteY6339" fmla="*/ 1928573 h 6479439"/>
              <a:gd name="connsiteX6340" fmla="*/ 5035381 w 9586368"/>
              <a:gd name="connsiteY6340" fmla="*/ 1932612 h 6479439"/>
              <a:gd name="connsiteX6341" fmla="*/ 5025470 w 9586368"/>
              <a:gd name="connsiteY6341" fmla="*/ 1932612 h 6479439"/>
              <a:gd name="connsiteX6342" fmla="*/ 5021451 w 9586368"/>
              <a:gd name="connsiteY6342" fmla="*/ 1928573 h 6479439"/>
              <a:gd name="connsiteX6343" fmla="*/ 5021451 w 9586368"/>
              <a:gd name="connsiteY6343" fmla="*/ 1918702 h 6479439"/>
              <a:gd name="connsiteX6344" fmla="*/ 5743412 w 9586368"/>
              <a:gd name="connsiteY6344" fmla="*/ 1914662 h 6479439"/>
              <a:gd name="connsiteX6345" fmla="*/ 5753323 w 9586368"/>
              <a:gd name="connsiteY6345" fmla="*/ 1914662 h 6479439"/>
              <a:gd name="connsiteX6346" fmla="*/ 5757342 w 9586368"/>
              <a:gd name="connsiteY6346" fmla="*/ 1918701 h 6479439"/>
              <a:gd name="connsiteX6347" fmla="*/ 5757342 w 9586368"/>
              <a:gd name="connsiteY6347" fmla="*/ 1928572 h 6479439"/>
              <a:gd name="connsiteX6348" fmla="*/ 5753323 w 9586368"/>
              <a:gd name="connsiteY6348" fmla="*/ 1932612 h 6479439"/>
              <a:gd name="connsiteX6349" fmla="*/ 5743412 w 9586368"/>
              <a:gd name="connsiteY6349" fmla="*/ 1932612 h 6479439"/>
              <a:gd name="connsiteX6350" fmla="*/ 5739393 w 9586368"/>
              <a:gd name="connsiteY6350" fmla="*/ 1928572 h 6479439"/>
              <a:gd name="connsiteX6351" fmla="*/ 5739393 w 9586368"/>
              <a:gd name="connsiteY6351" fmla="*/ 1918701 h 6479439"/>
              <a:gd name="connsiteX6352" fmla="*/ 5982729 w 9586368"/>
              <a:gd name="connsiteY6352" fmla="*/ 1914645 h 6479439"/>
              <a:gd name="connsiteX6353" fmla="*/ 5992639 w 9586368"/>
              <a:gd name="connsiteY6353" fmla="*/ 1914645 h 6479439"/>
              <a:gd name="connsiteX6354" fmla="*/ 5996658 w 9586368"/>
              <a:gd name="connsiteY6354" fmla="*/ 1918684 h 6479439"/>
              <a:gd name="connsiteX6355" fmla="*/ 5996658 w 9586368"/>
              <a:gd name="connsiteY6355" fmla="*/ 1928555 h 6479439"/>
              <a:gd name="connsiteX6356" fmla="*/ 5992639 w 9586368"/>
              <a:gd name="connsiteY6356" fmla="*/ 1932594 h 6479439"/>
              <a:gd name="connsiteX6357" fmla="*/ 5982729 w 9586368"/>
              <a:gd name="connsiteY6357" fmla="*/ 1932594 h 6479439"/>
              <a:gd name="connsiteX6358" fmla="*/ 5978710 w 9586368"/>
              <a:gd name="connsiteY6358" fmla="*/ 1928555 h 6479439"/>
              <a:gd name="connsiteX6359" fmla="*/ 5978710 w 9586368"/>
              <a:gd name="connsiteY6359" fmla="*/ 1918684 h 6479439"/>
              <a:gd name="connsiteX6360" fmla="*/ 6939983 w 9586368"/>
              <a:gd name="connsiteY6360" fmla="*/ 1914645 h 6479439"/>
              <a:gd name="connsiteX6361" fmla="*/ 6949894 w 9586368"/>
              <a:gd name="connsiteY6361" fmla="*/ 1914645 h 6479439"/>
              <a:gd name="connsiteX6362" fmla="*/ 6953913 w 9586368"/>
              <a:gd name="connsiteY6362" fmla="*/ 1918682 h 6479439"/>
              <a:gd name="connsiteX6363" fmla="*/ 6953913 w 9586368"/>
              <a:gd name="connsiteY6363" fmla="*/ 1928554 h 6479439"/>
              <a:gd name="connsiteX6364" fmla="*/ 6949894 w 9586368"/>
              <a:gd name="connsiteY6364" fmla="*/ 1932594 h 6479439"/>
              <a:gd name="connsiteX6365" fmla="*/ 6939983 w 9586368"/>
              <a:gd name="connsiteY6365" fmla="*/ 1932594 h 6479439"/>
              <a:gd name="connsiteX6366" fmla="*/ 6935964 w 9586368"/>
              <a:gd name="connsiteY6366" fmla="*/ 1928554 h 6479439"/>
              <a:gd name="connsiteX6367" fmla="*/ 6935964 w 9586368"/>
              <a:gd name="connsiteY6367" fmla="*/ 1918682 h 6479439"/>
              <a:gd name="connsiteX6368" fmla="*/ 6700670 w 9586368"/>
              <a:gd name="connsiteY6368" fmla="*/ 1914645 h 6479439"/>
              <a:gd name="connsiteX6369" fmla="*/ 6710581 w 9586368"/>
              <a:gd name="connsiteY6369" fmla="*/ 1914645 h 6479439"/>
              <a:gd name="connsiteX6370" fmla="*/ 6714600 w 9586368"/>
              <a:gd name="connsiteY6370" fmla="*/ 1918683 h 6479439"/>
              <a:gd name="connsiteX6371" fmla="*/ 6714600 w 9586368"/>
              <a:gd name="connsiteY6371" fmla="*/ 1928554 h 6479439"/>
              <a:gd name="connsiteX6372" fmla="*/ 6710581 w 9586368"/>
              <a:gd name="connsiteY6372" fmla="*/ 1932594 h 6479439"/>
              <a:gd name="connsiteX6373" fmla="*/ 6700670 w 9586368"/>
              <a:gd name="connsiteY6373" fmla="*/ 1932594 h 6479439"/>
              <a:gd name="connsiteX6374" fmla="*/ 6696651 w 9586368"/>
              <a:gd name="connsiteY6374" fmla="*/ 1928554 h 6479439"/>
              <a:gd name="connsiteX6375" fmla="*/ 6696651 w 9586368"/>
              <a:gd name="connsiteY6375" fmla="*/ 1918683 h 6479439"/>
              <a:gd name="connsiteX6376" fmla="*/ 6461356 w 9586368"/>
              <a:gd name="connsiteY6376" fmla="*/ 1914645 h 6479439"/>
              <a:gd name="connsiteX6377" fmla="*/ 6471266 w 9586368"/>
              <a:gd name="connsiteY6377" fmla="*/ 1914645 h 6479439"/>
              <a:gd name="connsiteX6378" fmla="*/ 6475285 w 9586368"/>
              <a:gd name="connsiteY6378" fmla="*/ 1918683 h 6479439"/>
              <a:gd name="connsiteX6379" fmla="*/ 6475285 w 9586368"/>
              <a:gd name="connsiteY6379" fmla="*/ 1928555 h 6479439"/>
              <a:gd name="connsiteX6380" fmla="*/ 6471266 w 9586368"/>
              <a:gd name="connsiteY6380" fmla="*/ 1932594 h 6479439"/>
              <a:gd name="connsiteX6381" fmla="*/ 6461356 w 9586368"/>
              <a:gd name="connsiteY6381" fmla="*/ 1932594 h 6479439"/>
              <a:gd name="connsiteX6382" fmla="*/ 6457337 w 9586368"/>
              <a:gd name="connsiteY6382" fmla="*/ 1928555 h 6479439"/>
              <a:gd name="connsiteX6383" fmla="*/ 6457337 w 9586368"/>
              <a:gd name="connsiteY6383" fmla="*/ 1918683 h 6479439"/>
              <a:gd name="connsiteX6384" fmla="*/ 6222042 w 9586368"/>
              <a:gd name="connsiteY6384" fmla="*/ 1914645 h 6479439"/>
              <a:gd name="connsiteX6385" fmla="*/ 6231952 w 9586368"/>
              <a:gd name="connsiteY6385" fmla="*/ 1914645 h 6479439"/>
              <a:gd name="connsiteX6386" fmla="*/ 6235971 w 9586368"/>
              <a:gd name="connsiteY6386" fmla="*/ 1918683 h 6479439"/>
              <a:gd name="connsiteX6387" fmla="*/ 6235971 w 9586368"/>
              <a:gd name="connsiteY6387" fmla="*/ 1928555 h 6479439"/>
              <a:gd name="connsiteX6388" fmla="*/ 6231952 w 9586368"/>
              <a:gd name="connsiteY6388" fmla="*/ 1932594 h 6479439"/>
              <a:gd name="connsiteX6389" fmla="*/ 6222042 w 9586368"/>
              <a:gd name="connsiteY6389" fmla="*/ 1932594 h 6479439"/>
              <a:gd name="connsiteX6390" fmla="*/ 6218023 w 9586368"/>
              <a:gd name="connsiteY6390" fmla="*/ 1928555 h 6479439"/>
              <a:gd name="connsiteX6391" fmla="*/ 6218023 w 9586368"/>
              <a:gd name="connsiteY6391" fmla="*/ 1918683 h 6479439"/>
              <a:gd name="connsiteX6392" fmla="*/ 7179298 w 9586368"/>
              <a:gd name="connsiteY6392" fmla="*/ 1914627 h 6479439"/>
              <a:gd name="connsiteX6393" fmla="*/ 7189209 w 9586368"/>
              <a:gd name="connsiteY6393" fmla="*/ 1914627 h 6479439"/>
              <a:gd name="connsiteX6394" fmla="*/ 7193228 w 9586368"/>
              <a:gd name="connsiteY6394" fmla="*/ 1918666 h 6479439"/>
              <a:gd name="connsiteX6395" fmla="*/ 7193228 w 9586368"/>
              <a:gd name="connsiteY6395" fmla="*/ 1928536 h 6479439"/>
              <a:gd name="connsiteX6396" fmla="*/ 7189209 w 9586368"/>
              <a:gd name="connsiteY6396" fmla="*/ 1932575 h 6479439"/>
              <a:gd name="connsiteX6397" fmla="*/ 7179298 w 9586368"/>
              <a:gd name="connsiteY6397" fmla="*/ 1932575 h 6479439"/>
              <a:gd name="connsiteX6398" fmla="*/ 7175279 w 9586368"/>
              <a:gd name="connsiteY6398" fmla="*/ 1928536 h 6479439"/>
              <a:gd name="connsiteX6399" fmla="*/ 7175279 w 9586368"/>
              <a:gd name="connsiteY6399" fmla="*/ 1918666 h 6479439"/>
              <a:gd name="connsiteX6400" fmla="*/ 7897241 w 9586368"/>
              <a:gd name="connsiteY6400" fmla="*/ 1914627 h 6479439"/>
              <a:gd name="connsiteX6401" fmla="*/ 7907151 w 9586368"/>
              <a:gd name="connsiteY6401" fmla="*/ 1914627 h 6479439"/>
              <a:gd name="connsiteX6402" fmla="*/ 7911170 w 9586368"/>
              <a:gd name="connsiteY6402" fmla="*/ 1918664 h 6479439"/>
              <a:gd name="connsiteX6403" fmla="*/ 7911170 w 9586368"/>
              <a:gd name="connsiteY6403" fmla="*/ 1928535 h 6479439"/>
              <a:gd name="connsiteX6404" fmla="*/ 7907151 w 9586368"/>
              <a:gd name="connsiteY6404" fmla="*/ 1932575 h 6479439"/>
              <a:gd name="connsiteX6405" fmla="*/ 7897241 w 9586368"/>
              <a:gd name="connsiteY6405" fmla="*/ 1932575 h 6479439"/>
              <a:gd name="connsiteX6406" fmla="*/ 7893222 w 9586368"/>
              <a:gd name="connsiteY6406" fmla="*/ 1928535 h 6479439"/>
              <a:gd name="connsiteX6407" fmla="*/ 7893222 w 9586368"/>
              <a:gd name="connsiteY6407" fmla="*/ 1918664 h 6479439"/>
              <a:gd name="connsiteX6408" fmla="*/ 7657926 w 9586368"/>
              <a:gd name="connsiteY6408" fmla="*/ 1914627 h 6479439"/>
              <a:gd name="connsiteX6409" fmla="*/ 7667836 w 9586368"/>
              <a:gd name="connsiteY6409" fmla="*/ 1914627 h 6479439"/>
              <a:gd name="connsiteX6410" fmla="*/ 7671855 w 9586368"/>
              <a:gd name="connsiteY6410" fmla="*/ 1918664 h 6479439"/>
              <a:gd name="connsiteX6411" fmla="*/ 7671855 w 9586368"/>
              <a:gd name="connsiteY6411" fmla="*/ 1928536 h 6479439"/>
              <a:gd name="connsiteX6412" fmla="*/ 7667836 w 9586368"/>
              <a:gd name="connsiteY6412" fmla="*/ 1932575 h 6479439"/>
              <a:gd name="connsiteX6413" fmla="*/ 7657926 w 9586368"/>
              <a:gd name="connsiteY6413" fmla="*/ 1932575 h 6479439"/>
              <a:gd name="connsiteX6414" fmla="*/ 7653906 w 9586368"/>
              <a:gd name="connsiteY6414" fmla="*/ 1928536 h 6479439"/>
              <a:gd name="connsiteX6415" fmla="*/ 7653906 w 9586368"/>
              <a:gd name="connsiteY6415" fmla="*/ 1918664 h 6479439"/>
              <a:gd name="connsiteX6416" fmla="*/ 7418611 w 9586368"/>
              <a:gd name="connsiteY6416" fmla="*/ 1914627 h 6479439"/>
              <a:gd name="connsiteX6417" fmla="*/ 7428521 w 9586368"/>
              <a:gd name="connsiteY6417" fmla="*/ 1914627 h 6479439"/>
              <a:gd name="connsiteX6418" fmla="*/ 7432540 w 9586368"/>
              <a:gd name="connsiteY6418" fmla="*/ 1918664 h 6479439"/>
              <a:gd name="connsiteX6419" fmla="*/ 7432540 w 9586368"/>
              <a:gd name="connsiteY6419" fmla="*/ 1928536 h 6479439"/>
              <a:gd name="connsiteX6420" fmla="*/ 7428521 w 9586368"/>
              <a:gd name="connsiteY6420" fmla="*/ 1932575 h 6479439"/>
              <a:gd name="connsiteX6421" fmla="*/ 7418611 w 9586368"/>
              <a:gd name="connsiteY6421" fmla="*/ 1932575 h 6479439"/>
              <a:gd name="connsiteX6422" fmla="*/ 7414592 w 9586368"/>
              <a:gd name="connsiteY6422" fmla="*/ 1928536 h 6479439"/>
              <a:gd name="connsiteX6423" fmla="*/ 7414592 w 9586368"/>
              <a:gd name="connsiteY6423" fmla="*/ 1918664 h 6479439"/>
              <a:gd name="connsiteX6424" fmla="*/ 8136553 w 9586368"/>
              <a:gd name="connsiteY6424" fmla="*/ 1914626 h 6479439"/>
              <a:gd name="connsiteX6425" fmla="*/ 8146464 w 9586368"/>
              <a:gd name="connsiteY6425" fmla="*/ 1914626 h 6479439"/>
              <a:gd name="connsiteX6426" fmla="*/ 8150483 w 9586368"/>
              <a:gd name="connsiteY6426" fmla="*/ 1918664 h 6479439"/>
              <a:gd name="connsiteX6427" fmla="*/ 8150483 w 9586368"/>
              <a:gd name="connsiteY6427" fmla="*/ 1928535 h 6479439"/>
              <a:gd name="connsiteX6428" fmla="*/ 8146464 w 9586368"/>
              <a:gd name="connsiteY6428" fmla="*/ 1932575 h 6479439"/>
              <a:gd name="connsiteX6429" fmla="*/ 8136553 w 9586368"/>
              <a:gd name="connsiteY6429" fmla="*/ 1932575 h 6479439"/>
              <a:gd name="connsiteX6430" fmla="*/ 8132534 w 9586368"/>
              <a:gd name="connsiteY6430" fmla="*/ 1928535 h 6479439"/>
              <a:gd name="connsiteX6431" fmla="*/ 8132534 w 9586368"/>
              <a:gd name="connsiteY6431" fmla="*/ 1918664 h 6479439"/>
              <a:gd name="connsiteX6432" fmla="*/ 8375869 w 9586368"/>
              <a:gd name="connsiteY6432" fmla="*/ 1914608 h 6479439"/>
              <a:gd name="connsiteX6433" fmla="*/ 8385779 w 9586368"/>
              <a:gd name="connsiteY6433" fmla="*/ 1914608 h 6479439"/>
              <a:gd name="connsiteX6434" fmla="*/ 8389799 w 9586368"/>
              <a:gd name="connsiteY6434" fmla="*/ 1918647 h 6479439"/>
              <a:gd name="connsiteX6435" fmla="*/ 8389799 w 9586368"/>
              <a:gd name="connsiteY6435" fmla="*/ 1928518 h 6479439"/>
              <a:gd name="connsiteX6436" fmla="*/ 8385779 w 9586368"/>
              <a:gd name="connsiteY6436" fmla="*/ 1932557 h 6479439"/>
              <a:gd name="connsiteX6437" fmla="*/ 8375869 w 9586368"/>
              <a:gd name="connsiteY6437" fmla="*/ 1932557 h 6479439"/>
              <a:gd name="connsiteX6438" fmla="*/ 8371850 w 9586368"/>
              <a:gd name="connsiteY6438" fmla="*/ 1928518 h 6479439"/>
              <a:gd name="connsiteX6439" fmla="*/ 8371850 w 9586368"/>
              <a:gd name="connsiteY6439" fmla="*/ 1918647 h 6479439"/>
              <a:gd name="connsiteX6440" fmla="*/ 9333125 w 9586368"/>
              <a:gd name="connsiteY6440" fmla="*/ 1914608 h 6479439"/>
              <a:gd name="connsiteX6441" fmla="*/ 9343036 w 9586368"/>
              <a:gd name="connsiteY6441" fmla="*/ 1914608 h 6479439"/>
              <a:gd name="connsiteX6442" fmla="*/ 9347055 w 9586368"/>
              <a:gd name="connsiteY6442" fmla="*/ 1918646 h 6479439"/>
              <a:gd name="connsiteX6443" fmla="*/ 9347055 w 9586368"/>
              <a:gd name="connsiteY6443" fmla="*/ 1928517 h 6479439"/>
              <a:gd name="connsiteX6444" fmla="*/ 9343036 w 9586368"/>
              <a:gd name="connsiteY6444" fmla="*/ 1932557 h 6479439"/>
              <a:gd name="connsiteX6445" fmla="*/ 9333125 w 9586368"/>
              <a:gd name="connsiteY6445" fmla="*/ 1932557 h 6479439"/>
              <a:gd name="connsiteX6446" fmla="*/ 9329106 w 9586368"/>
              <a:gd name="connsiteY6446" fmla="*/ 1928517 h 6479439"/>
              <a:gd name="connsiteX6447" fmla="*/ 9329106 w 9586368"/>
              <a:gd name="connsiteY6447" fmla="*/ 1918646 h 6479439"/>
              <a:gd name="connsiteX6448" fmla="*/ 9093811 w 9586368"/>
              <a:gd name="connsiteY6448" fmla="*/ 1914608 h 6479439"/>
              <a:gd name="connsiteX6449" fmla="*/ 9103722 w 9586368"/>
              <a:gd name="connsiteY6449" fmla="*/ 1914608 h 6479439"/>
              <a:gd name="connsiteX6450" fmla="*/ 9107741 w 9586368"/>
              <a:gd name="connsiteY6450" fmla="*/ 1918646 h 6479439"/>
              <a:gd name="connsiteX6451" fmla="*/ 9107741 w 9586368"/>
              <a:gd name="connsiteY6451" fmla="*/ 1928517 h 6479439"/>
              <a:gd name="connsiteX6452" fmla="*/ 9103722 w 9586368"/>
              <a:gd name="connsiteY6452" fmla="*/ 1932557 h 6479439"/>
              <a:gd name="connsiteX6453" fmla="*/ 9093811 w 9586368"/>
              <a:gd name="connsiteY6453" fmla="*/ 1932557 h 6479439"/>
              <a:gd name="connsiteX6454" fmla="*/ 9089792 w 9586368"/>
              <a:gd name="connsiteY6454" fmla="*/ 1928517 h 6479439"/>
              <a:gd name="connsiteX6455" fmla="*/ 9089792 w 9586368"/>
              <a:gd name="connsiteY6455" fmla="*/ 1918646 h 6479439"/>
              <a:gd name="connsiteX6456" fmla="*/ 8854496 w 9586368"/>
              <a:gd name="connsiteY6456" fmla="*/ 1914608 h 6479439"/>
              <a:gd name="connsiteX6457" fmla="*/ 8864407 w 9586368"/>
              <a:gd name="connsiteY6457" fmla="*/ 1914608 h 6479439"/>
              <a:gd name="connsiteX6458" fmla="*/ 8868426 w 9586368"/>
              <a:gd name="connsiteY6458" fmla="*/ 1918646 h 6479439"/>
              <a:gd name="connsiteX6459" fmla="*/ 8868426 w 9586368"/>
              <a:gd name="connsiteY6459" fmla="*/ 1928518 h 6479439"/>
              <a:gd name="connsiteX6460" fmla="*/ 8864407 w 9586368"/>
              <a:gd name="connsiteY6460" fmla="*/ 1932557 h 6479439"/>
              <a:gd name="connsiteX6461" fmla="*/ 8854496 w 9586368"/>
              <a:gd name="connsiteY6461" fmla="*/ 1932557 h 6479439"/>
              <a:gd name="connsiteX6462" fmla="*/ 8850477 w 9586368"/>
              <a:gd name="connsiteY6462" fmla="*/ 1928518 h 6479439"/>
              <a:gd name="connsiteX6463" fmla="*/ 8850477 w 9586368"/>
              <a:gd name="connsiteY6463" fmla="*/ 1918646 h 6479439"/>
              <a:gd name="connsiteX6464" fmla="*/ 8615184 w 9586368"/>
              <a:gd name="connsiteY6464" fmla="*/ 1914608 h 6479439"/>
              <a:gd name="connsiteX6465" fmla="*/ 8625095 w 9586368"/>
              <a:gd name="connsiteY6465" fmla="*/ 1914608 h 6479439"/>
              <a:gd name="connsiteX6466" fmla="*/ 8629114 w 9586368"/>
              <a:gd name="connsiteY6466" fmla="*/ 1918646 h 6479439"/>
              <a:gd name="connsiteX6467" fmla="*/ 8629114 w 9586368"/>
              <a:gd name="connsiteY6467" fmla="*/ 1928518 h 6479439"/>
              <a:gd name="connsiteX6468" fmla="*/ 8625095 w 9586368"/>
              <a:gd name="connsiteY6468" fmla="*/ 1932557 h 6479439"/>
              <a:gd name="connsiteX6469" fmla="*/ 8615184 w 9586368"/>
              <a:gd name="connsiteY6469" fmla="*/ 1932557 h 6479439"/>
              <a:gd name="connsiteX6470" fmla="*/ 8611165 w 9586368"/>
              <a:gd name="connsiteY6470" fmla="*/ 1928518 h 6479439"/>
              <a:gd name="connsiteX6471" fmla="*/ 8611165 w 9586368"/>
              <a:gd name="connsiteY6471" fmla="*/ 1918646 h 6479439"/>
              <a:gd name="connsiteX6472" fmla="*/ 9572438 w 9586368"/>
              <a:gd name="connsiteY6472" fmla="*/ 1914590 h 6479439"/>
              <a:gd name="connsiteX6473" fmla="*/ 9582349 w 9586368"/>
              <a:gd name="connsiteY6473" fmla="*/ 1914590 h 6479439"/>
              <a:gd name="connsiteX6474" fmla="*/ 9586368 w 9586368"/>
              <a:gd name="connsiteY6474" fmla="*/ 1918629 h 6479439"/>
              <a:gd name="connsiteX6475" fmla="*/ 9586368 w 9586368"/>
              <a:gd name="connsiteY6475" fmla="*/ 1928499 h 6479439"/>
              <a:gd name="connsiteX6476" fmla="*/ 9582349 w 9586368"/>
              <a:gd name="connsiteY6476" fmla="*/ 1932538 h 6479439"/>
              <a:gd name="connsiteX6477" fmla="*/ 9572438 w 9586368"/>
              <a:gd name="connsiteY6477" fmla="*/ 1932538 h 6479439"/>
              <a:gd name="connsiteX6478" fmla="*/ 9568419 w 9586368"/>
              <a:gd name="connsiteY6478" fmla="*/ 1928499 h 6479439"/>
              <a:gd name="connsiteX6479" fmla="*/ 9568419 w 9586368"/>
              <a:gd name="connsiteY6479" fmla="*/ 1918629 h 6479439"/>
              <a:gd name="connsiteX6480" fmla="*/ 243346 w 9586368"/>
              <a:gd name="connsiteY6480" fmla="*/ 1914550 h 6479439"/>
              <a:gd name="connsiteX6481" fmla="*/ 253256 w 9586368"/>
              <a:gd name="connsiteY6481" fmla="*/ 1914550 h 6479439"/>
              <a:gd name="connsiteX6482" fmla="*/ 257275 w 9586368"/>
              <a:gd name="connsiteY6482" fmla="*/ 1918589 h 6479439"/>
              <a:gd name="connsiteX6483" fmla="*/ 257275 w 9586368"/>
              <a:gd name="connsiteY6483" fmla="*/ 1928459 h 6479439"/>
              <a:gd name="connsiteX6484" fmla="*/ 253256 w 9586368"/>
              <a:gd name="connsiteY6484" fmla="*/ 1932498 h 6479439"/>
              <a:gd name="connsiteX6485" fmla="*/ 243346 w 9586368"/>
              <a:gd name="connsiteY6485" fmla="*/ 1932498 h 6479439"/>
              <a:gd name="connsiteX6486" fmla="*/ 239327 w 9586368"/>
              <a:gd name="connsiteY6486" fmla="*/ 1928459 h 6479439"/>
              <a:gd name="connsiteX6487" fmla="*/ 239327 w 9586368"/>
              <a:gd name="connsiteY6487" fmla="*/ 1918589 h 6479439"/>
              <a:gd name="connsiteX6488" fmla="*/ 4032 w 9586368"/>
              <a:gd name="connsiteY6488" fmla="*/ 1914550 h 6479439"/>
              <a:gd name="connsiteX6489" fmla="*/ 13943 w 9586368"/>
              <a:gd name="connsiteY6489" fmla="*/ 1914550 h 6479439"/>
              <a:gd name="connsiteX6490" fmla="*/ 17962 w 9586368"/>
              <a:gd name="connsiteY6490" fmla="*/ 1918589 h 6479439"/>
              <a:gd name="connsiteX6491" fmla="*/ 17962 w 9586368"/>
              <a:gd name="connsiteY6491" fmla="*/ 1928459 h 6479439"/>
              <a:gd name="connsiteX6492" fmla="*/ 13943 w 9586368"/>
              <a:gd name="connsiteY6492" fmla="*/ 1932498 h 6479439"/>
              <a:gd name="connsiteX6493" fmla="*/ 4032 w 9586368"/>
              <a:gd name="connsiteY6493" fmla="*/ 1932498 h 6479439"/>
              <a:gd name="connsiteX6494" fmla="*/ 13 w 9586368"/>
              <a:gd name="connsiteY6494" fmla="*/ 1928459 h 6479439"/>
              <a:gd name="connsiteX6495" fmla="*/ 13 w 9586368"/>
              <a:gd name="connsiteY6495" fmla="*/ 1918589 h 6479439"/>
              <a:gd name="connsiteX6496" fmla="*/ 721971 w 9586368"/>
              <a:gd name="connsiteY6496" fmla="*/ 1914550 h 6479439"/>
              <a:gd name="connsiteX6497" fmla="*/ 731882 w 9586368"/>
              <a:gd name="connsiteY6497" fmla="*/ 1914550 h 6479439"/>
              <a:gd name="connsiteX6498" fmla="*/ 735901 w 9586368"/>
              <a:gd name="connsiteY6498" fmla="*/ 1918588 h 6479439"/>
              <a:gd name="connsiteX6499" fmla="*/ 735901 w 9586368"/>
              <a:gd name="connsiteY6499" fmla="*/ 1928459 h 6479439"/>
              <a:gd name="connsiteX6500" fmla="*/ 731882 w 9586368"/>
              <a:gd name="connsiteY6500" fmla="*/ 1932497 h 6479439"/>
              <a:gd name="connsiteX6501" fmla="*/ 721971 w 9586368"/>
              <a:gd name="connsiteY6501" fmla="*/ 1932497 h 6479439"/>
              <a:gd name="connsiteX6502" fmla="*/ 717953 w 9586368"/>
              <a:gd name="connsiteY6502" fmla="*/ 1928459 h 6479439"/>
              <a:gd name="connsiteX6503" fmla="*/ 717953 w 9586368"/>
              <a:gd name="connsiteY6503" fmla="*/ 1918588 h 6479439"/>
              <a:gd name="connsiteX6504" fmla="*/ 482660 w 9586368"/>
              <a:gd name="connsiteY6504" fmla="*/ 1914550 h 6479439"/>
              <a:gd name="connsiteX6505" fmla="*/ 492570 w 9586368"/>
              <a:gd name="connsiteY6505" fmla="*/ 1914550 h 6479439"/>
              <a:gd name="connsiteX6506" fmla="*/ 496589 w 9586368"/>
              <a:gd name="connsiteY6506" fmla="*/ 1918588 h 6479439"/>
              <a:gd name="connsiteX6507" fmla="*/ 496589 w 9586368"/>
              <a:gd name="connsiteY6507" fmla="*/ 1928459 h 6479439"/>
              <a:gd name="connsiteX6508" fmla="*/ 492570 w 9586368"/>
              <a:gd name="connsiteY6508" fmla="*/ 1932497 h 6479439"/>
              <a:gd name="connsiteX6509" fmla="*/ 482660 w 9586368"/>
              <a:gd name="connsiteY6509" fmla="*/ 1932497 h 6479439"/>
              <a:gd name="connsiteX6510" fmla="*/ 478640 w 9586368"/>
              <a:gd name="connsiteY6510" fmla="*/ 1928459 h 6479439"/>
              <a:gd name="connsiteX6511" fmla="*/ 478640 w 9586368"/>
              <a:gd name="connsiteY6511" fmla="*/ 1918588 h 6479439"/>
              <a:gd name="connsiteX6512" fmla="*/ 1679215 w 9586368"/>
              <a:gd name="connsiteY6512" fmla="*/ 1914535 h 6479439"/>
              <a:gd name="connsiteX6513" fmla="*/ 1689125 w 9586368"/>
              <a:gd name="connsiteY6513" fmla="*/ 1914535 h 6479439"/>
              <a:gd name="connsiteX6514" fmla="*/ 1693144 w 9586368"/>
              <a:gd name="connsiteY6514" fmla="*/ 1918573 h 6479439"/>
              <a:gd name="connsiteX6515" fmla="*/ 1693144 w 9586368"/>
              <a:gd name="connsiteY6515" fmla="*/ 1928444 h 6479439"/>
              <a:gd name="connsiteX6516" fmla="*/ 1689125 w 9586368"/>
              <a:gd name="connsiteY6516" fmla="*/ 1932482 h 6479439"/>
              <a:gd name="connsiteX6517" fmla="*/ 1679215 w 9586368"/>
              <a:gd name="connsiteY6517" fmla="*/ 1932482 h 6479439"/>
              <a:gd name="connsiteX6518" fmla="*/ 1675195 w 9586368"/>
              <a:gd name="connsiteY6518" fmla="*/ 1928444 h 6479439"/>
              <a:gd name="connsiteX6519" fmla="*/ 1675195 w 9586368"/>
              <a:gd name="connsiteY6519" fmla="*/ 1918573 h 6479439"/>
              <a:gd name="connsiteX6520" fmla="*/ 1439897 w 9586368"/>
              <a:gd name="connsiteY6520" fmla="*/ 1914535 h 6479439"/>
              <a:gd name="connsiteX6521" fmla="*/ 1449808 w 9586368"/>
              <a:gd name="connsiteY6521" fmla="*/ 1914535 h 6479439"/>
              <a:gd name="connsiteX6522" fmla="*/ 1453827 w 9586368"/>
              <a:gd name="connsiteY6522" fmla="*/ 1918573 h 6479439"/>
              <a:gd name="connsiteX6523" fmla="*/ 1453827 w 9586368"/>
              <a:gd name="connsiteY6523" fmla="*/ 1928444 h 6479439"/>
              <a:gd name="connsiteX6524" fmla="*/ 1449808 w 9586368"/>
              <a:gd name="connsiteY6524" fmla="*/ 1932483 h 6479439"/>
              <a:gd name="connsiteX6525" fmla="*/ 1439897 w 9586368"/>
              <a:gd name="connsiteY6525" fmla="*/ 1932483 h 6479439"/>
              <a:gd name="connsiteX6526" fmla="*/ 1435879 w 9586368"/>
              <a:gd name="connsiteY6526" fmla="*/ 1928444 h 6479439"/>
              <a:gd name="connsiteX6527" fmla="*/ 1435879 w 9586368"/>
              <a:gd name="connsiteY6527" fmla="*/ 1918573 h 6479439"/>
              <a:gd name="connsiteX6528" fmla="*/ 1200582 w 9586368"/>
              <a:gd name="connsiteY6528" fmla="*/ 1914535 h 6479439"/>
              <a:gd name="connsiteX6529" fmla="*/ 1210492 w 9586368"/>
              <a:gd name="connsiteY6529" fmla="*/ 1914535 h 6479439"/>
              <a:gd name="connsiteX6530" fmla="*/ 1214511 w 9586368"/>
              <a:gd name="connsiteY6530" fmla="*/ 1918573 h 6479439"/>
              <a:gd name="connsiteX6531" fmla="*/ 1214511 w 9586368"/>
              <a:gd name="connsiteY6531" fmla="*/ 1928444 h 6479439"/>
              <a:gd name="connsiteX6532" fmla="*/ 1210492 w 9586368"/>
              <a:gd name="connsiteY6532" fmla="*/ 1932483 h 6479439"/>
              <a:gd name="connsiteX6533" fmla="*/ 1200582 w 9586368"/>
              <a:gd name="connsiteY6533" fmla="*/ 1932483 h 6479439"/>
              <a:gd name="connsiteX6534" fmla="*/ 1196563 w 9586368"/>
              <a:gd name="connsiteY6534" fmla="*/ 1928444 h 6479439"/>
              <a:gd name="connsiteX6535" fmla="*/ 1196563 w 9586368"/>
              <a:gd name="connsiteY6535" fmla="*/ 1918573 h 6479439"/>
              <a:gd name="connsiteX6536" fmla="*/ 961269 w 9586368"/>
              <a:gd name="connsiteY6536" fmla="*/ 1914535 h 6479439"/>
              <a:gd name="connsiteX6537" fmla="*/ 971179 w 9586368"/>
              <a:gd name="connsiteY6537" fmla="*/ 1914535 h 6479439"/>
              <a:gd name="connsiteX6538" fmla="*/ 975198 w 9586368"/>
              <a:gd name="connsiteY6538" fmla="*/ 1918573 h 6479439"/>
              <a:gd name="connsiteX6539" fmla="*/ 975198 w 9586368"/>
              <a:gd name="connsiteY6539" fmla="*/ 1928444 h 6479439"/>
              <a:gd name="connsiteX6540" fmla="*/ 971179 w 9586368"/>
              <a:gd name="connsiteY6540" fmla="*/ 1932483 h 6479439"/>
              <a:gd name="connsiteX6541" fmla="*/ 961269 w 9586368"/>
              <a:gd name="connsiteY6541" fmla="*/ 1932483 h 6479439"/>
              <a:gd name="connsiteX6542" fmla="*/ 957250 w 9586368"/>
              <a:gd name="connsiteY6542" fmla="*/ 1928444 h 6479439"/>
              <a:gd name="connsiteX6543" fmla="*/ 957250 w 9586368"/>
              <a:gd name="connsiteY6543" fmla="*/ 1918573 h 6479439"/>
              <a:gd name="connsiteX6544" fmla="*/ 1918513 w 9586368"/>
              <a:gd name="connsiteY6544" fmla="*/ 1914523 h 6479439"/>
              <a:gd name="connsiteX6545" fmla="*/ 1928424 w 9586368"/>
              <a:gd name="connsiteY6545" fmla="*/ 1914523 h 6479439"/>
              <a:gd name="connsiteX6546" fmla="*/ 1932443 w 9586368"/>
              <a:gd name="connsiteY6546" fmla="*/ 1918562 h 6479439"/>
              <a:gd name="connsiteX6547" fmla="*/ 1932443 w 9586368"/>
              <a:gd name="connsiteY6547" fmla="*/ 1928432 h 6479439"/>
              <a:gd name="connsiteX6548" fmla="*/ 1928424 w 9586368"/>
              <a:gd name="connsiteY6548" fmla="*/ 1932471 h 6479439"/>
              <a:gd name="connsiteX6549" fmla="*/ 1918513 w 9586368"/>
              <a:gd name="connsiteY6549" fmla="*/ 1932471 h 6479439"/>
              <a:gd name="connsiteX6550" fmla="*/ 1914494 w 9586368"/>
              <a:gd name="connsiteY6550" fmla="*/ 1928432 h 6479439"/>
              <a:gd name="connsiteX6551" fmla="*/ 1914494 w 9586368"/>
              <a:gd name="connsiteY6551" fmla="*/ 1918562 h 6479439"/>
              <a:gd name="connsiteX6552" fmla="*/ 2157821 w 9586368"/>
              <a:gd name="connsiteY6552" fmla="*/ 1914520 h 6479439"/>
              <a:gd name="connsiteX6553" fmla="*/ 2167732 w 9586368"/>
              <a:gd name="connsiteY6553" fmla="*/ 1914520 h 6479439"/>
              <a:gd name="connsiteX6554" fmla="*/ 2171751 w 9586368"/>
              <a:gd name="connsiteY6554" fmla="*/ 1918558 h 6479439"/>
              <a:gd name="connsiteX6555" fmla="*/ 2171751 w 9586368"/>
              <a:gd name="connsiteY6555" fmla="*/ 1928428 h 6479439"/>
              <a:gd name="connsiteX6556" fmla="*/ 2167732 w 9586368"/>
              <a:gd name="connsiteY6556" fmla="*/ 1932467 h 6479439"/>
              <a:gd name="connsiteX6557" fmla="*/ 2157821 w 9586368"/>
              <a:gd name="connsiteY6557" fmla="*/ 1932467 h 6479439"/>
              <a:gd name="connsiteX6558" fmla="*/ 2153803 w 9586368"/>
              <a:gd name="connsiteY6558" fmla="*/ 1928428 h 6479439"/>
              <a:gd name="connsiteX6559" fmla="*/ 2153803 w 9586368"/>
              <a:gd name="connsiteY6559" fmla="*/ 1918558 h 6479439"/>
              <a:gd name="connsiteX6560" fmla="*/ 2871737 w 9586368"/>
              <a:gd name="connsiteY6560" fmla="*/ 1675350 h 6479439"/>
              <a:gd name="connsiteX6561" fmla="*/ 2881646 w 9586368"/>
              <a:gd name="connsiteY6561" fmla="*/ 1675350 h 6479439"/>
              <a:gd name="connsiteX6562" fmla="*/ 2885666 w 9586368"/>
              <a:gd name="connsiteY6562" fmla="*/ 1679389 h 6479439"/>
              <a:gd name="connsiteX6563" fmla="*/ 2885666 w 9586368"/>
              <a:gd name="connsiteY6563" fmla="*/ 1689260 h 6479439"/>
              <a:gd name="connsiteX6564" fmla="*/ 2881646 w 9586368"/>
              <a:gd name="connsiteY6564" fmla="*/ 1693299 h 6479439"/>
              <a:gd name="connsiteX6565" fmla="*/ 2871737 w 9586368"/>
              <a:gd name="connsiteY6565" fmla="*/ 1693299 h 6479439"/>
              <a:gd name="connsiteX6566" fmla="*/ 2867717 w 9586368"/>
              <a:gd name="connsiteY6566" fmla="*/ 1689260 h 6479439"/>
              <a:gd name="connsiteX6567" fmla="*/ 2867717 w 9586368"/>
              <a:gd name="connsiteY6567" fmla="*/ 1679389 h 6479439"/>
              <a:gd name="connsiteX6568" fmla="*/ 2632423 w 9586368"/>
              <a:gd name="connsiteY6568" fmla="*/ 1675350 h 6479439"/>
              <a:gd name="connsiteX6569" fmla="*/ 2642334 w 9586368"/>
              <a:gd name="connsiteY6569" fmla="*/ 1675350 h 6479439"/>
              <a:gd name="connsiteX6570" fmla="*/ 2646352 w 9586368"/>
              <a:gd name="connsiteY6570" fmla="*/ 1679389 h 6479439"/>
              <a:gd name="connsiteX6571" fmla="*/ 2646352 w 9586368"/>
              <a:gd name="connsiteY6571" fmla="*/ 1689260 h 6479439"/>
              <a:gd name="connsiteX6572" fmla="*/ 2642334 w 9586368"/>
              <a:gd name="connsiteY6572" fmla="*/ 1693299 h 6479439"/>
              <a:gd name="connsiteX6573" fmla="*/ 2632423 w 9586368"/>
              <a:gd name="connsiteY6573" fmla="*/ 1693299 h 6479439"/>
              <a:gd name="connsiteX6574" fmla="*/ 2628404 w 9586368"/>
              <a:gd name="connsiteY6574" fmla="*/ 1689260 h 6479439"/>
              <a:gd name="connsiteX6575" fmla="*/ 2628404 w 9586368"/>
              <a:gd name="connsiteY6575" fmla="*/ 1679389 h 6479439"/>
              <a:gd name="connsiteX6576" fmla="*/ 2393104 w 9586368"/>
              <a:gd name="connsiteY6576" fmla="*/ 1675350 h 6479439"/>
              <a:gd name="connsiteX6577" fmla="*/ 2403015 w 9586368"/>
              <a:gd name="connsiteY6577" fmla="*/ 1675350 h 6479439"/>
              <a:gd name="connsiteX6578" fmla="*/ 2407034 w 9586368"/>
              <a:gd name="connsiteY6578" fmla="*/ 1679389 h 6479439"/>
              <a:gd name="connsiteX6579" fmla="*/ 2407034 w 9586368"/>
              <a:gd name="connsiteY6579" fmla="*/ 1689260 h 6479439"/>
              <a:gd name="connsiteX6580" fmla="*/ 2403015 w 9586368"/>
              <a:gd name="connsiteY6580" fmla="*/ 1693299 h 6479439"/>
              <a:gd name="connsiteX6581" fmla="*/ 2393104 w 9586368"/>
              <a:gd name="connsiteY6581" fmla="*/ 1693299 h 6479439"/>
              <a:gd name="connsiteX6582" fmla="*/ 2389087 w 9586368"/>
              <a:gd name="connsiteY6582" fmla="*/ 1689260 h 6479439"/>
              <a:gd name="connsiteX6583" fmla="*/ 2389087 w 9586368"/>
              <a:gd name="connsiteY6583" fmla="*/ 1679389 h 6479439"/>
              <a:gd name="connsiteX6584" fmla="*/ 3350359 w 9586368"/>
              <a:gd name="connsiteY6584" fmla="*/ 1675349 h 6479439"/>
              <a:gd name="connsiteX6585" fmla="*/ 3360268 w 9586368"/>
              <a:gd name="connsiteY6585" fmla="*/ 1675349 h 6479439"/>
              <a:gd name="connsiteX6586" fmla="*/ 3364287 w 9586368"/>
              <a:gd name="connsiteY6586" fmla="*/ 1679388 h 6479439"/>
              <a:gd name="connsiteX6587" fmla="*/ 3364287 w 9586368"/>
              <a:gd name="connsiteY6587" fmla="*/ 1689260 h 6479439"/>
              <a:gd name="connsiteX6588" fmla="*/ 3360268 w 9586368"/>
              <a:gd name="connsiteY6588" fmla="*/ 1693298 h 6479439"/>
              <a:gd name="connsiteX6589" fmla="*/ 3350359 w 9586368"/>
              <a:gd name="connsiteY6589" fmla="*/ 1693298 h 6479439"/>
              <a:gd name="connsiteX6590" fmla="*/ 3346340 w 9586368"/>
              <a:gd name="connsiteY6590" fmla="*/ 1689260 h 6479439"/>
              <a:gd name="connsiteX6591" fmla="*/ 3346340 w 9586368"/>
              <a:gd name="connsiteY6591" fmla="*/ 1679388 h 6479439"/>
              <a:gd name="connsiteX6592" fmla="*/ 3111048 w 9586368"/>
              <a:gd name="connsiteY6592" fmla="*/ 1675349 h 6479439"/>
              <a:gd name="connsiteX6593" fmla="*/ 3120959 w 9586368"/>
              <a:gd name="connsiteY6593" fmla="*/ 1675349 h 6479439"/>
              <a:gd name="connsiteX6594" fmla="*/ 3124977 w 9586368"/>
              <a:gd name="connsiteY6594" fmla="*/ 1679388 h 6479439"/>
              <a:gd name="connsiteX6595" fmla="*/ 3124977 w 9586368"/>
              <a:gd name="connsiteY6595" fmla="*/ 1689260 h 6479439"/>
              <a:gd name="connsiteX6596" fmla="*/ 3120959 w 9586368"/>
              <a:gd name="connsiteY6596" fmla="*/ 1693299 h 6479439"/>
              <a:gd name="connsiteX6597" fmla="*/ 3111048 w 9586368"/>
              <a:gd name="connsiteY6597" fmla="*/ 1693299 h 6479439"/>
              <a:gd name="connsiteX6598" fmla="*/ 3107029 w 9586368"/>
              <a:gd name="connsiteY6598" fmla="*/ 1689260 h 6479439"/>
              <a:gd name="connsiteX6599" fmla="*/ 3107029 w 9586368"/>
              <a:gd name="connsiteY6599" fmla="*/ 1679388 h 6479439"/>
              <a:gd name="connsiteX6600" fmla="*/ 4068297 w 9586368"/>
              <a:gd name="connsiteY6600" fmla="*/ 1675334 h 6479439"/>
              <a:gd name="connsiteX6601" fmla="*/ 4078210 w 9586368"/>
              <a:gd name="connsiteY6601" fmla="*/ 1675334 h 6479439"/>
              <a:gd name="connsiteX6602" fmla="*/ 4082229 w 9586368"/>
              <a:gd name="connsiteY6602" fmla="*/ 1679373 h 6479439"/>
              <a:gd name="connsiteX6603" fmla="*/ 4082229 w 9586368"/>
              <a:gd name="connsiteY6603" fmla="*/ 1689243 h 6479439"/>
              <a:gd name="connsiteX6604" fmla="*/ 4078210 w 9586368"/>
              <a:gd name="connsiteY6604" fmla="*/ 1693282 h 6479439"/>
              <a:gd name="connsiteX6605" fmla="*/ 4068297 w 9586368"/>
              <a:gd name="connsiteY6605" fmla="*/ 1693282 h 6479439"/>
              <a:gd name="connsiteX6606" fmla="*/ 4064278 w 9586368"/>
              <a:gd name="connsiteY6606" fmla="*/ 1689243 h 6479439"/>
              <a:gd name="connsiteX6607" fmla="*/ 4064278 w 9586368"/>
              <a:gd name="connsiteY6607" fmla="*/ 1679373 h 6479439"/>
              <a:gd name="connsiteX6608" fmla="*/ 3828990 w 9586368"/>
              <a:gd name="connsiteY6608" fmla="*/ 1675334 h 6479439"/>
              <a:gd name="connsiteX6609" fmla="*/ 3838899 w 9586368"/>
              <a:gd name="connsiteY6609" fmla="*/ 1675334 h 6479439"/>
              <a:gd name="connsiteX6610" fmla="*/ 3842917 w 9586368"/>
              <a:gd name="connsiteY6610" fmla="*/ 1679373 h 6479439"/>
              <a:gd name="connsiteX6611" fmla="*/ 3842917 w 9586368"/>
              <a:gd name="connsiteY6611" fmla="*/ 1689243 h 6479439"/>
              <a:gd name="connsiteX6612" fmla="*/ 3838899 w 9586368"/>
              <a:gd name="connsiteY6612" fmla="*/ 1693282 h 6479439"/>
              <a:gd name="connsiteX6613" fmla="*/ 3828990 w 9586368"/>
              <a:gd name="connsiteY6613" fmla="*/ 1693282 h 6479439"/>
              <a:gd name="connsiteX6614" fmla="*/ 3824971 w 9586368"/>
              <a:gd name="connsiteY6614" fmla="*/ 1689243 h 6479439"/>
              <a:gd name="connsiteX6615" fmla="*/ 3824971 w 9586368"/>
              <a:gd name="connsiteY6615" fmla="*/ 1679373 h 6479439"/>
              <a:gd name="connsiteX6616" fmla="*/ 3589676 w 9586368"/>
              <a:gd name="connsiteY6616" fmla="*/ 1675334 h 6479439"/>
              <a:gd name="connsiteX6617" fmla="*/ 3599585 w 9586368"/>
              <a:gd name="connsiteY6617" fmla="*/ 1675334 h 6479439"/>
              <a:gd name="connsiteX6618" fmla="*/ 3603604 w 9586368"/>
              <a:gd name="connsiteY6618" fmla="*/ 1679373 h 6479439"/>
              <a:gd name="connsiteX6619" fmla="*/ 3603604 w 9586368"/>
              <a:gd name="connsiteY6619" fmla="*/ 1689243 h 6479439"/>
              <a:gd name="connsiteX6620" fmla="*/ 3599585 w 9586368"/>
              <a:gd name="connsiteY6620" fmla="*/ 1693282 h 6479439"/>
              <a:gd name="connsiteX6621" fmla="*/ 3589676 w 9586368"/>
              <a:gd name="connsiteY6621" fmla="*/ 1693282 h 6479439"/>
              <a:gd name="connsiteX6622" fmla="*/ 3585657 w 9586368"/>
              <a:gd name="connsiteY6622" fmla="*/ 1689243 h 6479439"/>
              <a:gd name="connsiteX6623" fmla="*/ 3585657 w 9586368"/>
              <a:gd name="connsiteY6623" fmla="*/ 1679373 h 6479439"/>
              <a:gd name="connsiteX6624" fmla="*/ 4546929 w 9586368"/>
              <a:gd name="connsiteY6624" fmla="*/ 1675333 h 6479439"/>
              <a:gd name="connsiteX6625" fmla="*/ 4556840 w 9586368"/>
              <a:gd name="connsiteY6625" fmla="*/ 1675333 h 6479439"/>
              <a:gd name="connsiteX6626" fmla="*/ 4560859 w 9586368"/>
              <a:gd name="connsiteY6626" fmla="*/ 1679372 h 6479439"/>
              <a:gd name="connsiteX6627" fmla="*/ 4560859 w 9586368"/>
              <a:gd name="connsiteY6627" fmla="*/ 1689243 h 6479439"/>
              <a:gd name="connsiteX6628" fmla="*/ 4556840 w 9586368"/>
              <a:gd name="connsiteY6628" fmla="*/ 1693281 h 6479439"/>
              <a:gd name="connsiteX6629" fmla="*/ 4546929 w 9586368"/>
              <a:gd name="connsiteY6629" fmla="*/ 1693281 h 6479439"/>
              <a:gd name="connsiteX6630" fmla="*/ 4542910 w 9586368"/>
              <a:gd name="connsiteY6630" fmla="*/ 1689243 h 6479439"/>
              <a:gd name="connsiteX6631" fmla="*/ 4542910 w 9586368"/>
              <a:gd name="connsiteY6631" fmla="*/ 1679372 h 6479439"/>
              <a:gd name="connsiteX6632" fmla="*/ 4307612 w 9586368"/>
              <a:gd name="connsiteY6632" fmla="*/ 1675333 h 6479439"/>
              <a:gd name="connsiteX6633" fmla="*/ 4317523 w 9586368"/>
              <a:gd name="connsiteY6633" fmla="*/ 1675333 h 6479439"/>
              <a:gd name="connsiteX6634" fmla="*/ 4321543 w 9586368"/>
              <a:gd name="connsiteY6634" fmla="*/ 1679372 h 6479439"/>
              <a:gd name="connsiteX6635" fmla="*/ 4321543 w 9586368"/>
              <a:gd name="connsiteY6635" fmla="*/ 1689243 h 6479439"/>
              <a:gd name="connsiteX6636" fmla="*/ 4317523 w 9586368"/>
              <a:gd name="connsiteY6636" fmla="*/ 1693282 h 6479439"/>
              <a:gd name="connsiteX6637" fmla="*/ 4307612 w 9586368"/>
              <a:gd name="connsiteY6637" fmla="*/ 1693282 h 6479439"/>
              <a:gd name="connsiteX6638" fmla="*/ 4303595 w 9586368"/>
              <a:gd name="connsiteY6638" fmla="*/ 1689243 h 6479439"/>
              <a:gd name="connsiteX6639" fmla="*/ 4303595 w 9586368"/>
              <a:gd name="connsiteY6639" fmla="*/ 1679372 h 6479439"/>
              <a:gd name="connsiteX6640" fmla="*/ 5264784 w 9586368"/>
              <a:gd name="connsiteY6640" fmla="*/ 1675318 h 6479439"/>
              <a:gd name="connsiteX6641" fmla="*/ 5274694 w 9586368"/>
              <a:gd name="connsiteY6641" fmla="*/ 1675318 h 6479439"/>
              <a:gd name="connsiteX6642" fmla="*/ 5278713 w 9586368"/>
              <a:gd name="connsiteY6642" fmla="*/ 1679357 h 6479439"/>
              <a:gd name="connsiteX6643" fmla="*/ 5278713 w 9586368"/>
              <a:gd name="connsiteY6643" fmla="*/ 1689227 h 6479439"/>
              <a:gd name="connsiteX6644" fmla="*/ 5274694 w 9586368"/>
              <a:gd name="connsiteY6644" fmla="*/ 1693266 h 6479439"/>
              <a:gd name="connsiteX6645" fmla="*/ 5264784 w 9586368"/>
              <a:gd name="connsiteY6645" fmla="*/ 1693266 h 6479439"/>
              <a:gd name="connsiteX6646" fmla="*/ 5260765 w 9586368"/>
              <a:gd name="connsiteY6646" fmla="*/ 1689227 h 6479439"/>
              <a:gd name="connsiteX6647" fmla="*/ 5260765 w 9586368"/>
              <a:gd name="connsiteY6647" fmla="*/ 1679357 h 6479439"/>
              <a:gd name="connsiteX6648" fmla="*/ 5025470 w 9586368"/>
              <a:gd name="connsiteY6648" fmla="*/ 1675318 h 6479439"/>
              <a:gd name="connsiteX6649" fmla="*/ 5035381 w 9586368"/>
              <a:gd name="connsiteY6649" fmla="*/ 1675318 h 6479439"/>
              <a:gd name="connsiteX6650" fmla="*/ 5039400 w 9586368"/>
              <a:gd name="connsiteY6650" fmla="*/ 1679357 h 6479439"/>
              <a:gd name="connsiteX6651" fmla="*/ 5039400 w 9586368"/>
              <a:gd name="connsiteY6651" fmla="*/ 1689227 h 6479439"/>
              <a:gd name="connsiteX6652" fmla="*/ 5035381 w 9586368"/>
              <a:gd name="connsiteY6652" fmla="*/ 1693266 h 6479439"/>
              <a:gd name="connsiteX6653" fmla="*/ 5025470 w 9586368"/>
              <a:gd name="connsiteY6653" fmla="*/ 1693266 h 6479439"/>
              <a:gd name="connsiteX6654" fmla="*/ 5021451 w 9586368"/>
              <a:gd name="connsiteY6654" fmla="*/ 1689227 h 6479439"/>
              <a:gd name="connsiteX6655" fmla="*/ 5021451 w 9586368"/>
              <a:gd name="connsiteY6655" fmla="*/ 1679357 h 6479439"/>
              <a:gd name="connsiteX6656" fmla="*/ 4786241 w 9586368"/>
              <a:gd name="connsiteY6656" fmla="*/ 1675318 h 6479439"/>
              <a:gd name="connsiteX6657" fmla="*/ 4796152 w 9586368"/>
              <a:gd name="connsiteY6657" fmla="*/ 1675318 h 6479439"/>
              <a:gd name="connsiteX6658" fmla="*/ 4800171 w 9586368"/>
              <a:gd name="connsiteY6658" fmla="*/ 1679357 h 6479439"/>
              <a:gd name="connsiteX6659" fmla="*/ 4800171 w 9586368"/>
              <a:gd name="connsiteY6659" fmla="*/ 1689227 h 6479439"/>
              <a:gd name="connsiteX6660" fmla="*/ 4796152 w 9586368"/>
              <a:gd name="connsiteY6660" fmla="*/ 1693266 h 6479439"/>
              <a:gd name="connsiteX6661" fmla="*/ 4786241 w 9586368"/>
              <a:gd name="connsiteY6661" fmla="*/ 1693266 h 6479439"/>
              <a:gd name="connsiteX6662" fmla="*/ 4782224 w 9586368"/>
              <a:gd name="connsiteY6662" fmla="*/ 1689227 h 6479439"/>
              <a:gd name="connsiteX6663" fmla="*/ 4782224 w 9586368"/>
              <a:gd name="connsiteY6663" fmla="*/ 1679357 h 6479439"/>
              <a:gd name="connsiteX6664" fmla="*/ 5743412 w 9586368"/>
              <a:gd name="connsiteY6664" fmla="*/ 1675316 h 6479439"/>
              <a:gd name="connsiteX6665" fmla="*/ 5753323 w 9586368"/>
              <a:gd name="connsiteY6665" fmla="*/ 1675316 h 6479439"/>
              <a:gd name="connsiteX6666" fmla="*/ 5757342 w 9586368"/>
              <a:gd name="connsiteY6666" fmla="*/ 1679356 h 6479439"/>
              <a:gd name="connsiteX6667" fmla="*/ 5757342 w 9586368"/>
              <a:gd name="connsiteY6667" fmla="*/ 1689227 h 6479439"/>
              <a:gd name="connsiteX6668" fmla="*/ 5753323 w 9586368"/>
              <a:gd name="connsiteY6668" fmla="*/ 1693266 h 6479439"/>
              <a:gd name="connsiteX6669" fmla="*/ 5743412 w 9586368"/>
              <a:gd name="connsiteY6669" fmla="*/ 1693266 h 6479439"/>
              <a:gd name="connsiteX6670" fmla="*/ 5739393 w 9586368"/>
              <a:gd name="connsiteY6670" fmla="*/ 1689227 h 6479439"/>
              <a:gd name="connsiteX6671" fmla="*/ 5739393 w 9586368"/>
              <a:gd name="connsiteY6671" fmla="*/ 1679356 h 6479439"/>
              <a:gd name="connsiteX6672" fmla="*/ 5504099 w 9586368"/>
              <a:gd name="connsiteY6672" fmla="*/ 1675316 h 6479439"/>
              <a:gd name="connsiteX6673" fmla="*/ 5514010 w 9586368"/>
              <a:gd name="connsiteY6673" fmla="*/ 1675316 h 6479439"/>
              <a:gd name="connsiteX6674" fmla="*/ 5518029 w 9586368"/>
              <a:gd name="connsiteY6674" fmla="*/ 1679356 h 6479439"/>
              <a:gd name="connsiteX6675" fmla="*/ 5518029 w 9586368"/>
              <a:gd name="connsiteY6675" fmla="*/ 1689227 h 6479439"/>
              <a:gd name="connsiteX6676" fmla="*/ 5514010 w 9586368"/>
              <a:gd name="connsiteY6676" fmla="*/ 1693266 h 6479439"/>
              <a:gd name="connsiteX6677" fmla="*/ 5504099 w 9586368"/>
              <a:gd name="connsiteY6677" fmla="*/ 1693266 h 6479439"/>
              <a:gd name="connsiteX6678" fmla="*/ 5500080 w 9586368"/>
              <a:gd name="connsiteY6678" fmla="*/ 1689227 h 6479439"/>
              <a:gd name="connsiteX6679" fmla="*/ 5500080 w 9586368"/>
              <a:gd name="connsiteY6679" fmla="*/ 1679356 h 6479439"/>
              <a:gd name="connsiteX6680" fmla="*/ 6461356 w 9586368"/>
              <a:gd name="connsiteY6680" fmla="*/ 1675301 h 6479439"/>
              <a:gd name="connsiteX6681" fmla="*/ 6471266 w 9586368"/>
              <a:gd name="connsiteY6681" fmla="*/ 1675301 h 6479439"/>
              <a:gd name="connsiteX6682" fmla="*/ 6475285 w 9586368"/>
              <a:gd name="connsiteY6682" fmla="*/ 1679339 h 6479439"/>
              <a:gd name="connsiteX6683" fmla="*/ 6475285 w 9586368"/>
              <a:gd name="connsiteY6683" fmla="*/ 1689210 h 6479439"/>
              <a:gd name="connsiteX6684" fmla="*/ 6471266 w 9586368"/>
              <a:gd name="connsiteY6684" fmla="*/ 1693249 h 6479439"/>
              <a:gd name="connsiteX6685" fmla="*/ 6461356 w 9586368"/>
              <a:gd name="connsiteY6685" fmla="*/ 1693249 h 6479439"/>
              <a:gd name="connsiteX6686" fmla="*/ 6457337 w 9586368"/>
              <a:gd name="connsiteY6686" fmla="*/ 1689210 h 6479439"/>
              <a:gd name="connsiteX6687" fmla="*/ 6457337 w 9586368"/>
              <a:gd name="connsiteY6687" fmla="*/ 1679339 h 6479439"/>
              <a:gd name="connsiteX6688" fmla="*/ 6222042 w 9586368"/>
              <a:gd name="connsiteY6688" fmla="*/ 1675301 h 6479439"/>
              <a:gd name="connsiteX6689" fmla="*/ 6231952 w 9586368"/>
              <a:gd name="connsiteY6689" fmla="*/ 1675301 h 6479439"/>
              <a:gd name="connsiteX6690" fmla="*/ 6235971 w 9586368"/>
              <a:gd name="connsiteY6690" fmla="*/ 1679339 h 6479439"/>
              <a:gd name="connsiteX6691" fmla="*/ 6235971 w 9586368"/>
              <a:gd name="connsiteY6691" fmla="*/ 1689211 h 6479439"/>
              <a:gd name="connsiteX6692" fmla="*/ 6231952 w 9586368"/>
              <a:gd name="connsiteY6692" fmla="*/ 1693249 h 6479439"/>
              <a:gd name="connsiteX6693" fmla="*/ 6222042 w 9586368"/>
              <a:gd name="connsiteY6693" fmla="*/ 1693249 h 6479439"/>
              <a:gd name="connsiteX6694" fmla="*/ 6218023 w 9586368"/>
              <a:gd name="connsiteY6694" fmla="*/ 1689211 h 6479439"/>
              <a:gd name="connsiteX6695" fmla="*/ 6218023 w 9586368"/>
              <a:gd name="connsiteY6695" fmla="*/ 1679339 h 6479439"/>
              <a:gd name="connsiteX6696" fmla="*/ 5982729 w 9586368"/>
              <a:gd name="connsiteY6696" fmla="*/ 1675301 h 6479439"/>
              <a:gd name="connsiteX6697" fmla="*/ 5992639 w 9586368"/>
              <a:gd name="connsiteY6697" fmla="*/ 1675301 h 6479439"/>
              <a:gd name="connsiteX6698" fmla="*/ 5996658 w 9586368"/>
              <a:gd name="connsiteY6698" fmla="*/ 1679339 h 6479439"/>
              <a:gd name="connsiteX6699" fmla="*/ 5996658 w 9586368"/>
              <a:gd name="connsiteY6699" fmla="*/ 1689211 h 6479439"/>
              <a:gd name="connsiteX6700" fmla="*/ 5992639 w 9586368"/>
              <a:gd name="connsiteY6700" fmla="*/ 1693251 h 6479439"/>
              <a:gd name="connsiteX6701" fmla="*/ 5982729 w 9586368"/>
              <a:gd name="connsiteY6701" fmla="*/ 1693251 h 6479439"/>
              <a:gd name="connsiteX6702" fmla="*/ 5978710 w 9586368"/>
              <a:gd name="connsiteY6702" fmla="*/ 1689211 h 6479439"/>
              <a:gd name="connsiteX6703" fmla="*/ 5978710 w 9586368"/>
              <a:gd name="connsiteY6703" fmla="*/ 1679339 h 6479439"/>
              <a:gd name="connsiteX6704" fmla="*/ 6939983 w 9586368"/>
              <a:gd name="connsiteY6704" fmla="*/ 1675300 h 6479439"/>
              <a:gd name="connsiteX6705" fmla="*/ 6949894 w 9586368"/>
              <a:gd name="connsiteY6705" fmla="*/ 1675300 h 6479439"/>
              <a:gd name="connsiteX6706" fmla="*/ 6953913 w 9586368"/>
              <a:gd name="connsiteY6706" fmla="*/ 1679339 h 6479439"/>
              <a:gd name="connsiteX6707" fmla="*/ 6953913 w 9586368"/>
              <a:gd name="connsiteY6707" fmla="*/ 1689210 h 6479439"/>
              <a:gd name="connsiteX6708" fmla="*/ 6949894 w 9586368"/>
              <a:gd name="connsiteY6708" fmla="*/ 1693249 h 6479439"/>
              <a:gd name="connsiteX6709" fmla="*/ 6939983 w 9586368"/>
              <a:gd name="connsiteY6709" fmla="*/ 1693249 h 6479439"/>
              <a:gd name="connsiteX6710" fmla="*/ 6935964 w 9586368"/>
              <a:gd name="connsiteY6710" fmla="*/ 1689210 h 6479439"/>
              <a:gd name="connsiteX6711" fmla="*/ 6935964 w 9586368"/>
              <a:gd name="connsiteY6711" fmla="*/ 1679339 h 6479439"/>
              <a:gd name="connsiteX6712" fmla="*/ 6700670 w 9586368"/>
              <a:gd name="connsiteY6712" fmla="*/ 1675300 h 6479439"/>
              <a:gd name="connsiteX6713" fmla="*/ 6710581 w 9586368"/>
              <a:gd name="connsiteY6713" fmla="*/ 1675300 h 6479439"/>
              <a:gd name="connsiteX6714" fmla="*/ 6714600 w 9586368"/>
              <a:gd name="connsiteY6714" fmla="*/ 1679339 h 6479439"/>
              <a:gd name="connsiteX6715" fmla="*/ 6714600 w 9586368"/>
              <a:gd name="connsiteY6715" fmla="*/ 1689210 h 6479439"/>
              <a:gd name="connsiteX6716" fmla="*/ 6710581 w 9586368"/>
              <a:gd name="connsiteY6716" fmla="*/ 1693249 h 6479439"/>
              <a:gd name="connsiteX6717" fmla="*/ 6700670 w 9586368"/>
              <a:gd name="connsiteY6717" fmla="*/ 1693249 h 6479439"/>
              <a:gd name="connsiteX6718" fmla="*/ 6696651 w 9586368"/>
              <a:gd name="connsiteY6718" fmla="*/ 1689210 h 6479439"/>
              <a:gd name="connsiteX6719" fmla="*/ 6696651 w 9586368"/>
              <a:gd name="connsiteY6719" fmla="*/ 1679339 h 6479439"/>
              <a:gd name="connsiteX6720" fmla="*/ 8136553 w 9586368"/>
              <a:gd name="connsiteY6720" fmla="*/ 1675285 h 6479439"/>
              <a:gd name="connsiteX6721" fmla="*/ 8146464 w 9586368"/>
              <a:gd name="connsiteY6721" fmla="*/ 1675285 h 6479439"/>
              <a:gd name="connsiteX6722" fmla="*/ 8150483 w 9586368"/>
              <a:gd name="connsiteY6722" fmla="*/ 1679323 h 6479439"/>
              <a:gd name="connsiteX6723" fmla="*/ 8150483 w 9586368"/>
              <a:gd name="connsiteY6723" fmla="*/ 1689193 h 6479439"/>
              <a:gd name="connsiteX6724" fmla="*/ 8146464 w 9586368"/>
              <a:gd name="connsiteY6724" fmla="*/ 1693232 h 6479439"/>
              <a:gd name="connsiteX6725" fmla="*/ 8136553 w 9586368"/>
              <a:gd name="connsiteY6725" fmla="*/ 1693232 h 6479439"/>
              <a:gd name="connsiteX6726" fmla="*/ 8132534 w 9586368"/>
              <a:gd name="connsiteY6726" fmla="*/ 1689193 h 6479439"/>
              <a:gd name="connsiteX6727" fmla="*/ 8132534 w 9586368"/>
              <a:gd name="connsiteY6727" fmla="*/ 1679323 h 6479439"/>
              <a:gd name="connsiteX6728" fmla="*/ 7897241 w 9586368"/>
              <a:gd name="connsiteY6728" fmla="*/ 1675285 h 6479439"/>
              <a:gd name="connsiteX6729" fmla="*/ 7907151 w 9586368"/>
              <a:gd name="connsiteY6729" fmla="*/ 1675285 h 6479439"/>
              <a:gd name="connsiteX6730" fmla="*/ 7911170 w 9586368"/>
              <a:gd name="connsiteY6730" fmla="*/ 1679323 h 6479439"/>
              <a:gd name="connsiteX6731" fmla="*/ 7911170 w 9586368"/>
              <a:gd name="connsiteY6731" fmla="*/ 1689193 h 6479439"/>
              <a:gd name="connsiteX6732" fmla="*/ 7907151 w 9586368"/>
              <a:gd name="connsiteY6732" fmla="*/ 1693232 h 6479439"/>
              <a:gd name="connsiteX6733" fmla="*/ 7897241 w 9586368"/>
              <a:gd name="connsiteY6733" fmla="*/ 1693232 h 6479439"/>
              <a:gd name="connsiteX6734" fmla="*/ 7893222 w 9586368"/>
              <a:gd name="connsiteY6734" fmla="*/ 1689193 h 6479439"/>
              <a:gd name="connsiteX6735" fmla="*/ 7893222 w 9586368"/>
              <a:gd name="connsiteY6735" fmla="*/ 1679323 h 6479439"/>
              <a:gd name="connsiteX6736" fmla="*/ 7657926 w 9586368"/>
              <a:gd name="connsiteY6736" fmla="*/ 1675285 h 6479439"/>
              <a:gd name="connsiteX6737" fmla="*/ 7667836 w 9586368"/>
              <a:gd name="connsiteY6737" fmla="*/ 1675285 h 6479439"/>
              <a:gd name="connsiteX6738" fmla="*/ 7671855 w 9586368"/>
              <a:gd name="connsiteY6738" fmla="*/ 1679323 h 6479439"/>
              <a:gd name="connsiteX6739" fmla="*/ 7671855 w 9586368"/>
              <a:gd name="connsiteY6739" fmla="*/ 1689193 h 6479439"/>
              <a:gd name="connsiteX6740" fmla="*/ 7667836 w 9586368"/>
              <a:gd name="connsiteY6740" fmla="*/ 1693232 h 6479439"/>
              <a:gd name="connsiteX6741" fmla="*/ 7657926 w 9586368"/>
              <a:gd name="connsiteY6741" fmla="*/ 1693232 h 6479439"/>
              <a:gd name="connsiteX6742" fmla="*/ 7653906 w 9586368"/>
              <a:gd name="connsiteY6742" fmla="*/ 1689193 h 6479439"/>
              <a:gd name="connsiteX6743" fmla="*/ 7653906 w 9586368"/>
              <a:gd name="connsiteY6743" fmla="*/ 1679323 h 6479439"/>
              <a:gd name="connsiteX6744" fmla="*/ 7418611 w 9586368"/>
              <a:gd name="connsiteY6744" fmla="*/ 1675285 h 6479439"/>
              <a:gd name="connsiteX6745" fmla="*/ 7428521 w 9586368"/>
              <a:gd name="connsiteY6745" fmla="*/ 1675285 h 6479439"/>
              <a:gd name="connsiteX6746" fmla="*/ 7432540 w 9586368"/>
              <a:gd name="connsiteY6746" fmla="*/ 1679323 h 6479439"/>
              <a:gd name="connsiteX6747" fmla="*/ 7432540 w 9586368"/>
              <a:gd name="connsiteY6747" fmla="*/ 1689195 h 6479439"/>
              <a:gd name="connsiteX6748" fmla="*/ 7428521 w 9586368"/>
              <a:gd name="connsiteY6748" fmla="*/ 1693232 h 6479439"/>
              <a:gd name="connsiteX6749" fmla="*/ 7418611 w 9586368"/>
              <a:gd name="connsiteY6749" fmla="*/ 1693232 h 6479439"/>
              <a:gd name="connsiteX6750" fmla="*/ 7414592 w 9586368"/>
              <a:gd name="connsiteY6750" fmla="*/ 1689195 h 6479439"/>
              <a:gd name="connsiteX6751" fmla="*/ 7414592 w 9586368"/>
              <a:gd name="connsiteY6751" fmla="*/ 1679323 h 6479439"/>
              <a:gd name="connsiteX6752" fmla="*/ 7179298 w 9586368"/>
              <a:gd name="connsiteY6752" fmla="*/ 1675285 h 6479439"/>
              <a:gd name="connsiteX6753" fmla="*/ 7189209 w 9586368"/>
              <a:gd name="connsiteY6753" fmla="*/ 1675285 h 6479439"/>
              <a:gd name="connsiteX6754" fmla="*/ 7193228 w 9586368"/>
              <a:gd name="connsiteY6754" fmla="*/ 1679323 h 6479439"/>
              <a:gd name="connsiteX6755" fmla="*/ 7193228 w 9586368"/>
              <a:gd name="connsiteY6755" fmla="*/ 1689195 h 6479439"/>
              <a:gd name="connsiteX6756" fmla="*/ 7189209 w 9586368"/>
              <a:gd name="connsiteY6756" fmla="*/ 1693234 h 6479439"/>
              <a:gd name="connsiteX6757" fmla="*/ 7179298 w 9586368"/>
              <a:gd name="connsiteY6757" fmla="*/ 1693234 h 6479439"/>
              <a:gd name="connsiteX6758" fmla="*/ 7175279 w 9586368"/>
              <a:gd name="connsiteY6758" fmla="*/ 1689195 h 6479439"/>
              <a:gd name="connsiteX6759" fmla="*/ 7175279 w 9586368"/>
              <a:gd name="connsiteY6759" fmla="*/ 1679323 h 6479439"/>
              <a:gd name="connsiteX6760" fmla="*/ 9333125 w 9586368"/>
              <a:gd name="connsiteY6760" fmla="*/ 1675268 h 6479439"/>
              <a:gd name="connsiteX6761" fmla="*/ 9343036 w 9586368"/>
              <a:gd name="connsiteY6761" fmla="*/ 1675268 h 6479439"/>
              <a:gd name="connsiteX6762" fmla="*/ 9347055 w 9586368"/>
              <a:gd name="connsiteY6762" fmla="*/ 1679306 h 6479439"/>
              <a:gd name="connsiteX6763" fmla="*/ 9347055 w 9586368"/>
              <a:gd name="connsiteY6763" fmla="*/ 1689177 h 6479439"/>
              <a:gd name="connsiteX6764" fmla="*/ 9343036 w 9586368"/>
              <a:gd name="connsiteY6764" fmla="*/ 1693216 h 6479439"/>
              <a:gd name="connsiteX6765" fmla="*/ 9333125 w 9586368"/>
              <a:gd name="connsiteY6765" fmla="*/ 1693216 h 6479439"/>
              <a:gd name="connsiteX6766" fmla="*/ 9329106 w 9586368"/>
              <a:gd name="connsiteY6766" fmla="*/ 1689177 h 6479439"/>
              <a:gd name="connsiteX6767" fmla="*/ 9329106 w 9586368"/>
              <a:gd name="connsiteY6767" fmla="*/ 1679306 h 6479439"/>
              <a:gd name="connsiteX6768" fmla="*/ 9093811 w 9586368"/>
              <a:gd name="connsiteY6768" fmla="*/ 1675268 h 6479439"/>
              <a:gd name="connsiteX6769" fmla="*/ 9103722 w 9586368"/>
              <a:gd name="connsiteY6769" fmla="*/ 1675268 h 6479439"/>
              <a:gd name="connsiteX6770" fmla="*/ 9107741 w 9586368"/>
              <a:gd name="connsiteY6770" fmla="*/ 1679306 h 6479439"/>
              <a:gd name="connsiteX6771" fmla="*/ 9107741 w 9586368"/>
              <a:gd name="connsiteY6771" fmla="*/ 1689177 h 6479439"/>
              <a:gd name="connsiteX6772" fmla="*/ 9103722 w 9586368"/>
              <a:gd name="connsiteY6772" fmla="*/ 1693217 h 6479439"/>
              <a:gd name="connsiteX6773" fmla="*/ 9093811 w 9586368"/>
              <a:gd name="connsiteY6773" fmla="*/ 1693217 h 6479439"/>
              <a:gd name="connsiteX6774" fmla="*/ 9089792 w 9586368"/>
              <a:gd name="connsiteY6774" fmla="*/ 1689177 h 6479439"/>
              <a:gd name="connsiteX6775" fmla="*/ 9089792 w 9586368"/>
              <a:gd name="connsiteY6775" fmla="*/ 1679306 h 6479439"/>
              <a:gd name="connsiteX6776" fmla="*/ 8854496 w 9586368"/>
              <a:gd name="connsiteY6776" fmla="*/ 1675268 h 6479439"/>
              <a:gd name="connsiteX6777" fmla="*/ 8864407 w 9586368"/>
              <a:gd name="connsiteY6777" fmla="*/ 1675268 h 6479439"/>
              <a:gd name="connsiteX6778" fmla="*/ 8868426 w 9586368"/>
              <a:gd name="connsiteY6778" fmla="*/ 1679307 h 6479439"/>
              <a:gd name="connsiteX6779" fmla="*/ 8868426 w 9586368"/>
              <a:gd name="connsiteY6779" fmla="*/ 1689177 h 6479439"/>
              <a:gd name="connsiteX6780" fmla="*/ 8864407 w 9586368"/>
              <a:gd name="connsiteY6780" fmla="*/ 1693217 h 6479439"/>
              <a:gd name="connsiteX6781" fmla="*/ 8854496 w 9586368"/>
              <a:gd name="connsiteY6781" fmla="*/ 1693217 h 6479439"/>
              <a:gd name="connsiteX6782" fmla="*/ 8850477 w 9586368"/>
              <a:gd name="connsiteY6782" fmla="*/ 1689177 h 6479439"/>
              <a:gd name="connsiteX6783" fmla="*/ 8850477 w 9586368"/>
              <a:gd name="connsiteY6783" fmla="*/ 1679307 h 6479439"/>
              <a:gd name="connsiteX6784" fmla="*/ 8615184 w 9586368"/>
              <a:gd name="connsiteY6784" fmla="*/ 1675268 h 6479439"/>
              <a:gd name="connsiteX6785" fmla="*/ 8625095 w 9586368"/>
              <a:gd name="connsiteY6785" fmla="*/ 1675268 h 6479439"/>
              <a:gd name="connsiteX6786" fmla="*/ 8629114 w 9586368"/>
              <a:gd name="connsiteY6786" fmla="*/ 1679307 h 6479439"/>
              <a:gd name="connsiteX6787" fmla="*/ 8629114 w 9586368"/>
              <a:gd name="connsiteY6787" fmla="*/ 1689178 h 6479439"/>
              <a:gd name="connsiteX6788" fmla="*/ 8625095 w 9586368"/>
              <a:gd name="connsiteY6788" fmla="*/ 1693217 h 6479439"/>
              <a:gd name="connsiteX6789" fmla="*/ 8615184 w 9586368"/>
              <a:gd name="connsiteY6789" fmla="*/ 1693217 h 6479439"/>
              <a:gd name="connsiteX6790" fmla="*/ 8611165 w 9586368"/>
              <a:gd name="connsiteY6790" fmla="*/ 1689178 h 6479439"/>
              <a:gd name="connsiteX6791" fmla="*/ 8611165 w 9586368"/>
              <a:gd name="connsiteY6791" fmla="*/ 1679307 h 6479439"/>
              <a:gd name="connsiteX6792" fmla="*/ 8375869 w 9586368"/>
              <a:gd name="connsiteY6792" fmla="*/ 1675268 h 6479439"/>
              <a:gd name="connsiteX6793" fmla="*/ 8385779 w 9586368"/>
              <a:gd name="connsiteY6793" fmla="*/ 1675268 h 6479439"/>
              <a:gd name="connsiteX6794" fmla="*/ 8389799 w 9586368"/>
              <a:gd name="connsiteY6794" fmla="*/ 1679307 h 6479439"/>
              <a:gd name="connsiteX6795" fmla="*/ 8389799 w 9586368"/>
              <a:gd name="connsiteY6795" fmla="*/ 1689178 h 6479439"/>
              <a:gd name="connsiteX6796" fmla="*/ 8385779 w 9586368"/>
              <a:gd name="connsiteY6796" fmla="*/ 1693217 h 6479439"/>
              <a:gd name="connsiteX6797" fmla="*/ 8375869 w 9586368"/>
              <a:gd name="connsiteY6797" fmla="*/ 1693217 h 6479439"/>
              <a:gd name="connsiteX6798" fmla="*/ 8371850 w 9586368"/>
              <a:gd name="connsiteY6798" fmla="*/ 1689178 h 6479439"/>
              <a:gd name="connsiteX6799" fmla="*/ 8371850 w 9586368"/>
              <a:gd name="connsiteY6799" fmla="*/ 1679307 h 6479439"/>
              <a:gd name="connsiteX6800" fmla="*/ 961270 w 9586368"/>
              <a:gd name="connsiteY6800" fmla="*/ 1675255 h 6479439"/>
              <a:gd name="connsiteX6801" fmla="*/ 971180 w 9586368"/>
              <a:gd name="connsiteY6801" fmla="*/ 1675255 h 6479439"/>
              <a:gd name="connsiteX6802" fmla="*/ 975199 w 9586368"/>
              <a:gd name="connsiteY6802" fmla="*/ 1679292 h 6479439"/>
              <a:gd name="connsiteX6803" fmla="*/ 975199 w 9586368"/>
              <a:gd name="connsiteY6803" fmla="*/ 1689163 h 6479439"/>
              <a:gd name="connsiteX6804" fmla="*/ 971180 w 9586368"/>
              <a:gd name="connsiteY6804" fmla="*/ 1693202 h 6479439"/>
              <a:gd name="connsiteX6805" fmla="*/ 961270 w 9586368"/>
              <a:gd name="connsiteY6805" fmla="*/ 1693202 h 6479439"/>
              <a:gd name="connsiteX6806" fmla="*/ 957251 w 9586368"/>
              <a:gd name="connsiteY6806" fmla="*/ 1689163 h 6479439"/>
              <a:gd name="connsiteX6807" fmla="*/ 957251 w 9586368"/>
              <a:gd name="connsiteY6807" fmla="*/ 1679292 h 6479439"/>
              <a:gd name="connsiteX6808" fmla="*/ 1679215 w 9586368"/>
              <a:gd name="connsiteY6808" fmla="*/ 1675254 h 6479439"/>
              <a:gd name="connsiteX6809" fmla="*/ 1689126 w 9586368"/>
              <a:gd name="connsiteY6809" fmla="*/ 1675254 h 6479439"/>
              <a:gd name="connsiteX6810" fmla="*/ 1693145 w 9586368"/>
              <a:gd name="connsiteY6810" fmla="*/ 1679292 h 6479439"/>
              <a:gd name="connsiteX6811" fmla="*/ 1693145 w 9586368"/>
              <a:gd name="connsiteY6811" fmla="*/ 1689163 h 6479439"/>
              <a:gd name="connsiteX6812" fmla="*/ 1689126 w 9586368"/>
              <a:gd name="connsiteY6812" fmla="*/ 1693202 h 6479439"/>
              <a:gd name="connsiteX6813" fmla="*/ 1679215 w 9586368"/>
              <a:gd name="connsiteY6813" fmla="*/ 1693202 h 6479439"/>
              <a:gd name="connsiteX6814" fmla="*/ 1675196 w 9586368"/>
              <a:gd name="connsiteY6814" fmla="*/ 1689163 h 6479439"/>
              <a:gd name="connsiteX6815" fmla="*/ 1675196 w 9586368"/>
              <a:gd name="connsiteY6815" fmla="*/ 1679292 h 6479439"/>
              <a:gd name="connsiteX6816" fmla="*/ 1439898 w 9586368"/>
              <a:gd name="connsiteY6816" fmla="*/ 1675254 h 6479439"/>
              <a:gd name="connsiteX6817" fmla="*/ 1449808 w 9586368"/>
              <a:gd name="connsiteY6817" fmla="*/ 1675254 h 6479439"/>
              <a:gd name="connsiteX6818" fmla="*/ 1453828 w 9586368"/>
              <a:gd name="connsiteY6818" fmla="*/ 1679292 h 6479439"/>
              <a:gd name="connsiteX6819" fmla="*/ 1453828 w 9586368"/>
              <a:gd name="connsiteY6819" fmla="*/ 1689163 h 6479439"/>
              <a:gd name="connsiteX6820" fmla="*/ 1449808 w 9586368"/>
              <a:gd name="connsiteY6820" fmla="*/ 1693202 h 6479439"/>
              <a:gd name="connsiteX6821" fmla="*/ 1439898 w 9586368"/>
              <a:gd name="connsiteY6821" fmla="*/ 1693202 h 6479439"/>
              <a:gd name="connsiteX6822" fmla="*/ 1435880 w 9586368"/>
              <a:gd name="connsiteY6822" fmla="*/ 1689163 h 6479439"/>
              <a:gd name="connsiteX6823" fmla="*/ 1435880 w 9586368"/>
              <a:gd name="connsiteY6823" fmla="*/ 1679292 h 6479439"/>
              <a:gd name="connsiteX6824" fmla="*/ 1200583 w 9586368"/>
              <a:gd name="connsiteY6824" fmla="*/ 1675254 h 6479439"/>
              <a:gd name="connsiteX6825" fmla="*/ 1210493 w 9586368"/>
              <a:gd name="connsiteY6825" fmla="*/ 1675254 h 6479439"/>
              <a:gd name="connsiteX6826" fmla="*/ 1214511 w 9586368"/>
              <a:gd name="connsiteY6826" fmla="*/ 1679292 h 6479439"/>
              <a:gd name="connsiteX6827" fmla="*/ 1214511 w 9586368"/>
              <a:gd name="connsiteY6827" fmla="*/ 1689163 h 6479439"/>
              <a:gd name="connsiteX6828" fmla="*/ 1210493 w 9586368"/>
              <a:gd name="connsiteY6828" fmla="*/ 1693202 h 6479439"/>
              <a:gd name="connsiteX6829" fmla="*/ 1200583 w 9586368"/>
              <a:gd name="connsiteY6829" fmla="*/ 1693202 h 6479439"/>
              <a:gd name="connsiteX6830" fmla="*/ 1196564 w 9586368"/>
              <a:gd name="connsiteY6830" fmla="*/ 1689163 h 6479439"/>
              <a:gd name="connsiteX6831" fmla="*/ 1196564 w 9586368"/>
              <a:gd name="connsiteY6831" fmla="*/ 1679292 h 6479439"/>
              <a:gd name="connsiteX6832" fmla="*/ 9572438 w 9586368"/>
              <a:gd name="connsiteY6832" fmla="*/ 1675251 h 6479439"/>
              <a:gd name="connsiteX6833" fmla="*/ 9582349 w 9586368"/>
              <a:gd name="connsiteY6833" fmla="*/ 1675251 h 6479439"/>
              <a:gd name="connsiteX6834" fmla="*/ 9586368 w 9586368"/>
              <a:gd name="connsiteY6834" fmla="*/ 1679290 h 6479439"/>
              <a:gd name="connsiteX6835" fmla="*/ 9586368 w 9586368"/>
              <a:gd name="connsiteY6835" fmla="*/ 1689161 h 6479439"/>
              <a:gd name="connsiteX6836" fmla="*/ 9582349 w 9586368"/>
              <a:gd name="connsiteY6836" fmla="*/ 1693201 h 6479439"/>
              <a:gd name="connsiteX6837" fmla="*/ 9572438 w 9586368"/>
              <a:gd name="connsiteY6837" fmla="*/ 1693201 h 6479439"/>
              <a:gd name="connsiteX6838" fmla="*/ 9568419 w 9586368"/>
              <a:gd name="connsiteY6838" fmla="*/ 1689161 h 6479439"/>
              <a:gd name="connsiteX6839" fmla="*/ 9568419 w 9586368"/>
              <a:gd name="connsiteY6839" fmla="*/ 1679290 h 6479439"/>
              <a:gd name="connsiteX6840" fmla="*/ 1918514 w 9586368"/>
              <a:gd name="connsiteY6840" fmla="*/ 1675243 h 6479439"/>
              <a:gd name="connsiteX6841" fmla="*/ 1928424 w 9586368"/>
              <a:gd name="connsiteY6841" fmla="*/ 1675243 h 6479439"/>
              <a:gd name="connsiteX6842" fmla="*/ 1932443 w 9586368"/>
              <a:gd name="connsiteY6842" fmla="*/ 1679282 h 6479439"/>
              <a:gd name="connsiteX6843" fmla="*/ 1932443 w 9586368"/>
              <a:gd name="connsiteY6843" fmla="*/ 1689153 h 6479439"/>
              <a:gd name="connsiteX6844" fmla="*/ 1928424 w 9586368"/>
              <a:gd name="connsiteY6844" fmla="*/ 1693191 h 6479439"/>
              <a:gd name="connsiteX6845" fmla="*/ 1918514 w 9586368"/>
              <a:gd name="connsiteY6845" fmla="*/ 1693191 h 6479439"/>
              <a:gd name="connsiteX6846" fmla="*/ 1914494 w 9586368"/>
              <a:gd name="connsiteY6846" fmla="*/ 1689153 h 6479439"/>
              <a:gd name="connsiteX6847" fmla="*/ 1914494 w 9586368"/>
              <a:gd name="connsiteY6847" fmla="*/ 1679282 h 6479439"/>
              <a:gd name="connsiteX6848" fmla="*/ 2157821 w 9586368"/>
              <a:gd name="connsiteY6848" fmla="*/ 1675240 h 6479439"/>
              <a:gd name="connsiteX6849" fmla="*/ 2167732 w 9586368"/>
              <a:gd name="connsiteY6849" fmla="*/ 1675240 h 6479439"/>
              <a:gd name="connsiteX6850" fmla="*/ 2171751 w 9586368"/>
              <a:gd name="connsiteY6850" fmla="*/ 1679279 h 6479439"/>
              <a:gd name="connsiteX6851" fmla="*/ 2171751 w 9586368"/>
              <a:gd name="connsiteY6851" fmla="*/ 1689149 h 6479439"/>
              <a:gd name="connsiteX6852" fmla="*/ 2167732 w 9586368"/>
              <a:gd name="connsiteY6852" fmla="*/ 1693188 h 6479439"/>
              <a:gd name="connsiteX6853" fmla="*/ 2157821 w 9586368"/>
              <a:gd name="connsiteY6853" fmla="*/ 1693188 h 6479439"/>
              <a:gd name="connsiteX6854" fmla="*/ 2153803 w 9586368"/>
              <a:gd name="connsiteY6854" fmla="*/ 1689149 h 6479439"/>
              <a:gd name="connsiteX6855" fmla="*/ 2153803 w 9586368"/>
              <a:gd name="connsiteY6855" fmla="*/ 1679279 h 6479439"/>
              <a:gd name="connsiteX6856" fmla="*/ 243346 w 9586368"/>
              <a:gd name="connsiteY6856" fmla="*/ 1675216 h 6479439"/>
              <a:gd name="connsiteX6857" fmla="*/ 253257 w 9586368"/>
              <a:gd name="connsiteY6857" fmla="*/ 1675216 h 6479439"/>
              <a:gd name="connsiteX6858" fmla="*/ 257276 w 9586368"/>
              <a:gd name="connsiteY6858" fmla="*/ 1679254 h 6479439"/>
              <a:gd name="connsiteX6859" fmla="*/ 257276 w 9586368"/>
              <a:gd name="connsiteY6859" fmla="*/ 1689125 h 6479439"/>
              <a:gd name="connsiteX6860" fmla="*/ 253257 w 9586368"/>
              <a:gd name="connsiteY6860" fmla="*/ 1693164 h 6479439"/>
              <a:gd name="connsiteX6861" fmla="*/ 243346 w 9586368"/>
              <a:gd name="connsiteY6861" fmla="*/ 1693164 h 6479439"/>
              <a:gd name="connsiteX6862" fmla="*/ 239327 w 9586368"/>
              <a:gd name="connsiteY6862" fmla="*/ 1689125 h 6479439"/>
              <a:gd name="connsiteX6863" fmla="*/ 239327 w 9586368"/>
              <a:gd name="connsiteY6863" fmla="*/ 1679254 h 6479439"/>
              <a:gd name="connsiteX6864" fmla="*/ 4034 w 9586368"/>
              <a:gd name="connsiteY6864" fmla="*/ 1675216 h 6479439"/>
              <a:gd name="connsiteX6865" fmla="*/ 13943 w 9586368"/>
              <a:gd name="connsiteY6865" fmla="*/ 1675216 h 6479439"/>
              <a:gd name="connsiteX6866" fmla="*/ 17962 w 9586368"/>
              <a:gd name="connsiteY6866" fmla="*/ 1679254 h 6479439"/>
              <a:gd name="connsiteX6867" fmla="*/ 17962 w 9586368"/>
              <a:gd name="connsiteY6867" fmla="*/ 1689125 h 6479439"/>
              <a:gd name="connsiteX6868" fmla="*/ 13943 w 9586368"/>
              <a:gd name="connsiteY6868" fmla="*/ 1693164 h 6479439"/>
              <a:gd name="connsiteX6869" fmla="*/ 4034 w 9586368"/>
              <a:gd name="connsiteY6869" fmla="*/ 1693164 h 6479439"/>
              <a:gd name="connsiteX6870" fmla="*/ 14 w 9586368"/>
              <a:gd name="connsiteY6870" fmla="*/ 1689125 h 6479439"/>
              <a:gd name="connsiteX6871" fmla="*/ 14 w 9586368"/>
              <a:gd name="connsiteY6871" fmla="*/ 1679254 h 6479439"/>
              <a:gd name="connsiteX6872" fmla="*/ 721972 w 9586368"/>
              <a:gd name="connsiteY6872" fmla="*/ 1675216 h 6479439"/>
              <a:gd name="connsiteX6873" fmla="*/ 731882 w 9586368"/>
              <a:gd name="connsiteY6873" fmla="*/ 1675216 h 6479439"/>
              <a:gd name="connsiteX6874" fmla="*/ 735902 w 9586368"/>
              <a:gd name="connsiteY6874" fmla="*/ 1679254 h 6479439"/>
              <a:gd name="connsiteX6875" fmla="*/ 735902 w 9586368"/>
              <a:gd name="connsiteY6875" fmla="*/ 1689125 h 6479439"/>
              <a:gd name="connsiteX6876" fmla="*/ 731882 w 9586368"/>
              <a:gd name="connsiteY6876" fmla="*/ 1693164 h 6479439"/>
              <a:gd name="connsiteX6877" fmla="*/ 721972 w 9586368"/>
              <a:gd name="connsiteY6877" fmla="*/ 1693164 h 6479439"/>
              <a:gd name="connsiteX6878" fmla="*/ 717954 w 9586368"/>
              <a:gd name="connsiteY6878" fmla="*/ 1689125 h 6479439"/>
              <a:gd name="connsiteX6879" fmla="*/ 717954 w 9586368"/>
              <a:gd name="connsiteY6879" fmla="*/ 1679254 h 6479439"/>
              <a:gd name="connsiteX6880" fmla="*/ 482660 w 9586368"/>
              <a:gd name="connsiteY6880" fmla="*/ 1675216 h 6479439"/>
              <a:gd name="connsiteX6881" fmla="*/ 492571 w 9586368"/>
              <a:gd name="connsiteY6881" fmla="*/ 1675216 h 6479439"/>
              <a:gd name="connsiteX6882" fmla="*/ 496589 w 9586368"/>
              <a:gd name="connsiteY6882" fmla="*/ 1679254 h 6479439"/>
              <a:gd name="connsiteX6883" fmla="*/ 496589 w 9586368"/>
              <a:gd name="connsiteY6883" fmla="*/ 1689125 h 6479439"/>
              <a:gd name="connsiteX6884" fmla="*/ 492571 w 9586368"/>
              <a:gd name="connsiteY6884" fmla="*/ 1693164 h 6479439"/>
              <a:gd name="connsiteX6885" fmla="*/ 482660 w 9586368"/>
              <a:gd name="connsiteY6885" fmla="*/ 1693164 h 6479439"/>
              <a:gd name="connsiteX6886" fmla="*/ 478641 w 9586368"/>
              <a:gd name="connsiteY6886" fmla="*/ 1689125 h 6479439"/>
              <a:gd name="connsiteX6887" fmla="*/ 478641 w 9586368"/>
              <a:gd name="connsiteY6887" fmla="*/ 1679254 h 6479439"/>
              <a:gd name="connsiteX6888" fmla="*/ 2393104 w 9586368"/>
              <a:gd name="connsiteY6888" fmla="*/ 1436001 h 6479439"/>
              <a:gd name="connsiteX6889" fmla="*/ 2403015 w 9586368"/>
              <a:gd name="connsiteY6889" fmla="*/ 1436001 h 6479439"/>
              <a:gd name="connsiteX6890" fmla="*/ 2407034 w 9586368"/>
              <a:gd name="connsiteY6890" fmla="*/ 1440038 h 6479439"/>
              <a:gd name="connsiteX6891" fmla="*/ 2407034 w 9586368"/>
              <a:gd name="connsiteY6891" fmla="*/ 1449910 h 6479439"/>
              <a:gd name="connsiteX6892" fmla="*/ 2403015 w 9586368"/>
              <a:gd name="connsiteY6892" fmla="*/ 1453949 h 6479439"/>
              <a:gd name="connsiteX6893" fmla="*/ 2393104 w 9586368"/>
              <a:gd name="connsiteY6893" fmla="*/ 1453949 h 6479439"/>
              <a:gd name="connsiteX6894" fmla="*/ 2389087 w 9586368"/>
              <a:gd name="connsiteY6894" fmla="*/ 1449910 h 6479439"/>
              <a:gd name="connsiteX6895" fmla="*/ 2389087 w 9586368"/>
              <a:gd name="connsiteY6895" fmla="*/ 1440038 h 6479439"/>
              <a:gd name="connsiteX6896" fmla="*/ 3350359 w 9586368"/>
              <a:gd name="connsiteY6896" fmla="*/ 1436000 h 6479439"/>
              <a:gd name="connsiteX6897" fmla="*/ 3360268 w 9586368"/>
              <a:gd name="connsiteY6897" fmla="*/ 1436000 h 6479439"/>
              <a:gd name="connsiteX6898" fmla="*/ 3364287 w 9586368"/>
              <a:gd name="connsiteY6898" fmla="*/ 1440038 h 6479439"/>
              <a:gd name="connsiteX6899" fmla="*/ 3364287 w 9586368"/>
              <a:gd name="connsiteY6899" fmla="*/ 1449909 h 6479439"/>
              <a:gd name="connsiteX6900" fmla="*/ 3360268 w 9586368"/>
              <a:gd name="connsiteY6900" fmla="*/ 1453949 h 6479439"/>
              <a:gd name="connsiteX6901" fmla="*/ 3350359 w 9586368"/>
              <a:gd name="connsiteY6901" fmla="*/ 1453949 h 6479439"/>
              <a:gd name="connsiteX6902" fmla="*/ 3346340 w 9586368"/>
              <a:gd name="connsiteY6902" fmla="*/ 1449909 h 6479439"/>
              <a:gd name="connsiteX6903" fmla="*/ 3346340 w 9586368"/>
              <a:gd name="connsiteY6903" fmla="*/ 1440038 h 6479439"/>
              <a:gd name="connsiteX6904" fmla="*/ 3111048 w 9586368"/>
              <a:gd name="connsiteY6904" fmla="*/ 1436000 h 6479439"/>
              <a:gd name="connsiteX6905" fmla="*/ 3120959 w 9586368"/>
              <a:gd name="connsiteY6905" fmla="*/ 1436000 h 6479439"/>
              <a:gd name="connsiteX6906" fmla="*/ 3124977 w 9586368"/>
              <a:gd name="connsiteY6906" fmla="*/ 1440038 h 6479439"/>
              <a:gd name="connsiteX6907" fmla="*/ 3124977 w 9586368"/>
              <a:gd name="connsiteY6907" fmla="*/ 1449910 h 6479439"/>
              <a:gd name="connsiteX6908" fmla="*/ 3120959 w 9586368"/>
              <a:gd name="connsiteY6908" fmla="*/ 1453949 h 6479439"/>
              <a:gd name="connsiteX6909" fmla="*/ 3111048 w 9586368"/>
              <a:gd name="connsiteY6909" fmla="*/ 1453949 h 6479439"/>
              <a:gd name="connsiteX6910" fmla="*/ 3107029 w 9586368"/>
              <a:gd name="connsiteY6910" fmla="*/ 1449910 h 6479439"/>
              <a:gd name="connsiteX6911" fmla="*/ 3107029 w 9586368"/>
              <a:gd name="connsiteY6911" fmla="*/ 1440038 h 6479439"/>
              <a:gd name="connsiteX6912" fmla="*/ 2871737 w 9586368"/>
              <a:gd name="connsiteY6912" fmla="*/ 1436000 h 6479439"/>
              <a:gd name="connsiteX6913" fmla="*/ 2881646 w 9586368"/>
              <a:gd name="connsiteY6913" fmla="*/ 1436000 h 6479439"/>
              <a:gd name="connsiteX6914" fmla="*/ 2885666 w 9586368"/>
              <a:gd name="connsiteY6914" fmla="*/ 1440038 h 6479439"/>
              <a:gd name="connsiteX6915" fmla="*/ 2885666 w 9586368"/>
              <a:gd name="connsiteY6915" fmla="*/ 1449910 h 6479439"/>
              <a:gd name="connsiteX6916" fmla="*/ 2881646 w 9586368"/>
              <a:gd name="connsiteY6916" fmla="*/ 1453949 h 6479439"/>
              <a:gd name="connsiteX6917" fmla="*/ 2871737 w 9586368"/>
              <a:gd name="connsiteY6917" fmla="*/ 1453949 h 6479439"/>
              <a:gd name="connsiteX6918" fmla="*/ 2867717 w 9586368"/>
              <a:gd name="connsiteY6918" fmla="*/ 1449910 h 6479439"/>
              <a:gd name="connsiteX6919" fmla="*/ 2867717 w 9586368"/>
              <a:gd name="connsiteY6919" fmla="*/ 1440038 h 6479439"/>
              <a:gd name="connsiteX6920" fmla="*/ 2632423 w 9586368"/>
              <a:gd name="connsiteY6920" fmla="*/ 1436000 h 6479439"/>
              <a:gd name="connsiteX6921" fmla="*/ 2642334 w 9586368"/>
              <a:gd name="connsiteY6921" fmla="*/ 1436000 h 6479439"/>
              <a:gd name="connsiteX6922" fmla="*/ 2646352 w 9586368"/>
              <a:gd name="connsiteY6922" fmla="*/ 1440038 h 6479439"/>
              <a:gd name="connsiteX6923" fmla="*/ 2646352 w 9586368"/>
              <a:gd name="connsiteY6923" fmla="*/ 1449910 h 6479439"/>
              <a:gd name="connsiteX6924" fmla="*/ 2642334 w 9586368"/>
              <a:gd name="connsiteY6924" fmla="*/ 1453949 h 6479439"/>
              <a:gd name="connsiteX6925" fmla="*/ 2632423 w 9586368"/>
              <a:gd name="connsiteY6925" fmla="*/ 1453949 h 6479439"/>
              <a:gd name="connsiteX6926" fmla="*/ 2628404 w 9586368"/>
              <a:gd name="connsiteY6926" fmla="*/ 1449910 h 6479439"/>
              <a:gd name="connsiteX6927" fmla="*/ 2628404 w 9586368"/>
              <a:gd name="connsiteY6927" fmla="*/ 1440038 h 6479439"/>
              <a:gd name="connsiteX6928" fmla="*/ 3589676 w 9586368"/>
              <a:gd name="connsiteY6928" fmla="*/ 1435986 h 6479439"/>
              <a:gd name="connsiteX6929" fmla="*/ 3599585 w 9586368"/>
              <a:gd name="connsiteY6929" fmla="*/ 1435986 h 6479439"/>
              <a:gd name="connsiteX6930" fmla="*/ 3603604 w 9586368"/>
              <a:gd name="connsiteY6930" fmla="*/ 1440024 h 6479439"/>
              <a:gd name="connsiteX6931" fmla="*/ 3603604 w 9586368"/>
              <a:gd name="connsiteY6931" fmla="*/ 1449895 h 6479439"/>
              <a:gd name="connsiteX6932" fmla="*/ 3599585 w 9586368"/>
              <a:gd name="connsiteY6932" fmla="*/ 1453934 h 6479439"/>
              <a:gd name="connsiteX6933" fmla="*/ 3589676 w 9586368"/>
              <a:gd name="connsiteY6933" fmla="*/ 1453934 h 6479439"/>
              <a:gd name="connsiteX6934" fmla="*/ 3585657 w 9586368"/>
              <a:gd name="connsiteY6934" fmla="*/ 1449895 h 6479439"/>
              <a:gd name="connsiteX6935" fmla="*/ 3585657 w 9586368"/>
              <a:gd name="connsiteY6935" fmla="*/ 1440024 h 6479439"/>
              <a:gd name="connsiteX6936" fmla="*/ 4546929 w 9586368"/>
              <a:gd name="connsiteY6936" fmla="*/ 1435986 h 6479439"/>
              <a:gd name="connsiteX6937" fmla="*/ 4556840 w 9586368"/>
              <a:gd name="connsiteY6937" fmla="*/ 1435986 h 6479439"/>
              <a:gd name="connsiteX6938" fmla="*/ 4560859 w 9586368"/>
              <a:gd name="connsiteY6938" fmla="*/ 1440024 h 6479439"/>
              <a:gd name="connsiteX6939" fmla="*/ 4560859 w 9586368"/>
              <a:gd name="connsiteY6939" fmla="*/ 1449895 h 6479439"/>
              <a:gd name="connsiteX6940" fmla="*/ 4556840 w 9586368"/>
              <a:gd name="connsiteY6940" fmla="*/ 1453934 h 6479439"/>
              <a:gd name="connsiteX6941" fmla="*/ 4546929 w 9586368"/>
              <a:gd name="connsiteY6941" fmla="*/ 1453934 h 6479439"/>
              <a:gd name="connsiteX6942" fmla="*/ 4542910 w 9586368"/>
              <a:gd name="connsiteY6942" fmla="*/ 1449895 h 6479439"/>
              <a:gd name="connsiteX6943" fmla="*/ 4542910 w 9586368"/>
              <a:gd name="connsiteY6943" fmla="*/ 1440024 h 6479439"/>
              <a:gd name="connsiteX6944" fmla="*/ 4307612 w 9586368"/>
              <a:gd name="connsiteY6944" fmla="*/ 1435986 h 6479439"/>
              <a:gd name="connsiteX6945" fmla="*/ 4317523 w 9586368"/>
              <a:gd name="connsiteY6945" fmla="*/ 1435986 h 6479439"/>
              <a:gd name="connsiteX6946" fmla="*/ 4321543 w 9586368"/>
              <a:gd name="connsiteY6946" fmla="*/ 1440024 h 6479439"/>
              <a:gd name="connsiteX6947" fmla="*/ 4321543 w 9586368"/>
              <a:gd name="connsiteY6947" fmla="*/ 1449895 h 6479439"/>
              <a:gd name="connsiteX6948" fmla="*/ 4317523 w 9586368"/>
              <a:gd name="connsiteY6948" fmla="*/ 1453934 h 6479439"/>
              <a:gd name="connsiteX6949" fmla="*/ 4307612 w 9586368"/>
              <a:gd name="connsiteY6949" fmla="*/ 1453934 h 6479439"/>
              <a:gd name="connsiteX6950" fmla="*/ 4303595 w 9586368"/>
              <a:gd name="connsiteY6950" fmla="*/ 1449895 h 6479439"/>
              <a:gd name="connsiteX6951" fmla="*/ 4303595 w 9586368"/>
              <a:gd name="connsiteY6951" fmla="*/ 1440024 h 6479439"/>
              <a:gd name="connsiteX6952" fmla="*/ 4068297 w 9586368"/>
              <a:gd name="connsiteY6952" fmla="*/ 1435986 h 6479439"/>
              <a:gd name="connsiteX6953" fmla="*/ 4078210 w 9586368"/>
              <a:gd name="connsiteY6953" fmla="*/ 1435986 h 6479439"/>
              <a:gd name="connsiteX6954" fmla="*/ 4082229 w 9586368"/>
              <a:gd name="connsiteY6954" fmla="*/ 1440024 h 6479439"/>
              <a:gd name="connsiteX6955" fmla="*/ 4082229 w 9586368"/>
              <a:gd name="connsiteY6955" fmla="*/ 1449895 h 6479439"/>
              <a:gd name="connsiteX6956" fmla="*/ 4078210 w 9586368"/>
              <a:gd name="connsiteY6956" fmla="*/ 1453934 h 6479439"/>
              <a:gd name="connsiteX6957" fmla="*/ 4068297 w 9586368"/>
              <a:gd name="connsiteY6957" fmla="*/ 1453934 h 6479439"/>
              <a:gd name="connsiteX6958" fmla="*/ 4064278 w 9586368"/>
              <a:gd name="connsiteY6958" fmla="*/ 1449895 h 6479439"/>
              <a:gd name="connsiteX6959" fmla="*/ 4064278 w 9586368"/>
              <a:gd name="connsiteY6959" fmla="*/ 1440024 h 6479439"/>
              <a:gd name="connsiteX6960" fmla="*/ 3828990 w 9586368"/>
              <a:gd name="connsiteY6960" fmla="*/ 1435986 h 6479439"/>
              <a:gd name="connsiteX6961" fmla="*/ 3838899 w 9586368"/>
              <a:gd name="connsiteY6961" fmla="*/ 1435986 h 6479439"/>
              <a:gd name="connsiteX6962" fmla="*/ 3842917 w 9586368"/>
              <a:gd name="connsiteY6962" fmla="*/ 1440024 h 6479439"/>
              <a:gd name="connsiteX6963" fmla="*/ 3842917 w 9586368"/>
              <a:gd name="connsiteY6963" fmla="*/ 1449895 h 6479439"/>
              <a:gd name="connsiteX6964" fmla="*/ 3838899 w 9586368"/>
              <a:gd name="connsiteY6964" fmla="*/ 1453934 h 6479439"/>
              <a:gd name="connsiteX6965" fmla="*/ 3828990 w 9586368"/>
              <a:gd name="connsiteY6965" fmla="*/ 1453934 h 6479439"/>
              <a:gd name="connsiteX6966" fmla="*/ 3824971 w 9586368"/>
              <a:gd name="connsiteY6966" fmla="*/ 1449895 h 6479439"/>
              <a:gd name="connsiteX6967" fmla="*/ 3824971 w 9586368"/>
              <a:gd name="connsiteY6967" fmla="*/ 1440024 h 6479439"/>
              <a:gd name="connsiteX6968" fmla="*/ 4786241 w 9586368"/>
              <a:gd name="connsiteY6968" fmla="*/ 1435972 h 6479439"/>
              <a:gd name="connsiteX6969" fmla="*/ 4796152 w 9586368"/>
              <a:gd name="connsiteY6969" fmla="*/ 1435972 h 6479439"/>
              <a:gd name="connsiteX6970" fmla="*/ 4800171 w 9586368"/>
              <a:gd name="connsiteY6970" fmla="*/ 1440010 h 6479439"/>
              <a:gd name="connsiteX6971" fmla="*/ 4800171 w 9586368"/>
              <a:gd name="connsiteY6971" fmla="*/ 1449881 h 6479439"/>
              <a:gd name="connsiteX6972" fmla="*/ 4796152 w 9586368"/>
              <a:gd name="connsiteY6972" fmla="*/ 1453920 h 6479439"/>
              <a:gd name="connsiteX6973" fmla="*/ 4786241 w 9586368"/>
              <a:gd name="connsiteY6973" fmla="*/ 1453920 h 6479439"/>
              <a:gd name="connsiteX6974" fmla="*/ 4782224 w 9586368"/>
              <a:gd name="connsiteY6974" fmla="*/ 1449881 h 6479439"/>
              <a:gd name="connsiteX6975" fmla="*/ 4782224 w 9586368"/>
              <a:gd name="connsiteY6975" fmla="*/ 1440010 h 6479439"/>
              <a:gd name="connsiteX6976" fmla="*/ 5743412 w 9586368"/>
              <a:gd name="connsiteY6976" fmla="*/ 1435971 h 6479439"/>
              <a:gd name="connsiteX6977" fmla="*/ 5753323 w 9586368"/>
              <a:gd name="connsiteY6977" fmla="*/ 1435971 h 6479439"/>
              <a:gd name="connsiteX6978" fmla="*/ 5757342 w 9586368"/>
              <a:gd name="connsiteY6978" fmla="*/ 1440010 h 6479439"/>
              <a:gd name="connsiteX6979" fmla="*/ 5757342 w 9586368"/>
              <a:gd name="connsiteY6979" fmla="*/ 1449880 h 6479439"/>
              <a:gd name="connsiteX6980" fmla="*/ 5753323 w 9586368"/>
              <a:gd name="connsiteY6980" fmla="*/ 1453919 h 6479439"/>
              <a:gd name="connsiteX6981" fmla="*/ 5743412 w 9586368"/>
              <a:gd name="connsiteY6981" fmla="*/ 1453919 h 6479439"/>
              <a:gd name="connsiteX6982" fmla="*/ 5739393 w 9586368"/>
              <a:gd name="connsiteY6982" fmla="*/ 1449880 h 6479439"/>
              <a:gd name="connsiteX6983" fmla="*/ 5739393 w 9586368"/>
              <a:gd name="connsiteY6983" fmla="*/ 1440010 h 6479439"/>
              <a:gd name="connsiteX6984" fmla="*/ 5504099 w 9586368"/>
              <a:gd name="connsiteY6984" fmla="*/ 1435971 h 6479439"/>
              <a:gd name="connsiteX6985" fmla="*/ 5514010 w 9586368"/>
              <a:gd name="connsiteY6985" fmla="*/ 1435971 h 6479439"/>
              <a:gd name="connsiteX6986" fmla="*/ 5518029 w 9586368"/>
              <a:gd name="connsiteY6986" fmla="*/ 1440010 h 6479439"/>
              <a:gd name="connsiteX6987" fmla="*/ 5518029 w 9586368"/>
              <a:gd name="connsiteY6987" fmla="*/ 1449881 h 6479439"/>
              <a:gd name="connsiteX6988" fmla="*/ 5514010 w 9586368"/>
              <a:gd name="connsiteY6988" fmla="*/ 1453919 h 6479439"/>
              <a:gd name="connsiteX6989" fmla="*/ 5504099 w 9586368"/>
              <a:gd name="connsiteY6989" fmla="*/ 1453919 h 6479439"/>
              <a:gd name="connsiteX6990" fmla="*/ 5500080 w 9586368"/>
              <a:gd name="connsiteY6990" fmla="*/ 1449881 h 6479439"/>
              <a:gd name="connsiteX6991" fmla="*/ 5500080 w 9586368"/>
              <a:gd name="connsiteY6991" fmla="*/ 1440010 h 6479439"/>
              <a:gd name="connsiteX6992" fmla="*/ 5264784 w 9586368"/>
              <a:gd name="connsiteY6992" fmla="*/ 1435971 h 6479439"/>
              <a:gd name="connsiteX6993" fmla="*/ 5274694 w 9586368"/>
              <a:gd name="connsiteY6993" fmla="*/ 1435971 h 6479439"/>
              <a:gd name="connsiteX6994" fmla="*/ 5278713 w 9586368"/>
              <a:gd name="connsiteY6994" fmla="*/ 1440010 h 6479439"/>
              <a:gd name="connsiteX6995" fmla="*/ 5278713 w 9586368"/>
              <a:gd name="connsiteY6995" fmla="*/ 1449881 h 6479439"/>
              <a:gd name="connsiteX6996" fmla="*/ 5274694 w 9586368"/>
              <a:gd name="connsiteY6996" fmla="*/ 1453920 h 6479439"/>
              <a:gd name="connsiteX6997" fmla="*/ 5264784 w 9586368"/>
              <a:gd name="connsiteY6997" fmla="*/ 1453920 h 6479439"/>
              <a:gd name="connsiteX6998" fmla="*/ 5260765 w 9586368"/>
              <a:gd name="connsiteY6998" fmla="*/ 1449881 h 6479439"/>
              <a:gd name="connsiteX6999" fmla="*/ 5260765 w 9586368"/>
              <a:gd name="connsiteY6999" fmla="*/ 1440010 h 6479439"/>
              <a:gd name="connsiteX7000" fmla="*/ 5025470 w 9586368"/>
              <a:gd name="connsiteY7000" fmla="*/ 1435971 h 6479439"/>
              <a:gd name="connsiteX7001" fmla="*/ 5035381 w 9586368"/>
              <a:gd name="connsiteY7001" fmla="*/ 1435971 h 6479439"/>
              <a:gd name="connsiteX7002" fmla="*/ 5039400 w 9586368"/>
              <a:gd name="connsiteY7002" fmla="*/ 1440010 h 6479439"/>
              <a:gd name="connsiteX7003" fmla="*/ 5039400 w 9586368"/>
              <a:gd name="connsiteY7003" fmla="*/ 1449881 h 6479439"/>
              <a:gd name="connsiteX7004" fmla="*/ 5035381 w 9586368"/>
              <a:gd name="connsiteY7004" fmla="*/ 1453920 h 6479439"/>
              <a:gd name="connsiteX7005" fmla="*/ 5025470 w 9586368"/>
              <a:gd name="connsiteY7005" fmla="*/ 1453920 h 6479439"/>
              <a:gd name="connsiteX7006" fmla="*/ 5021451 w 9586368"/>
              <a:gd name="connsiteY7006" fmla="*/ 1449881 h 6479439"/>
              <a:gd name="connsiteX7007" fmla="*/ 5021451 w 9586368"/>
              <a:gd name="connsiteY7007" fmla="*/ 1440010 h 6479439"/>
              <a:gd name="connsiteX7008" fmla="*/ 5982729 w 9586368"/>
              <a:gd name="connsiteY7008" fmla="*/ 1435958 h 6479439"/>
              <a:gd name="connsiteX7009" fmla="*/ 5992639 w 9586368"/>
              <a:gd name="connsiteY7009" fmla="*/ 1435958 h 6479439"/>
              <a:gd name="connsiteX7010" fmla="*/ 5996658 w 9586368"/>
              <a:gd name="connsiteY7010" fmla="*/ 1439995 h 6479439"/>
              <a:gd name="connsiteX7011" fmla="*/ 5996658 w 9586368"/>
              <a:gd name="connsiteY7011" fmla="*/ 1449866 h 6479439"/>
              <a:gd name="connsiteX7012" fmla="*/ 5992639 w 9586368"/>
              <a:gd name="connsiteY7012" fmla="*/ 1453905 h 6479439"/>
              <a:gd name="connsiteX7013" fmla="*/ 5982729 w 9586368"/>
              <a:gd name="connsiteY7013" fmla="*/ 1453905 h 6479439"/>
              <a:gd name="connsiteX7014" fmla="*/ 5978710 w 9586368"/>
              <a:gd name="connsiteY7014" fmla="*/ 1449866 h 6479439"/>
              <a:gd name="connsiteX7015" fmla="*/ 5978710 w 9586368"/>
              <a:gd name="connsiteY7015" fmla="*/ 1439995 h 6479439"/>
              <a:gd name="connsiteX7016" fmla="*/ 6939983 w 9586368"/>
              <a:gd name="connsiteY7016" fmla="*/ 1435956 h 6479439"/>
              <a:gd name="connsiteX7017" fmla="*/ 6949894 w 9586368"/>
              <a:gd name="connsiteY7017" fmla="*/ 1435956 h 6479439"/>
              <a:gd name="connsiteX7018" fmla="*/ 6953913 w 9586368"/>
              <a:gd name="connsiteY7018" fmla="*/ 1439995 h 6479439"/>
              <a:gd name="connsiteX7019" fmla="*/ 6953913 w 9586368"/>
              <a:gd name="connsiteY7019" fmla="*/ 1449865 h 6479439"/>
              <a:gd name="connsiteX7020" fmla="*/ 6949894 w 9586368"/>
              <a:gd name="connsiteY7020" fmla="*/ 1453905 h 6479439"/>
              <a:gd name="connsiteX7021" fmla="*/ 6939983 w 9586368"/>
              <a:gd name="connsiteY7021" fmla="*/ 1453905 h 6479439"/>
              <a:gd name="connsiteX7022" fmla="*/ 6935964 w 9586368"/>
              <a:gd name="connsiteY7022" fmla="*/ 1449865 h 6479439"/>
              <a:gd name="connsiteX7023" fmla="*/ 6935964 w 9586368"/>
              <a:gd name="connsiteY7023" fmla="*/ 1439995 h 6479439"/>
              <a:gd name="connsiteX7024" fmla="*/ 6700670 w 9586368"/>
              <a:gd name="connsiteY7024" fmla="*/ 1435956 h 6479439"/>
              <a:gd name="connsiteX7025" fmla="*/ 6710581 w 9586368"/>
              <a:gd name="connsiteY7025" fmla="*/ 1435956 h 6479439"/>
              <a:gd name="connsiteX7026" fmla="*/ 6714600 w 9586368"/>
              <a:gd name="connsiteY7026" fmla="*/ 1439995 h 6479439"/>
              <a:gd name="connsiteX7027" fmla="*/ 6714600 w 9586368"/>
              <a:gd name="connsiteY7027" fmla="*/ 1449866 h 6479439"/>
              <a:gd name="connsiteX7028" fmla="*/ 6710581 w 9586368"/>
              <a:gd name="connsiteY7028" fmla="*/ 1453905 h 6479439"/>
              <a:gd name="connsiteX7029" fmla="*/ 6700670 w 9586368"/>
              <a:gd name="connsiteY7029" fmla="*/ 1453905 h 6479439"/>
              <a:gd name="connsiteX7030" fmla="*/ 6696651 w 9586368"/>
              <a:gd name="connsiteY7030" fmla="*/ 1449866 h 6479439"/>
              <a:gd name="connsiteX7031" fmla="*/ 6696651 w 9586368"/>
              <a:gd name="connsiteY7031" fmla="*/ 1439995 h 6479439"/>
              <a:gd name="connsiteX7032" fmla="*/ 6461356 w 9586368"/>
              <a:gd name="connsiteY7032" fmla="*/ 1435956 h 6479439"/>
              <a:gd name="connsiteX7033" fmla="*/ 6471266 w 9586368"/>
              <a:gd name="connsiteY7033" fmla="*/ 1435956 h 6479439"/>
              <a:gd name="connsiteX7034" fmla="*/ 6475285 w 9586368"/>
              <a:gd name="connsiteY7034" fmla="*/ 1439995 h 6479439"/>
              <a:gd name="connsiteX7035" fmla="*/ 6475285 w 9586368"/>
              <a:gd name="connsiteY7035" fmla="*/ 1449866 h 6479439"/>
              <a:gd name="connsiteX7036" fmla="*/ 6471266 w 9586368"/>
              <a:gd name="connsiteY7036" fmla="*/ 1453905 h 6479439"/>
              <a:gd name="connsiteX7037" fmla="*/ 6461356 w 9586368"/>
              <a:gd name="connsiteY7037" fmla="*/ 1453905 h 6479439"/>
              <a:gd name="connsiteX7038" fmla="*/ 6457337 w 9586368"/>
              <a:gd name="connsiteY7038" fmla="*/ 1449866 h 6479439"/>
              <a:gd name="connsiteX7039" fmla="*/ 6457337 w 9586368"/>
              <a:gd name="connsiteY7039" fmla="*/ 1439995 h 6479439"/>
              <a:gd name="connsiteX7040" fmla="*/ 6222042 w 9586368"/>
              <a:gd name="connsiteY7040" fmla="*/ 1435956 h 6479439"/>
              <a:gd name="connsiteX7041" fmla="*/ 6231952 w 9586368"/>
              <a:gd name="connsiteY7041" fmla="*/ 1435956 h 6479439"/>
              <a:gd name="connsiteX7042" fmla="*/ 6235971 w 9586368"/>
              <a:gd name="connsiteY7042" fmla="*/ 1439995 h 6479439"/>
              <a:gd name="connsiteX7043" fmla="*/ 6235971 w 9586368"/>
              <a:gd name="connsiteY7043" fmla="*/ 1449866 h 6479439"/>
              <a:gd name="connsiteX7044" fmla="*/ 6231952 w 9586368"/>
              <a:gd name="connsiteY7044" fmla="*/ 1453905 h 6479439"/>
              <a:gd name="connsiteX7045" fmla="*/ 6222042 w 9586368"/>
              <a:gd name="connsiteY7045" fmla="*/ 1453905 h 6479439"/>
              <a:gd name="connsiteX7046" fmla="*/ 6218023 w 9586368"/>
              <a:gd name="connsiteY7046" fmla="*/ 1449866 h 6479439"/>
              <a:gd name="connsiteX7047" fmla="*/ 6218023 w 9586368"/>
              <a:gd name="connsiteY7047" fmla="*/ 1439995 h 6479439"/>
              <a:gd name="connsiteX7048" fmla="*/ 7179298 w 9586368"/>
              <a:gd name="connsiteY7048" fmla="*/ 1435943 h 6479439"/>
              <a:gd name="connsiteX7049" fmla="*/ 7189209 w 9586368"/>
              <a:gd name="connsiteY7049" fmla="*/ 1435943 h 6479439"/>
              <a:gd name="connsiteX7050" fmla="*/ 7193228 w 9586368"/>
              <a:gd name="connsiteY7050" fmla="*/ 1439981 h 6479439"/>
              <a:gd name="connsiteX7051" fmla="*/ 7193228 w 9586368"/>
              <a:gd name="connsiteY7051" fmla="*/ 1449852 h 6479439"/>
              <a:gd name="connsiteX7052" fmla="*/ 7189209 w 9586368"/>
              <a:gd name="connsiteY7052" fmla="*/ 1453891 h 6479439"/>
              <a:gd name="connsiteX7053" fmla="*/ 7179298 w 9586368"/>
              <a:gd name="connsiteY7053" fmla="*/ 1453891 h 6479439"/>
              <a:gd name="connsiteX7054" fmla="*/ 7175279 w 9586368"/>
              <a:gd name="connsiteY7054" fmla="*/ 1449852 h 6479439"/>
              <a:gd name="connsiteX7055" fmla="*/ 7175279 w 9586368"/>
              <a:gd name="connsiteY7055" fmla="*/ 1439981 h 6479439"/>
              <a:gd name="connsiteX7056" fmla="*/ 8136553 w 9586368"/>
              <a:gd name="connsiteY7056" fmla="*/ 1435943 h 6479439"/>
              <a:gd name="connsiteX7057" fmla="*/ 8146464 w 9586368"/>
              <a:gd name="connsiteY7057" fmla="*/ 1435943 h 6479439"/>
              <a:gd name="connsiteX7058" fmla="*/ 8150483 w 9586368"/>
              <a:gd name="connsiteY7058" fmla="*/ 1439980 h 6479439"/>
              <a:gd name="connsiteX7059" fmla="*/ 8150483 w 9586368"/>
              <a:gd name="connsiteY7059" fmla="*/ 1449851 h 6479439"/>
              <a:gd name="connsiteX7060" fmla="*/ 8146464 w 9586368"/>
              <a:gd name="connsiteY7060" fmla="*/ 1453890 h 6479439"/>
              <a:gd name="connsiteX7061" fmla="*/ 8136553 w 9586368"/>
              <a:gd name="connsiteY7061" fmla="*/ 1453890 h 6479439"/>
              <a:gd name="connsiteX7062" fmla="*/ 8132534 w 9586368"/>
              <a:gd name="connsiteY7062" fmla="*/ 1449851 h 6479439"/>
              <a:gd name="connsiteX7063" fmla="*/ 8132534 w 9586368"/>
              <a:gd name="connsiteY7063" fmla="*/ 1439980 h 6479439"/>
              <a:gd name="connsiteX7064" fmla="*/ 7897241 w 9586368"/>
              <a:gd name="connsiteY7064" fmla="*/ 1435943 h 6479439"/>
              <a:gd name="connsiteX7065" fmla="*/ 7907151 w 9586368"/>
              <a:gd name="connsiteY7065" fmla="*/ 1435943 h 6479439"/>
              <a:gd name="connsiteX7066" fmla="*/ 7911170 w 9586368"/>
              <a:gd name="connsiteY7066" fmla="*/ 1439980 h 6479439"/>
              <a:gd name="connsiteX7067" fmla="*/ 7911170 w 9586368"/>
              <a:gd name="connsiteY7067" fmla="*/ 1449852 h 6479439"/>
              <a:gd name="connsiteX7068" fmla="*/ 7907151 w 9586368"/>
              <a:gd name="connsiteY7068" fmla="*/ 1453890 h 6479439"/>
              <a:gd name="connsiteX7069" fmla="*/ 7897241 w 9586368"/>
              <a:gd name="connsiteY7069" fmla="*/ 1453890 h 6479439"/>
              <a:gd name="connsiteX7070" fmla="*/ 7893222 w 9586368"/>
              <a:gd name="connsiteY7070" fmla="*/ 1449852 h 6479439"/>
              <a:gd name="connsiteX7071" fmla="*/ 7893222 w 9586368"/>
              <a:gd name="connsiteY7071" fmla="*/ 1439980 h 6479439"/>
              <a:gd name="connsiteX7072" fmla="*/ 7657926 w 9586368"/>
              <a:gd name="connsiteY7072" fmla="*/ 1435943 h 6479439"/>
              <a:gd name="connsiteX7073" fmla="*/ 7667836 w 9586368"/>
              <a:gd name="connsiteY7073" fmla="*/ 1435943 h 6479439"/>
              <a:gd name="connsiteX7074" fmla="*/ 7671855 w 9586368"/>
              <a:gd name="connsiteY7074" fmla="*/ 1439980 h 6479439"/>
              <a:gd name="connsiteX7075" fmla="*/ 7671855 w 9586368"/>
              <a:gd name="connsiteY7075" fmla="*/ 1449852 h 6479439"/>
              <a:gd name="connsiteX7076" fmla="*/ 7667836 w 9586368"/>
              <a:gd name="connsiteY7076" fmla="*/ 1453891 h 6479439"/>
              <a:gd name="connsiteX7077" fmla="*/ 7657926 w 9586368"/>
              <a:gd name="connsiteY7077" fmla="*/ 1453891 h 6479439"/>
              <a:gd name="connsiteX7078" fmla="*/ 7653906 w 9586368"/>
              <a:gd name="connsiteY7078" fmla="*/ 1449852 h 6479439"/>
              <a:gd name="connsiteX7079" fmla="*/ 7653906 w 9586368"/>
              <a:gd name="connsiteY7079" fmla="*/ 1439980 h 6479439"/>
              <a:gd name="connsiteX7080" fmla="*/ 7418611 w 9586368"/>
              <a:gd name="connsiteY7080" fmla="*/ 1435943 h 6479439"/>
              <a:gd name="connsiteX7081" fmla="*/ 7428521 w 9586368"/>
              <a:gd name="connsiteY7081" fmla="*/ 1435943 h 6479439"/>
              <a:gd name="connsiteX7082" fmla="*/ 7432540 w 9586368"/>
              <a:gd name="connsiteY7082" fmla="*/ 1439980 h 6479439"/>
              <a:gd name="connsiteX7083" fmla="*/ 7432540 w 9586368"/>
              <a:gd name="connsiteY7083" fmla="*/ 1449852 h 6479439"/>
              <a:gd name="connsiteX7084" fmla="*/ 7428521 w 9586368"/>
              <a:gd name="connsiteY7084" fmla="*/ 1453891 h 6479439"/>
              <a:gd name="connsiteX7085" fmla="*/ 7418611 w 9586368"/>
              <a:gd name="connsiteY7085" fmla="*/ 1453891 h 6479439"/>
              <a:gd name="connsiteX7086" fmla="*/ 7414592 w 9586368"/>
              <a:gd name="connsiteY7086" fmla="*/ 1449852 h 6479439"/>
              <a:gd name="connsiteX7087" fmla="*/ 7414592 w 9586368"/>
              <a:gd name="connsiteY7087" fmla="*/ 1439980 h 6479439"/>
              <a:gd name="connsiteX7088" fmla="*/ 8375869 w 9586368"/>
              <a:gd name="connsiteY7088" fmla="*/ 1435928 h 6479439"/>
              <a:gd name="connsiteX7089" fmla="*/ 8385779 w 9586368"/>
              <a:gd name="connsiteY7089" fmla="*/ 1435928 h 6479439"/>
              <a:gd name="connsiteX7090" fmla="*/ 8389799 w 9586368"/>
              <a:gd name="connsiteY7090" fmla="*/ 1439967 h 6479439"/>
              <a:gd name="connsiteX7091" fmla="*/ 8389799 w 9586368"/>
              <a:gd name="connsiteY7091" fmla="*/ 1449837 h 6479439"/>
              <a:gd name="connsiteX7092" fmla="*/ 8385779 w 9586368"/>
              <a:gd name="connsiteY7092" fmla="*/ 1453877 h 6479439"/>
              <a:gd name="connsiteX7093" fmla="*/ 8375869 w 9586368"/>
              <a:gd name="connsiteY7093" fmla="*/ 1453877 h 6479439"/>
              <a:gd name="connsiteX7094" fmla="*/ 8371850 w 9586368"/>
              <a:gd name="connsiteY7094" fmla="*/ 1449837 h 6479439"/>
              <a:gd name="connsiteX7095" fmla="*/ 8371850 w 9586368"/>
              <a:gd name="connsiteY7095" fmla="*/ 1439967 h 6479439"/>
              <a:gd name="connsiteX7096" fmla="*/ 9333125 w 9586368"/>
              <a:gd name="connsiteY7096" fmla="*/ 1435928 h 6479439"/>
              <a:gd name="connsiteX7097" fmla="*/ 9343036 w 9586368"/>
              <a:gd name="connsiteY7097" fmla="*/ 1435928 h 6479439"/>
              <a:gd name="connsiteX7098" fmla="*/ 9347055 w 9586368"/>
              <a:gd name="connsiteY7098" fmla="*/ 1439967 h 6479439"/>
              <a:gd name="connsiteX7099" fmla="*/ 9347055 w 9586368"/>
              <a:gd name="connsiteY7099" fmla="*/ 1449836 h 6479439"/>
              <a:gd name="connsiteX7100" fmla="*/ 9343036 w 9586368"/>
              <a:gd name="connsiteY7100" fmla="*/ 1453876 h 6479439"/>
              <a:gd name="connsiteX7101" fmla="*/ 9333125 w 9586368"/>
              <a:gd name="connsiteY7101" fmla="*/ 1453876 h 6479439"/>
              <a:gd name="connsiteX7102" fmla="*/ 9329106 w 9586368"/>
              <a:gd name="connsiteY7102" fmla="*/ 1449836 h 6479439"/>
              <a:gd name="connsiteX7103" fmla="*/ 9329106 w 9586368"/>
              <a:gd name="connsiteY7103" fmla="*/ 1439967 h 6479439"/>
              <a:gd name="connsiteX7104" fmla="*/ 9093811 w 9586368"/>
              <a:gd name="connsiteY7104" fmla="*/ 1435928 h 6479439"/>
              <a:gd name="connsiteX7105" fmla="*/ 9103722 w 9586368"/>
              <a:gd name="connsiteY7105" fmla="*/ 1435928 h 6479439"/>
              <a:gd name="connsiteX7106" fmla="*/ 9107741 w 9586368"/>
              <a:gd name="connsiteY7106" fmla="*/ 1439967 h 6479439"/>
              <a:gd name="connsiteX7107" fmla="*/ 9107741 w 9586368"/>
              <a:gd name="connsiteY7107" fmla="*/ 1449837 h 6479439"/>
              <a:gd name="connsiteX7108" fmla="*/ 9103722 w 9586368"/>
              <a:gd name="connsiteY7108" fmla="*/ 1453876 h 6479439"/>
              <a:gd name="connsiteX7109" fmla="*/ 9093811 w 9586368"/>
              <a:gd name="connsiteY7109" fmla="*/ 1453876 h 6479439"/>
              <a:gd name="connsiteX7110" fmla="*/ 9089792 w 9586368"/>
              <a:gd name="connsiteY7110" fmla="*/ 1449837 h 6479439"/>
              <a:gd name="connsiteX7111" fmla="*/ 9089792 w 9586368"/>
              <a:gd name="connsiteY7111" fmla="*/ 1439967 h 6479439"/>
              <a:gd name="connsiteX7112" fmla="*/ 8854496 w 9586368"/>
              <a:gd name="connsiteY7112" fmla="*/ 1435928 h 6479439"/>
              <a:gd name="connsiteX7113" fmla="*/ 8864407 w 9586368"/>
              <a:gd name="connsiteY7113" fmla="*/ 1435928 h 6479439"/>
              <a:gd name="connsiteX7114" fmla="*/ 8868426 w 9586368"/>
              <a:gd name="connsiteY7114" fmla="*/ 1439967 h 6479439"/>
              <a:gd name="connsiteX7115" fmla="*/ 8868426 w 9586368"/>
              <a:gd name="connsiteY7115" fmla="*/ 1449837 h 6479439"/>
              <a:gd name="connsiteX7116" fmla="*/ 8864407 w 9586368"/>
              <a:gd name="connsiteY7116" fmla="*/ 1453877 h 6479439"/>
              <a:gd name="connsiteX7117" fmla="*/ 8854496 w 9586368"/>
              <a:gd name="connsiteY7117" fmla="*/ 1453877 h 6479439"/>
              <a:gd name="connsiteX7118" fmla="*/ 8850477 w 9586368"/>
              <a:gd name="connsiteY7118" fmla="*/ 1449837 h 6479439"/>
              <a:gd name="connsiteX7119" fmla="*/ 8850477 w 9586368"/>
              <a:gd name="connsiteY7119" fmla="*/ 1439967 h 6479439"/>
              <a:gd name="connsiteX7120" fmla="*/ 8615184 w 9586368"/>
              <a:gd name="connsiteY7120" fmla="*/ 1435928 h 6479439"/>
              <a:gd name="connsiteX7121" fmla="*/ 8625095 w 9586368"/>
              <a:gd name="connsiteY7121" fmla="*/ 1435928 h 6479439"/>
              <a:gd name="connsiteX7122" fmla="*/ 8629114 w 9586368"/>
              <a:gd name="connsiteY7122" fmla="*/ 1439967 h 6479439"/>
              <a:gd name="connsiteX7123" fmla="*/ 8629114 w 9586368"/>
              <a:gd name="connsiteY7123" fmla="*/ 1449837 h 6479439"/>
              <a:gd name="connsiteX7124" fmla="*/ 8625095 w 9586368"/>
              <a:gd name="connsiteY7124" fmla="*/ 1453877 h 6479439"/>
              <a:gd name="connsiteX7125" fmla="*/ 8615184 w 9586368"/>
              <a:gd name="connsiteY7125" fmla="*/ 1453877 h 6479439"/>
              <a:gd name="connsiteX7126" fmla="*/ 8611165 w 9586368"/>
              <a:gd name="connsiteY7126" fmla="*/ 1449837 h 6479439"/>
              <a:gd name="connsiteX7127" fmla="*/ 8611165 w 9586368"/>
              <a:gd name="connsiteY7127" fmla="*/ 1439967 h 6479439"/>
              <a:gd name="connsiteX7128" fmla="*/ 1679216 w 9586368"/>
              <a:gd name="connsiteY7128" fmla="*/ 1435922 h 6479439"/>
              <a:gd name="connsiteX7129" fmla="*/ 1689126 w 9586368"/>
              <a:gd name="connsiteY7129" fmla="*/ 1435922 h 6479439"/>
              <a:gd name="connsiteX7130" fmla="*/ 1693146 w 9586368"/>
              <a:gd name="connsiteY7130" fmla="*/ 1439960 h 6479439"/>
              <a:gd name="connsiteX7131" fmla="*/ 1693146 w 9586368"/>
              <a:gd name="connsiteY7131" fmla="*/ 1449831 h 6479439"/>
              <a:gd name="connsiteX7132" fmla="*/ 1689126 w 9586368"/>
              <a:gd name="connsiteY7132" fmla="*/ 1453870 h 6479439"/>
              <a:gd name="connsiteX7133" fmla="*/ 1679216 w 9586368"/>
              <a:gd name="connsiteY7133" fmla="*/ 1453870 h 6479439"/>
              <a:gd name="connsiteX7134" fmla="*/ 1675198 w 9586368"/>
              <a:gd name="connsiteY7134" fmla="*/ 1449831 h 6479439"/>
              <a:gd name="connsiteX7135" fmla="*/ 1675198 w 9586368"/>
              <a:gd name="connsiteY7135" fmla="*/ 1439960 h 6479439"/>
              <a:gd name="connsiteX7136" fmla="*/ 1439900 w 9586368"/>
              <a:gd name="connsiteY7136" fmla="*/ 1435922 h 6479439"/>
              <a:gd name="connsiteX7137" fmla="*/ 1449810 w 9586368"/>
              <a:gd name="connsiteY7137" fmla="*/ 1435922 h 6479439"/>
              <a:gd name="connsiteX7138" fmla="*/ 1453828 w 9586368"/>
              <a:gd name="connsiteY7138" fmla="*/ 1439960 h 6479439"/>
              <a:gd name="connsiteX7139" fmla="*/ 1453828 w 9586368"/>
              <a:gd name="connsiteY7139" fmla="*/ 1449831 h 6479439"/>
              <a:gd name="connsiteX7140" fmla="*/ 1449810 w 9586368"/>
              <a:gd name="connsiteY7140" fmla="*/ 1453870 h 6479439"/>
              <a:gd name="connsiteX7141" fmla="*/ 1439900 w 9586368"/>
              <a:gd name="connsiteY7141" fmla="*/ 1453870 h 6479439"/>
              <a:gd name="connsiteX7142" fmla="*/ 1435880 w 9586368"/>
              <a:gd name="connsiteY7142" fmla="*/ 1449831 h 6479439"/>
              <a:gd name="connsiteX7143" fmla="*/ 1435880 w 9586368"/>
              <a:gd name="connsiteY7143" fmla="*/ 1439960 h 6479439"/>
              <a:gd name="connsiteX7144" fmla="*/ 1200583 w 9586368"/>
              <a:gd name="connsiteY7144" fmla="*/ 1435922 h 6479439"/>
              <a:gd name="connsiteX7145" fmla="*/ 1210493 w 9586368"/>
              <a:gd name="connsiteY7145" fmla="*/ 1435922 h 6479439"/>
              <a:gd name="connsiteX7146" fmla="*/ 1214512 w 9586368"/>
              <a:gd name="connsiteY7146" fmla="*/ 1439960 h 6479439"/>
              <a:gd name="connsiteX7147" fmla="*/ 1214512 w 9586368"/>
              <a:gd name="connsiteY7147" fmla="*/ 1449831 h 6479439"/>
              <a:gd name="connsiteX7148" fmla="*/ 1210493 w 9586368"/>
              <a:gd name="connsiteY7148" fmla="*/ 1453870 h 6479439"/>
              <a:gd name="connsiteX7149" fmla="*/ 1200583 w 9586368"/>
              <a:gd name="connsiteY7149" fmla="*/ 1453870 h 6479439"/>
              <a:gd name="connsiteX7150" fmla="*/ 1196564 w 9586368"/>
              <a:gd name="connsiteY7150" fmla="*/ 1449831 h 6479439"/>
              <a:gd name="connsiteX7151" fmla="*/ 1196564 w 9586368"/>
              <a:gd name="connsiteY7151" fmla="*/ 1439960 h 6479439"/>
              <a:gd name="connsiteX7152" fmla="*/ 961270 w 9586368"/>
              <a:gd name="connsiteY7152" fmla="*/ 1435922 h 6479439"/>
              <a:gd name="connsiteX7153" fmla="*/ 971181 w 9586368"/>
              <a:gd name="connsiteY7153" fmla="*/ 1435922 h 6479439"/>
              <a:gd name="connsiteX7154" fmla="*/ 975200 w 9586368"/>
              <a:gd name="connsiteY7154" fmla="*/ 1439960 h 6479439"/>
              <a:gd name="connsiteX7155" fmla="*/ 975200 w 9586368"/>
              <a:gd name="connsiteY7155" fmla="*/ 1449831 h 6479439"/>
              <a:gd name="connsiteX7156" fmla="*/ 971181 w 9586368"/>
              <a:gd name="connsiteY7156" fmla="*/ 1453870 h 6479439"/>
              <a:gd name="connsiteX7157" fmla="*/ 961270 w 9586368"/>
              <a:gd name="connsiteY7157" fmla="*/ 1453870 h 6479439"/>
              <a:gd name="connsiteX7158" fmla="*/ 957252 w 9586368"/>
              <a:gd name="connsiteY7158" fmla="*/ 1449831 h 6479439"/>
              <a:gd name="connsiteX7159" fmla="*/ 957252 w 9586368"/>
              <a:gd name="connsiteY7159" fmla="*/ 1439960 h 6479439"/>
              <a:gd name="connsiteX7160" fmla="*/ 9572438 w 9586368"/>
              <a:gd name="connsiteY7160" fmla="*/ 1435914 h 6479439"/>
              <a:gd name="connsiteX7161" fmla="*/ 9582349 w 9586368"/>
              <a:gd name="connsiteY7161" fmla="*/ 1435914 h 6479439"/>
              <a:gd name="connsiteX7162" fmla="*/ 9586368 w 9586368"/>
              <a:gd name="connsiteY7162" fmla="*/ 1439952 h 6479439"/>
              <a:gd name="connsiteX7163" fmla="*/ 9586368 w 9586368"/>
              <a:gd name="connsiteY7163" fmla="*/ 1449823 h 6479439"/>
              <a:gd name="connsiteX7164" fmla="*/ 9582349 w 9586368"/>
              <a:gd name="connsiteY7164" fmla="*/ 1453862 h 6479439"/>
              <a:gd name="connsiteX7165" fmla="*/ 9572438 w 9586368"/>
              <a:gd name="connsiteY7165" fmla="*/ 1453862 h 6479439"/>
              <a:gd name="connsiteX7166" fmla="*/ 9568419 w 9586368"/>
              <a:gd name="connsiteY7166" fmla="*/ 1449823 h 6479439"/>
              <a:gd name="connsiteX7167" fmla="*/ 9568419 w 9586368"/>
              <a:gd name="connsiteY7167" fmla="*/ 1439952 h 6479439"/>
              <a:gd name="connsiteX7168" fmla="*/ 1918514 w 9586368"/>
              <a:gd name="connsiteY7168" fmla="*/ 1435912 h 6479439"/>
              <a:gd name="connsiteX7169" fmla="*/ 1928424 w 9586368"/>
              <a:gd name="connsiteY7169" fmla="*/ 1435912 h 6479439"/>
              <a:gd name="connsiteX7170" fmla="*/ 1932443 w 9586368"/>
              <a:gd name="connsiteY7170" fmla="*/ 1439950 h 6479439"/>
              <a:gd name="connsiteX7171" fmla="*/ 1932443 w 9586368"/>
              <a:gd name="connsiteY7171" fmla="*/ 1449821 h 6479439"/>
              <a:gd name="connsiteX7172" fmla="*/ 1928424 w 9586368"/>
              <a:gd name="connsiteY7172" fmla="*/ 1453860 h 6479439"/>
              <a:gd name="connsiteX7173" fmla="*/ 1918514 w 9586368"/>
              <a:gd name="connsiteY7173" fmla="*/ 1453860 h 6479439"/>
              <a:gd name="connsiteX7174" fmla="*/ 1914494 w 9586368"/>
              <a:gd name="connsiteY7174" fmla="*/ 1449821 h 6479439"/>
              <a:gd name="connsiteX7175" fmla="*/ 1914494 w 9586368"/>
              <a:gd name="connsiteY7175" fmla="*/ 1439950 h 6479439"/>
              <a:gd name="connsiteX7176" fmla="*/ 2157823 w 9586368"/>
              <a:gd name="connsiteY7176" fmla="*/ 1435909 h 6479439"/>
              <a:gd name="connsiteX7177" fmla="*/ 2167733 w 9586368"/>
              <a:gd name="connsiteY7177" fmla="*/ 1435909 h 6479439"/>
              <a:gd name="connsiteX7178" fmla="*/ 2171751 w 9586368"/>
              <a:gd name="connsiteY7178" fmla="*/ 1439947 h 6479439"/>
              <a:gd name="connsiteX7179" fmla="*/ 2171751 w 9586368"/>
              <a:gd name="connsiteY7179" fmla="*/ 1449818 h 6479439"/>
              <a:gd name="connsiteX7180" fmla="*/ 2167733 w 9586368"/>
              <a:gd name="connsiteY7180" fmla="*/ 1453857 h 6479439"/>
              <a:gd name="connsiteX7181" fmla="*/ 2157823 w 9586368"/>
              <a:gd name="connsiteY7181" fmla="*/ 1453857 h 6479439"/>
              <a:gd name="connsiteX7182" fmla="*/ 2153803 w 9586368"/>
              <a:gd name="connsiteY7182" fmla="*/ 1449818 h 6479439"/>
              <a:gd name="connsiteX7183" fmla="*/ 2153803 w 9586368"/>
              <a:gd name="connsiteY7183" fmla="*/ 1439947 h 6479439"/>
              <a:gd name="connsiteX7184" fmla="*/ 243347 w 9586368"/>
              <a:gd name="connsiteY7184" fmla="*/ 1435883 h 6479439"/>
              <a:gd name="connsiteX7185" fmla="*/ 253257 w 9586368"/>
              <a:gd name="connsiteY7185" fmla="*/ 1435883 h 6479439"/>
              <a:gd name="connsiteX7186" fmla="*/ 257276 w 9586368"/>
              <a:gd name="connsiteY7186" fmla="*/ 1439920 h 6479439"/>
              <a:gd name="connsiteX7187" fmla="*/ 257276 w 9586368"/>
              <a:gd name="connsiteY7187" fmla="*/ 1449791 h 6479439"/>
              <a:gd name="connsiteX7188" fmla="*/ 253257 w 9586368"/>
              <a:gd name="connsiteY7188" fmla="*/ 1453830 h 6479439"/>
              <a:gd name="connsiteX7189" fmla="*/ 243347 w 9586368"/>
              <a:gd name="connsiteY7189" fmla="*/ 1453830 h 6479439"/>
              <a:gd name="connsiteX7190" fmla="*/ 239328 w 9586368"/>
              <a:gd name="connsiteY7190" fmla="*/ 1449791 h 6479439"/>
              <a:gd name="connsiteX7191" fmla="*/ 239328 w 9586368"/>
              <a:gd name="connsiteY7191" fmla="*/ 1439920 h 6479439"/>
              <a:gd name="connsiteX7192" fmla="*/ 4034 w 9586368"/>
              <a:gd name="connsiteY7192" fmla="*/ 1435883 h 6479439"/>
              <a:gd name="connsiteX7193" fmla="*/ 13944 w 9586368"/>
              <a:gd name="connsiteY7193" fmla="*/ 1435883 h 6479439"/>
              <a:gd name="connsiteX7194" fmla="*/ 17964 w 9586368"/>
              <a:gd name="connsiteY7194" fmla="*/ 1439920 h 6479439"/>
              <a:gd name="connsiteX7195" fmla="*/ 17964 w 9586368"/>
              <a:gd name="connsiteY7195" fmla="*/ 1449791 h 6479439"/>
              <a:gd name="connsiteX7196" fmla="*/ 13944 w 9586368"/>
              <a:gd name="connsiteY7196" fmla="*/ 1453830 h 6479439"/>
              <a:gd name="connsiteX7197" fmla="*/ 4034 w 9586368"/>
              <a:gd name="connsiteY7197" fmla="*/ 1453830 h 6479439"/>
              <a:gd name="connsiteX7198" fmla="*/ 15 w 9586368"/>
              <a:gd name="connsiteY7198" fmla="*/ 1449791 h 6479439"/>
              <a:gd name="connsiteX7199" fmla="*/ 15 w 9586368"/>
              <a:gd name="connsiteY7199" fmla="*/ 1439920 h 6479439"/>
              <a:gd name="connsiteX7200" fmla="*/ 721973 w 9586368"/>
              <a:gd name="connsiteY7200" fmla="*/ 1435882 h 6479439"/>
              <a:gd name="connsiteX7201" fmla="*/ 731883 w 9586368"/>
              <a:gd name="connsiteY7201" fmla="*/ 1435882 h 6479439"/>
              <a:gd name="connsiteX7202" fmla="*/ 735902 w 9586368"/>
              <a:gd name="connsiteY7202" fmla="*/ 1439920 h 6479439"/>
              <a:gd name="connsiteX7203" fmla="*/ 735902 w 9586368"/>
              <a:gd name="connsiteY7203" fmla="*/ 1449791 h 6479439"/>
              <a:gd name="connsiteX7204" fmla="*/ 731883 w 9586368"/>
              <a:gd name="connsiteY7204" fmla="*/ 1453830 h 6479439"/>
              <a:gd name="connsiteX7205" fmla="*/ 721973 w 9586368"/>
              <a:gd name="connsiteY7205" fmla="*/ 1453830 h 6479439"/>
              <a:gd name="connsiteX7206" fmla="*/ 717954 w 9586368"/>
              <a:gd name="connsiteY7206" fmla="*/ 1449791 h 6479439"/>
              <a:gd name="connsiteX7207" fmla="*/ 717954 w 9586368"/>
              <a:gd name="connsiteY7207" fmla="*/ 1439920 h 6479439"/>
              <a:gd name="connsiteX7208" fmla="*/ 482661 w 9586368"/>
              <a:gd name="connsiteY7208" fmla="*/ 1435882 h 6479439"/>
              <a:gd name="connsiteX7209" fmla="*/ 492571 w 9586368"/>
              <a:gd name="connsiteY7209" fmla="*/ 1435882 h 6479439"/>
              <a:gd name="connsiteX7210" fmla="*/ 496590 w 9586368"/>
              <a:gd name="connsiteY7210" fmla="*/ 1439920 h 6479439"/>
              <a:gd name="connsiteX7211" fmla="*/ 496590 w 9586368"/>
              <a:gd name="connsiteY7211" fmla="*/ 1449791 h 6479439"/>
              <a:gd name="connsiteX7212" fmla="*/ 492571 w 9586368"/>
              <a:gd name="connsiteY7212" fmla="*/ 1453830 h 6479439"/>
              <a:gd name="connsiteX7213" fmla="*/ 482661 w 9586368"/>
              <a:gd name="connsiteY7213" fmla="*/ 1453830 h 6479439"/>
              <a:gd name="connsiteX7214" fmla="*/ 478642 w 9586368"/>
              <a:gd name="connsiteY7214" fmla="*/ 1449791 h 6479439"/>
              <a:gd name="connsiteX7215" fmla="*/ 478642 w 9586368"/>
              <a:gd name="connsiteY7215" fmla="*/ 1439920 h 6479439"/>
              <a:gd name="connsiteX7216" fmla="*/ 3350359 w 9586368"/>
              <a:gd name="connsiteY7216" fmla="*/ 1196701 h 6479439"/>
              <a:gd name="connsiteX7217" fmla="*/ 3360268 w 9586368"/>
              <a:gd name="connsiteY7217" fmla="*/ 1196701 h 6479439"/>
              <a:gd name="connsiteX7218" fmla="*/ 3364287 w 9586368"/>
              <a:gd name="connsiteY7218" fmla="*/ 1200738 h 6479439"/>
              <a:gd name="connsiteX7219" fmla="*/ 3364287 w 9586368"/>
              <a:gd name="connsiteY7219" fmla="*/ 1210610 h 6479439"/>
              <a:gd name="connsiteX7220" fmla="*/ 3360268 w 9586368"/>
              <a:gd name="connsiteY7220" fmla="*/ 1214650 h 6479439"/>
              <a:gd name="connsiteX7221" fmla="*/ 3350359 w 9586368"/>
              <a:gd name="connsiteY7221" fmla="*/ 1214650 h 6479439"/>
              <a:gd name="connsiteX7222" fmla="*/ 3346340 w 9586368"/>
              <a:gd name="connsiteY7222" fmla="*/ 1210610 h 6479439"/>
              <a:gd name="connsiteX7223" fmla="*/ 3346340 w 9586368"/>
              <a:gd name="connsiteY7223" fmla="*/ 1200738 h 6479439"/>
              <a:gd name="connsiteX7224" fmla="*/ 3111048 w 9586368"/>
              <a:gd name="connsiteY7224" fmla="*/ 1196701 h 6479439"/>
              <a:gd name="connsiteX7225" fmla="*/ 3120959 w 9586368"/>
              <a:gd name="connsiteY7225" fmla="*/ 1196701 h 6479439"/>
              <a:gd name="connsiteX7226" fmla="*/ 3124977 w 9586368"/>
              <a:gd name="connsiteY7226" fmla="*/ 1200738 h 6479439"/>
              <a:gd name="connsiteX7227" fmla="*/ 3124977 w 9586368"/>
              <a:gd name="connsiteY7227" fmla="*/ 1210610 h 6479439"/>
              <a:gd name="connsiteX7228" fmla="*/ 3120959 w 9586368"/>
              <a:gd name="connsiteY7228" fmla="*/ 1214650 h 6479439"/>
              <a:gd name="connsiteX7229" fmla="*/ 3111048 w 9586368"/>
              <a:gd name="connsiteY7229" fmla="*/ 1214650 h 6479439"/>
              <a:gd name="connsiteX7230" fmla="*/ 3107029 w 9586368"/>
              <a:gd name="connsiteY7230" fmla="*/ 1210610 h 6479439"/>
              <a:gd name="connsiteX7231" fmla="*/ 3107029 w 9586368"/>
              <a:gd name="connsiteY7231" fmla="*/ 1200738 h 6479439"/>
              <a:gd name="connsiteX7232" fmla="*/ 2871737 w 9586368"/>
              <a:gd name="connsiteY7232" fmla="*/ 1196701 h 6479439"/>
              <a:gd name="connsiteX7233" fmla="*/ 2881646 w 9586368"/>
              <a:gd name="connsiteY7233" fmla="*/ 1196701 h 6479439"/>
              <a:gd name="connsiteX7234" fmla="*/ 2885666 w 9586368"/>
              <a:gd name="connsiteY7234" fmla="*/ 1200738 h 6479439"/>
              <a:gd name="connsiteX7235" fmla="*/ 2885666 w 9586368"/>
              <a:gd name="connsiteY7235" fmla="*/ 1210610 h 6479439"/>
              <a:gd name="connsiteX7236" fmla="*/ 2881646 w 9586368"/>
              <a:gd name="connsiteY7236" fmla="*/ 1214650 h 6479439"/>
              <a:gd name="connsiteX7237" fmla="*/ 2871737 w 9586368"/>
              <a:gd name="connsiteY7237" fmla="*/ 1214650 h 6479439"/>
              <a:gd name="connsiteX7238" fmla="*/ 2867717 w 9586368"/>
              <a:gd name="connsiteY7238" fmla="*/ 1210610 h 6479439"/>
              <a:gd name="connsiteX7239" fmla="*/ 2867717 w 9586368"/>
              <a:gd name="connsiteY7239" fmla="*/ 1200738 h 6479439"/>
              <a:gd name="connsiteX7240" fmla="*/ 2632423 w 9586368"/>
              <a:gd name="connsiteY7240" fmla="*/ 1196701 h 6479439"/>
              <a:gd name="connsiteX7241" fmla="*/ 2642334 w 9586368"/>
              <a:gd name="connsiteY7241" fmla="*/ 1196701 h 6479439"/>
              <a:gd name="connsiteX7242" fmla="*/ 2646352 w 9586368"/>
              <a:gd name="connsiteY7242" fmla="*/ 1200740 h 6479439"/>
              <a:gd name="connsiteX7243" fmla="*/ 2646352 w 9586368"/>
              <a:gd name="connsiteY7243" fmla="*/ 1210610 h 6479439"/>
              <a:gd name="connsiteX7244" fmla="*/ 2642334 w 9586368"/>
              <a:gd name="connsiteY7244" fmla="*/ 1214650 h 6479439"/>
              <a:gd name="connsiteX7245" fmla="*/ 2632423 w 9586368"/>
              <a:gd name="connsiteY7245" fmla="*/ 1214650 h 6479439"/>
              <a:gd name="connsiteX7246" fmla="*/ 2628404 w 9586368"/>
              <a:gd name="connsiteY7246" fmla="*/ 1210610 h 6479439"/>
              <a:gd name="connsiteX7247" fmla="*/ 2628404 w 9586368"/>
              <a:gd name="connsiteY7247" fmla="*/ 1200740 h 6479439"/>
              <a:gd name="connsiteX7248" fmla="*/ 2393104 w 9586368"/>
              <a:gd name="connsiteY7248" fmla="*/ 1196701 h 6479439"/>
              <a:gd name="connsiteX7249" fmla="*/ 2403015 w 9586368"/>
              <a:gd name="connsiteY7249" fmla="*/ 1196701 h 6479439"/>
              <a:gd name="connsiteX7250" fmla="*/ 2407034 w 9586368"/>
              <a:gd name="connsiteY7250" fmla="*/ 1200740 h 6479439"/>
              <a:gd name="connsiteX7251" fmla="*/ 2407034 w 9586368"/>
              <a:gd name="connsiteY7251" fmla="*/ 1210610 h 6479439"/>
              <a:gd name="connsiteX7252" fmla="*/ 2403015 w 9586368"/>
              <a:gd name="connsiteY7252" fmla="*/ 1214650 h 6479439"/>
              <a:gd name="connsiteX7253" fmla="*/ 2393104 w 9586368"/>
              <a:gd name="connsiteY7253" fmla="*/ 1214650 h 6479439"/>
              <a:gd name="connsiteX7254" fmla="*/ 2389087 w 9586368"/>
              <a:gd name="connsiteY7254" fmla="*/ 1210610 h 6479439"/>
              <a:gd name="connsiteX7255" fmla="*/ 2389087 w 9586368"/>
              <a:gd name="connsiteY7255" fmla="*/ 1200740 h 6479439"/>
              <a:gd name="connsiteX7256" fmla="*/ 4546929 w 9586368"/>
              <a:gd name="connsiteY7256" fmla="*/ 1196689 h 6479439"/>
              <a:gd name="connsiteX7257" fmla="*/ 4556840 w 9586368"/>
              <a:gd name="connsiteY7257" fmla="*/ 1196689 h 6479439"/>
              <a:gd name="connsiteX7258" fmla="*/ 4560859 w 9586368"/>
              <a:gd name="connsiteY7258" fmla="*/ 1200726 h 6479439"/>
              <a:gd name="connsiteX7259" fmla="*/ 4560859 w 9586368"/>
              <a:gd name="connsiteY7259" fmla="*/ 1210598 h 6479439"/>
              <a:gd name="connsiteX7260" fmla="*/ 4556840 w 9586368"/>
              <a:gd name="connsiteY7260" fmla="*/ 1214637 h 6479439"/>
              <a:gd name="connsiteX7261" fmla="*/ 4546929 w 9586368"/>
              <a:gd name="connsiteY7261" fmla="*/ 1214637 h 6479439"/>
              <a:gd name="connsiteX7262" fmla="*/ 4542910 w 9586368"/>
              <a:gd name="connsiteY7262" fmla="*/ 1210598 h 6479439"/>
              <a:gd name="connsiteX7263" fmla="*/ 4542910 w 9586368"/>
              <a:gd name="connsiteY7263" fmla="*/ 1200726 h 6479439"/>
              <a:gd name="connsiteX7264" fmla="*/ 4307612 w 9586368"/>
              <a:gd name="connsiteY7264" fmla="*/ 1196689 h 6479439"/>
              <a:gd name="connsiteX7265" fmla="*/ 4317523 w 9586368"/>
              <a:gd name="connsiteY7265" fmla="*/ 1196689 h 6479439"/>
              <a:gd name="connsiteX7266" fmla="*/ 4321543 w 9586368"/>
              <a:gd name="connsiteY7266" fmla="*/ 1200726 h 6479439"/>
              <a:gd name="connsiteX7267" fmla="*/ 4321543 w 9586368"/>
              <a:gd name="connsiteY7267" fmla="*/ 1210598 h 6479439"/>
              <a:gd name="connsiteX7268" fmla="*/ 4317523 w 9586368"/>
              <a:gd name="connsiteY7268" fmla="*/ 1214637 h 6479439"/>
              <a:gd name="connsiteX7269" fmla="*/ 4307612 w 9586368"/>
              <a:gd name="connsiteY7269" fmla="*/ 1214637 h 6479439"/>
              <a:gd name="connsiteX7270" fmla="*/ 4303595 w 9586368"/>
              <a:gd name="connsiteY7270" fmla="*/ 1210598 h 6479439"/>
              <a:gd name="connsiteX7271" fmla="*/ 4303595 w 9586368"/>
              <a:gd name="connsiteY7271" fmla="*/ 1200726 h 6479439"/>
              <a:gd name="connsiteX7272" fmla="*/ 4068297 w 9586368"/>
              <a:gd name="connsiteY7272" fmla="*/ 1196689 h 6479439"/>
              <a:gd name="connsiteX7273" fmla="*/ 4078210 w 9586368"/>
              <a:gd name="connsiteY7273" fmla="*/ 1196689 h 6479439"/>
              <a:gd name="connsiteX7274" fmla="*/ 4082229 w 9586368"/>
              <a:gd name="connsiteY7274" fmla="*/ 1200726 h 6479439"/>
              <a:gd name="connsiteX7275" fmla="*/ 4082229 w 9586368"/>
              <a:gd name="connsiteY7275" fmla="*/ 1210598 h 6479439"/>
              <a:gd name="connsiteX7276" fmla="*/ 4078210 w 9586368"/>
              <a:gd name="connsiteY7276" fmla="*/ 1214637 h 6479439"/>
              <a:gd name="connsiteX7277" fmla="*/ 4068297 w 9586368"/>
              <a:gd name="connsiteY7277" fmla="*/ 1214637 h 6479439"/>
              <a:gd name="connsiteX7278" fmla="*/ 4064278 w 9586368"/>
              <a:gd name="connsiteY7278" fmla="*/ 1210598 h 6479439"/>
              <a:gd name="connsiteX7279" fmla="*/ 4064278 w 9586368"/>
              <a:gd name="connsiteY7279" fmla="*/ 1200726 h 6479439"/>
              <a:gd name="connsiteX7280" fmla="*/ 3828990 w 9586368"/>
              <a:gd name="connsiteY7280" fmla="*/ 1196689 h 6479439"/>
              <a:gd name="connsiteX7281" fmla="*/ 3838899 w 9586368"/>
              <a:gd name="connsiteY7281" fmla="*/ 1196689 h 6479439"/>
              <a:gd name="connsiteX7282" fmla="*/ 3842917 w 9586368"/>
              <a:gd name="connsiteY7282" fmla="*/ 1200728 h 6479439"/>
              <a:gd name="connsiteX7283" fmla="*/ 3842917 w 9586368"/>
              <a:gd name="connsiteY7283" fmla="*/ 1210598 h 6479439"/>
              <a:gd name="connsiteX7284" fmla="*/ 3838899 w 9586368"/>
              <a:gd name="connsiteY7284" fmla="*/ 1214637 h 6479439"/>
              <a:gd name="connsiteX7285" fmla="*/ 3828990 w 9586368"/>
              <a:gd name="connsiteY7285" fmla="*/ 1214637 h 6479439"/>
              <a:gd name="connsiteX7286" fmla="*/ 3824971 w 9586368"/>
              <a:gd name="connsiteY7286" fmla="*/ 1210598 h 6479439"/>
              <a:gd name="connsiteX7287" fmla="*/ 3824971 w 9586368"/>
              <a:gd name="connsiteY7287" fmla="*/ 1200728 h 6479439"/>
              <a:gd name="connsiteX7288" fmla="*/ 3589676 w 9586368"/>
              <a:gd name="connsiteY7288" fmla="*/ 1196689 h 6479439"/>
              <a:gd name="connsiteX7289" fmla="*/ 3599585 w 9586368"/>
              <a:gd name="connsiteY7289" fmla="*/ 1196689 h 6479439"/>
              <a:gd name="connsiteX7290" fmla="*/ 3603604 w 9586368"/>
              <a:gd name="connsiteY7290" fmla="*/ 1200728 h 6479439"/>
              <a:gd name="connsiteX7291" fmla="*/ 3603604 w 9586368"/>
              <a:gd name="connsiteY7291" fmla="*/ 1210598 h 6479439"/>
              <a:gd name="connsiteX7292" fmla="*/ 3599585 w 9586368"/>
              <a:gd name="connsiteY7292" fmla="*/ 1214637 h 6479439"/>
              <a:gd name="connsiteX7293" fmla="*/ 3589676 w 9586368"/>
              <a:gd name="connsiteY7293" fmla="*/ 1214637 h 6479439"/>
              <a:gd name="connsiteX7294" fmla="*/ 3585657 w 9586368"/>
              <a:gd name="connsiteY7294" fmla="*/ 1210598 h 6479439"/>
              <a:gd name="connsiteX7295" fmla="*/ 3585657 w 9586368"/>
              <a:gd name="connsiteY7295" fmla="*/ 1200728 h 6479439"/>
              <a:gd name="connsiteX7296" fmla="*/ 5743412 w 9586368"/>
              <a:gd name="connsiteY7296" fmla="*/ 1196676 h 6479439"/>
              <a:gd name="connsiteX7297" fmla="*/ 5753323 w 9586368"/>
              <a:gd name="connsiteY7297" fmla="*/ 1196676 h 6479439"/>
              <a:gd name="connsiteX7298" fmla="*/ 5757342 w 9586368"/>
              <a:gd name="connsiteY7298" fmla="*/ 1200714 h 6479439"/>
              <a:gd name="connsiteX7299" fmla="*/ 5757342 w 9586368"/>
              <a:gd name="connsiteY7299" fmla="*/ 1210586 h 6479439"/>
              <a:gd name="connsiteX7300" fmla="*/ 5753323 w 9586368"/>
              <a:gd name="connsiteY7300" fmla="*/ 1214625 h 6479439"/>
              <a:gd name="connsiteX7301" fmla="*/ 5743412 w 9586368"/>
              <a:gd name="connsiteY7301" fmla="*/ 1214625 h 6479439"/>
              <a:gd name="connsiteX7302" fmla="*/ 5739393 w 9586368"/>
              <a:gd name="connsiteY7302" fmla="*/ 1210586 h 6479439"/>
              <a:gd name="connsiteX7303" fmla="*/ 5739393 w 9586368"/>
              <a:gd name="connsiteY7303" fmla="*/ 1200714 h 6479439"/>
              <a:gd name="connsiteX7304" fmla="*/ 5504099 w 9586368"/>
              <a:gd name="connsiteY7304" fmla="*/ 1196676 h 6479439"/>
              <a:gd name="connsiteX7305" fmla="*/ 5514010 w 9586368"/>
              <a:gd name="connsiteY7305" fmla="*/ 1196676 h 6479439"/>
              <a:gd name="connsiteX7306" fmla="*/ 5518029 w 9586368"/>
              <a:gd name="connsiteY7306" fmla="*/ 1200714 h 6479439"/>
              <a:gd name="connsiteX7307" fmla="*/ 5518029 w 9586368"/>
              <a:gd name="connsiteY7307" fmla="*/ 1210586 h 6479439"/>
              <a:gd name="connsiteX7308" fmla="*/ 5514010 w 9586368"/>
              <a:gd name="connsiteY7308" fmla="*/ 1214625 h 6479439"/>
              <a:gd name="connsiteX7309" fmla="*/ 5504099 w 9586368"/>
              <a:gd name="connsiteY7309" fmla="*/ 1214625 h 6479439"/>
              <a:gd name="connsiteX7310" fmla="*/ 5500080 w 9586368"/>
              <a:gd name="connsiteY7310" fmla="*/ 1210586 h 6479439"/>
              <a:gd name="connsiteX7311" fmla="*/ 5500080 w 9586368"/>
              <a:gd name="connsiteY7311" fmla="*/ 1200714 h 6479439"/>
              <a:gd name="connsiteX7312" fmla="*/ 5264784 w 9586368"/>
              <a:gd name="connsiteY7312" fmla="*/ 1196676 h 6479439"/>
              <a:gd name="connsiteX7313" fmla="*/ 5274694 w 9586368"/>
              <a:gd name="connsiteY7313" fmla="*/ 1196676 h 6479439"/>
              <a:gd name="connsiteX7314" fmla="*/ 5278713 w 9586368"/>
              <a:gd name="connsiteY7314" fmla="*/ 1200714 h 6479439"/>
              <a:gd name="connsiteX7315" fmla="*/ 5278713 w 9586368"/>
              <a:gd name="connsiteY7315" fmla="*/ 1210586 h 6479439"/>
              <a:gd name="connsiteX7316" fmla="*/ 5274694 w 9586368"/>
              <a:gd name="connsiteY7316" fmla="*/ 1214625 h 6479439"/>
              <a:gd name="connsiteX7317" fmla="*/ 5264784 w 9586368"/>
              <a:gd name="connsiteY7317" fmla="*/ 1214625 h 6479439"/>
              <a:gd name="connsiteX7318" fmla="*/ 5260765 w 9586368"/>
              <a:gd name="connsiteY7318" fmla="*/ 1210586 h 6479439"/>
              <a:gd name="connsiteX7319" fmla="*/ 5260765 w 9586368"/>
              <a:gd name="connsiteY7319" fmla="*/ 1200714 h 6479439"/>
              <a:gd name="connsiteX7320" fmla="*/ 5025470 w 9586368"/>
              <a:gd name="connsiteY7320" fmla="*/ 1196676 h 6479439"/>
              <a:gd name="connsiteX7321" fmla="*/ 5035381 w 9586368"/>
              <a:gd name="connsiteY7321" fmla="*/ 1196676 h 6479439"/>
              <a:gd name="connsiteX7322" fmla="*/ 5039400 w 9586368"/>
              <a:gd name="connsiteY7322" fmla="*/ 1200715 h 6479439"/>
              <a:gd name="connsiteX7323" fmla="*/ 5039400 w 9586368"/>
              <a:gd name="connsiteY7323" fmla="*/ 1210586 h 6479439"/>
              <a:gd name="connsiteX7324" fmla="*/ 5035381 w 9586368"/>
              <a:gd name="connsiteY7324" fmla="*/ 1214625 h 6479439"/>
              <a:gd name="connsiteX7325" fmla="*/ 5025470 w 9586368"/>
              <a:gd name="connsiteY7325" fmla="*/ 1214625 h 6479439"/>
              <a:gd name="connsiteX7326" fmla="*/ 5021451 w 9586368"/>
              <a:gd name="connsiteY7326" fmla="*/ 1210586 h 6479439"/>
              <a:gd name="connsiteX7327" fmla="*/ 5021451 w 9586368"/>
              <a:gd name="connsiteY7327" fmla="*/ 1200715 h 6479439"/>
              <a:gd name="connsiteX7328" fmla="*/ 4786241 w 9586368"/>
              <a:gd name="connsiteY7328" fmla="*/ 1196676 h 6479439"/>
              <a:gd name="connsiteX7329" fmla="*/ 4796152 w 9586368"/>
              <a:gd name="connsiteY7329" fmla="*/ 1196676 h 6479439"/>
              <a:gd name="connsiteX7330" fmla="*/ 4800171 w 9586368"/>
              <a:gd name="connsiteY7330" fmla="*/ 1200715 h 6479439"/>
              <a:gd name="connsiteX7331" fmla="*/ 4800171 w 9586368"/>
              <a:gd name="connsiteY7331" fmla="*/ 1210586 h 6479439"/>
              <a:gd name="connsiteX7332" fmla="*/ 4796152 w 9586368"/>
              <a:gd name="connsiteY7332" fmla="*/ 1214625 h 6479439"/>
              <a:gd name="connsiteX7333" fmla="*/ 4786241 w 9586368"/>
              <a:gd name="connsiteY7333" fmla="*/ 1214625 h 6479439"/>
              <a:gd name="connsiteX7334" fmla="*/ 4782224 w 9586368"/>
              <a:gd name="connsiteY7334" fmla="*/ 1210586 h 6479439"/>
              <a:gd name="connsiteX7335" fmla="*/ 4782224 w 9586368"/>
              <a:gd name="connsiteY7335" fmla="*/ 1200715 h 6479439"/>
              <a:gd name="connsiteX7336" fmla="*/ 6222042 w 9586368"/>
              <a:gd name="connsiteY7336" fmla="*/ 1196664 h 6479439"/>
              <a:gd name="connsiteX7337" fmla="*/ 6231952 w 9586368"/>
              <a:gd name="connsiteY7337" fmla="*/ 1196664 h 6479439"/>
              <a:gd name="connsiteX7338" fmla="*/ 6235971 w 9586368"/>
              <a:gd name="connsiteY7338" fmla="*/ 1200703 h 6479439"/>
              <a:gd name="connsiteX7339" fmla="*/ 6235971 w 9586368"/>
              <a:gd name="connsiteY7339" fmla="*/ 1210573 h 6479439"/>
              <a:gd name="connsiteX7340" fmla="*/ 6231952 w 9586368"/>
              <a:gd name="connsiteY7340" fmla="*/ 1214612 h 6479439"/>
              <a:gd name="connsiteX7341" fmla="*/ 6222042 w 9586368"/>
              <a:gd name="connsiteY7341" fmla="*/ 1214612 h 6479439"/>
              <a:gd name="connsiteX7342" fmla="*/ 6218023 w 9586368"/>
              <a:gd name="connsiteY7342" fmla="*/ 1210573 h 6479439"/>
              <a:gd name="connsiteX7343" fmla="*/ 6218023 w 9586368"/>
              <a:gd name="connsiteY7343" fmla="*/ 1200703 h 6479439"/>
              <a:gd name="connsiteX7344" fmla="*/ 5982729 w 9586368"/>
              <a:gd name="connsiteY7344" fmla="*/ 1196664 h 6479439"/>
              <a:gd name="connsiteX7345" fmla="*/ 5992639 w 9586368"/>
              <a:gd name="connsiteY7345" fmla="*/ 1196664 h 6479439"/>
              <a:gd name="connsiteX7346" fmla="*/ 5996658 w 9586368"/>
              <a:gd name="connsiteY7346" fmla="*/ 1200703 h 6479439"/>
              <a:gd name="connsiteX7347" fmla="*/ 5996658 w 9586368"/>
              <a:gd name="connsiteY7347" fmla="*/ 1210573 h 6479439"/>
              <a:gd name="connsiteX7348" fmla="*/ 5992639 w 9586368"/>
              <a:gd name="connsiteY7348" fmla="*/ 1214612 h 6479439"/>
              <a:gd name="connsiteX7349" fmla="*/ 5982729 w 9586368"/>
              <a:gd name="connsiteY7349" fmla="*/ 1214612 h 6479439"/>
              <a:gd name="connsiteX7350" fmla="*/ 5978710 w 9586368"/>
              <a:gd name="connsiteY7350" fmla="*/ 1210573 h 6479439"/>
              <a:gd name="connsiteX7351" fmla="*/ 5978710 w 9586368"/>
              <a:gd name="connsiteY7351" fmla="*/ 1200703 h 6479439"/>
              <a:gd name="connsiteX7352" fmla="*/ 6939983 w 9586368"/>
              <a:gd name="connsiteY7352" fmla="*/ 1196664 h 6479439"/>
              <a:gd name="connsiteX7353" fmla="*/ 6949894 w 9586368"/>
              <a:gd name="connsiteY7353" fmla="*/ 1196664 h 6479439"/>
              <a:gd name="connsiteX7354" fmla="*/ 6953913 w 9586368"/>
              <a:gd name="connsiteY7354" fmla="*/ 1200702 h 6479439"/>
              <a:gd name="connsiteX7355" fmla="*/ 6953913 w 9586368"/>
              <a:gd name="connsiteY7355" fmla="*/ 1210573 h 6479439"/>
              <a:gd name="connsiteX7356" fmla="*/ 6949894 w 9586368"/>
              <a:gd name="connsiteY7356" fmla="*/ 1214612 h 6479439"/>
              <a:gd name="connsiteX7357" fmla="*/ 6939983 w 9586368"/>
              <a:gd name="connsiteY7357" fmla="*/ 1214612 h 6479439"/>
              <a:gd name="connsiteX7358" fmla="*/ 6935964 w 9586368"/>
              <a:gd name="connsiteY7358" fmla="*/ 1210573 h 6479439"/>
              <a:gd name="connsiteX7359" fmla="*/ 6935964 w 9586368"/>
              <a:gd name="connsiteY7359" fmla="*/ 1200702 h 6479439"/>
              <a:gd name="connsiteX7360" fmla="*/ 6700670 w 9586368"/>
              <a:gd name="connsiteY7360" fmla="*/ 1196664 h 6479439"/>
              <a:gd name="connsiteX7361" fmla="*/ 6710581 w 9586368"/>
              <a:gd name="connsiteY7361" fmla="*/ 1196664 h 6479439"/>
              <a:gd name="connsiteX7362" fmla="*/ 6714600 w 9586368"/>
              <a:gd name="connsiteY7362" fmla="*/ 1200702 h 6479439"/>
              <a:gd name="connsiteX7363" fmla="*/ 6714600 w 9586368"/>
              <a:gd name="connsiteY7363" fmla="*/ 1210573 h 6479439"/>
              <a:gd name="connsiteX7364" fmla="*/ 6710581 w 9586368"/>
              <a:gd name="connsiteY7364" fmla="*/ 1214612 h 6479439"/>
              <a:gd name="connsiteX7365" fmla="*/ 6700670 w 9586368"/>
              <a:gd name="connsiteY7365" fmla="*/ 1214612 h 6479439"/>
              <a:gd name="connsiteX7366" fmla="*/ 6696651 w 9586368"/>
              <a:gd name="connsiteY7366" fmla="*/ 1210573 h 6479439"/>
              <a:gd name="connsiteX7367" fmla="*/ 6696651 w 9586368"/>
              <a:gd name="connsiteY7367" fmla="*/ 1200702 h 6479439"/>
              <a:gd name="connsiteX7368" fmla="*/ 6461356 w 9586368"/>
              <a:gd name="connsiteY7368" fmla="*/ 1196664 h 6479439"/>
              <a:gd name="connsiteX7369" fmla="*/ 6471266 w 9586368"/>
              <a:gd name="connsiteY7369" fmla="*/ 1196664 h 6479439"/>
              <a:gd name="connsiteX7370" fmla="*/ 6475285 w 9586368"/>
              <a:gd name="connsiteY7370" fmla="*/ 1200702 h 6479439"/>
              <a:gd name="connsiteX7371" fmla="*/ 6475285 w 9586368"/>
              <a:gd name="connsiteY7371" fmla="*/ 1210573 h 6479439"/>
              <a:gd name="connsiteX7372" fmla="*/ 6471266 w 9586368"/>
              <a:gd name="connsiteY7372" fmla="*/ 1214612 h 6479439"/>
              <a:gd name="connsiteX7373" fmla="*/ 6461356 w 9586368"/>
              <a:gd name="connsiteY7373" fmla="*/ 1214612 h 6479439"/>
              <a:gd name="connsiteX7374" fmla="*/ 6457337 w 9586368"/>
              <a:gd name="connsiteY7374" fmla="*/ 1210573 h 6479439"/>
              <a:gd name="connsiteX7375" fmla="*/ 6457337 w 9586368"/>
              <a:gd name="connsiteY7375" fmla="*/ 1200702 h 6479439"/>
              <a:gd name="connsiteX7376" fmla="*/ 7418611 w 9586368"/>
              <a:gd name="connsiteY7376" fmla="*/ 1196652 h 6479439"/>
              <a:gd name="connsiteX7377" fmla="*/ 7428521 w 9586368"/>
              <a:gd name="connsiteY7377" fmla="*/ 1196652 h 6479439"/>
              <a:gd name="connsiteX7378" fmla="*/ 7432540 w 9586368"/>
              <a:gd name="connsiteY7378" fmla="*/ 1200690 h 6479439"/>
              <a:gd name="connsiteX7379" fmla="*/ 7432540 w 9586368"/>
              <a:gd name="connsiteY7379" fmla="*/ 1210561 h 6479439"/>
              <a:gd name="connsiteX7380" fmla="*/ 7428521 w 9586368"/>
              <a:gd name="connsiteY7380" fmla="*/ 1214600 h 6479439"/>
              <a:gd name="connsiteX7381" fmla="*/ 7418611 w 9586368"/>
              <a:gd name="connsiteY7381" fmla="*/ 1214600 h 6479439"/>
              <a:gd name="connsiteX7382" fmla="*/ 7414592 w 9586368"/>
              <a:gd name="connsiteY7382" fmla="*/ 1210561 h 6479439"/>
              <a:gd name="connsiteX7383" fmla="*/ 7414592 w 9586368"/>
              <a:gd name="connsiteY7383" fmla="*/ 1200690 h 6479439"/>
              <a:gd name="connsiteX7384" fmla="*/ 7179298 w 9586368"/>
              <a:gd name="connsiteY7384" fmla="*/ 1196652 h 6479439"/>
              <a:gd name="connsiteX7385" fmla="*/ 7189209 w 9586368"/>
              <a:gd name="connsiteY7385" fmla="*/ 1196652 h 6479439"/>
              <a:gd name="connsiteX7386" fmla="*/ 7193228 w 9586368"/>
              <a:gd name="connsiteY7386" fmla="*/ 1200690 h 6479439"/>
              <a:gd name="connsiteX7387" fmla="*/ 7193228 w 9586368"/>
              <a:gd name="connsiteY7387" fmla="*/ 1210561 h 6479439"/>
              <a:gd name="connsiteX7388" fmla="*/ 7189209 w 9586368"/>
              <a:gd name="connsiteY7388" fmla="*/ 1214600 h 6479439"/>
              <a:gd name="connsiteX7389" fmla="*/ 7179298 w 9586368"/>
              <a:gd name="connsiteY7389" fmla="*/ 1214600 h 6479439"/>
              <a:gd name="connsiteX7390" fmla="*/ 7175279 w 9586368"/>
              <a:gd name="connsiteY7390" fmla="*/ 1210561 h 6479439"/>
              <a:gd name="connsiteX7391" fmla="*/ 7175279 w 9586368"/>
              <a:gd name="connsiteY7391" fmla="*/ 1200690 h 6479439"/>
              <a:gd name="connsiteX7392" fmla="*/ 8136553 w 9586368"/>
              <a:gd name="connsiteY7392" fmla="*/ 1196651 h 6479439"/>
              <a:gd name="connsiteX7393" fmla="*/ 8146464 w 9586368"/>
              <a:gd name="connsiteY7393" fmla="*/ 1196651 h 6479439"/>
              <a:gd name="connsiteX7394" fmla="*/ 8150483 w 9586368"/>
              <a:gd name="connsiteY7394" fmla="*/ 1200689 h 6479439"/>
              <a:gd name="connsiteX7395" fmla="*/ 8150483 w 9586368"/>
              <a:gd name="connsiteY7395" fmla="*/ 1210561 h 6479439"/>
              <a:gd name="connsiteX7396" fmla="*/ 8146464 w 9586368"/>
              <a:gd name="connsiteY7396" fmla="*/ 1214600 h 6479439"/>
              <a:gd name="connsiteX7397" fmla="*/ 8136553 w 9586368"/>
              <a:gd name="connsiteY7397" fmla="*/ 1214600 h 6479439"/>
              <a:gd name="connsiteX7398" fmla="*/ 8132534 w 9586368"/>
              <a:gd name="connsiteY7398" fmla="*/ 1210561 h 6479439"/>
              <a:gd name="connsiteX7399" fmla="*/ 8132534 w 9586368"/>
              <a:gd name="connsiteY7399" fmla="*/ 1200689 h 6479439"/>
              <a:gd name="connsiteX7400" fmla="*/ 7897241 w 9586368"/>
              <a:gd name="connsiteY7400" fmla="*/ 1196651 h 6479439"/>
              <a:gd name="connsiteX7401" fmla="*/ 7907151 w 9586368"/>
              <a:gd name="connsiteY7401" fmla="*/ 1196651 h 6479439"/>
              <a:gd name="connsiteX7402" fmla="*/ 7911170 w 9586368"/>
              <a:gd name="connsiteY7402" fmla="*/ 1200689 h 6479439"/>
              <a:gd name="connsiteX7403" fmla="*/ 7911170 w 9586368"/>
              <a:gd name="connsiteY7403" fmla="*/ 1210561 h 6479439"/>
              <a:gd name="connsiteX7404" fmla="*/ 7907151 w 9586368"/>
              <a:gd name="connsiteY7404" fmla="*/ 1214600 h 6479439"/>
              <a:gd name="connsiteX7405" fmla="*/ 7897241 w 9586368"/>
              <a:gd name="connsiteY7405" fmla="*/ 1214600 h 6479439"/>
              <a:gd name="connsiteX7406" fmla="*/ 7893222 w 9586368"/>
              <a:gd name="connsiteY7406" fmla="*/ 1210561 h 6479439"/>
              <a:gd name="connsiteX7407" fmla="*/ 7893222 w 9586368"/>
              <a:gd name="connsiteY7407" fmla="*/ 1200689 h 6479439"/>
              <a:gd name="connsiteX7408" fmla="*/ 7657926 w 9586368"/>
              <a:gd name="connsiteY7408" fmla="*/ 1196651 h 6479439"/>
              <a:gd name="connsiteX7409" fmla="*/ 7667836 w 9586368"/>
              <a:gd name="connsiteY7409" fmla="*/ 1196651 h 6479439"/>
              <a:gd name="connsiteX7410" fmla="*/ 7671855 w 9586368"/>
              <a:gd name="connsiteY7410" fmla="*/ 1200689 h 6479439"/>
              <a:gd name="connsiteX7411" fmla="*/ 7671855 w 9586368"/>
              <a:gd name="connsiteY7411" fmla="*/ 1210561 h 6479439"/>
              <a:gd name="connsiteX7412" fmla="*/ 7667836 w 9586368"/>
              <a:gd name="connsiteY7412" fmla="*/ 1214600 h 6479439"/>
              <a:gd name="connsiteX7413" fmla="*/ 7657926 w 9586368"/>
              <a:gd name="connsiteY7413" fmla="*/ 1214600 h 6479439"/>
              <a:gd name="connsiteX7414" fmla="*/ 7653906 w 9586368"/>
              <a:gd name="connsiteY7414" fmla="*/ 1210561 h 6479439"/>
              <a:gd name="connsiteX7415" fmla="*/ 7653906 w 9586368"/>
              <a:gd name="connsiteY7415" fmla="*/ 1200689 h 6479439"/>
              <a:gd name="connsiteX7416" fmla="*/ 8615184 w 9586368"/>
              <a:gd name="connsiteY7416" fmla="*/ 1196639 h 6479439"/>
              <a:gd name="connsiteX7417" fmla="*/ 8625095 w 9586368"/>
              <a:gd name="connsiteY7417" fmla="*/ 1196639 h 6479439"/>
              <a:gd name="connsiteX7418" fmla="*/ 8629114 w 9586368"/>
              <a:gd name="connsiteY7418" fmla="*/ 1200678 h 6479439"/>
              <a:gd name="connsiteX7419" fmla="*/ 8629114 w 9586368"/>
              <a:gd name="connsiteY7419" fmla="*/ 1210548 h 6479439"/>
              <a:gd name="connsiteX7420" fmla="*/ 8625095 w 9586368"/>
              <a:gd name="connsiteY7420" fmla="*/ 1214587 h 6479439"/>
              <a:gd name="connsiteX7421" fmla="*/ 8615184 w 9586368"/>
              <a:gd name="connsiteY7421" fmla="*/ 1214587 h 6479439"/>
              <a:gd name="connsiteX7422" fmla="*/ 8611165 w 9586368"/>
              <a:gd name="connsiteY7422" fmla="*/ 1210548 h 6479439"/>
              <a:gd name="connsiteX7423" fmla="*/ 8611165 w 9586368"/>
              <a:gd name="connsiteY7423" fmla="*/ 1200678 h 6479439"/>
              <a:gd name="connsiteX7424" fmla="*/ 8375869 w 9586368"/>
              <a:gd name="connsiteY7424" fmla="*/ 1196639 h 6479439"/>
              <a:gd name="connsiteX7425" fmla="*/ 8385779 w 9586368"/>
              <a:gd name="connsiteY7425" fmla="*/ 1196639 h 6479439"/>
              <a:gd name="connsiteX7426" fmla="*/ 8389799 w 9586368"/>
              <a:gd name="connsiteY7426" fmla="*/ 1200678 h 6479439"/>
              <a:gd name="connsiteX7427" fmla="*/ 8389799 w 9586368"/>
              <a:gd name="connsiteY7427" fmla="*/ 1210549 h 6479439"/>
              <a:gd name="connsiteX7428" fmla="*/ 8385779 w 9586368"/>
              <a:gd name="connsiteY7428" fmla="*/ 1214587 h 6479439"/>
              <a:gd name="connsiteX7429" fmla="*/ 8375869 w 9586368"/>
              <a:gd name="connsiteY7429" fmla="*/ 1214587 h 6479439"/>
              <a:gd name="connsiteX7430" fmla="*/ 8371850 w 9586368"/>
              <a:gd name="connsiteY7430" fmla="*/ 1210549 h 6479439"/>
              <a:gd name="connsiteX7431" fmla="*/ 8371850 w 9586368"/>
              <a:gd name="connsiteY7431" fmla="*/ 1200678 h 6479439"/>
              <a:gd name="connsiteX7432" fmla="*/ 9333125 w 9586368"/>
              <a:gd name="connsiteY7432" fmla="*/ 1196639 h 6479439"/>
              <a:gd name="connsiteX7433" fmla="*/ 9343036 w 9586368"/>
              <a:gd name="connsiteY7433" fmla="*/ 1196639 h 6479439"/>
              <a:gd name="connsiteX7434" fmla="*/ 9347055 w 9586368"/>
              <a:gd name="connsiteY7434" fmla="*/ 1200677 h 6479439"/>
              <a:gd name="connsiteX7435" fmla="*/ 9347055 w 9586368"/>
              <a:gd name="connsiteY7435" fmla="*/ 1210548 h 6479439"/>
              <a:gd name="connsiteX7436" fmla="*/ 9343036 w 9586368"/>
              <a:gd name="connsiteY7436" fmla="*/ 1214587 h 6479439"/>
              <a:gd name="connsiteX7437" fmla="*/ 9333125 w 9586368"/>
              <a:gd name="connsiteY7437" fmla="*/ 1214587 h 6479439"/>
              <a:gd name="connsiteX7438" fmla="*/ 9329106 w 9586368"/>
              <a:gd name="connsiteY7438" fmla="*/ 1210548 h 6479439"/>
              <a:gd name="connsiteX7439" fmla="*/ 9329106 w 9586368"/>
              <a:gd name="connsiteY7439" fmla="*/ 1200677 h 6479439"/>
              <a:gd name="connsiteX7440" fmla="*/ 9093811 w 9586368"/>
              <a:gd name="connsiteY7440" fmla="*/ 1196639 h 6479439"/>
              <a:gd name="connsiteX7441" fmla="*/ 9103722 w 9586368"/>
              <a:gd name="connsiteY7441" fmla="*/ 1196639 h 6479439"/>
              <a:gd name="connsiteX7442" fmla="*/ 9107741 w 9586368"/>
              <a:gd name="connsiteY7442" fmla="*/ 1200677 h 6479439"/>
              <a:gd name="connsiteX7443" fmla="*/ 9107741 w 9586368"/>
              <a:gd name="connsiteY7443" fmla="*/ 1210548 h 6479439"/>
              <a:gd name="connsiteX7444" fmla="*/ 9103722 w 9586368"/>
              <a:gd name="connsiteY7444" fmla="*/ 1214587 h 6479439"/>
              <a:gd name="connsiteX7445" fmla="*/ 9093811 w 9586368"/>
              <a:gd name="connsiteY7445" fmla="*/ 1214587 h 6479439"/>
              <a:gd name="connsiteX7446" fmla="*/ 9089792 w 9586368"/>
              <a:gd name="connsiteY7446" fmla="*/ 1210548 h 6479439"/>
              <a:gd name="connsiteX7447" fmla="*/ 9089792 w 9586368"/>
              <a:gd name="connsiteY7447" fmla="*/ 1200677 h 6479439"/>
              <a:gd name="connsiteX7448" fmla="*/ 8854496 w 9586368"/>
              <a:gd name="connsiteY7448" fmla="*/ 1196639 h 6479439"/>
              <a:gd name="connsiteX7449" fmla="*/ 8864407 w 9586368"/>
              <a:gd name="connsiteY7449" fmla="*/ 1196639 h 6479439"/>
              <a:gd name="connsiteX7450" fmla="*/ 8868426 w 9586368"/>
              <a:gd name="connsiteY7450" fmla="*/ 1200677 h 6479439"/>
              <a:gd name="connsiteX7451" fmla="*/ 8868426 w 9586368"/>
              <a:gd name="connsiteY7451" fmla="*/ 1210548 h 6479439"/>
              <a:gd name="connsiteX7452" fmla="*/ 8864407 w 9586368"/>
              <a:gd name="connsiteY7452" fmla="*/ 1214587 h 6479439"/>
              <a:gd name="connsiteX7453" fmla="*/ 8854496 w 9586368"/>
              <a:gd name="connsiteY7453" fmla="*/ 1214587 h 6479439"/>
              <a:gd name="connsiteX7454" fmla="*/ 8850477 w 9586368"/>
              <a:gd name="connsiteY7454" fmla="*/ 1210548 h 6479439"/>
              <a:gd name="connsiteX7455" fmla="*/ 8850477 w 9586368"/>
              <a:gd name="connsiteY7455" fmla="*/ 1200677 h 6479439"/>
              <a:gd name="connsiteX7456" fmla="*/ 9572438 w 9586368"/>
              <a:gd name="connsiteY7456" fmla="*/ 1196627 h 6479439"/>
              <a:gd name="connsiteX7457" fmla="*/ 9582349 w 9586368"/>
              <a:gd name="connsiteY7457" fmla="*/ 1196627 h 6479439"/>
              <a:gd name="connsiteX7458" fmla="*/ 9586368 w 9586368"/>
              <a:gd name="connsiteY7458" fmla="*/ 1200665 h 6479439"/>
              <a:gd name="connsiteX7459" fmla="*/ 9586368 w 9586368"/>
              <a:gd name="connsiteY7459" fmla="*/ 1210536 h 6479439"/>
              <a:gd name="connsiteX7460" fmla="*/ 9582349 w 9586368"/>
              <a:gd name="connsiteY7460" fmla="*/ 1214575 h 6479439"/>
              <a:gd name="connsiteX7461" fmla="*/ 9572438 w 9586368"/>
              <a:gd name="connsiteY7461" fmla="*/ 1214575 h 6479439"/>
              <a:gd name="connsiteX7462" fmla="*/ 9568419 w 9586368"/>
              <a:gd name="connsiteY7462" fmla="*/ 1210536 h 6479439"/>
              <a:gd name="connsiteX7463" fmla="*/ 9568419 w 9586368"/>
              <a:gd name="connsiteY7463" fmla="*/ 1200665 h 6479439"/>
              <a:gd name="connsiteX7464" fmla="*/ 4035 w 9586368"/>
              <a:gd name="connsiteY7464" fmla="*/ 1196600 h 6479439"/>
              <a:gd name="connsiteX7465" fmla="*/ 13945 w 9586368"/>
              <a:gd name="connsiteY7465" fmla="*/ 1196600 h 6479439"/>
              <a:gd name="connsiteX7466" fmla="*/ 17964 w 9586368"/>
              <a:gd name="connsiteY7466" fmla="*/ 1200638 h 6479439"/>
              <a:gd name="connsiteX7467" fmla="*/ 17964 w 9586368"/>
              <a:gd name="connsiteY7467" fmla="*/ 1210509 h 6479439"/>
              <a:gd name="connsiteX7468" fmla="*/ 13945 w 9586368"/>
              <a:gd name="connsiteY7468" fmla="*/ 1214548 h 6479439"/>
              <a:gd name="connsiteX7469" fmla="*/ 4035 w 9586368"/>
              <a:gd name="connsiteY7469" fmla="*/ 1214548 h 6479439"/>
              <a:gd name="connsiteX7470" fmla="*/ 16 w 9586368"/>
              <a:gd name="connsiteY7470" fmla="*/ 1210509 h 6479439"/>
              <a:gd name="connsiteX7471" fmla="*/ 16 w 9586368"/>
              <a:gd name="connsiteY7471" fmla="*/ 1200638 h 6479439"/>
              <a:gd name="connsiteX7472" fmla="*/ 721974 w 9586368"/>
              <a:gd name="connsiteY7472" fmla="*/ 1196599 h 6479439"/>
              <a:gd name="connsiteX7473" fmla="*/ 731884 w 9586368"/>
              <a:gd name="connsiteY7473" fmla="*/ 1196599 h 6479439"/>
              <a:gd name="connsiteX7474" fmla="*/ 735903 w 9586368"/>
              <a:gd name="connsiteY7474" fmla="*/ 1200638 h 6479439"/>
              <a:gd name="connsiteX7475" fmla="*/ 735903 w 9586368"/>
              <a:gd name="connsiteY7475" fmla="*/ 1210509 h 6479439"/>
              <a:gd name="connsiteX7476" fmla="*/ 731884 w 9586368"/>
              <a:gd name="connsiteY7476" fmla="*/ 1214547 h 6479439"/>
              <a:gd name="connsiteX7477" fmla="*/ 721974 w 9586368"/>
              <a:gd name="connsiteY7477" fmla="*/ 1214547 h 6479439"/>
              <a:gd name="connsiteX7478" fmla="*/ 717955 w 9586368"/>
              <a:gd name="connsiteY7478" fmla="*/ 1210509 h 6479439"/>
              <a:gd name="connsiteX7479" fmla="*/ 717955 w 9586368"/>
              <a:gd name="connsiteY7479" fmla="*/ 1200638 h 6479439"/>
              <a:gd name="connsiteX7480" fmla="*/ 482661 w 9586368"/>
              <a:gd name="connsiteY7480" fmla="*/ 1196599 h 6479439"/>
              <a:gd name="connsiteX7481" fmla="*/ 492572 w 9586368"/>
              <a:gd name="connsiteY7481" fmla="*/ 1196599 h 6479439"/>
              <a:gd name="connsiteX7482" fmla="*/ 496591 w 9586368"/>
              <a:gd name="connsiteY7482" fmla="*/ 1200638 h 6479439"/>
              <a:gd name="connsiteX7483" fmla="*/ 496591 w 9586368"/>
              <a:gd name="connsiteY7483" fmla="*/ 1210509 h 6479439"/>
              <a:gd name="connsiteX7484" fmla="*/ 492572 w 9586368"/>
              <a:gd name="connsiteY7484" fmla="*/ 1214548 h 6479439"/>
              <a:gd name="connsiteX7485" fmla="*/ 482661 w 9586368"/>
              <a:gd name="connsiteY7485" fmla="*/ 1214548 h 6479439"/>
              <a:gd name="connsiteX7486" fmla="*/ 478642 w 9586368"/>
              <a:gd name="connsiteY7486" fmla="*/ 1210509 h 6479439"/>
              <a:gd name="connsiteX7487" fmla="*/ 478642 w 9586368"/>
              <a:gd name="connsiteY7487" fmla="*/ 1200638 h 6479439"/>
              <a:gd name="connsiteX7488" fmla="*/ 243348 w 9586368"/>
              <a:gd name="connsiteY7488" fmla="*/ 1196599 h 6479439"/>
              <a:gd name="connsiteX7489" fmla="*/ 253258 w 9586368"/>
              <a:gd name="connsiteY7489" fmla="*/ 1196599 h 6479439"/>
              <a:gd name="connsiteX7490" fmla="*/ 257278 w 9586368"/>
              <a:gd name="connsiteY7490" fmla="*/ 1200638 h 6479439"/>
              <a:gd name="connsiteX7491" fmla="*/ 257278 w 9586368"/>
              <a:gd name="connsiteY7491" fmla="*/ 1210509 h 6479439"/>
              <a:gd name="connsiteX7492" fmla="*/ 253258 w 9586368"/>
              <a:gd name="connsiteY7492" fmla="*/ 1214548 h 6479439"/>
              <a:gd name="connsiteX7493" fmla="*/ 243348 w 9586368"/>
              <a:gd name="connsiteY7493" fmla="*/ 1214548 h 6479439"/>
              <a:gd name="connsiteX7494" fmla="*/ 239329 w 9586368"/>
              <a:gd name="connsiteY7494" fmla="*/ 1210509 h 6479439"/>
              <a:gd name="connsiteX7495" fmla="*/ 239329 w 9586368"/>
              <a:gd name="connsiteY7495" fmla="*/ 1200638 h 6479439"/>
              <a:gd name="connsiteX7496" fmla="*/ 1439900 w 9586368"/>
              <a:gd name="connsiteY7496" fmla="*/ 1196589 h 6479439"/>
              <a:gd name="connsiteX7497" fmla="*/ 1449810 w 9586368"/>
              <a:gd name="connsiteY7497" fmla="*/ 1196589 h 6479439"/>
              <a:gd name="connsiteX7498" fmla="*/ 1453829 w 9586368"/>
              <a:gd name="connsiteY7498" fmla="*/ 1200628 h 6479439"/>
              <a:gd name="connsiteX7499" fmla="*/ 1453829 w 9586368"/>
              <a:gd name="connsiteY7499" fmla="*/ 1210498 h 6479439"/>
              <a:gd name="connsiteX7500" fmla="*/ 1449810 w 9586368"/>
              <a:gd name="connsiteY7500" fmla="*/ 1214537 h 6479439"/>
              <a:gd name="connsiteX7501" fmla="*/ 1439900 w 9586368"/>
              <a:gd name="connsiteY7501" fmla="*/ 1214537 h 6479439"/>
              <a:gd name="connsiteX7502" fmla="*/ 1435881 w 9586368"/>
              <a:gd name="connsiteY7502" fmla="*/ 1210498 h 6479439"/>
              <a:gd name="connsiteX7503" fmla="*/ 1435881 w 9586368"/>
              <a:gd name="connsiteY7503" fmla="*/ 1200628 h 6479439"/>
              <a:gd name="connsiteX7504" fmla="*/ 1200584 w 9586368"/>
              <a:gd name="connsiteY7504" fmla="*/ 1196589 h 6479439"/>
              <a:gd name="connsiteX7505" fmla="*/ 1210494 w 9586368"/>
              <a:gd name="connsiteY7505" fmla="*/ 1196589 h 6479439"/>
              <a:gd name="connsiteX7506" fmla="*/ 1214512 w 9586368"/>
              <a:gd name="connsiteY7506" fmla="*/ 1200628 h 6479439"/>
              <a:gd name="connsiteX7507" fmla="*/ 1214512 w 9586368"/>
              <a:gd name="connsiteY7507" fmla="*/ 1210498 h 6479439"/>
              <a:gd name="connsiteX7508" fmla="*/ 1210494 w 9586368"/>
              <a:gd name="connsiteY7508" fmla="*/ 1214537 h 6479439"/>
              <a:gd name="connsiteX7509" fmla="*/ 1200584 w 9586368"/>
              <a:gd name="connsiteY7509" fmla="*/ 1214537 h 6479439"/>
              <a:gd name="connsiteX7510" fmla="*/ 1196565 w 9586368"/>
              <a:gd name="connsiteY7510" fmla="*/ 1210498 h 6479439"/>
              <a:gd name="connsiteX7511" fmla="*/ 1196565 w 9586368"/>
              <a:gd name="connsiteY7511" fmla="*/ 1200628 h 6479439"/>
              <a:gd name="connsiteX7512" fmla="*/ 961271 w 9586368"/>
              <a:gd name="connsiteY7512" fmla="*/ 1196589 h 6479439"/>
              <a:gd name="connsiteX7513" fmla="*/ 971181 w 9586368"/>
              <a:gd name="connsiteY7513" fmla="*/ 1196589 h 6479439"/>
              <a:gd name="connsiteX7514" fmla="*/ 975200 w 9586368"/>
              <a:gd name="connsiteY7514" fmla="*/ 1200628 h 6479439"/>
              <a:gd name="connsiteX7515" fmla="*/ 975200 w 9586368"/>
              <a:gd name="connsiteY7515" fmla="*/ 1210499 h 6479439"/>
              <a:gd name="connsiteX7516" fmla="*/ 971181 w 9586368"/>
              <a:gd name="connsiteY7516" fmla="*/ 1214537 h 6479439"/>
              <a:gd name="connsiteX7517" fmla="*/ 961271 w 9586368"/>
              <a:gd name="connsiteY7517" fmla="*/ 1214537 h 6479439"/>
              <a:gd name="connsiteX7518" fmla="*/ 957253 w 9586368"/>
              <a:gd name="connsiteY7518" fmla="*/ 1210499 h 6479439"/>
              <a:gd name="connsiteX7519" fmla="*/ 957253 w 9586368"/>
              <a:gd name="connsiteY7519" fmla="*/ 1200628 h 6479439"/>
              <a:gd name="connsiteX7520" fmla="*/ 1679217 w 9586368"/>
              <a:gd name="connsiteY7520" fmla="*/ 1196589 h 6479439"/>
              <a:gd name="connsiteX7521" fmla="*/ 1689127 w 9586368"/>
              <a:gd name="connsiteY7521" fmla="*/ 1196589 h 6479439"/>
              <a:gd name="connsiteX7522" fmla="*/ 1693146 w 9586368"/>
              <a:gd name="connsiteY7522" fmla="*/ 1200627 h 6479439"/>
              <a:gd name="connsiteX7523" fmla="*/ 1693146 w 9586368"/>
              <a:gd name="connsiteY7523" fmla="*/ 1210498 h 6479439"/>
              <a:gd name="connsiteX7524" fmla="*/ 1689127 w 9586368"/>
              <a:gd name="connsiteY7524" fmla="*/ 1214537 h 6479439"/>
              <a:gd name="connsiteX7525" fmla="*/ 1679217 w 9586368"/>
              <a:gd name="connsiteY7525" fmla="*/ 1214537 h 6479439"/>
              <a:gd name="connsiteX7526" fmla="*/ 1675198 w 9586368"/>
              <a:gd name="connsiteY7526" fmla="*/ 1210498 h 6479439"/>
              <a:gd name="connsiteX7527" fmla="*/ 1675198 w 9586368"/>
              <a:gd name="connsiteY7527" fmla="*/ 1200627 h 6479439"/>
              <a:gd name="connsiteX7528" fmla="*/ 1918514 w 9586368"/>
              <a:gd name="connsiteY7528" fmla="*/ 1196581 h 6479439"/>
              <a:gd name="connsiteX7529" fmla="*/ 1928424 w 9586368"/>
              <a:gd name="connsiteY7529" fmla="*/ 1196581 h 6479439"/>
              <a:gd name="connsiteX7530" fmla="*/ 1932443 w 9586368"/>
              <a:gd name="connsiteY7530" fmla="*/ 1200619 h 6479439"/>
              <a:gd name="connsiteX7531" fmla="*/ 1932443 w 9586368"/>
              <a:gd name="connsiteY7531" fmla="*/ 1210489 h 6479439"/>
              <a:gd name="connsiteX7532" fmla="*/ 1928424 w 9586368"/>
              <a:gd name="connsiteY7532" fmla="*/ 1214528 h 6479439"/>
              <a:gd name="connsiteX7533" fmla="*/ 1918514 w 9586368"/>
              <a:gd name="connsiteY7533" fmla="*/ 1214528 h 6479439"/>
              <a:gd name="connsiteX7534" fmla="*/ 1914495 w 9586368"/>
              <a:gd name="connsiteY7534" fmla="*/ 1210489 h 6479439"/>
              <a:gd name="connsiteX7535" fmla="*/ 1914495 w 9586368"/>
              <a:gd name="connsiteY7535" fmla="*/ 1200619 h 6479439"/>
              <a:gd name="connsiteX7536" fmla="*/ 2157823 w 9586368"/>
              <a:gd name="connsiteY7536" fmla="*/ 1196578 h 6479439"/>
              <a:gd name="connsiteX7537" fmla="*/ 2167733 w 9586368"/>
              <a:gd name="connsiteY7537" fmla="*/ 1196578 h 6479439"/>
              <a:gd name="connsiteX7538" fmla="*/ 2171751 w 9586368"/>
              <a:gd name="connsiteY7538" fmla="*/ 1200617 h 6479439"/>
              <a:gd name="connsiteX7539" fmla="*/ 2171751 w 9586368"/>
              <a:gd name="connsiteY7539" fmla="*/ 1210488 h 6479439"/>
              <a:gd name="connsiteX7540" fmla="*/ 2167733 w 9586368"/>
              <a:gd name="connsiteY7540" fmla="*/ 1214526 h 6479439"/>
              <a:gd name="connsiteX7541" fmla="*/ 2157823 w 9586368"/>
              <a:gd name="connsiteY7541" fmla="*/ 1214526 h 6479439"/>
              <a:gd name="connsiteX7542" fmla="*/ 2153803 w 9586368"/>
              <a:gd name="connsiteY7542" fmla="*/ 1210488 h 6479439"/>
              <a:gd name="connsiteX7543" fmla="*/ 2153803 w 9586368"/>
              <a:gd name="connsiteY7543" fmla="*/ 1200617 h 6479439"/>
              <a:gd name="connsiteX7544" fmla="*/ 3350359 w 9586368"/>
              <a:gd name="connsiteY7544" fmla="*/ 957358 h 6479439"/>
              <a:gd name="connsiteX7545" fmla="*/ 3360268 w 9586368"/>
              <a:gd name="connsiteY7545" fmla="*/ 957358 h 6479439"/>
              <a:gd name="connsiteX7546" fmla="*/ 3364287 w 9586368"/>
              <a:gd name="connsiteY7546" fmla="*/ 961396 h 6479439"/>
              <a:gd name="connsiteX7547" fmla="*/ 3364287 w 9586368"/>
              <a:gd name="connsiteY7547" fmla="*/ 971266 h 6479439"/>
              <a:gd name="connsiteX7548" fmla="*/ 3360268 w 9586368"/>
              <a:gd name="connsiteY7548" fmla="*/ 975304 h 6479439"/>
              <a:gd name="connsiteX7549" fmla="*/ 3350359 w 9586368"/>
              <a:gd name="connsiteY7549" fmla="*/ 975304 h 6479439"/>
              <a:gd name="connsiteX7550" fmla="*/ 3346340 w 9586368"/>
              <a:gd name="connsiteY7550" fmla="*/ 971266 h 6479439"/>
              <a:gd name="connsiteX7551" fmla="*/ 3346340 w 9586368"/>
              <a:gd name="connsiteY7551" fmla="*/ 961396 h 6479439"/>
              <a:gd name="connsiteX7552" fmla="*/ 3111048 w 9586368"/>
              <a:gd name="connsiteY7552" fmla="*/ 957358 h 6479439"/>
              <a:gd name="connsiteX7553" fmla="*/ 3120959 w 9586368"/>
              <a:gd name="connsiteY7553" fmla="*/ 957358 h 6479439"/>
              <a:gd name="connsiteX7554" fmla="*/ 3124977 w 9586368"/>
              <a:gd name="connsiteY7554" fmla="*/ 961396 h 6479439"/>
              <a:gd name="connsiteX7555" fmla="*/ 3124977 w 9586368"/>
              <a:gd name="connsiteY7555" fmla="*/ 971266 h 6479439"/>
              <a:gd name="connsiteX7556" fmla="*/ 3120959 w 9586368"/>
              <a:gd name="connsiteY7556" fmla="*/ 975304 h 6479439"/>
              <a:gd name="connsiteX7557" fmla="*/ 3111048 w 9586368"/>
              <a:gd name="connsiteY7557" fmla="*/ 975304 h 6479439"/>
              <a:gd name="connsiteX7558" fmla="*/ 3107029 w 9586368"/>
              <a:gd name="connsiteY7558" fmla="*/ 971266 h 6479439"/>
              <a:gd name="connsiteX7559" fmla="*/ 3107029 w 9586368"/>
              <a:gd name="connsiteY7559" fmla="*/ 961396 h 6479439"/>
              <a:gd name="connsiteX7560" fmla="*/ 2871737 w 9586368"/>
              <a:gd name="connsiteY7560" fmla="*/ 957358 h 6479439"/>
              <a:gd name="connsiteX7561" fmla="*/ 2881646 w 9586368"/>
              <a:gd name="connsiteY7561" fmla="*/ 957358 h 6479439"/>
              <a:gd name="connsiteX7562" fmla="*/ 2885666 w 9586368"/>
              <a:gd name="connsiteY7562" fmla="*/ 961396 h 6479439"/>
              <a:gd name="connsiteX7563" fmla="*/ 2885666 w 9586368"/>
              <a:gd name="connsiteY7563" fmla="*/ 971266 h 6479439"/>
              <a:gd name="connsiteX7564" fmla="*/ 2881646 w 9586368"/>
              <a:gd name="connsiteY7564" fmla="*/ 975304 h 6479439"/>
              <a:gd name="connsiteX7565" fmla="*/ 2871737 w 9586368"/>
              <a:gd name="connsiteY7565" fmla="*/ 975304 h 6479439"/>
              <a:gd name="connsiteX7566" fmla="*/ 2867717 w 9586368"/>
              <a:gd name="connsiteY7566" fmla="*/ 971266 h 6479439"/>
              <a:gd name="connsiteX7567" fmla="*/ 2867717 w 9586368"/>
              <a:gd name="connsiteY7567" fmla="*/ 961396 h 6479439"/>
              <a:gd name="connsiteX7568" fmla="*/ 2632423 w 9586368"/>
              <a:gd name="connsiteY7568" fmla="*/ 957358 h 6479439"/>
              <a:gd name="connsiteX7569" fmla="*/ 2642334 w 9586368"/>
              <a:gd name="connsiteY7569" fmla="*/ 957358 h 6479439"/>
              <a:gd name="connsiteX7570" fmla="*/ 2646352 w 9586368"/>
              <a:gd name="connsiteY7570" fmla="*/ 961396 h 6479439"/>
              <a:gd name="connsiteX7571" fmla="*/ 2646352 w 9586368"/>
              <a:gd name="connsiteY7571" fmla="*/ 971266 h 6479439"/>
              <a:gd name="connsiteX7572" fmla="*/ 2642334 w 9586368"/>
              <a:gd name="connsiteY7572" fmla="*/ 975305 h 6479439"/>
              <a:gd name="connsiteX7573" fmla="*/ 2632423 w 9586368"/>
              <a:gd name="connsiteY7573" fmla="*/ 975305 h 6479439"/>
              <a:gd name="connsiteX7574" fmla="*/ 2628404 w 9586368"/>
              <a:gd name="connsiteY7574" fmla="*/ 971266 h 6479439"/>
              <a:gd name="connsiteX7575" fmla="*/ 2628404 w 9586368"/>
              <a:gd name="connsiteY7575" fmla="*/ 961396 h 6479439"/>
              <a:gd name="connsiteX7576" fmla="*/ 2393104 w 9586368"/>
              <a:gd name="connsiteY7576" fmla="*/ 957358 h 6479439"/>
              <a:gd name="connsiteX7577" fmla="*/ 2403015 w 9586368"/>
              <a:gd name="connsiteY7577" fmla="*/ 957358 h 6479439"/>
              <a:gd name="connsiteX7578" fmla="*/ 2407034 w 9586368"/>
              <a:gd name="connsiteY7578" fmla="*/ 961396 h 6479439"/>
              <a:gd name="connsiteX7579" fmla="*/ 2407034 w 9586368"/>
              <a:gd name="connsiteY7579" fmla="*/ 971266 h 6479439"/>
              <a:gd name="connsiteX7580" fmla="*/ 2403015 w 9586368"/>
              <a:gd name="connsiteY7580" fmla="*/ 975305 h 6479439"/>
              <a:gd name="connsiteX7581" fmla="*/ 2393104 w 9586368"/>
              <a:gd name="connsiteY7581" fmla="*/ 975305 h 6479439"/>
              <a:gd name="connsiteX7582" fmla="*/ 2389087 w 9586368"/>
              <a:gd name="connsiteY7582" fmla="*/ 971266 h 6479439"/>
              <a:gd name="connsiteX7583" fmla="*/ 2389087 w 9586368"/>
              <a:gd name="connsiteY7583" fmla="*/ 961396 h 6479439"/>
              <a:gd name="connsiteX7584" fmla="*/ 4546929 w 9586368"/>
              <a:gd name="connsiteY7584" fmla="*/ 957347 h 6479439"/>
              <a:gd name="connsiteX7585" fmla="*/ 4556840 w 9586368"/>
              <a:gd name="connsiteY7585" fmla="*/ 957347 h 6479439"/>
              <a:gd name="connsiteX7586" fmla="*/ 4560859 w 9586368"/>
              <a:gd name="connsiteY7586" fmla="*/ 961385 h 6479439"/>
              <a:gd name="connsiteX7587" fmla="*/ 4560859 w 9586368"/>
              <a:gd name="connsiteY7587" fmla="*/ 971255 h 6479439"/>
              <a:gd name="connsiteX7588" fmla="*/ 4556840 w 9586368"/>
              <a:gd name="connsiteY7588" fmla="*/ 975293 h 6479439"/>
              <a:gd name="connsiteX7589" fmla="*/ 4546929 w 9586368"/>
              <a:gd name="connsiteY7589" fmla="*/ 975293 h 6479439"/>
              <a:gd name="connsiteX7590" fmla="*/ 4542910 w 9586368"/>
              <a:gd name="connsiteY7590" fmla="*/ 971255 h 6479439"/>
              <a:gd name="connsiteX7591" fmla="*/ 4542910 w 9586368"/>
              <a:gd name="connsiteY7591" fmla="*/ 961385 h 6479439"/>
              <a:gd name="connsiteX7592" fmla="*/ 4307612 w 9586368"/>
              <a:gd name="connsiteY7592" fmla="*/ 957347 h 6479439"/>
              <a:gd name="connsiteX7593" fmla="*/ 4317523 w 9586368"/>
              <a:gd name="connsiteY7593" fmla="*/ 957347 h 6479439"/>
              <a:gd name="connsiteX7594" fmla="*/ 4321543 w 9586368"/>
              <a:gd name="connsiteY7594" fmla="*/ 961385 h 6479439"/>
              <a:gd name="connsiteX7595" fmla="*/ 4321543 w 9586368"/>
              <a:gd name="connsiteY7595" fmla="*/ 971255 h 6479439"/>
              <a:gd name="connsiteX7596" fmla="*/ 4317523 w 9586368"/>
              <a:gd name="connsiteY7596" fmla="*/ 975293 h 6479439"/>
              <a:gd name="connsiteX7597" fmla="*/ 4307612 w 9586368"/>
              <a:gd name="connsiteY7597" fmla="*/ 975293 h 6479439"/>
              <a:gd name="connsiteX7598" fmla="*/ 4303595 w 9586368"/>
              <a:gd name="connsiteY7598" fmla="*/ 971255 h 6479439"/>
              <a:gd name="connsiteX7599" fmla="*/ 4303595 w 9586368"/>
              <a:gd name="connsiteY7599" fmla="*/ 961385 h 6479439"/>
              <a:gd name="connsiteX7600" fmla="*/ 4068297 w 9586368"/>
              <a:gd name="connsiteY7600" fmla="*/ 957347 h 6479439"/>
              <a:gd name="connsiteX7601" fmla="*/ 4078210 w 9586368"/>
              <a:gd name="connsiteY7601" fmla="*/ 957347 h 6479439"/>
              <a:gd name="connsiteX7602" fmla="*/ 4082229 w 9586368"/>
              <a:gd name="connsiteY7602" fmla="*/ 961385 h 6479439"/>
              <a:gd name="connsiteX7603" fmla="*/ 4082229 w 9586368"/>
              <a:gd name="connsiteY7603" fmla="*/ 971255 h 6479439"/>
              <a:gd name="connsiteX7604" fmla="*/ 4078210 w 9586368"/>
              <a:gd name="connsiteY7604" fmla="*/ 975293 h 6479439"/>
              <a:gd name="connsiteX7605" fmla="*/ 4068297 w 9586368"/>
              <a:gd name="connsiteY7605" fmla="*/ 975293 h 6479439"/>
              <a:gd name="connsiteX7606" fmla="*/ 4064278 w 9586368"/>
              <a:gd name="connsiteY7606" fmla="*/ 971255 h 6479439"/>
              <a:gd name="connsiteX7607" fmla="*/ 4064278 w 9586368"/>
              <a:gd name="connsiteY7607" fmla="*/ 961385 h 6479439"/>
              <a:gd name="connsiteX7608" fmla="*/ 3828990 w 9586368"/>
              <a:gd name="connsiteY7608" fmla="*/ 957347 h 6479439"/>
              <a:gd name="connsiteX7609" fmla="*/ 3838899 w 9586368"/>
              <a:gd name="connsiteY7609" fmla="*/ 957347 h 6479439"/>
              <a:gd name="connsiteX7610" fmla="*/ 3842917 w 9586368"/>
              <a:gd name="connsiteY7610" fmla="*/ 961385 h 6479439"/>
              <a:gd name="connsiteX7611" fmla="*/ 3842917 w 9586368"/>
              <a:gd name="connsiteY7611" fmla="*/ 971255 h 6479439"/>
              <a:gd name="connsiteX7612" fmla="*/ 3838899 w 9586368"/>
              <a:gd name="connsiteY7612" fmla="*/ 975293 h 6479439"/>
              <a:gd name="connsiteX7613" fmla="*/ 3828990 w 9586368"/>
              <a:gd name="connsiteY7613" fmla="*/ 975293 h 6479439"/>
              <a:gd name="connsiteX7614" fmla="*/ 3824971 w 9586368"/>
              <a:gd name="connsiteY7614" fmla="*/ 971255 h 6479439"/>
              <a:gd name="connsiteX7615" fmla="*/ 3824971 w 9586368"/>
              <a:gd name="connsiteY7615" fmla="*/ 961385 h 6479439"/>
              <a:gd name="connsiteX7616" fmla="*/ 3589676 w 9586368"/>
              <a:gd name="connsiteY7616" fmla="*/ 957347 h 6479439"/>
              <a:gd name="connsiteX7617" fmla="*/ 3599585 w 9586368"/>
              <a:gd name="connsiteY7617" fmla="*/ 957347 h 6479439"/>
              <a:gd name="connsiteX7618" fmla="*/ 3603604 w 9586368"/>
              <a:gd name="connsiteY7618" fmla="*/ 961385 h 6479439"/>
              <a:gd name="connsiteX7619" fmla="*/ 3603604 w 9586368"/>
              <a:gd name="connsiteY7619" fmla="*/ 971255 h 6479439"/>
              <a:gd name="connsiteX7620" fmla="*/ 3599585 w 9586368"/>
              <a:gd name="connsiteY7620" fmla="*/ 975293 h 6479439"/>
              <a:gd name="connsiteX7621" fmla="*/ 3589676 w 9586368"/>
              <a:gd name="connsiteY7621" fmla="*/ 975293 h 6479439"/>
              <a:gd name="connsiteX7622" fmla="*/ 3585657 w 9586368"/>
              <a:gd name="connsiteY7622" fmla="*/ 971255 h 6479439"/>
              <a:gd name="connsiteX7623" fmla="*/ 3585657 w 9586368"/>
              <a:gd name="connsiteY7623" fmla="*/ 961385 h 6479439"/>
              <a:gd name="connsiteX7624" fmla="*/ 5743412 w 9586368"/>
              <a:gd name="connsiteY7624" fmla="*/ 957335 h 6479439"/>
              <a:gd name="connsiteX7625" fmla="*/ 5753323 w 9586368"/>
              <a:gd name="connsiteY7625" fmla="*/ 957335 h 6479439"/>
              <a:gd name="connsiteX7626" fmla="*/ 5757342 w 9586368"/>
              <a:gd name="connsiteY7626" fmla="*/ 961373 h 6479439"/>
              <a:gd name="connsiteX7627" fmla="*/ 5757342 w 9586368"/>
              <a:gd name="connsiteY7627" fmla="*/ 971244 h 6479439"/>
              <a:gd name="connsiteX7628" fmla="*/ 5753323 w 9586368"/>
              <a:gd name="connsiteY7628" fmla="*/ 975282 h 6479439"/>
              <a:gd name="connsiteX7629" fmla="*/ 5743412 w 9586368"/>
              <a:gd name="connsiteY7629" fmla="*/ 975282 h 6479439"/>
              <a:gd name="connsiteX7630" fmla="*/ 5739393 w 9586368"/>
              <a:gd name="connsiteY7630" fmla="*/ 971244 h 6479439"/>
              <a:gd name="connsiteX7631" fmla="*/ 5739393 w 9586368"/>
              <a:gd name="connsiteY7631" fmla="*/ 961373 h 6479439"/>
              <a:gd name="connsiteX7632" fmla="*/ 5504099 w 9586368"/>
              <a:gd name="connsiteY7632" fmla="*/ 957335 h 6479439"/>
              <a:gd name="connsiteX7633" fmla="*/ 5514010 w 9586368"/>
              <a:gd name="connsiteY7633" fmla="*/ 957335 h 6479439"/>
              <a:gd name="connsiteX7634" fmla="*/ 5518029 w 9586368"/>
              <a:gd name="connsiteY7634" fmla="*/ 961373 h 6479439"/>
              <a:gd name="connsiteX7635" fmla="*/ 5518029 w 9586368"/>
              <a:gd name="connsiteY7635" fmla="*/ 971244 h 6479439"/>
              <a:gd name="connsiteX7636" fmla="*/ 5514010 w 9586368"/>
              <a:gd name="connsiteY7636" fmla="*/ 975282 h 6479439"/>
              <a:gd name="connsiteX7637" fmla="*/ 5504099 w 9586368"/>
              <a:gd name="connsiteY7637" fmla="*/ 975282 h 6479439"/>
              <a:gd name="connsiteX7638" fmla="*/ 5500080 w 9586368"/>
              <a:gd name="connsiteY7638" fmla="*/ 971244 h 6479439"/>
              <a:gd name="connsiteX7639" fmla="*/ 5500080 w 9586368"/>
              <a:gd name="connsiteY7639" fmla="*/ 961373 h 6479439"/>
              <a:gd name="connsiteX7640" fmla="*/ 5264784 w 9586368"/>
              <a:gd name="connsiteY7640" fmla="*/ 957335 h 6479439"/>
              <a:gd name="connsiteX7641" fmla="*/ 5274694 w 9586368"/>
              <a:gd name="connsiteY7641" fmla="*/ 957335 h 6479439"/>
              <a:gd name="connsiteX7642" fmla="*/ 5278713 w 9586368"/>
              <a:gd name="connsiteY7642" fmla="*/ 961373 h 6479439"/>
              <a:gd name="connsiteX7643" fmla="*/ 5278713 w 9586368"/>
              <a:gd name="connsiteY7643" fmla="*/ 971244 h 6479439"/>
              <a:gd name="connsiteX7644" fmla="*/ 5274694 w 9586368"/>
              <a:gd name="connsiteY7644" fmla="*/ 975282 h 6479439"/>
              <a:gd name="connsiteX7645" fmla="*/ 5264784 w 9586368"/>
              <a:gd name="connsiteY7645" fmla="*/ 975282 h 6479439"/>
              <a:gd name="connsiteX7646" fmla="*/ 5260765 w 9586368"/>
              <a:gd name="connsiteY7646" fmla="*/ 971244 h 6479439"/>
              <a:gd name="connsiteX7647" fmla="*/ 5260765 w 9586368"/>
              <a:gd name="connsiteY7647" fmla="*/ 961373 h 6479439"/>
              <a:gd name="connsiteX7648" fmla="*/ 5025470 w 9586368"/>
              <a:gd name="connsiteY7648" fmla="*/ 957335 h 6479439"/>
              <a:gd name="connsiteX7649" fmla="*/ 5035381 w 9586368"/>
              <a:gd name="connsiteY7649" fmla="*/ 957335 h 6479439"/>
              <a:gd name="connsiteX7650" fmla="*/ 5039400 w 9586368"/>
              <a:gd name="connsiteY7650" fmla="*/ 961373 h 6479439"/>
              <a:gd name="connsiteX7651" fmla="*/ 5039400 w 9586368"/>
              <a:gd name="connsiteY7651" fmla="*/ 971244 h 6479439"/>
              <a:gd name="connsiteX7652" fmla="*/ 5035381 w 9586368"/>
              <a:gd name="connsiteY7652" fmla="*/ 975283 h 6479439"/>
              <a:gd name="connsiteX7653" fmla="*/ 5025470 w 9586368"/>
              <a:gd name="connsiteY7653" fmla="*/ 975283 h 6479439"/>
              <a:gd name="connsiteX7654" fmla="*/ 5021451 w 9586368"/>
              <a:gd name="connsiteY7654" fmla="*/ 971244 h 6479439"/>
              <a:gd name="connsiteX7655" fmla="*/ 5021451 w 9586368"/>
              <a:gd name="connsiteY7655" fmla="*/ 961373 h 6479439"/>
              <a:gd name="connsiteX7656" fmla="*/ 4786241 w 9586368"/>
              <a:gd name="connsiteY7656" fmla="*/ 957335 h 6479439"/>
              <a:gd name="connsiteX7657" fmla="*/ 4796152 w 9586368"/>
              <a:gd name="connsiteY7657" fmla="*/ 957335 h 6479439"/>
              <a:gd name="connsiteX7658" fmla="*/ 4800171 w 9586368"/>
              <a:gd name="connsiteY7658" fmla="*/ 961374 h 6479439"/>
              <a:gd name="connsiteX7659" fmla="*/ 4800171 w 9586368"/>
              <a:gd name="connsiteY7659" fmla="*/ 971244 h 6479439"/>
              <a:gd name="connsiteX7660" fmla="*/ 4796152 w 9586368"/>
              <a:gd name="connsiteY7660" fmla="*/ 975283 h 6479439"/>
              <a:gd name="connsiteX7661" fmla="*/ 4786241 w 9586368"/>
              <a:gd name="connsiteY7661" fmla="*/ 975283 h 6479439"/>
              <a:gd name="connsiteX7662" fmla="*/ 4782224 w 9586368"/>
              <a:gd name="connsiteY7662" fmla="*/ 971244 h 6479439"/>
              <a:gd name="connsiteX7663" fmla="*/ 4782224 w 9586368"/>
              <a:gd name="connsiteY7663" fmla="*/ 961374 h 6479439"/>
              <a:gd name="connsiteX7664" fmla="*/ 6939983 w 9586368"/>
              <a:gd name="connsiteY7664" fmla="*/ 957324 h 6479439"/>
              <a:gd name="connsiteX7665" fmla="*/ 6949894 w 9586368"/>
              <a:gd name="connsiteY7665" fmla="*/ 957324 h 6479439"/>
              <a:gd name="connsiteX7666" fmla="*/ 6953913 w 9586368"/>
              <a:gd name="connsiteY7666" fmla="*/ 961363 h 6479439"/>
              <a:gd name="connsiteX7667" fmla="*/ 6953913 w 9586368"/>
              <a:gd name="connsiteY7667" fmla="*/ 971232 h 6479439"/>
              <a:gd name="connsiteX7668" fmla="*/ 6949894 w 9586368"/>
              <a:gd name="connsiteY7668" fmla="*/ 975271 h 6479439"/>
              <a:gd name="connsiteX7669" fmla="*/ 6939983 w 9586368"/>
              <a:gd name="connsiteY7669" fmla="*/ 975271 h 6479439"/>
              <a:gd name="connsiteX7670" fmla="*/ 6935964 w 9586368"/>
              <a:gd name="connsiteY7670" fmla="*/ 971232 h 6479439"/>
              <a:gd name="connsiteX7671" fmla="*/ 6935964 w 9586368"/>
              <a:gd name="connsiteY7671" fmla="*/ 961363 h 6479439"/>
              <a:gd name="connsiteX7672" fmla="*/ 6700670 w 9586368"/>
              <a:gd name="connsiteY7672" fmla="*/ 957324 h 6479439"/>
              <a:gd name="connsiteX7673" fmla="*/ 6710581 w 9586368"/>
              <a:gd name="connsiteY7673" fmla="*/ 957324 h 6479439"/>
              <a:gd name="connsiteX7674" fmla="*/ 6714600 w 9586368"/>
              <a:gd name="connsiteY7674" fmla="*/ 961363 h 6479439"/>
              <a:gd name="connsiteX7675" fmla="*/ 6714600 w 9586368"/>
              <a:gd name="connsiteY7675" fmla="*/ 971232 h 6479439"/>
              <a:gd name="connsiteX7676" fmla="*/ 6710581 w 9586368"/>
              <a:gd name="connsiteY7676" fmla="*/ 975271 h 6479439"/>
              <a:gd name="connsiteX7677" fmla="*/ 6700670 w 9586368"/>
              <a:gd name="connsiteY7677" fmla="*/ 975271 h 6479439"/>
              <a:gd name="connsiteX7678" fmla="*/ 6696651 w 9586368"/>
              <a:gd name="connsiteY7678" fmla="*/ 971232 h 6479439"/>
              <a:gd name="connsiteX7679" fmla="*/ 6696651 w 9586368"/>
              <a:gd name="connsiteY7679" fmla="*/ 961363 h 6479439"/>
              <a:gd name="connsiteX7680" fmla="*/ 6461356 w 9586368"/>
              <a:gd name="connsiteY7680" fmla="*/ 957324 h 6479439"/>
              <a:gd name="connsiteX7681" fmla="*/ 6471266 w 9586368"/>
              <a:gd name="connsiteY7681" fmla="*/ 957324 h 6479439"/>
              <a:gd name="connsiteX7682" fmla="*/ 6475285 w 9586368"/>
              <a:gd name="connsiteY7682" fmla="*/ 961363 h 6479439"/>
              <a:gd name="connsiteX7683" fmla="*/ 6475285 w 9586368"/>
              <a:gd name="connsiteY7683" fmla="*/ 971232 h 6479439"/>
              <a:gd name="connsiteX7684" fmla="*/ 6471266 w 9586368"/>
              <a:gd name="connsiteY7684" fmla="*/ 975271 h 6479439"/>
              <a:gd name="connsiteX7685" fmla="*/ 6461356 w 9586368"/>
              <a:gd name="connsiteY7685" fmla="*/ 975271 h 6479439"/>
              <a:gd name="connsiteX7686" fmla="*/ 6457337 w 9586368"/>
              <a:gd name="connsiteY7686" fmla="*/ 971232 h 6479439"/>
              <a:gd name="connsiteX7687" fmla="*/ 6457337 w 9586368"/>
              <a:gd name="connsiteY7687" fmla="*/ 961363 h 6479439"/>
              <a:gd name="connsiteX7688" fmla="*/ 6222042 w 9586368"/>
              <a:gd name="connsiteY7688" fmla="*/ 957324 h 6479439"/>
              <a:gd name="connsiteX7689" fmla="*/ 6231952 w 9586368"/>
              <a:gd name="connsiteY7689" fmla="*/ 957324 h 6479439"/>
              <a:gd name="connsiteX7690" fmla="*/ 6235971 w 9586368"/>
              <a:gd name="connsiteY7690" fmla="*/ 961363 h 6479439"/>
              <a:gd name="connsiteX7691" fmla="*/ 6235971 w 9586368"/>
              <a:gd name="connsiteY7691" fmla="*/ 971232 h 6479439"/>
              <a:gd name="connsiteX7692" fmla="*/ 6231952 w 9586368"/>
              <a:gd name="connsiteY7692" fmla="*/ 975271 h 6479439"/>
              <a:gd name="connsiteX7693" fmla="*/ 6222042 w 9586368"/>
              <a:gd name="connsiteY7693" fmla="*/ 975271 h 6479439"/>
              <a:gd name="connsiteX7694" fmla="*/ 6218023 w 9586368"/>
              <a:gd name="connsiteY7694" fmla="*/ 971232 h 6479439"/>
              <a:gd name="connsiteX7695" fmla="*/ 6218023 w 9586368"/>
              <a:gd name="connsiteY7695" fmla="*/ 961363 h 6479439"/>
              <a:gd name="connsiteX7696" fmla="*/ 5982729 w 9586368"/>
              <a:gd name="connsiteY7696" fmla="*/ 957324 h 6479439"/>
              <a:gd name="connsiteX7697" fmla="*/ 5992639 w 9586368"/>
              <a:gd name="connsiteY7697" fmla="*/ 957324 h 6479439"/>
              <a:gd name="connsiteX7698" fmla="*/ 5996658 w 9586368"/>
              <a:gd name="connsiteY7698" fmla="*/ 961363 h 6479439"/>
              <a:gd name="connsiteX7699" fmla="*/ 5996658 w 9586368"/>
              <a:gd name="connsiteY7699" fmla="*/ 971232 h 6479439"/>
              <a:gd name="connsiteX7700" fmla="*/ 5992639 w 9586368"/>
              <a:gd name="connsiteY7700" fmla="*/ 975271 h 6479439"/>
              <a:gd name="connsiteX7701" fmla="*/ 5982729 w 9586368"/>
              <a:gd name="connsiteY7701" fmla="*/ 975271 h 6479439"/>
              <a:gd name="connsiteX7702" fmla="*/ 5978710 w 9586368"/>
              <a:gd name="connsiteY7702" fmla="*/ 971232 h 6479439"/>
              <a:gd name="connsiteX7703" fmla="*/ 5978710 w 9586368"/>
              <a:gd name="connsiteY7703" fmla="*/ 961363 h 6479439"/>
              <a:gd name="connsiteX7704" fmla="*/ 8136553 w 9586368"/>
              <a:gd name="connsiteY7704" fmla="*/ 957313 h 6479439"/>
              <a:gd name="connsiteX7705" fmla="*/ 8146464 w 9586368"/>
              <a:gd name="connsiteY7705" fmla="*/ 957313 h 6479439"/>
              <a:gd name="connsiteX7706" fmla="*/ 8150483 w 9586368"/>
              <a:gd name="connsiteY7706" fmla="*/ 961351 h 6479439"/>
              <a:gd name="connsiteX7707" fmla="*/ 8150483 w 9586368"/>
              <a:gd name="connsiteY7707" fmla="*/ 971222 h 6479439"/>
              <a:gd name="connsiteX7708" fmla="*/ 8146464 w 9586368"/>
              <a:gd name="connsiteY7708" fmla="*/ 975260 h 6479439"/>
              <a:gd name="connsiteX7709" fmla="*/ 8136553 w 9586368"/>
              <a:gd name="connsiteY7709" fmla="*/ 975260 h 6479439"/>
              <a:gd name="connsiteX7710" fmla="*/ 8132534 w 9586368"/>
              <a:gd name="connsiteY7710" fmla="*/ 971222 h 6479439"/>
              <a:gd name="connsiteX7711" fmla="*/ 8132534 w 9586368"/>
              <a:gd name="connsiteY7711" fmla="*/ 961351 h 6479439"/>
              <a:gd name="connsiteX7712" fmla="*/ 7897241 w 9586368"/>
              <a:gd name="connsiteY7712" fmla="*/ 957313 h 6479439"/>
              <a:gd name="connsiteX7713" fmla="*/ 7907151 w 9586368"/>
              <a:gd name="connsiteY7713" fmla="*/ 957313 h 6479439"/>
              <a:gd name="connsiteX7714" fmla="*/ 7911170 w 9586368"/>
              <a:gd name="connsiteY7714" fmla="*/ 961351 h 6479439"/>
              <a:gd name="connsiteX7715" fmla="*/ 7911170 w 9586368"/>
              <a:gd name="connsiteY7715" fmla="*/ 971222 h 6479439"/>
              <a:gd name="connsiteX7716" fmla="*/ 7907151 w 9586368"/>
              <a:gd name="connsiteY7716" fmla="*/ 975260 h 6479439"/>
              <a:gd name="connsiteX7717" fmla="*/ 7897241 w 9586368"/>
              <a:gd name="connsiteY7717" fmla="*/ 975260 h 6479439"/>
              <a:gd name="connsiteX7718" fmla="*/ 7893222 w 9586368"/>
              <a:gd name="connsiteY7718" fmla="*/ 971222 h 6479439"/>
              <a:gd name="connsiteX7719" fmla="*/ 7893222 w 9586368"/>
              <a:gd name="connsiteY7719" fmla="*/ 961351 h 6479439"/>
              <a:gd name="connsiteX7720" fmla="*/ 7657926 w 9586368"/>
              <a:gd name="connsiteY7720" fmla="*/ 957313 h 6479439"/>
              <a:gd name="connsiteX7721" fmla="*/ 7667836 w 9586368"/>
              <a:gd name="connsiteY7721" fmla="*/ 957313 h 6479439"/>
              <a:gd name="connsiteX7722" fmla="*/ 7671855 w 9586368"/>
              <a:gd name="connsiteY7722" fmla="*/ 961351 h 6479439"/>
              <a:gd name="connsiteX7723" fmla="*/ 7671855 w 9586368"/>
              <a:gd name="connsiteY7723" fmla="*/ 971222 h 6479439"/>
              <a:gd name="connsiteX7724" fmla="*/ 7667836 w 9586368"/>
              <a:gd name="connsiteY7724" fmla="*/ 975260 h 6479439"/>
              <a:gd name="connsiteX7725" fmla="*/ 7657926 w 9586368"/>
              <a:gd name="connsiteY7725" fmla="*/ 975260 h 6479439"/>
              <a:gd name="connsiteX7726" fmla="*/ 7653906 w 9586368"/>
              <a:gd name="connsiteY7726" fmla="*/ 971222 h 6479439"/>
              <a:gd name="connsiteX7727" fmla="*/ 7653906 w 9586368"/>
              <a:gd name="connsiteY7727" fmla="*/ 961351 h 6479439"/>
              <a:gd name="connsiteX7728" fmla="*/ 7418611 w 9586368"/>
              <a:gd name="connsiteY7728" fmla="*/ 957313 h 6479439"/>
              <a:gd name="connsiteX7729" fmla="*/ 7428521 w 9586368"/>
              <a:gd name="connsiteY7729" fmla="*/ 957313 h 6479439"/>
              <a:gd name="connsiteX7730" fmla="*/ 7432540 w 9586368"/>
              <a:gd name="connsiteY7730" fmla="*/ 961351 h 6479439"/>
              <a:gd name="connsiteX7731" fmla="*/ 7432540 w 9586368"/>
              <a:gd name="connsiteY7731" fmla="*/ 971222 h 6479439"/>
              <a:gd name="connsiteX7732" fmla="*/ 7428521 w 9586368"/>
              <a:gd name="connsiteY7732" fmla="*/ 975260 h 6479439"/>
              <a:gd name="connsiteX7733" fmla="*/ 7418611 w 9586368"/>
              <a:gd name="connsiteY7733" fmla="*/ 975260 h 6479439"/>
              <a:gd name="connsiteX7734" fmla="*/ 7414592 w 9586368"/>
              <a:gd name="connsiteY7734" fmla="*/ 971222 h 6479439"/>
              <a:gd name="connsiteX7735" fmla="*/ 7414592 w 9586368"/>
              <a:gd name="connsiteY7735" fmla="*/ 961351 h 6479439"/>
              <a:gd name="connsiteX7736" fmla="*/ 7179298 w 9586368"/>
              <a:gd name="connsiteY7736" fmla="*/ 957313 h 6479439"/>
              <a:gd name="connsiteX7737" fmla="*/ 7189209 w 9586368"/>
              <a:gd name="connsiteY7737" fmla="*/ 957313 h 6479439"/>
              <a:gd name="connsiteX7738" fmla="*/ 7193228 w 9586368"/>
              <a:gd name="connsiteY7738" fmla="*/ 961351 h 6479439"/>
              <a:gd name="connsiteX7739" fmla="*/ 7193228 w 9586368"/>
              <a:gd name="connsiteY7739" fmla="*/ 971222 h 6479439"/>
              <a:gd name="connsiteX7740" fmla="*/ 7189209 w 9586368"/>
              <a:gd name="connsiteY7740" fmla="*/ 975260 h 6479439"/>
              <a:gd name="connsiteX7741" fmla="*/ 7179298 w 9586368"/>
              <a:gd name="connsiteY7741" fmla="*/ 975260 h 6479439"/>
              <a:gd name="connsiteX7742" fmla="*/ 7175279 w 9586368"/>
              <a:gd name="connsiteY7742" fmla="*/ 971222 h 6479439"/>
              <a:gd name="connsiteX7743" fmla="*/ 7175279 w 9586368"/>
              <a:gd name="connsiteY7743" fmla="*/ 961351 h 6479439"/>
              <a:gd name="connsiteX7744" fmla="*/ 1679217 w 9586368"/>
              <a:gd name="connsiteY7744" fmla="*/ 957309 h 6479439"/>
              <a:gd name="connsiteX7745" fmla="*/ 1689128 w 9586368"/>
              <a:gd name="connsiteY7745" fmla="*/ 957309 h 6479439"/>
              <a:gd name="connsiteX7746" fmla="*/ 1693147 w 9586368"/>
              <a:gd name="connsiteY7746" fmla="*/ 961347 h 6479439"/>
              <a:gd name="connsiteX7747" fmla="*/ 1693147 w 9586368"/>
              <a:gd name="connsiteY7747" fmla="*/ 971217 h 6479439"/>
              <a:gd name="connsiteX7748" fmla="*/ 1689128 w 9586368"/>
              <a:gd name="connsiteY7748" fmla="*/ 975256 h 6479439"/>
              <a:gd name="connsiteX7749" fmla="*/ 1679217 w 9586368"/>
              <a:gd name="connsiteY7749" fmla="*/ 975256 h 6479439"/>
              <a:gd name="connsiteX7750" fmla="*/ 1675199 w 9586368"/>
              <a:gd name="connsiteY7750" fmla="*/ 971217 h 6479439"/>
              <a:gd name="connsiteX7751" fmla="*/ 1675199 w 9586368"/>
              <a:gd name="connsiteY7751" fmla="*/ 961347 h 6479439"/>
              <a:gd name="connsiteX7752" fmla="*/ 1439901 w 9586368"/>
              <a:gd name="connsiteY7752" fmla="*/ 957309 h 6479439"/>
              <a:gd name="connsiteX7753" fmla="*/ 1449811 w 9586368"/>
              <a:gd name="connsiteY7753" fmla="*/ 957309 h 6479439"/>
              <a:gd name="connsiteX7754" fmla="*/ 1453829 w 9586368"/>
              <a:gd name="connsiteY7754" fmla="*/ 961347 h 6479439"/>
              <a:gd name="connsiteX7755" fmla="*/ 1453829 w 9586368"/>
              <a:gd name="connsiteY7755" fmla="*/ 971217 h 6479439"/>
              <a:gd name="connsiteX7756" fmla="*/ 1449811 w 9586368"/>
              <a:gd name="connsiteY7756" fmla="*/ 975256 h 6479439"/>
              <a:gd name="connsiteX7757" fmla="*/ 1439901 w 9586368"/>
              <a:gd name="connsiteY7757" fmla="*/ 975256 h 6479439"/>
              <a:gd name="connsiteX7758" fmla="*/ 1435881 w 9586368"/>
              <a:gd name="connsiteY7758" fmla="*/ 971217 h 6479439"/>
              <a:gd name="connsiteX7759" fmla="*/ 1435881 w 9586368"/>
              <a:gd name="connsiteY7759" fmla="*/ 961347 h 6479439"/>
              <a:gd name="connsiteX7760" fmla="*/ 1200584 w 9586368"/>
              <a:gd name="connsiteY7760" fmla="*/ 957309 h 6479439"/>
              <a:gd name="connsiteX7761" fmla="*/ 1210495 w 9586368"/>
              <a:gd name="connsiteY7761" fmla="*/ 957309 h 6479439"/>
              <a:gd name="connsiteX7762" fmla="*/ 1214513 w 9586368"/>
              <a:gd name="connsiteY7762" fmla="*/ 961347 h 6479439"/>
              <a:gd name="connsiteX7763" fmla="*/ 1214513 w 9586368"/>
              <a:gd name="connsiteY7763" fmla="*/ 971217 h 6479439"/>
              <a:gd name="connsiteX7764" fmla="*/ 1210495 w 9586368"/>
              <a:gd name="connsiteY7764" fmla="*/ 975256 h 6479439"/>
              <a:gd name="connsiteX7765" fmla="*/ 1200584 w 9586368"/>
              <a:gd name="connsiteY7765" fmla="*/ 975256 h 6479439"/>
              <a:gd name="connsiteX7766" fmla="*/ 1196566 w 9586368"/>
              <a:gd name="connsiteY7766" fmla="*/ 971217 h 6479439"/>
              <a:gd name="connsiteX7767" fmla="*/ 1196566 w 9586368"/>
              <a:gd name="connsiteY7767" fmla="*/ 961347 h 6479439"/>
              <a:gd name="connsiteX7768" fmla="*/ 961271 w 9586368"/>
              <a:gd name="connsiteY7768" fmla="*/ 957309 h 6479439"/>
              <a:gd name="connsiteX7769" fmla="*/ 971182 w 9586368"/>
              <a:gd name="connsiteY7769" fmla="*/ 957309 h 6479439"/>
              <a:gd name="connsiteX7770" fmla="*/ 975201 w 9586368"/>
              <a:gd name="connsiteY7770" fmla="*/ 961347 h 6479439"/>
              <a:gd name="connsiteX7771" fmla="*/ 975201 w 9586368"/>
              <a:gd name="connsiteY7771" fmla="*/ 971218 h 6479439"/>
              <a:gd name="connsiteX7772" fmla="*/ 971182 w 9586368"/>
              <a:gd name="connsiteY7772" fmla="*/ 975256 h 6479439"/>
              <a:gd name="connsiteX7773" fmla="*/ 961271 w 9586368"/>
              <a:gd name="connsiteY7773" fmla="*/ 975256 h 6479439"/>
              <a:gd name="connsiteX7774" fmla="*/ 957253 w 9586368"/>
              <a:gd name="connsiteY7774" fmla="*/ 971218 h 6479439"/>
              <a:gd name="connsiteX7775" fmla="*/ 957253 w 9586368"/>
              <a:gd name="connsiteY7775" fmla="*/ 961347 h 6479439"/>
              <a:gd name="connsiteX7776" fmla="*/ 9333125 w 9586368"/>
              <a:gd name="connsiteY7776" fmla="*/ 957302 h 6479439"/>
              <a:gd name="connsiteX7777" fmla="*/ 9343036 w 9586368"/>
              <a:gd name="connsiteY7777" fmla="*/ 957302 h 6479439"/>
              <a:gd name="connsiteX7778" fmla="*/ 9347055 w 9586368"/>
              <a:gd name="connsiteY7778" fmla="*/ 961340 h 6479439"/>
              <a:gd name="connsiteX7779" fmla="*/ 9347055 w 9586368"/>
              <a:gd name="connsiteY7779" fmla="*/ 971210 h 6479439"/>
              <a:gd name="connsiteX7780" fmla="*/ 9343036 w 9586368"/>
              <a:gd name="connsiteY7780" fmla="*/ 975249 h 6479439"/>
              <a:gd name="connsiteX7781" fmla="*/ 9333125 w 9586368"/>
              <a:gd name="connsiteY7781" fmla="*/ 975249 h 6479439"/>
              <a:gd name="connsiteX7782" fmla="*/ 9329106 w 9586368"/>
              <a:gd name="connsiteY7782" fmla="*/ 971210 h 6479439"/>
              <a:gd name="connsiteX7783" fmla="*/ 9329106 w 9586368"/>
              <a:gd name="connsiteY7783" fmla="*/ 961340 h 6479439"/>
              <a:gd name="connsiteX7784" fmla="*/ 9093811 w 9586368"/>
              <a:gd name="connsiteY7784" fmla="*/ 957302 h 6479439"/>
              <a:gd name="connsiteX7785" fmla="*/ 9103722 w 9586368"/>
              <a:gd name="connsiteY7785" fmla="*/ 957302 h 6479439"/>
              <a:gd name="connsiteX7786" fmla="*/ 9107741 w 9586368"/>
              <a:gd name="connsiteY7786" fmla="*/ 961340 h 6479439"/>
              <a:gd name="connsiteX7787" fmla="*/ 9107741 w 9586368"/>
              <a:gd name="connsiteY7787" fmla="*/ 971210 h 6479439"/>
              <a:gd name="connsiteX7788" fmla="*/ 9103722 w 9586368"/>
              <a:gd name="connsiteY7788" fmla="*/ 975249 h 6479439"/>
              <a:gd name="connsiteX7789" fmla="*/ 9093811 w 9586368"/>
              <a:gd name="connsiteY7789" fmla="*/ 975249 h 6479439"/>
              <a:gd name="connsiteX7790" fmla="*/ 9089792 w 9586368"/>
              <a:gd name="connsiteY7790" fmla="*/ 971210 h 6479439"/>
              <a:gd name="connsiteX7791" fmla="*/ 9089792 w 9586368"/>
              <a:gd name="connsiteY7791" fmla="*/ 961340 h 6479439"/>
              <a:gd name="connsiteX7792" fmla="*/ 8854496 w 9586368"/>
              <a:gd name="connsiteY7792" fmla="*/ 957302 h 6479439"/>
              <a:gd name="connsiteX7793" fmla="*/ 8864407 w 9586368"/>
              <a:gd name="connsiteY7793" fmla="*/ 957302 h 6479439"/>
              <a:gd name="connsiteX7794" fmla="*/ 8868426 w 9586368"/>
              <a:gd name="connsiteY7794" fmla="*/ 961340 h 6479439"/>
              <a:gd name="connsiteX7795" fmla="*/ 8868426 w 9586368"/>
              <a:gd name="connsiteY7795" fmla="*/ 971210 h 6479439"/>
              <a:gd name="connsiteX7796" fmla="*/ 8864407 w 9586368"/>
              <a:gd name="connsiteY7796" fmla="*/ 975249 h 6479439"/>
              <a:gd name="connsiteX7797" fmla="*/ 8854496 w 9586368"/>
              <a:gd name="connsiteY7797" fmla="*/ 975249 h 6479439"/>
              <a:gd name="connsiteX7798" fmla="*/ 8850477 w 9586368"/>
              <a:gd name="connsiteY7798" fmla="*/ 971210 h 6479439"/>
              <a:gd name="connsiteX7799" fmla="*/ 8850477 w 9586368"/>
              <a:gd name="connsiteY7799" fmla="*/ 961340 h 6479439"/>
              <a:gd name="connsiteX7800" fmla="*/ 8615184 w 9586368"/>
              <a:gd name="connsiteY7800" fmla="*/ 957302 h 6479439"/>
              <a:gd name="connsiteX7801" fmla="*/ 8625095 w 9586368"/>
              <a:gd name="connsiteY7801" fmla="*/ 957302 h 6479439"/>
              <a:gd name="connsiteX7802" fmla="*/ 8629114 w 9586368"/>
              <a:gd name="connsiteY7802" fmla="*/ 961340 h 6479439"/>
              <a:gd name="connsiteX7803" fmla="*/ 8629114 w 9586368"/>
              <a:gd name="connsiteY7803" fmla="*/ 971210 h 6479439"/>
              <a:gd name="connsiteX7804" fmla="*/ 8625095 w 9586368"/>
              <a:gd name="connsiteY7804" fmla="*/ 975249 h 6479439"/>
              <a:gd name="connsiteX7805" fmla="*/ 8615184 w 9586368"/>
              <a:gd name="connsiteY7805" fmla="*/ 975249 h 6479439"/>
              <a:gd name="connsiteX7806" fmla="*/ 8611165 w 9586368"/>
              <a:gd name="connsiteY7806" fmla="*/ 971210 h 6479439"/>
              <a:gd name="connsiteX7807" fmla="*/ 8611165 w 9586368"/>
              <a:gd name="connsiteY7807" fmla="*/ 961340 h 6479439"/>
              <a:gd name="connsiteX7808" fmla="*/ 8375869 w 9586368"/>
              <a:gd name="connsiteY7808" fmla="*/ 957302 h 6479439"/>
              <a:gd name="connsiteX7809" fmla="*/ 8385779 w 9586368"/>
              <a:gd name="connsiteY7809" fmla="*/ 957302 h 6479439"/>
              <a:gd name="connsiteX7810" fmla="*/ 8389799 w 9586368"/>
              <a:gd name="connsiteY7810" fmla="*/ 961340 h 6479439"/>
              <a:gd name="connsiteX7811" fmla="*/ 8389799 w 9586368"/>
              <a:gd name="connsiteY7811" fmla="*/ 971210 h 6479439"/>
              <a:gd name="connsiteX7812" fmla="*/ 8385779 w 9586368"/>
              <a:gd name="connsiteY7812" fmla="*/ 975249 h 6479439"/>
              <a:gd name="connsiteX7813" fmla="*/ 8375869 w 9586368"/>
              <a:gd name="connsiteY7813" fmla="*/ 975249 h 6479439"/>
              <a:gd name="connsiteX7814" fmla="*/ 8371850 w 9586368"/>
              <a:gd name="connsiteY7814" fmla="*/ 971210 h 6479439"/>
              <a:gd name="connsiteX7815" fmla="*/ 8371850 w 9586368"/>
              <a:gd name="connsiteY7815" fmla="*/ 961340 h 6479439"/>
              <a:gd name="connsiteX7816" fmla="*/ 1918514 w 9586368"/>
              <a:gd name="connsiteY7816" fmla="*/ 957301 h 6479439"/>
              <a:gd name="connsiteX7817" fmla="*/ 1928424 w 9586368"/>
              <a:gd name="connsiteY7817" fmla="*/ 957301 h 6479439"/>
              <a:gd name="connsiteX7818" fmla="*/ 1932444 w 9586368"/>
              <a:gd name="connsiteY7818" fmla="*/ 961339 h 6479439"/>
              <a:gd name="connsiteX7819" fmla="*/ 1932444 w 9586368"/>
              <a:gd name="connsiteY7819" fmla="*/ 971210 h 6479439"/>
              <a:gd name="connsiteX7820" fmla="*/ 1928424 w 9586368"/>
              <a:gd name="connsiteY7820" fmla="*/ 975249 h 6479439"/>
              <a:gd name="connsiteX7821" fmla="*/ 1918514 w 9586368"/>
              <a:gd name="connsiteY7821" fmla="*/ 975249 h 6479439"/>
              <a:gd name="connsiteX7822" fmla="*/ 1914495 w 9586368"/>
              <a:gd name="connsiteY7822" fmla="*/ 971210 h 6479439"/>
              <a:gd name="connsiteX7823" fmla="*/ 1914495 w 9586368"/>
              <a:gd name="connsiteY7823" fmla="*/ 961339 h 6479439"/>
              <a:gd name="connsiteX7824" fmla="*/ 2157823 w 9586368"/>
              <a:gd name="connsiteY7824" fmla="*/ 957299 h 6479439"/>
              <a:gd name="connsiteX7825" fmla="*/ 2167733 w 9586368"/>
              <a:gd name="connsiteY7825" fmla="*/ 957299 h 6479439"/>
              <a:gd name="connsiteX7826" fmla="*/ 2171751 w 9586368"/>
              <a:gd name="connsiteY7826" fmla="*/ 961337 h 6479439"/>
              <a:gd name="connsiteX7827" fmla="*/ 2171751 w 9586368"/>
              <a:gd name="connsiteY7827" fmla="*/ 971207 h 6479439"/>
              <a:gd name="connsiteX7828" fmla="*/ 2167733 w 9586368"/>
              <a:gd name="connsiteY7828" fmla="*/ 975246 h 6479439"/>
              <a:gd name="connsiteX7829" fmla="*/ 2157823 w 9586368"/>
              <a:gd name="connsiteY7829" fmla="*/ 975246 h 6479439"/>
              <a:gd name="connsiteX7830" fmla="*/ 2153804 w 9586368"/>
              <a:gd name="connsiteY7830" fmla="*/ 971207 h 6479439"/>
              <a:gd name="connsiteX7831" fmla="*/ 2153804 w 9586368"/>
              <a:gd name="connsiteY7831" fmla="*/ 961337 h 6479439"/>
              <a:gd name="connsiteX7832" fmla="*/ 9572438 w 9586368"/>
              <a:gd name="connsiteY7832" fmla="*/ 957291 h 6479439"/>
              <a:gd name="connsiteX7833" fmla="*/ 9582349 w 9586368"/>
              <a:gd name="connsiteY7833" fmla="*/ 957291 h 6479439"/>
              <a:gd name="connsiteX7834" fmla="*/ 9586368 w 9586368"/>
              <a:gd name="connsiteY7834" fmla="*/ 961329 h 6479439"/>
              <a:gd name="connsiteX7835" fmla="*/ 9586368 w 9586368"/>
              <a:gd name="connsiteY7835" fmla="*/ 971199 h 6479439"/>
              <a:gd name="connsiteX7836" fmla="*/ 9582349 w 9586368"/>
              <a:gd name="connsiteY7836" fmla="*/ 975238 h 6479439"/>
              <a:gd name="connsiteX7837" fmla="*/ 9572438 w 9586368"/>
              <a:gd name="connsiteY7837" fmla="*/ 975238 h 6479439"/>
              <a:gd name="connsiteX7838" fmla="*/ 9568419 w 9586368"/>
              <a:gd name="connsiteY7838" fmla="*/ 971199 h 6479439"/>
              <a:gd name="connsiteX7839" fmla="*/ 9568419 w 9586368"/>
              <a:gd name="connsiteY7839" fmla="*/ 961329 h 6479439"/>
              <a:gd name="connsiteX7840" fmla="*/ 721974 w 9586368"/>
              <a:gd name="connsiteY7840" fmla="*/ 957266 h 6479439"/>
              <a:gd name="connsiteX7841" fmla="*/ 731884 w 9586368"/>
              <a:gd name="connsiteY7841" fmla="*/ 957266 h 6479439"/>
              <a:gd name="connsiteX7842" fmla="*/ 735903 w 9586368"/>
              <a:gd name="connsiteY7842" fmla="*/ 961305 h 6479439"/>
              <a:gd name="connsiteX7843" fmla="*/ 735903 w 9586368"/>
              <a:gd name="connsiteY7843" fmla="*/ 971175 h 6479439"/>
              <a:gd name="connsiteX7844" fmla="*/ 731884 w 9586368"/>
              <a:gd name="connsiteY7844" fmla="*/ 975214 h 6479439"/>
              <a:gd name="connsiteX7845" fmla="*/ 721974 w 9586368"/>
              <a:gd name="connsiteY7845" fmla="*/ 975214 h 6479439"/>
              <a:gd name="connsiteX7846" fmla="*/ 717956 w 9586368"/>
              <a:gd name="connsiteY7846" fmla="*/ 971175 h 6479439"/>
              <a:gd name="connsiteX7847" fmla="*/ 717956 w 9586368"/>
              <a:gd name="connsiteY7847" fmla="*/ 961305 h 6479439"/>
              <a:gd name="connsiteX7848" fmla="*/ 482662 w 9586368"/>
              <a:gd name="connsiteY7848" fmla="*/ 957266 h 6479439"/>
              <a:gd name="connsiteX7849" fmla="*/ 492572 w 9586368"/>
              <a:gd name="connsiteY7849" fmla="*/ 957266 h 6479439"/>
              <a:gd name="connsiteX7850" fmla="*/ 496591 w 9586368"/>
              <a:gd name="connsiteY7850" fmla="*/ 961305 h 6479439"/>
              <a:gd name="connsiteX7851" fmla="*/ 496591 w 9586368"/>
              <a:gd name="connsiteY7851" fmla="*/ 971175 h 6479439"/>
              <a:gd name="connsiteX7852" fmla="*/ 492572 w 9586368"/>
              <a:gd name="connsiteY7852" fmla="*/ 975214 h 6479439"/>
              <a:gd name="connsiteX7853" fmla="*/ 482662 w 9586368"/>
              <a:gd name="connsiteY7853" fmla="*/ 975214 h 6479439"/>
              <a:gd name="connsiteX7854" fmla="*/ 478643 w 9586368"/>
              <a:gd name="connsiteY7854" fmla="*/ 971175 h 6479439"/>
              <a:gd name="connsiteX7855" fmla="*/ 478643 w 9586368"/>
              <a:gd name="connsiteY7855" fmla="*/ 961305 h 6479439"/>
              <a:gd name="connsiteX7856" fmla="*/ 243349 w 9586368"/>
              <a:gd name="connsiteY7856" fmla="*/ 957266 h 6479439"/>
              <a:gd name="connsiteX7857" fmla="*/ 253259 w 9586368"/>
              <a:gd name="connsiteY7857" fmla="*/ 957266 h 6479439"/>
              <a:gd name="connsiteX7858" fmla="*/ 257278 w 9586368"/>
              <a:gd name="connsiteY7858" fmla="*/ 961305 h 6479439"/>
              <a:gd name="connsiteX7859" fmla="*/ 257278 w 9586368"/>
              <a:gd name="connsiteY7859" fmla="*/ 971175 h 6479439"/>
              <a:gd name="connsiteX7860" fmla="*/ 253259 w 9586368"/>
              <a:gd name="connsiteY7860" fmla="*/ 975214 h 6479439"/>
              <a:gd name="connsiteX7861" fmla="*/ 243349 w 9586368"/>
              <a:gd name="connsiteY7861" fmla="*/ 975214 h 6479439"/>
              <a:gd name="connsiteX7862" fmla="*/ 239330 w 9586368"/>
              <a:gd name="connsiteY7862" fmla="*/ 971175 h 6479439"/>
              <a:gd name="connsiteX7863" fmla="*/ 239330 w 9586368"/>
              <a:gd name="connsiteY7863" fmla="*/ 961305 h 6479439"/>
              <a:gd name="connsiteX7864" fmla="*/ 4036 w 9586368"/>
              <a:gd name="connsiteY7864" fmla="*/ 957266 h 6479439"/>
              <a:gd name="connsiteX7865" fmla="*/ 13946 w 9586368"/>
              <a:gd name="connsiteY7865" fmla="*/ 957266 h 6479439"/>
              <a:gd name="connsiteX7866" fmla="*/ 17965 w 9586368"/>
              <a:gd name="connsiteY7866" fmla="*/ 961305 h 6479439"/>
              <a:gd name="connsiteX7867" fmla="*/ 17965 w 9586368"/>
              <a:gd name="connsiteY7867" fmla="*/ 971176 h 6479439"/>
              <a:gd name="connsiteX7868" fmla="*/ 13946 w 9586368"/>
              <a:gd name="connsiteY7868" fmla="*/ 975214 h 6479439"/>
              <a:gd name="connsiteX7869" fmla="*/ 4036 w 9586368"/>
              <a:gd name="connsiteY7869" fmla="*/ 975214 h 6479439"/>
              <a:gd name="connsiteX7870" fmla="*/ 16 w 9586368"/>
              <a:gd name="connsiteY7870" fmla="*/ 971176 h 6479439"/>
              <a:gd name="connsiteX7871" fmla="*/ 16 w 9586368"/>
              <a:gd name="connsiteY7871" fmla="*/ 961305 h 6479439"/>
              <a:gd name="connsiteX7872" fmla="*/ 3350359 w 9586368"/>
              <a:gd name="connsiteY7872" fmla="*/ 718040 h 6479439"/>
              <a:gd name="connsiteX7873" fmla="*/ 3360268 w 9586368"/>
              <a:gd name="connsiteY7873" fmla="*/ 718040 h 6479439"/>
              <a:gd name="connsiteX7874" fmla="*/ 3364287 w 9586368"/>
              <a:gd name="connsiteY7874" fmla="*/ 722078 h 6479439"/>
              <a:gd name="connsiteX7875" fmla="*/ 3364287 w 9586368"/>
              <a:gd name="connsiteY7875" fmla="*/ 731948 h 6479439"/>
              <a:gd name="connsiteX7876" fmla="*/ 3360268 w 9586368"/>
              <a:gd name="connsiteY7876" fmla="*/ 735987 h 6479439"/>
              <a:gd name="connsiteX7877" fmla="*/ 3350359 w 9586368"/>
              <a:gd name="connsiteY7877" fmla="*/ 735987 h 6479439"/>
              <a:gd name="connsiteX7878" fmla="*/ 3346340 w 9586368"/>
              <a:gd name="connsiteY7878" fmla="*/ 731948 h 6479439"/>
              <a:gd name="connsiteX7879" fmla="*/ 3346340 w 9586368"/>
              <a:gd name="connsiteY7879" fmla="*/ 722078 h 6479439"/>
              <a:gd name="connsiteX7880" fmla="*/ 3111048 w 9586368"/>
              <a:gd name="connsiteY7880" fmla="*/ 718040 h 6479439"/>
              <a:gd name="connsiteX7881" fmla="*/ 3120959 w 9586368"/>
              <a:gd name="connsiteY7881" fmla="*/ 718040 h 6479439"/>
              <a:gd name="connsiteX7882" fmla="*/ 3124977 w 9586368"/>
              <a:gd name="connsiteY7882" fmla="*/ 722078 h 6479439"/>
              <a:gd name="connsiteX7883" fmla="*/ 3124977 w 9586368"/>
              <a:gd name="connsiteY7883" fmla="*/ 731949 h 6479439"/>
              <a:gd name="connsiteX7884" fmla="*/ 3120959 w 9586368"/>
              <a:gd name="connsiteY7884" fmla="*/ 735987 h 6479439"/>
              <a:gd name="connsiteX7885" fmla="*/ 3111048 w 9586368"/>
              <a:gd name="connsiteY7885" fmla="*/ 735987 h 6479439"/>
              <a:gd name="connsiteX7886" fmla="*/ 3107029 w 9586368"/>
              <a:gd name="connsiteY7886" fmla="*/ 731949 h 6479439"/>
              <a:gd name="connsiteX7887" fmla="*/ 3107029 w 9586368"/>
              <a:gd name="connsiteY7887" fmla="*/ 722078 h 6479439"/>
              <a:gd name="connsiteX7888" fmla="*/ 2871737 w 9586368"/>
              <a:gd name="connsiteY7888" fmla="*/ 718040 h 6479439"/>
              <a:gd name="connsiteX7889" fmla="*/ 2881646 w 9586368"/>
              <a:gd name="connsiteY7889" fmla="*/ 718040 h 6479439"/>
              <a:gd name="connsiteX7890" fmla="*/ 2885666 w 9586368"/>
              <a:gd name="connsiteY7890" fmla="*/ 722078 h 6479439"/>
              <a:gd name="connsiteX7891" fmla="*/ 2885666 w 9586368"/>
              <a:gd name="connsiteY7891" fmla="*/ 731949 h 6479439"/>
              <a:gd name="connsiteX7892" fmla="*/ 2881646 w 9586368"/>
              <a:gd name="connsiteY7892" fmla="*/ 735987 h 6479439"/>
              <a:gd name="connsiteX7893" fmla="*/ 2871737 w 9586368"/>
              <a:gd name="connsiteY7893" fmla="*/ 735987 h 6479439"/>
              <a:gd name="connsiteX7894" fmla="*/ 2867717 w 9586368"/>
              <a:gd name="connsiteY7894" fmla="*/ 731949 h 6479439"/>
              <a:gd name="connsiteX7895" fmla="*/ 2867717 w 9586368"/>
              <a:gd name="connsiteY7895" fmla="*/ 722078 h 6479439"/>
              <a:gd name="connsiteX7896" fmla="*/ 2632423 w 9586368"/>
              <a:gd name="connsiteY7896" fmla="*/ 718040 h 6479439"/>
              <a:gd name="connsiteX7897" fmla="*/ 2642334 w 9586368"/>
              <a:gd name="connsiteY7897" fmla="*/ 718040 h 6479439"/>
              <a:gd name="connsiteX7898" fmla="*/ 2646352 w 9586368"/>
              <a:gd name="connsiteY7898" fmla="*/ 722078 h 6479439"/>
              <a:gd name="connsiteX7899" fmla="*/ 2646352 w 9586368"/>
              <a:gd name="connsiteY7899" fmla="*/ 731949 h 6479439"/>
              <a:gd name="connsiteX7900" fmla="*/ 2642334 w 9586368"/>
              <a:gd name="connsiteY7900" fmla="*/ 735988 h 6479439"/>
              <a:gd name="connsiteX7901" fmla="*/ 2632423 w 9586368"/>
              <a:gd name="connsiteY7901" fmla="*/ 735988 h 6479439"/>
              <a:gd name="connsiteX7902" fmla="*/ 2628404 w 9586368"/>
              <a:gd name="connsiteY7902" fmla="*/ 731949 h 6479439"/>
              <a:gd name="connsiteX7903" fmla="*/ 2628404 w 9586368"/>
              <a:gd name="connsiteY7903" fmla="*/ 722078 h 6479439"/>
              <a:gd name="connsiteX7904" fmla="*/ 2393104 w 9586368"/>
              <a:gd name="connsiteY7904" fmla="*/ 718040 h 6479439"/>
              <a:gd name="connsiteX7905" fmla="*/ 2403015 w 9586368"/>
              <a:gd name="connsiteY7905" fmla="*/ 718040 h 6479439"/>
              <a:gd name="connsiteX7906" fmla="*/ 2407034 w 9586368"/>
              <a:gd name="connsiteY7906" fmla="*/ 722078 h 6479439"/>
              <a:gd name="connsiteX7907" fmla="*/ 2407034 w 9586368"/>
              <a:gd name="connsiteY7907" fmla="*/ 731949 h 6479439"/>
              <a:gd name="connsiteX7908" fmla="*/ 2403015 w 9586368"/>
              <a:gd name="connsiteY7908" fmla="*/ 735988 h 6479439"/>
              <a:gd name="connsiteX7909" fmla="*/ 2393104 w 9586368"/>
              <a:gd name="connsiteY7909" fmla="*/ 735988 h 6479439"/>
              <a:gd name="connsiteX7910" fmla="*/ 2389087 w 9586368"/>
              <a:gd name="connsiteY7910" fmla="*/ 731949 h 6479439"/>
              <a:gd name="connsiteX7911" fmla="*/ 2389087 w 9586368"/>
              <a:gd name="connsiteY7911" fmla="*/ 722078 h 6479439"/>
              <a:gd name="connsiteX7912" fmla="*/ 4546929 w 9586368"/>
              <a:gd name="connsiteY7912" fmla="*/ 718028 h 6479439"/>
              <a:gd name="connsiteX7913" fmla="*/ 4556840 w 9586368"/>
              <a:gd name="connsiteY7913" fmla="*/ 718028 h 6479439"/>
              <a:gd name="connsiteX7914" fmla="*/ 4560859 w 9586368"/>
              <a:gd name="connsiteY7914" fmla="*/ 722066 h 6479439"/>
              <a:gd name="connsiteX7915" fmla="*/ 4560859 w 9586368"/>
              <a:gd name="connsiteY7915" fmla="*/ 731935 h 6479439"/>
              <a:gd name="connsiteX7916" fmla="*/ 4556840 w 9586368"/>
              <a:gd name="connsiteY7916" fmla="*/ 735975 h 6479439"/>
              <a:gd name="connsiteX7917" fmla="*/ 4546929 w 9586368"/>
              <a:gd name="connsiteY7917" fmla="*/ 735975 h 6479439"/>
              <a:gd name="connsiteX7918" fmla="*/ 4542910 w 9586368"/>
              <a:gd name="connsiteY7918" fmla="*/ 731935 h 6479439"/>
              <a:gd name="connsiteX7919" fmla="*/ 4542910 w 9586368"/>
              <a:gd name="connsiteY7919" fmla="*/ 722066 h 6479439"/>
              <a:gd name="connsiteX7920" fmla="*/ 4307612 w 9586368"/>
              <a:gd name="connsiteY7920" fmla="*/ 718028 h 6479439"/>
              <a:gd name="connsiteX7921" fmla="*/ 4317523 w 9586368"/>
              <a:gd name="connsiteY7921" fmla="*/ 718028 h 6479439"/>
              <a:gd name="connsiteX7922" fmla="*/ 4321543 w 9586368"/>
              <a:gd name="connsiteY7922" fmla="*/ 722066 h 6479439"/>
              <a:gd name="connsiteX7923" fmla="*/ 4321543 w 9586368"/>
              <a:gd name="connsiteY7923" fmla="*/ 731936 h 6479439"/>
              <a:gd name="connsiteX7924" fmla="*/ 4317523 w 9586368"/>
              <a:gd name="connsiteY7924" fmla="*/ 735975 h 6479439"/>
              <a:gd name="connsiteX7925" fmla="*/ 4307612 w 9586368"/>
              <a:gd name="connsiteY7925" fmla="*/ 735975 h 6479439"/>
              <a:gd name="connsiteX7926" fmla="*/ 4303595 w 9586368"/>
              <a:gd name="connsiteY7926" fmla="*/ 731936 h 6479439"/>
              <a:gd name="connsiteX7927" fmla="*/ 4303595 w 9586368"/>
              <a:gd name="connsiteY7927" fmla="*/ 722066 h 6479439"/>
              <a:gd name="connsiteX7928" fmla="*/ 4068297 w 9586368"/>
              <a:gd name="connsiteY7928" fmla="*/ 718028 h 6479439"/>
              <a:gd name="connsiteX7929" fmla="*/ 4078210 w 9586368"/>
              <a:gd name="connsiteY7929" fmla="*/ 718028 h 6479439"/>
              <a:gd name="connsiteX7930" fmla="*/ 4082229 w 9586368"/>
              <a:gd name="connsiteY7930" fmla="*/ 722066 h 6479439"/>
              <a:gd name="connsiteX7931" fmla="*/ 4082229 w 9586368"/>
              <a:gd name="connsiteY7931" fmla="*/ 731936 h 6479439"/>
              <a:gd name="connsiteX7932" fmla="*/ 4078210 w 9586368"/>
              <a:gd name="connsiteY7932" fmla="*/ 735975 h 6479439"/>
              <a:gd name="connsiteX7933" fmla="*/ 4068297 w 9586368"/>
              <a:gd name="connsiteY7933" fmla="*/ 735975 h 6479439"/>
              <a:gd name="connsiteX7934" fmla="*/ 4064278 w 9586368"/>
              <a:gd name="connsiteY7934" fmla="*/ 731936 h 6479439"/>
              <a:gd name="connsiteX7935" fmla="*/ 4064278 w 9586368"/>
              <a:gd name="connsiteY7935" fmla="*/ 722066 h 6479439"/>
              <a:gd name="connsiteX7936" fmla="*/ 3828990 w 9586368"/>
              <a:gd name="connsiteY7936" fmla="*/ 718028 h 6479439"/>
              <a:gd name="connsiteX7937" fmla="*/ 3838899 w 9586368"/>
              <a:gd name="connsiteY7937" fmla="*/ 718028 h 6479439"/>
              <a:gd name="connsiteX7938" fmla="*/ 3842917 w 9586368"/>
              <a:gd name="connsiteY7938" fmla="*/ 722066 h 6479439"/>
              <a:gd name="connsiteX7939" fmla="*/ 3842917 w 9586368"/>
              <a:gd name="connsiteY7939" fmla="*/ 731936 h 6479439"/>
              <a:gd name="connsiteX7940" fmla="*/ 3838899 w 9586368"/>
              <a:gd name="connsiteY7940" fmla="*/ 735975 h 6479439"/>
              <a:gd name="connsiteX7941" fmla="*/ 3828990 w 9586368"/>
              <a:gd name="connsiteY7941" fmla="*/ 735975 h 6479439"/>
              <a:gd name="connsiteX7942" fmla="*/ 3824971 w 9586368"/>
              <a:gd name="connsiteY7942" fmla="*/ 731936 h 6479439"/>
              <a:gd name="connsiteX7943" fmla="*/ 3824971 w 9586368"/>
              <a:gd name="connsiteY7943" fmla="*/ 722066 h 6479439"/>
              <a:gd name="connsiteX7944" fmla="*/ 3589676 w 9586368"/>
              <a:gd name="connsiteY7944" fmla="*/ 718028 h 6479439"/>
              <a:gd name="connsiteX7945" fmla="*/ 3599585 w 9586368"/>
              <a:gd name="connsiteY7945" fmla="*/ 718028 h 6479439"/>
              <a:gd name="connsiteX7946" fmla="*/ 3603604 w 9586368"/>
              <a:gd name="connsiteY7946" fmla="*/ 722066 h 6479439"/>
              <a:gd name="connsiteX7947" fmla="*/ 3603604 w 9586368"/>
              <a:gd name="connsiteY7947" fmla="*/ 731936 h 6479439"/>
              <a:gd name="connsiteX7948" fmla="*/ 3599585 w 9586368"/>
              <a:gd name="connsiteY7948" fmla="*/ 735975 h 6479439"/>
              <a:gd name="connsiteX7949" fmla="*/ 3589676 w 9586368"/>
              <a:gd name="connsiteY7949" fmla="*/ 735975 h 6479439"/>
              <a:gd name="connsiteX7950" fmla="*/ 3585657 w 9586368"/>
              <a:gd name="connsiteY7950" fmla="*/ 731936 h 6479439"/>
              <a:gd name="connsiteX7951" fmla="*/ 3585657 w 9586368"/>
              <a:gd name="connsiteY7951" fmla="*/ 722066 h 6479439"/>
              <a:gd name="connsiteX7952" fmla="*/ 5743412 w 9586368"/>
              <a:gd name="connsiteY7952" fmla="*/ 718015 h 6479439"/>
              <a:gd name="connsiteX7953" fmla="*/ 5753323 w 9586368"/>
              <a:gd name="connsiteY7953" fmla="*/ 718015 h 6479439"/>
              <a:gd name="connsiteX7954" fmla="*/ 5757342 w 9586368"/>
              <a:gd name="connsiteY7954" fmla="*/ 722053 h 6479439"/>
              <a:gd name="connsiteX7955" fmla="*/ 5757342 w 9586368"/>
              <a:gd name="connsiteY7955" fmla="*/ 731924 h 6479439"/>
              <a:gd name="connsiteX7956" fmla="*/ 5753323 w 9586368"/>
              <a:gd name="connsiteY7956" fmla="*/ 735963 h 6479439"/>
              <a:gd name="connsiteX7957" fmla="*/ 5743412 w 9586368"/>
              <a:gd name="connsiteY7957" fmla="*/ 735963 h 6479439"/>
              <a:gd name="connsiteX7958" fmla="*/ 5739393 w 9586368"/>
              <a:gd name="connsiteY7958" fmla="*/ 731924 h 6479439"/>
              <a:gd name="connsiteX7959" fmla="*/ 5739393 w 9586368"/>
              <a:gd name="connsiteY7959" fmla="*/ 722053 h 6479439"/>
              <a:gd name="connsiteX7960" fmla="*/ 5504099 w 9586368"/>
              <a:gd name="connsiteY7960" fmla="*/ 718015 h 6479439"/>
              <a:gd name="connsiteX7961" fmla="*/ 5514010 w 9586368"/>
              <a:gd name="connsiteY7961" fmla="*/ 718015 h 6479439"/>
              <a:gd name="connsiteX7962" fmla="*/ 5518029 w 9586368"/>
              <a:gd name="connsiteY7962" fmla="*/ 722053 h 6479439"/>
              <a:gd name="connsiteX7963" fmla="*/ 5518029 w 9586368"/>
              <a:gd name="connsiteY7963" fmla="*/ 731924 h 6479439"/>
              <a:gd name="connsiteX7964" fmla="*/ 5514010 w 9586368"/>
              <a:gd name="connsiteY7964" fmla="*/ 735963 h 6479439"/>
              <a:gd name="connsiteX7965" fmla="*/ 5504099 w 9586368"/>
              <a:gd name="connsiteY7965" fmla="*/ 735963 h 6479439"/>
              <a:gd name="connsiteX7966" fmla="*/ 5500080 w 9586368"/>
              <a:gd name="connsiteY7966" fmla="*/ 731924 h 6479439"/>
              <a:gd name="connsiteX7967" fmla="*/ 5500080 w 9586368"/>
              <a:gd name="connsiteY7967" fmla="*/ 722053 h 6479439"/>
              <a:gd name="connsiteX7968" fmla="*/ 5264784 w 9586368"/>
              <a:gd name="connsiteY7968" fmla="*/ 718015 h 6479439"/>
              <a:gd name="connsiteX7969" fmla="*/ 5274694 w 9586368"/>
              <a:gd name="connsiteY7969" fmla="*/ 718015 h 6479439"/>
              <a:gd name="connsiteX7970" fmla="*/ 5278713 w 9586368"/>
              <a:gd name="connsiteY7970" fmla="*/ 722053 h 6479439"/>
              <a:gd name="connsiteX7971" fmla="*/ 5278713 w 9586368"/>
              <a:gd name="connsiteY7971" fmla="*/ 731924 h 6479439"/>
              <a:gd name="connsiteX7972" fmla="*/ 5274694 w 9586368"/>
              <a:gd name="connsiteY7972" fmla="*/ 735963 h 6479439"/>
              <a:gd name="connsiteX7973" fmla="*/ 5264784 w 9586368"/>
              <a:gd name="connsiteY7973" fmla="*/ 735963 h 6479439"/>
              <a:gd name="connsiteX7974" fmla="*/ 5260765 w 9586368"/>
              <a:gd name="connsiteY7974" fmla="*/ 731924 h 6479439"/>
              <a:gd name="connsiteX7975" fmla="*/ 5260765 w 9586368"/>
              <a:gd name="connsiteY7975" fmla="*/ 722053 h 6479439"/>
              <a:gd name="connsiteX7976" fmla="*/ 5025470 w 9586368"/>
              <a:gd name="connsiteY7976" fmla="*/ 718015 h 6479439"/>
              <a:gd name="connsiteX7977" fmla="*/ 5035381 w 9586368"/>
              <a:gd name="connsiteY7977" fmla="*/ 718015 h 6479439"/>
              <a:gd name="connsiteX7978" fmla="*/ 5039400 w 9586368"/>
              <a:gd name="connsiteY7978" fmla="*/ 722053 h 6479439"/>
              <a:gd name="connsiteX7979" fmla="*/ 5039400 w 9586368"/>
              <a:gd name="connsiteY7979" fmla="*/ 731924 h 6479439"/>
              <a:gd name="connsiteX7980" fmla="*/ 5035381 w 9586368"/>
              <a:gd name="connsiteY7980" fmla="*/ 735963 h 6479439"/>
              <a:gd name="connsiteX7981" fmla="*/ 5025470 w 9586368"/>
              <a:gd name="connsiteY7981" fmla="*/ 735963 h 6479439"/>
              <a:gd name="connsiteX7982" fmla="*/ 5021451 w 9586368"/>
              <a:gd name="connsiteY7982" fmla="*/ 731924 h 6479439"/>
              <a:gd name="connsiteX7983" fmla="*/ 5021451 w 9586368"/>
              <a:gd name="connsiteY7983" fmla="*/ 722053 h 6479439"/>
              <a:gd name="connsiteX7984" fmla="*/ 4786241 w 9586368"/>
              <a:gd name="connsiteY7984" fmla="*/ 718015 h 6479439"/>
              <a:gd name="connsiteX7985" fmla="*/ 4796152 w 9586368"/>
              <a:gd name="connsiteY7985" fmla="*/ 718015 h 6479439"/>
              <a:gd name="connsiteX7986" fmla="*/ 4800171 w 9586368"/>
              <a:gd name="connsiteY7986" fmla="*/ 722053 h 6479439"/>
              <a:gd name="connsiteX7987" fmla="*/ 4800171 w 9586368"/>
              <a:gd name="connsiteY7987" fmla="*/ 731924 h 6479439"/>
              <a:gd name="connsiteX7988" fmla="*/ 4796152 w 9586368"/>
              <a:gd name="connsiteY7988" fmla="*/ 735963 h 6479439"/>
              <a:gd name="connsiteX7989" fmla="*/ 4786241 w 9586368"/>
              <a:gd name="connsiteY7989" fmla="*/ 735963 h 6479439"/>
              <a:gd name="connsiteX7990" fmla="*/ 4782224 w 9586368"/>
              <a:gd name="connsiteY7990" fmla="*/ 731924 h 6479439"/>
              <a:gd name="connsiteX7991" fmla="*/ 4782224 w 9586368"/>
              <a:gd name="connsiteY7991" fmla="*/ 722053 h 6479439"/>
              <a:gd name="connsiteX7992" fmla="*/ 6939983 w 9586368"/>
              <a:gd name="connsiteY7992" fmla="*/ 718003 h 6479439"/>
              <a:gd name="connsiteX7993" fmla="*/ 6949894 w 9586368"/>
              <a:gd name="connsiteY7993" fmla="*/ 718003 h 6479439"/>
              <a:gd name="connsiteX7994" fmla="*/ 6953913 w 9586368"/>
              <a:gd name="connsiteY7994" fmla="*/ 722041 h 6479439"/>
              <a:gd name="connsiteX7995" fmla="*/ 6953913 w 9586368"/>
              <a:gd name="connsiteY7995" fmla="*/ 731911 h 6479439"/>
              <a:gd name="connsiteX7996" fmla="*/ 6949894 w 9586368"/>
              <a:gd name="connsiteY7996" fmla="*/ 735950 h 6479439"/>
              <a:gd name="connsiteX7997" fmla="*/ 6939983 w 9586368"/>
              <a:gd name="connsiteY7997" fmla="*/ 735950 h 6479439"/>
              <a:gd name="connsiteX7998" fmla="*/ 6935964 w 9586368"/>
              <a:gd name="connsiteY7998" fmla="*/ 731911 h 6479439"/>
              <a:gd name="connsiteX7999" fmla="*/ 6935964 w 9586368"/>
              <a:gd name="connsiteY7999" fmla="*/ 722041 h 6479439"/>
              <a:gd name="connsiteX8000" fmla="*/ 6700670 w 9586368"/>
              <a:gd name="connsiteY8000" fmla="*/ 718003 h 6479439"/>
              <a:gd name="connsiteX8001" fmla="*/ 6710581 w 9586368"/>
              <a:gd name="connsiteY8001" fmla="*/ 718003 h 6479439"/>
              <a:gd name="connsiteX8002" fmla="*/ 6714600 w 9586368"/>
              <a:gd name="connsiteY8002" fmla="*/ 722041 h 6479439"/>
              <a:gd name="connsiteX8003" fmla="*/ 6714600 w 9586368"/>
              <a:gd name="connsiteY8003" fmla="*/ 731912 h 6479439"/>
              <a:gd name="connsiteX8004" fmla="*/ 6710581 w 9586368"/>
              <a:gd name="connsiteY8004" fmla="*/ 735950 h 6479439"/>
              <a:gd name="connsiteX8005" fmla="*/ 6700670 w 9586368"/>
              <a:gd name="connsiteY8005" fmla="*/ 735950 h 6479439"/>
              <a:gd name="connsiteX8006" fmla="*/ 6696651 w 9586368"/>
              <a:gd name="connsiteY8006" fmla="*/ 731912 h 6479439"/>
              <a:gd name="connsiteX8007" fmla="*/ 6696651 w 9586368"/>
              <a:gd name="connsiteY8007" fmla="*/ 722041 h 6479439"/>
              <a:gd name="connsiteX8008" fmla="*/ 6461356 w 9586368"/>
              <a:gd name="connsiteY8008" fmla="*/ 718003 h 6479439"/>
              <a:gd name="connsiteX8009" fmla="*/ 6471266 w 9586368"/>
              <a:gd name="connsiteY8009" fmla="*/ 718003 h 6479439"/>
              <a:gd name="connsiteX8010" fmla="*/ 6475285 w 9586368"/>
              <a:gd name="connsiteY8010" fmla="*/ 722041 h 6479439"/>
              <a:gd name="connsiteX8011" fmla="*/ 6475285 w 9586368"/>
              <a:gd name="connsiteY8011" fmla="*/ 731912 h 6479439"/>
              <a:gd name="connsiteX8012" fmla="*/ 6471266 w 9586368"/>
              <a:gd name="connsiteY8012" fmla="*/ 735950 h 6479439"/>
              <a:gd name="connsiteX8013" fmla="*/ 6461356 w 9586368"/>
              <a:gd name="connsiteY8013" fmla="*/ 735950 h 6479439"/>
              <a:gd name="connsiteX8014" fmla="*/ 6457337 w 9586368"/>
              <a:gd name="connsiteY8014" fmla="*/ 731912 h 6479439"/>
              <a:gd name="connsiteX8015" fmla="*/ 6457337 w 9586368"/>
              <a:gd name="connsiteY8015" fmla="*/ 722041 h 6479439"/>
              <a:gd name="connsiteX8016" fmla="*/ 6222042 w 9586368"/>
              <a:gd name="connsiteY8016" fmla="*/ 718003 h 6479439"/>
              <a:gd name="connsiteX8017" fmla="*/ 6231952 w 9586368"/>
              <a:gd name="connsiteY8017" fmla="*/ 718003 h 6479439"/>
              <a:gd name="connsiteX8018" fmla="*/ 6235971 w 9586368"/>
              <a:gd name="connsiteY8018" fmla="*/ 722041 h 6479439"/>
              <a:gd name="connsiteX8019" fmla="*/ 6235971 w 9586368"/>
              <a:gd name="connsiteY8019" fmla="*/ 731912 h 6479439"/>
              <a:gd name="connsiteX8020" fmla="*/ 6231952 w 9586368"/>
              <a:gd name="connsiteY8020" fmla="*/ 735951 h 6479439"/>
              <a:gd name="connsiteX8021" fmla="*/ 6222042 w 9586368"/>
              <a:gd name="connsiteY8021" fmla="*/ 735951 h 6479439"/>
              <a:gd name="connsiteX8022" fmla="*/ 6218023 w 9586368"/>
              <a:gd name="connsiteY8022" fmla="*/ 731912 h 6479439"/>
              <a:gd name="connsiteX8023" fmla="*/ 6218023 w 9586368"/>
              <a:gd name="connsiteY8023" fmla="*/ 722041 h 6479439"/>
              <a:gd name="connsiteX8024" fmla="*/ 5982729 w 9586368"/>
              <a:gd name="connsiteY8024" fmla="*/ 718003 h 6479439"/>
              <a:gd name="connsiteX8025" fmla="*/ 5992639 w 9586368"/>
              <a:gd name="connsiteY8025" fmla="*/ 718003 h 6479439"/>
              <a:gd name="connsiteX8026" fmla="*/ 5996658 w 9586368"/>
              <a:gd name="connsiteY8026" fmla="*/ 722041 h 6479439"/>
              <a:gd name="connsiteX8027" fmla="*/ 5996658 w 9586368"/>
              <a:gd name="connsiteY8027" fmla="*/ 731912 h 6479439"/>
              <a:gd name="connsiteX8028" fmla="*/ 5992639 w 9586368"/>
              <a:gd name="connsiteY8028" fmla="*/ 735951 h 6479439"/>
              <a:gd name="connsiteX8029" fmla="*/ 5982729 w 9586368"/>
              <a:gd name="connsiteY8029" fmla="*/ 735951 h 6479439"/>
              <a:gd name="connsiteX8030" fmla="*/ 5978710 w 9586368"/>
              <a:gd name="connsiteY8030" fmla="*/ 731912 h 6479439"/>
              <a:gd name="connsiteX8031" fmla="*/ 5978710 w 9586368"/>
              <a:gd name="connsiteY8031" fmla="*/ 722041 h 6479439"/>
              <a:gd name="connsiteX8032" fmla="*/ 8136553 w 9586368"/>
              <a:gd name="connsiteY8032" fmla="*/ 717990 h 6479439"/>
              <a:gd name="connsiteX8033" fmla="*/ 8146464 w 9586368"/>
              <a:gd name="connsiteY8033" fmla="*/ 717990 h 6479439"/>
              <a:gd name="connsiteX8034" fmla="*/ 8150483 w 9586368"/>
              <a:gd name="connsiteY8034" fmla="*/ 722028 h 6479439"/>
              <a:gd name="connsiteX8035" fmla="*/ 8150483 w 9586368"/>
              <a:gd name="connsiteY8035" fmla="*/ 731899 h 6479439"/>
              <a:gd name="connsiteX8036" fmla="*/ 8146464 w 9586368"/>
              <a:gd name="connsiteY8036" fmla="*/ 735938 h 6479439"/>
              <a:gd name="connsiteX8037" fmla="*/ 8136553 w 9586368"/>
              <a:gd name="connsiteY8037" fmla="*/ 735938 h 6479439"/>
              <a:gd name="connsiteX8038" fmla="*/ 8132534 w 9586368"/>
              <a:gd name="connsiteY8038" fmla="*/ 731899 h 6479439"/>
              <a:gd name="connsiteX8039" fmla="*/ 8132534 w 9586368"/>
              <a:gd name="connsiteY8039" fmla="*/ 722028 h 6479439"/>
              <a:gd name="connsiteX8040" fmla="*/ 7897241 w 9586368"/>
              <a:gd name="connsiteY8040" fmla="*/ 717990 h 6479439"/>
              <a:gd name="connsiteX8041" fmla="*/ 7907151 w 9586368"/>
              <a:gd name="connsiteY8041" fmla="*/ 717990 h 6479439"/>
              <a:gd name="connsiteX8042" fmla="*/ 7911170 w 9586368"/>
              <a:gd name="connsiteY8042" fmla="*/ 722029 h 6479439"/>
              <a:gd name="connsiteX8043" fmla="*/ 7911170 w 9586368"/>
              <a:gd name="connsiteY8043" fmla="*/ 731899 h 6479439"/>
              <a:gd name="connsiteX8044" fmla="*/ 7907151 w 9586368"/>
              <a:gd name="connsiteY8044" fmla="*/ 735938 h 6479439"/>
              <a:gd name="connsiteX8045" fmla="*/ 7897241 w 9586368"/>
              <a:gd name="connsiteY8045" fmla="*/ 735938 h 6479439"/>
              <a:gd name="connsiteX8046" fmla="*/ 7893222 w 9586368"/>
              <a:gd name="connsiteY8046" fmla="*/ 731899 h 6479439"/>
              <a:gd name="connsiteX8047" fmla="*/ 7893222 w 9586368"/>
              <a:gd name="connsiteY8047" fmla="*/ 722029 h 6479439"/>
              <a:gd name="connsiteX8048" fmla="*/ 7657926 w 9586368"/>
              <a:gd name="connsiteY8048" fmla="*/ 717990 h 6479439"/>
              <a:gd name="connsiteX8049" fmla="*/ 7667836 w 9586368"/>
              <a:gd name="connsiteY8049" fmla="*/ 717990 h 6479439"/>
              <a:gd name="connsiteX8050" fmla="*/ 7671855 w 9586368"/>
              <a:gd name="connsiteY8050" fmla="*/ 722029 h 6479439"/>
              <a:gd name="connsiteX8051" fmla="*/ 7671855 w 9586368"/>
              <a:gd name="connsiteY8051" fmla="*/ 731899 h 6479439"/>
              <a:gd name="connsiteX8052" fmla="*/ 7667836 w 9586368"/>
              <a:gd name="connsiteY8052" fmla="*/ 735938 h 6479439"/>
              <a:gd name="connsiteX8053" fmla="*/ 7657926 w 9586368"/>
              <a:gd name="connsiteY8053" fmla="*/ 735938 h 6479439"/>
              <a:gd name="connsiteX8054" fmla="*/ 7653906 w 9586368"/>
              <a:gd name="connsiteY8054" fmla="*/ 731899 h 6479439"/>
              <a:gd name="connsiteX8055" fmla="*/ 7653906 w 9586368"/>
              <a:gd name="connsiteY8055" fmla="*/ 722029 h 6479439"/>
              <a:gd name="connsiteX8056" fmla="*/ 7418611 w 9586368"/>
              <a:gd name="connsiteY8056" fmla="*/ 717990 h 6479439"/>
              <a:gd name="connsiteX8057" fmla="*/ 7428521 w 9586368"/>
              <a:gd name="connsiteY8057" fmla="*/ 717990 h 6479439"/>
              <a:gd name="connsiteX8058" fmla="*/ 7432540 w 9586368"/>
              <a:gd name="connsiteY8058" fmla="*/ 722029 h 6479439"/>
              <a:gd name="connsiteX8059" fmla="*/ 7432540 w 9586368"/>
              <a:gd name="connsiteY8059" fmla="*/ 731899 h 6479439"/>
              <a:gd name="connsiteX8060" fmla="*/ 7428521 w 9586368"/>
              <a:gd name="connsiteY8060" fmla="*/ 735938 h 6479439"/>
              <a:gd name="connsiteX8061" fmla="*/ 7418611 w 9586368"/>
              <a:gd name="connsiteY8061" fmla="*/ 735938 h 6479439"/>
              <a:gd name="connsiteX8062" fmla="*/ 7414592 w 9586368"/>
              <a:gd name="connsiteY8062" fmla="*/ 731899 h 6479439"/>
              <a:gd name="connsiteX8063" fmla="*/ 7414592 w 9586368"/>
              <a:gd name="connsiteY8063" fmla="*/ 722029 h 6479439"/>
              <a:gd name="connsiteX8064" fmla="*/ 7179298 w 9586368"/>
              <a:gd name="connsiteY8064" fmla="*/ 717990 h 6479439"/>
              <a:gd name="connsiteX8065" fmla="*/ 7189209 w 9586368"/>
              <a:gd name="connsiteY8065" fmla="*/ 717990 h 6479439"/>
              <a:gd name="connsiteX8066" fmla="*/ 7193228 w 9586368"/>
              <a:gd name="connsiteY8066" fmla="*/ 722029 h 6479439"/>
              <a:gd name="connsiteX8067" fmla="*/ 7193228 w 9586368"/>
              <a:gd name="connsiteY8067" fmla="*/ 731899 h 6479439"/>
              <a:gd name="connsiteX8068" fmla="*/ 7189209 w 9586368"/>
              <a:gd name="connsiteY8068" fmla="*/ 735938 h 6479439"/>
              <a:gd name="connsiteX8069" fmla="*/ 7179298 w 9586368"/>
              <a:gd name="connsiteY8069" fmla="*/ 735938 h 6479439"/>
              <a:gd name="connsiteX8070" fmla="*/ 7175279 w 9586368"/>
              <a:gd name="connsiteY8070" fmla="*/ 731899 h 6479439"/>
              <a:gd name="connsiteX8071" fmla="*/ 7175279 w 9586368"/>
              <a:gd name="connsiteY8071" fmla="*/ 722029 h 6479439"/>
              <a:gd name="connsiteX8072" fmla="*/ 961272 w 9586368"/>
              <a:gd name="connsiteY8072" fmla="*/ 717980 h 6479439"/>
              <a:gd name="connsiteX8073" fmla="*/ 971182 w 9586368"/>
              <a:gd name="connsiteY8073" fmla="*/ 717980 h 6479439"/>
              <a:gd name="connsiteX8074" fmla="*/ 975202 w 9586368"/>
              <a:gd name="connsiteY8074" fmla="*/ 722018 h 6479439"/>
              <a:gd name="connsiteX8075" fmla="*/ 975202 w 9586368"/>
              <a:gd name="connsiteY8075" fmla="*/ 731889 h 6479439"/>
              <a:gd name="connsiteX8076" fmla="*/ 971182 w 9586368"/>
              <a:gd name="connsiteY8076" fmla="*/ 735928 h 6479439"/>
              <a:gd name="connsiteX8077" fmla="*/ 961272 w 9586368"/>
              <a:gd name="connsiteY8077" fmla="*/ 735928 h 6479439"/>
              <a:gd name="connsiteX8078" fmla="*/ 957254 w 9586368"/>
              <a:gd name="connsiteY8078" fmla="*/ 731889 h 6479439"/>
              <a:gd name="connsiteX8079" fmla="*/ 957254 w 9586368"/>
              <a:gd name="connsiteY8079" fmla="*/ 722018 h 6479439"/>
              <a:gd name="connsiteX8080" fmla="*/ 1679219 w 9586368"/>
              <a:gd name="connsiteY8080" fmla="*/ 717979 h 6479439"/>
              <a:gd name="connsiteX8081" fmla="*/ 1689128 w 9586368"/>
              <a:gd name="connsiteY8081" fmla="*/ 717979 h 6479439"/>
              <a:gd name="connsiteX8082" fmla="*/ 1693149 w 9586368"/>
              <a:gd name="connsiteY8082" fmla="*/ 722018 h 6479439"/>
              <a:gd name="connsiteX8083" fmla="*/ 1693149 w 9586368"/>
              <a:gd name="connsiteY8083" fmla="*/ 731889 h 6479439"/>
              <a:gd name="connsiteX8084" fmla="*/ 1689128 w 9586368"/>
              <a:gd name="connsiteY8084" fmla="*/ 735927 h 6479439"/>
              <a:gd name="connsiteX8085" fmla="*/ 1679219 w 9586368"/>
              <a:gd name="connsiteY8085" fmla="*/ 735927 h 6479439"/>
              <a:gd name="connsiteX8086" fmla="*/ 1675200 w 9586368"/>
              <a:gd name="connsiteY8086" fmla="*/ 731889 h 6479439"/>
              <a:gd name="connsiteX8087" fmla="*/ 1675200 w 9586368"/>
              <a:gd name="connsiteY8087" fmla="*/ 722018 h 6479439"/>
              <a:gd name="connsiteX8088" fmla="*/ 1439901 w 9586368"/>
              <a:gd name="connsiteY8088" fmla="*/ 717979 h 6479439"/>
              <a:gd name="connsiteX8089" fmla="*/ 1449811 w 9586368"/>
              <a:gd name="connsiteY8089" fmla="*/ 717979 h 6479439"/>
              <a:gd name="connsiteX8090" fmla="*/ 1453831 w 9586368"/>
              <a:gd name="connsiteY8090" fmla="*/ 722018 h 6479439"/>
              <a:gd name="connsiteX8091" fmla="*/ 1453831 w 9586368"/>
              <a:gd name="connsiteY8091" fmla="*/ 731889 h 6479439"/>
              <a:gd name="connsiteX8092" fmla="*/ 1449811 w 9586368"/>
              <a:gd name="connsiteY8092" fmla="*/ 735927 h 6479439"/>
              <a:gd name="connsiteX8093" fmla="*/ 1439901 w 9586368"/>
              <a:gd name="connsiteY8093" fmla="*/ 735927 h 6479439"/>
              <a:gd name="connsiteX8094" fmla="*/ 1435883 w 9586368"/>
              <a:gd name="connsiteY8094" fmla="*/ 731889 h 6479439"/>
              <a:gd name="connsiteX8095" fmla="*/ 1435883 w 9586368"/>
              <a:gd name="connsiteY8095" fmla="*/ 722018 h 6479439"/>
              <a:gd name="connsiteX8096" fmla="*/ 1200585 w 9586368"/>
              <a:gd name="connsiteY8096" fmla="*/ 717979 h 6479439"/>
              <a:gd name="connsiteX8097" fmla="*/ 1210495 w 9586368"/>
              <a:gd name="connsiteY8097" fmla="*/ 717979 h 6479439"/>
              <a:gd name="connsiteX8098" fmla="*/ 1214513 w 9586368"/>
              <a:gd name="connsiteY8098" fmla="*/ 722018 h 6479439"/>
              <a:gd name="connsiteX8099" fmla="*/ 1214513 w 9586368"/>
              <a:gd name="connsiteY8099" fmla="*/ 731889 h 6479439"/>
              <a:gd name="connsiteX8100" fmla="*/ 1210495 w 9586368"/>
              <a:gd name="connsiteY8100" fmla="*/ 735927 h 6479439"/>
              <a:gd name="connsiteX8101" fmla="*/ 1200585 w 9586368"/>
              <a:gd name="connsiteY8101" fmla="*/ 735927 h 6479439"/>
              <a:gd name="connsiteX8102" fmla="*/ 1196566 w 9586368"/>
              <a:gd name="connsiteY8102" fmla="*/ 731889 h 6479439"/>
              <a:gd name="connsiteX8103" fmla="*/ 1196566 w 9586368"/>
              <a:gd name="connsiteY8103" fmla="*/ 722018 h 6479439"/>
              <a:gd name="connsiteX8104" fmla="*/ 9333125 w 9586368"/>
              <a:gd name="connsiteY8104" fmla="*/ 717978 h 6479439"/>
              <a:gd name="connsiteX8105" fmla="*/ 9343036 w 9586368"/>
              <a:gd name="connsiteY8105" fmla="*/ 717978 h 6479439"/>
              <a:gd name="connsiteX8106" fmla="*/ 9347055 w 9586368"/>
              <a:gd name="connsiteY8106" fmla="*/ 722016 h 6479439"/>
              <a:gd name="connsiteX8107" fmla="*/ 9347055 w 9586368"/>
              <a:gd name="connsiteY8107" fmla="*/ 731887 h 6479439"/>
              <a:gd name="connsiteX8108" fmla="*/ 9343036 w 9586368"/>
              <a:gd name="connsiteY8108" fmla="*/ 735926 h 6479439"/>
              <a:gd name="connsiteX8109" fmla="*/ 9333125 w 9586368"/>
              <a:gd name="connsiteY8109" fmla="*/ 735926 h 6479439"/>
              <a:gd name="connsiteX8110" fmla="*/ 9329106 w 9586368"/>
              <a:gd name="connsiteY8110" fmla="*/ 731887 h 6479439"/>
              <a:gd name="connsiteX8111" fmla="*/ 9329106 w 9586368"/>
              <a:gd name="connsiteY8111" fmla="*/ 722016 h 6479439"/>
              <a:gd name="connsiteX8112" fmla="*/ 9093811 w 9586368"/>
              <a:gd name="connsiteY8112" fmla="*/ 717978 h 6479439"/>
              <a:gd name="connsiteX8113" fmla="*/ 9103722 w 9586368"/>
              <a:gd name="connsiteY8113" fmla="*/ 717978 h 6479439"/>
              <a:gd name="connsiteX8114" fmla="*/ 9107741 w 9586368"/>
              <a:gd name="connsiteY8114" fmla="*/ 722016 h 6479439"/>
              <a:gd name="connsiteX8115" fmla="*/ 9107741 w 9586368"/>
              <a:gd name="connsiteY8115" fmla="*/ 731887 h 6479439"/>
              <a:gd name="connsiteX8116" fmla="*/ 9103722 w 9586368"/>
              <a:gd name="connsiteY8116" fmla="*/ 735926 h 6479439"/>
              <a:gd name="connsiteX8117" fmla="*/ 9093811 w 9586368"/>
              <a:gd name="connsiteY8117" fmla="*/ 735926 h 6479439"/>
              <a:gd name="connsiteX8118" fmla="*/ 9089792 w 9586368"/>
              <a:gd name="connsiteY8118" fmla="*/ 731887 h 6479439"/>
              <a:gd name="connsiteX8119" fmla="*/ 9089792 w 9586368"/>
              <a:gd name="connsiteY8119" fmla="*/ 722016 h 6479439"/>
              <a:gd name="connsiteX8120" fmla="*/ 8854496 w 9586368"/>
              <a:gd name="connsiteY8120" fmla="*/ 717978 h 6479439"/>
              <a:gd name="connsiteX8121" fmla="*/ 8864407 w 9586368"/>
              <a:gd name="connsiteY8121" fmla="*/ 717978 h 6479439"/>
              <a:gd name="connsiteX8122" fmla="*/ 8868426 w 9586368"/>
              <a:gd name="connsiteY8122" fmla="*/ 722016 h 6479439"/>
              <a:gd name="connsiteX8123" fmla="*/ 8868426 w 9586368"/>
              <a:gd name="connsiteY8123" fmla="*/ 731887 h 6479439"/>
              <a:gd name="connsiteX8124" fmla="*/ 8864407 w 9586368"/>
              <a:gd name="connsiteY8124" fmla="*/ 735926 h 6479439"/>
              <a:gd name="connsiteX8125" fmla="*/ 8854496 w 9586368"/>
              <a:gd name="connsiteY8125" fmla="*/ 735926 h 6479439"/>
              <a:gd name="connsiteX8126" fmla="*/ 8850477 w 9586368"/>
              <a:gd name="connsiteY8126" fmla="*/ 731887 h 6479439"/>
              <a:gd name="connsiteX8127" fmla="*/ 8850477 w 9586368"/>
              <a:gd name="connsiteY8127" fmla="*/ 722016 h 6479439"/>
              <a:gd name="connsiteX8128" fmla="*/ 8615184 w 9586368"/>
              <a:gd name="connsiteY8128" fmla="*/ 717978 h 6479439"/>
              <a:gd name="connsiteX8129" fmla="*/ 8625095 w 9586368"/>
              <a:gd name="connsiteY8129" fmla="*/ 717978 h 6479439"/>
              <a:gd name="connsiteX8130" fmla="*/ 8629114 w 9586368"/>
              <a:gd name="connsiteY8130" fmla="*/ 722016 h 6479439"/>
              <a:gd name="connsiteX8131" fmla="*/ 8629114 w 9586368"/>
              <a:gd name="connsiteY8131" fmla="*/ 731887 h 6479439"/>
              <a:gd name="connsiteX8132" fmla="*/ 8625095 w 9586368"/>
              <a:gd name="connsiteY8132" fmla="*/ 735926 h 6479439"/>
              <a:gd name="connsiteX8133" fmla="*/ 8615184 w 9586368"/>
              <a:gd name="connsiteY8133" fmla="*/ 735926 h 6479439"/>
              <a:gd name="connsiteX8134" fmla="*/ 8611165 w 9586368"/>
              <a:gd name="connsiteY8134" fmla="*/ 731887 h 6479439"/>
              <a:gd name="connsiteX8135" fmla="*/ 8611165 w 9586368"/>
              <a:gd name="connsiteY8135" fmla="*/ 722016 h 6479439"/>
              <a:gd name="connsiteX8136" fmla="*/ 8375869 w 9586368"/>
              <a:gd name="connsiteY8136" fmla="*/ 717978 h 6479439"/>
              <a:gd name="connsiteX8137" fmla="*/ 8385779 w 9586368"/>
              <a:gd name="connsiteY8137" fmla="*/ 717978 h 6479439"/>
              <a:gd name="connsiteX8138" fmla="*/ 8389799 w 9586368"/>
              <a:gd name="connsiteY8138" fmla="*/ 722016 h 6479439"/>
              <a:gd name="connsiteX8139" fmla="*/ 8389799 w 9586368"/>
              <a:gd name="connsiteY8139" fmla="*/ 731887 h 6479439"/>
              <a:gd name="connsiteX8140" fmla="*/ 8385779 w 9586368"/>
              <a:gd name="connsiteY8140" fmla="*/ 735926 h 6479439"/>
              <a:gd name="connsiteX8141" fmla="*/ 8375869 w 9586368"/>
              <a:gd name="connsiteY8141" fmla="*/ 735926 h 6479439"/>
              <a:gd name="connsiteX8142" fmla="*/ 8371850 w 9586368"/>
              <a:gd name="connsiteY8142" fmla="*/ 731887 h 6479439"/>
              <a:gd name="connsiteX8143" fmla="*/ 8371850 w 9586368"/>
              <a:gd name="connsiteY8143" fmla="*/ 722016 h 6479439"/>
              <a:gd name="connsiteX8144" fmla="*/ 1918514 w 9586368"/>
              <a:gd name="connsiteY8144" fmla="*/ 717970 h 6479439"/>
              <a:gd name="connsiteX8145" fmla="*/ 1928424 w 9586368"/>
              <a:gd name="connsiteY8145" fmla="*/ 717970 h 6479439"/>
              <a:gd name="connsiteX8146" fmla="*/ 1932444 w 9586368"/>
              <a:gd name="connsiteY8146" fmla="*/ 722009 h 6479439"/>
              <a:gd name="connsiteX8147" fmla="*/ 1932444 w 9586368"/>
              <a:gd name="connsiteY8147" fmla="*/ 731879 h 6479439"/>
              <a:gd name="connsiteX8148" fmla="*/ 1928424 w 9586368"/>
              <a:gd name="connsiteY8148" fmla="*/ 735918 h 6479439"/>
              <a:gd name="connsiteX8149" fmla="*/ 1918514 w 9586368"/>
              <a:gd name="connsiteY8149" fmla="*/ 735918 h 6479439"/>
              <a:gd name="connsiteX8150" fmla="*/ 1914495 w 9586368"/>
              <a:gd name="connsiteY8150" fmla="*/ 731879 h 6479439"/>
              <a:gd name="connsiteX8151" fmla="*/ 1914495 w 9586368"/>
              <a:gd name="connsiteY8151" fmla="*/ 722009 h 6479439"/>
              <a:gd name="connsiteX8152" fmla="*/ 2157823 w 9586368"/>
              <a:gd name="connsiteY8152" fmla="*/ 717968 h 6479439"/>
              <a:gd name="connsiteX8153" fmla="*/ 2167733 w 9586368"/>
              <a:gd name="connsiteY8153" fmla="*/ 717968 h 6479439"/>
              <a:gd name="connsiteX8154" fmla="*/ 2171753 w 9586368"/>
              <a:gd name="connsiteY8154" fmla="*/ 722006 h 6479439"/>
              <a:gd name="connsiteX8155" fmla="*/ 2171753 w 9586368"/>
              <a:gd name="connsiteY8155" fmla="*/ 731877 h 6479439"/>
              <a:gd name="connsiteX8156" fmla="*/ 2167733 w 9586368"/>
              <a:gd name="connsiteY8156" fmla="*/ 735916 h 6479439"/>
              <a:gd name="connsiteX8157" fmla="*/ 2157823 w 9586368"/>
              <a:gd name="connsiteY8157" fmla="*/ 735916 h 6479439"/>
              <a:gd name="connsiteX8158" fmla="*/ 2153804 w 9586368"/>
              <a:gd name="connsiteY8158" fmla="*/ 731877 h 6479439"/>
              <a:gd name="connsiteX8159" fmla="*/ 2153804 w 9586368"/>
              <a:gd name="connsiteY8159" fmla="*/ 722006 h 6479439"/>
              <a:gd name="connsiteX8160" fmla="*/ 9572438 w 9586368"/>
              <a:gd name="connsiteY8160" fmla="*/ 717966 h 6479439"/>
              <a:gd name="connsiteX8161" fmla="*/ 9582349 w 9586368"/>
              <a:gd name="connsiteY8161" fmla="*/ 717966 h 6479439"/>
              <a:gd name="connsiteX8162" fmla="*/ 9586368 w 9586368"/>
              <a:gd name="connsiteY8162" fmla="*/ 722004 h 6479439"/>
              <a:gd name="connsiteX8163" fmla="*/ 9586368 w 9586368"/>
              <a:gd name="connsiteY8163" fmla="*/ 731875 h 6479439"/>
              <a:gd name="connsiteX8164" fmla="*/ 9582349 w 9586368"/>
              <a:gd name="connsiteY8164" fmla="*/ 735914 h 6479439"/>
              <a:gd name="connsiteX8165" fmla="*/ 9572438 w 9586368"/>
              <a:gd name="connsiteY8165" fmla="*/ 735914 h 6479439"/>
              <a:gd name="connsiteX8166" fmla="*/ 9568419 w 9586368"/>
              <a:gd name="connsiteY8166" fmla="*/ 731875 h 6479439"/>
              <a:gd name="connsiteX8167" fmla="*/ 9568419 w 9586368"/>
              <a:gd name="connsiteY8167" fmla="*/ 722004 h 6479439"/>
              <a:gd name="connsiteX8168" fmla="*/ 243349 w 9586368"/>
              <a:gd name="connsiteY8168" fmla="*/ 717939 h 6479439"/>
              <a:gd name="connsiteX8169" fmla="*/ 253260 w 9586368"/>
              <a:gd name="connsiteY8169" fmla="*/ 717939 h 6479439"/>
              <a:gd name="connsiteX8170" fmla="*/ 257279 w 9586368"/>
              <a:gd name="connsiteY8170" fmla="*/ 721977 h 6479439"/>
              <a:gd name="connsiteX8171" fmla="*/ 257279 w 9586368"/>
              <a:gd name="connsiteY8171" fmla="*/ 731847 h 6479439"/>
              <a:gd name="connsiteX8172" fmla="*/ 253260 w 9586368"/>
              <a:gd name="connsiteY8172" fmla="*/ 735886 h 6479439"/>
              <a:gd name="connsiteX8173" fmla="*/ 243349 w 9586368"/>
              <a:gd name="connsiteY8173" fmla="*/ 735886 h 6479439"/>
              <a:gd name="connsiteX8174" fmla="*/ 239330 w 9586368"/>
              <a:gd name="connsiteY8174" fmla="*/ 731847 h 6479439"/>
              <a:gd name="connsiteX8175" fmla="*/ 239330 w 9586368"/>
              <a:gd name="connsiteY8175" fmla="*/ 721977 h 6479439"/>
              <a:gd name="connsiteX8176" fmla="*/ 4036 w 9586368"/>
              <a:gd name="connsiteY8176" fmla="*/ 717939 h 6479439"/>
              <a:gd name="connsiteX8177" fmla="*/ 13947 w 9586368"/>
              <a:gd name="connsiteY8177" fmla="*/ 717939 h 6479439"/>
              <a:gd name="connsiteX8178" fmla="*/ 17965 w 9586368"/>
              <a:gd name="connsiteY8178" fmla="*/ 721978 h 6479439"/>
              <a:gd name="connsiteX8179" fmla="*/ 17965 w 9586368"/>
              <a:gd name="connsiteY8179" fmla="*/ 731848 h 6479439"/>
              <a:gd name="connsiteX8180" fmla="*/ 13947 w 9586368"/>
              <a:gd name="connsiteY8180" fmla="*/ 735886 h 6479439"/>
              <a:gd name="connsiteX8181" fmla="*/ 4036 w 9586368"/>
              <a:gd name="connsiteY8181" fmla="*/ 735886 h 6479439"/>
              <a:gd name="connsiteX8182" fmla="*/ 17 w 9586368"/>
              <a:gd name="connsiteY8182" fmla="*/ 731848 h 6479439"/>
              <a:gd name="connsiteX8183" fmla="*/ 17 w 9586368"/>
              <a:gd name="connsiteY8183" fmla="*/ 721978 h 6479439"/>
              <a:gd name="connsiteX8184" fmla="*/ 721975 w 9586368"/>
              <a:gd name="connsiteY8184" fmla="*/ 717939 h 6479439"/>
              <a:gd name="connsiteX8185" fmla="*/ 731885 w 9586368"/>
              <a:gd name="connsiteY8185" fmla="*/ 717939 h 6479439"/>
              <a:gd name="connsiteX8186" fmla="*/ 735904 w 9586368"/>
              <a:gd name="connsiteY8186" fmla="*/ 721977 h 6479439"/>
              <a:gd name="connsiteX8187" fmla="*/ 735904 w 9586368"/>
              <a:gd name="connsiteY8187" fmla="*/ 731847 h 6479439"/>
              <a:gd name="connsiteX8188" fmla="*/ 731885 w 9586368"/>
              <a:gd name="connsiteY8188" fmla="*/ 735886 h 6479439"/>
              <a:gd name="connsiteX8189" fmla="*/ 721975 w 9586368"/>
              <a:gd name="connsiteY8189" fmla="*/ 735886 h 6479439"/>
              <a:gd name="connsiteX8190" fmla="*/ 717956 w 9586368"/>
              <a:gd name="connsiteY8190" fmla="*/ 731847 h 6479439"/>
              <a:gd name="connsiteX8191" fmla="*/ 717956 w 9586368"/>
              <a:gd name="connsiteY8191" fmla="*/ 721977 h 6479439"/>
              <a:gd name="connsiteX8192" fmla="*/ 482663 w 9586368"/>
              <a:gd name="connsiteY8192" fmla="*/ 717939 h 6479439"/>
              <a:gd name="connsiteX8193" fmla="*/ 492573 w 9586368"/>
              <a:gd name="connsiteY8193" fmla="*/ 717939 h 6479439"/>
              <a:gd name="connsiteX8194" fmla="*/ 496593 w 9586368"/>
              <a:gd name="connsiteY8194" fmla="*/ 721977 h 6479439"/>
              <a:gd name="connsiteX8195" fmla="*/ 496593 w 9586368"/>
              <a:gd name="connsiteY8195" fmla="*/ 731847 h 6479439"/>
              <a:gd name="connsiteX8196" fmla="*/ 492573 w 9586368"/>
              <a:gd name="connsiteY8196" fmla="*/ 735886 h 6479439"/>
              <a:gd name="connsiteX8197" fmla="*/ 482663 w 9586368"/>
              <a:gd name="connsiteY8197" fmla="*/ 735886 h 6479439"/>
              <a:gd name="connsiteX8198" fmla="*/ 478643 w 9586368"/>
              <a:gd name="connsiteY8198" fmla="*/ 731847 h 6479439"/>
              <a:gd name="connsiteX8199" fmla="*/ 478643 w 9586368"/>
              <a:gd name="connsiteY8199" fmla="*/ 721977 h 6479439"/>
              <a:gd name="connsiteX8200" fmla="*/ 3350359 w 9586368"/>
              <a:gd name="connsiteY8200" fmla="*/ 478760 h 6479439"/>
              <a:gd name="connsiteX8201" fmla="*/ 3360268 w 9586368"/>
              <a:gd name="connsiteY8201" fmla="*/ 478760 h 6479439"/>
              <a:gd name="connsiteX8202" fmla="*/ 3364287 w 9586368"/>
              <a:gd name="connsiteY8202" fmla="*/ 482801 h 6479439"/>
              <a:gd name="connsiteX8203" fmla="*/ 3364287 w 9586368"/>
              <a:gd name="connsiteY8203" fmla="*/ 492670 h 6479439"/>
              <a:gd name="connsiteX8204" fmla="*/ 3360268 w 9586368"/>
              <a:gd name="connsiteY8204" fmla="*/ 496707 h 6479439"/>
              <a:gd name="connsiteX8205" fmla="*/ 3350359 w 9586368"/>
              <a:gd name="connsiteY8205" fmla="*/ 496707 h 6479439"/>
              <a:gd name="connsiteX8206" fmla="*/ 3346340 w 9586368"/>
              <a:gd name="connsiteY8206" fmla="*/ 492670 h 6479439"/>
              <a:gd name="connsiteX8207" fmla="*/ 3346340 w 9586368"/>
              <a:gd name="connsiteY8207" fmla="*/ 482801 h 6479439"/>
              <a:gd name="connsiteX8208" fmla="*/ 3111048 w 9586368"/>
              <a:gd name="connsiteY8208" fmla="*/ 478760 h 6479439"/>
              <a:gd name="connsiteX8209" fmla="*/ 3120959 w 9586368"/>
              <a:gd name="connsiteY8209" fmla="*/ 478760 h 6479439"/>
              <a:gd name="connsiteX8210" fmla="*/ 3124977 w 9586368"/>
              <a:gd name="connsiteY8210" fmla="*/ 482801 h 6479439"/>
              <a:gd name="connsiteX8211" fmla="*/ 3124977 w 9586368"/>
              <a:gd name="connsiteY8211" fmla="*/ 492670 h 6479439"/>
              <a:gd name="connsiteX8212" fmla="*/ 3120959 w 9586368"/>
              <a:gd name="connsiteY8212" fmla="*/ 496707 h 6479439"/>
              <a:gd name="connsiteX8213" fmla="*/ 3111048 w 9586368"/>
              <a:gd name="connsiteY8213" fmla="*/ 496707 h 6479439"/>
              <a:gd name="connsiteX8214" fmla="*/ 3107029 w 9586368"/>
              <a:gd name="connsiteY8214" fmla="*/ 492670 h 6479439"/>
              <a:gd name="connsiteX8215" fmla="*/ 3107029 w 9586368"/>
              <a:gd name="connsiteY8215" fmla="*/ 482801 h 6479439"/>
              <a:gd name="connsiteX8216" fmla="*/ 2871737 w 9586368"/>
              <a:gd name="connsiteY8216" fmla="*/ 478760 h 6479439"/>
              <a:gd name="connsiteX8217" fmla="*/ 2881646 w 9586368"/>
              <a:gd name="connsiteY8217" fmla="*/ 478760 h 6479439"/>
              <a:gd name="connsiteX8218" fmla="*/ 2885666 w 9586368"/>
              <a:gd name="connsiteY8218" fmla="*/ 482801 h 6479439"/>
              <a:gd name="connsiteX8219" fmla="*/ 2885666 w 9586368"/>
              <a:gd name="connsiteY8219" fmla="*/ 492670 h 6479439"/>
              <a:gd name="connsiteX8220" fmla="*/ 2881646 w 9586368"/>
              <a:gd name="connsiteY8220" fmla="*/ 496707 h 6479439"/>
              <a:gd name="connsiteX8221" fmla="*/ 2871737 w 9586368"/>
              <a:gd name="connsiteY8221" fmla="*/ 496707 h 6479439"/>
              <a:gd name="connsiteX8222" fmla="*/ 2867717 w 9586368"/>
              <a:gd name="connsiteY8222" fmla="*/ 492670 h 6479439"/>
              <a:gd name="connsiteX8223" fmla="*/ 2867717 w 9586368"/>
              <a:gd name="connsiteY8223" fmla="*/ 482801 h 6479439"/>
              <a:gd name="connsiteX8224" fmla="*/ 2632423 w 9586368"/>
              <a:gd name="connsiteY8224" fmla="*/ 478760 h 6479439"/>
              <a:gd name="connsiteX8225" fmla="*/ 2642334 w 9586368"/>
              <a:gd name="connsiteY8225" fmla="*/ 478760 h 6479439"/>
              <a:gd name="connsiteX8226" fmla="*/ 2646352 w 9586368"/>
              <a:gd name="connsiteY8226" fmla="*/ 482801 h 6479439"/>
              <a:gd name="connsiteX8227" fmla="*/ 2646352 w 9586368"/>
              <a:gd name="connsiteY8227" fmla="*/ 492670 h 6479439"/>
              <a:gd name="connsiteX8228" fmla="*/ 2642334 w 9586368"/>
              <a:gd name="connsiteY8228" fmla="*/ 496707 h 6479439"/>
              <a:gd name="connsiteX8229" fmla="*/ 2632423 w 9586368"/>
              <a:gd name="connsiteY8229" fmla="*/ 496707 h 6479439"/>
              <a:gd name="connsiteX8230" fmla="*/ 2628404 w 9586368"/>
              <a:gd name="connsiteY8230" fmla="*/ 492670 h 6479439"/>
              <a:gd name="connsiteX8231" fmla="*/ 2628404 w 9586368"/>
              <a:gd name="connsiteY8231" fmla="*/ 482801 h 6479439"/>
              <a:gd name="connsiteX8232" fmla="*/ 2393104 w 9586368"/>
              <a:gd name="connsiteY8232" fmla="*/ 478760 h 6479439"/>
              <a:gd name="connsiteX8233" fmla="*/ 2403015 w 9586368"/>
              <a:gd name="connsiteY8233" fmla="*/ 478760 h 6479439"/>
              <a:gd name="connsiteX8234" fmla="*/ 2407034 w 9586368"/>
              <a:gd name="connsiteY8234" fmla="*/ 482801 h 6479439"/>
              <a:gd name="connsiteX8235" fmla="*/ 2407034 w 9586368"/>
              <a:gd name="connsiteY8235" fmla="*/ 492670 h 6479439"/>
              <a:gd name="connsiteX8236" fmla="*/ 2403015 w 9586368"/>
              <a:gd name="connsiteY8236" fmla="*/ 496707 h 6479439"/>
              <a:gd name="connsiteX8237" fmla="*/ 2393104 w 9586368"/>
              <a:gd name="connsiteY8237" fmla="*/ 496707 h 6479439"/>
              <a:gd name="connsiteX8238" fmla="*/ 2389087 w 9586368"/>
              <a:gd name="connsiteY8238" fmla="*/ 492670 h 6479439"/>
              <a:gd name="connsiteX8239" fmla="*/ 2389087 w 9586368"/>
              <a:gd name="connsiteY8239" fmla="*/ 482801 h 6479439"/>
              <a:gd name="connsiteX8240" fmla="*/ 4546929 w 9586368"/>
              <a:gd name="connsiteY8240" fmla="*/ 478748 h 6479439"/>
              <a:gd name="connsiteX8241" fmla="*/ 4556840 w 9586368"/>
              <a:gd name="connsiteY8241" fmla="*/ 478748 h 6479439"/>
              <a:gd name="connsiteX8242" fmla="*/ 4560859 w 9586368"/>
              <a:gd name="connsiteY8242" fmla="*/ 482789 h 6479439"/>
              <a:gd name="connsiteX8243" fmla="*/ 4560859 w 9586368"/>
              <a:gd name="connsiteY8243" fmla="*/ 492657 h 6479439"/>
              <a:gd name="connsiteX8244" fmla="*/ 4556840 w 9586368"/>
              <a:gd name="connsiteY8244" fmla="*/ 496695 h 6479439"/>
              <a:gd name="connsiteX8245" fmla="*/ 4546929 w 9586368"/>
              <a:gd name="connsiteY8245" fmla="*/ 496695 h 6479439"/>
              <a:gd name="connsiteX8246" fmla="*/ 4542910 w 9586368"/>
              <a:gd name="connsiteY8246" fmla="*/ 492657 h 6479439"/>
              <a:gd name="connsiteX8247" fmla="*/ 4542910 w 9586368"/>
              <a:gd name="connsiteY8247" fmla="*/ 482789 h 6479439"/>
              <a:gd name="connsiteX8248" fmla="*/ 4307612 w 9586368"/>
              <a:gd name="connsiteY8248" fmla="*/ 478748 h 6479439"/>
              <a:gd name="connsiteX8249" fmla="*/ 4317523 w 9586368"/>
              <a:gd name="connsiteY8249" fmla="*/ 478748 h 6479439"/>
              <a:gd name="connsiteX8250" fmla="*/ 4321543 w 9586368"/>
              <a:gd name="connsiteY8250" fmla="*/ 482789 h 6479439"/>
              <a:gd name="connsiteX8251" fmla="*/ 4321543 w 9586368"/>
              <a:gd name="connsiteY8251" fmla="*/ 492657 h 6479439"/>
              <a:gd name="connsiteX8252" fmla="*/ 4317523 w 9586368"/>
              <a:gd name="connsiteY8252" fmla="*/ 496695 h 6479439"/>
              <a:gd name="connsiteX8253" fmla="*/ 4307612 w 9586368"/>
              <a:gd name="connsiteY8253" fmla="*/ 496695 h 6479439"/>
              <a:gd name="connsiteX8254" fmla="*/ 4303595 w 9586368"/>
              <a:gd name="connsiteY8254" fmla="*/ 492657 h 6479439"/>
              <a:gd name="connsiteX8255" fmla="*/ 4303595 w 9586368"/>
              <a:gd name="connsiteY8255" fmla="*/ 482789 h 6479439"/>
              <a:gd name="connsiteX8256" fmla="*/ 4068297 w 9586368"/>
              <a:gd name="connsiteY8256" fmla="*/ 478748 h 6479439"/>
              <a:gd name="connsiteX8257" fmla="*/ 4078210 w 9586368"/>
              <a:gd name="connsiteY8257" fmla="*/ 478748 h 6479439"/>
              <a:gd name="connsiteX8258" fmla="*/ 4082229 w 9586368"/>
              <a:gd name="connsiteY8258" fmla="*/ 482789 h 6479439"/>
              <a:gd name="connsiteX8259" fmla="*/ 4082229 w 9586368"/>
              <a:gd name="connsiteY8259" fmla="*/ 492657 h 6479439"/>
              <a:gd name="connsiteX8260" fmla="*/ 4078210 w 9586368"/>
              <a:gd name="connsiteY8260" fmla="*/ 496695 h 6479439"/>
              <a:gd name="connsiteX8261" fmla="*/ 4068297 w 9586368"/>
              <a:gd name="connsiteY8261" fmla="*/ 496695 h 6479439"/>
              <a:gd name="connsiteX8262" fmla="*/ 4064278 w 9586368"/>
              <a:gd name="connsiteY8262" fmla="*/ 492657 h 6479439"/>
              <a:gd name="connsiteX8263" fmla="*/ 4064278 w 9586368"/>
              <a:gd name="connsiteY8263" fmla="*/ 482789 h 6479439"/>
              <a:gd name="connsiteX8264" fmla="*/ 3828990 w 9586368"/>
              <a:gd name="connsiteY8264" fmla="*/ 478748 h 6479439"/>
              <a:gd name="connsiteX8265" fmla="*/ 3838899 w 9586368"/>
              <a:gd name="connsiteY8265" fmla="*/ 478748 h 6479439"/>
              <a:gd name="connsiteX8266" fmla="*/ 3842917 w 9586368"/>
              <a:gd name="connsiteY8266" fmla="*/ 482789 h 6479439"/>
              <a:gd name="connsiteX8267" fmla="*/ 3842917 w 9586368"/>
              <a:gd name="connsiteY8267" fmla="*/ 492657 h 6479439"/>
              <a:gd name="connsiteX8268" fmla="*/ 3838899 w 9586368"/>
              <a:gd name="connsiteY8268" fmla="*/ 496695 h 6479439"/>
              <a:gd name="connsiteX8269" fmla="*/ 3828990 w 9586368"/>
              <a:gd name="connsiteY8269" fmla="*/ 496695 h 6479439"/>
              <a:gd name="connsiteX8270" fmla="*/ 3824971 w 9586368"/>
              <a:gd name="connsiteY8270" fmla="*/ 492657 h 6479439"/>
              <a:gd name="connsiteX8271" fmla="*/ 3824971 w 9586368"/>
              <a:gd name="connsiteY8271" fmla="*/ 482789 h 6479439"/>
              <a:gd name="connsiteX8272" fmla="*/ 3589676 w 9586368"/>
              <a:gd name="connsiteY8272" fmla="*/ 478748 h 6479439"/>
              <a:gd name="connsiteX8273" fmla="*/ 3599585 w 9586368"/>
              <a:gd name="connsiteY8273" fmla="*/ 478748 h 6479439"/>
              <a:gd name="connsiteX8274" fmla="*/ 3603604 w 9586368"/>
              <a:gd name="connsiteY8274" fmla="*/ 482789 h 6479439"/>
              <a:gd name="connsiteX8275" fmla="*/ 3603604 w 9586368"/>
              <a:gd name="connsiteY8275" fmla="*/ 492657 h 6479439"/>
              <a:gd name="connsiteX8276" fmla="*/ 3599585 w 9586368"/>
              <a:gd name="connsiteY8276" fmla="*/ 496695 h 6479439"/>
              <a:gd name="connsiteX8277" fmla="*/ 3589676 w 9586368"/>
              <a:gd name="connsiteY8277" fmla="*/ 496695 h 6479439"/>
              <a:gd name="connsiteX8278" fmla="*/ 3585657 w 9586368"/>
              <a:gd name="connsiteY8278" fmla="*/ 492657 h 6479439"/>
              <a:gd name="connsiteX8279" fmla="*/ 3585657 w 9586368"/>
              <a:gd name="connsiteY8279" fmla="*/ 482789 h 6479439"/>
              <a:gd name="connsiteX8280" fmla="*/ 5743412 w 9586368"/>
              <a:gd name="connsiteY8280" fmla="*/ 478736 h 6479439"/>
              <a:gd name="connsiteX8281" fmla="*/ 5753323 w 9586368"/>
              <a:gd name="connsiteY8281" fmla="*/ 478736 h 6479439"/>
              <a:gd name="connsiteX8282" fmla="*/ 5757342 w 9586368"/>
              <a:gd name="connsiteY8282" fmla="*/ 482776 h 6479439"/>
              <a:gd name="connsiteX8283" fmla="*/ 5757342 w 9586368"/>
              <a:gd name="connsiteY8283" fmla="*/ 492645 h 6479439"/>
              <a:gd name="connsiteX8284" fmla="*/ 5753323 w 9586368"/>
              <a:gd name="connsiteY8284" fmla="*/ 496683 h 6479439"/>
              <a:gd name="connsiteX8285" fmla="*/ 5743412 w 9586368"/>
              <a:gd name="connsiteY8285" fmla="*/ 496683 h 6479439"/>
              <a:gd name="connsiteX8286" fmla="*/ 5739393 w 9586368"/>
              <a:gd name="connsiteY8286" fmla="*/ 492645 h 6479439"/>
              <a:gd name="connsiteX8287" fmla="*/ 5739393 w 9586368"/>
              <a:gd name="connsiteY8287" fmla="*/ 482776 h 6479439"/>
              <a:gd name="connsiteX8288" fmla="*/ 5504099 w 9586368"/>
              <a:gd name="connsiteY8288" fmla="*/ 478736 h 6479439"/>
              <a:gd name="connsiteX8289" fmla="*/ 5514010 w 9586368"/>
              <a:gd name="connsiteY8289" fmla="*/ 478736 h 6479439"/>
              <a:gd name="connsiteX8290" fmla="*/ 5518029 w 9586368"/>
              <a:gd name="connsiteY8290" fmla="*/ 482776 h 6479439"/>
              <a:gd name="connsiteX8291" fmla="*/ 5518029 w 9586368"/>
              <a:gd name="connsiteY8291" fmla="*/ 492645 h 6479439"/>
              <a:gd name="connsiteX8292" fmla="*/ 5514010 w 9586368"/>
              <a:gd name="connsiteY8292" fmla="*/ 496683 h 6479439"/>
              <a:gd name="connsiteX8293" fmla="*/ 5504099 w 9586368"/>
              <a:gd name="connsiteY8293" fmla="*/ 496683 h 6479439"/>
              <a:gd name="connsiteX8294" fmla="*/ 5500080 w 9586368"/>
              <a:gd name="connsiteY8294" fmla="*/ 492645 h 6479439"/>
              <a:gd name="connsiteX8295" fmla="*/ 5500080 w 9586368"/>
              <a:gd name="connsiteY8295" fmla="*/ 482776 h 6479439"/>
              <a:gd name="connsiteX8296" fmla="*/ 5264784 w 9586368"/>
              <a:gd name="connsiteY8296" fmla="*/ 478736 h 6479439"/>
              <a:gd name="connsiteX8297" fmla="*/ 5274694 w 9586368"/>
              <a:gd name="connsiteY8297" fmla="*/ 478736 h 6479439"/>
              <a:gd name="connsiteX8298" fmla="*/ 5278713 w 9586368"/>
              <a:gd name="connsiteY8298" fmla="*/ 482776 h 6479439"/>
              <a:gd name="connsiteX8299" fmla="*/ 5278713 w 9586368"/>
              <a:gd name="connsiteY8299" fmla="*/ 492645 h 6479439"/>
              <a:gd name="connsiteX8300" fmla="*/ 5274694 w 9586368"/>
              <a:gd name="connsiteY8300" fmla="*/ 496683 h 6479439"/>
              <a:gd name="connsiteX8301" fmla="*/ 5264784 w 9586368"/>
              <a:gd name="connsiteY8301" fmla="*/ 496683 h 6479439"/>
              <a:gd name="connsiteX8302" fmla="*/ 5260765 w 9586368"/>
              <a:gd name="connsiteY8302" fmla="*/ 492645 h 6479439"/>
              <a:gd name="connsiteX8303" fmla="*/ 5260765 w 9586368"/>
              <a:gd name="connsiteY8303" fmla="*/ 482776 h 6479439"/>
              <a:gd name="connsiteX8304" fmla="*/ 5025470 w 9586368"/>
              <a:gd name="connsiteY8304" fmla="*/ 478736 h 6479439"/>
              <a:gd name="connsiteX8305" fmla="*/ 5035381 w 9586368"/>
              <a:gd name="connsiteY8305" fmla="*/ 478736 h 6479439"/>
              <a:gd name="connsiteX8306" fmla="*/ 5039400 w 9586368"/>
              <a:gd name="connsiteY8306" fmla="*/ 482776 h 6479439"/>
              <a:gd name="connsiteX8307" fmla="*/ 5039400 w 9586368"/>
              <a:gd name="connsiteY8307" fmla="*/ 492645 h 6479439"/>
              <a:gd name="connsiteX8308" fmla="*/ 5035381 w 9586368"/>
              <a:gd name="connsiteY8308" fmla="*/ 496683 h 6479439"/>
              <a:gd name="connsiteX8309" fmla="*/ 5025470 w 9586368"/>
              <a:gd name="connsiteY8309" fmla="*/ 496683 h 6479439"/>
              <a:gd name="connsiteX8310" fmla="*/ 5021451 w 9586368"/>
              <a:gd name="connsiteY8310" fmla="*/ 492645 h 6479439"/>
              <a:gd name="connsiteX8311" fmla="*/ 5021451 w 9586368"/>
              <a:gd name="connsiteY8311" fmla="*/ 482776 h 6479439"/>
              <a:gd name="connsiteX8312" fmla="*/ 4786241 w 9586368"/>
              <a:gd name="connsiteY8312" fmla="*/ 478736 h 6479439"/>
              <a:gd name="connsiteX8313" fmla="*/ 4796152 w 9586368"/>
              <a:gd name="connsiteY8313" fmla="*/ 478736 h 6479439"/>
              <a:gd name="connsiteX8314" fmla="*/ 4800171 w 9586368"/>
              <a:gd name="connsiteY8314" fmla="*/ 482776 h 6479439"/>
              <a:gd name="connsiteX8315" fmla="*/ 4800171 w 9586368"/>
              <a:gd name="connsiteY8315" fmla="*/ 492645 h 6479439"/>
              <a:gd name="connsiteX8316" fmla="*/ 4796152 w 9586368"/>
              <a:gd name="connsiteY8316" fmla="*/ 496683 h 6479439"/>
              <a:gd name="connsiteX8317" fmla="*/ 4786241 w 9586368"/>
              <a:gd name="connsiteY8317" fmla="*/ 496683 h 6479439"/>
              <a:gd name="connsiteX8318" fmla="*/ 4782224 w 9586368"/>
              <a:gd name="connsiteY8318" fmla="*/ 492645 h 6479439"/>
              <a:gd name="connsiteX8319" fmla="*/ 4782224 w 9586368"/>
              <a:gd name="connsiteY8319" fmla="*/ 482776 h 6479439"/>
              <a:gd name="connsiteX8320" fmla="*/ 6939983 w 9586368"/>
              <a:gd name="connsiteY8320" fmla="*/ 478724 h 6479439"/>
              <a:gd name="connsiteX8321" fmla="*/ 6949894 w 9586368"/>
              <a:gd name="connsiteY8321" fmla="*/ 478724 h 6479439"/>
              <a:gd name="connsiteX8322" fmla="*/ 6953913 w 9586368"/>
              <a:gd name="connsiteY8322" fmla="*/ 482764 h 6479439"/>
              <a:gd name="connsiteX8323" fmla="*/ 6953913 w 9586368"/>
              <a:gd name="connsiteY8323" fmla="*/ 492633 h 6479439"/>
              <a:gd name="connsiteX8324" fmla="*/ 6949894 w 9586368"/>
              <a:gd name="connsiteY8324" fmla="*/ 496671 h 6479439"/>
              <a:gd name="connsiteX8325" fmla="*/ 6939983 w 9586368"/>
              <a:gd name="connsiteY8325" fmla="*/ 496671 h 6479439"/>
              <a:gd name="connsiteX8326" fmla="*/ 6935964 w 9586368"/>
              <a:gd name="connsiteY8326" fmla="*/ 492633 h 6479439"/>
              <a:gd name="connsiteX8327" fmla="*/ 6935964 w 9586368"/>
              <a:gd name="connsiteY8327" fmla="*/ 482764 h 6479439"/>
              <a:gd name="connsiteX8328" fmla="*/ 6700670 w 9586368"/>
              <a:gd name="connsiteY8328" fmla="*/ 478724 h 6479439"/>
              <a:gd name="connsiteX8329" fmla="*/ 6710581 w 9586368"/>
              <a:gd name="connsiteY8329" fmla="*/ 478724 h 6479439"/>
              <a:gd name="connsiteX8330" fmla="*/ 6714600 w 9586368"/>
              <a:gd name="connsiteY8330" fmla="*/ 482764 h 6479439"/>
              <a:gd name="connsiteX8331" fmla="*/ 6714600 w 9586368"/>
              <a:gd name="connsiteY8331" fmla="*/ 492633 h 6479439"/>
              <a:gd name="connsiteX8332" fmla="*/ 6710581 w 9586368"/>
              <a:gd name="connsiteY8332" fmla="*/ 496671 h 6479439"/>
              <a:gd name="connsiteX8333" fmla="*/ 6700670 w 9586368"/>
              <a:gd name="connsiteY8333" fmla="*/ 496671 h 6479439"/>
              <a:gd name="connsiteX8334" fmla="*/ 6696651 w 9586368"/>
              <a:gd name="connsiteY8334" fmla="*/ 492633 h 6479439"/>
              <a:gd name="connsiteX8335" fmla="*/ 6696651 w 9586368"/>
              <a:gd name="connsiteY8335" fmla="*/ 482764 h 6479439"/>
              <a:gd name="connsiteX8336" fmla="*/ 6461356 w 9586368"/>
              <a:gd name="connsiteY8336" fmla="*/ 478724 h 6479439"/>
              <a:gd name="connsiteX8337" fmla="*/ 6471266 w 9586368"/>
              <a:gd name="connsiteY8337" fmla="*/ 478724 h 6479439"/>
              <a:gd name="connsiteX8338" fmla="*/ 6475285 w 9586368"/>
              <a:gd name="connsiteY8338" fmla="*/ 482764 h 6479439"/>
              <a:gd name="connsiteX8339" fmla="*/ 6475285 w 9586368"/>
              <a:gd name="connsiteY8339" fmla="*/ 492633 h 6479439"/>
              <a:gd name="connsiteX8340" fmla="*/ 6471266 w 9586368"/>
              <a:gd name="connsiteY8340" fmla="*/ 496671 h 6479439"/>
              <a:gd name="connsiteX8341" fmla="*/ 6461356 w 9586368"/>
              <a:gd name="connsiteY8341" fmla="*/ 496671 h 6479439"/>
              <a:gd name="connsiteX8342" fmla="*/ 6457337 w 9586368"/>
              <a:gd name="connsiteY8342" fmla="*/ 492633 h 6479439"/>
              <a:gd name="connsiteX8343" fmla="*/ 6457337 w 9586368"/>
              <a:gd name="connsiteY8343" fmla="*/ 482764 h 6479439"/>
              <a:gd name="connsiteX8344" fmla="*/ 6222042 w 9586368"/>
              <a:gd name="connsiteY8344" fmla="*/ 478724 h 6479439"/>
              <a:gd name="connsiteX8345" fmla="*/ 6231952 w 9586368"/>
              <a:gd name="connsiteY8345" fmla="*/ 478724 h 6479439"/>
              <a:gd name="connsiteX8346" fmla="*/ 6235971 w 9586368"/>
              <a:gd name="connsiteY8346" fmla="*/ 482764 h 6479439"/>
              <a:gd name="connsiteX8347" fmla="*/ 6235971 w 9586368"/>
              <a:gd name="connsiteY8347" fmla="*/ 492633 h 6479439"/>
              <a:gd name="connsiteX8348" fmla="*/ 6231952 w 9586368"/>
              <a:gd name="connsiteY8348" fmla="*/ 496671 h 6479439"/>
              <a:gd name="connsiteX8349" fmla="*/ 6222042 w 9586368"/>
              <a:gd name="connsiteY8349" fmla="*/ 496671 h 6479439"/>
              <a:gd name="connsiteX8350" fmla="*/ 6218023 w 9586368"/>
              <a:gd name="connsiteY8350" fmla="*/ 492633 h 6479439"/>
              <a:gd name="connsiteX8351" fmla="*/ 6218023 w 9586368"/>
              <a:gd name="connsiteY8351" fmla="*/ 482764 h 6479439"/>
              <a:gd name="connsiteX8352" fmla="*/ 5982729 w 9586368"/>
              <a:gd name="connsiteY8352" fmla="*/ 478724 h 6479439"/>
              <a:gd name="connsiteX8353" fmla="*/ 5992639 w 9586368"/>
              <a:gd name="connsiteY8353" fmla="*/ 478724 h 6479439"/>
              <a:gd name="connsiteX8354" fmla="*/ 5996658 w 9586368"/>
              <a:gd name="connsiteY8354" fmla="*/ 482764 h 6479439"/>
              <a:gd name="connsiteX8355" fmla="*/ 5996658 w 9586368"/>
              <a:gd name="connsiteY8355" fmla="*/ 492633 h 6479439"/>
              <a:gd name="connsiteX8356" fmla="*/ 5992639 w 9586368"/>
              <a:gd name="connsiteY8356" fmla="*/ 496671 h 6479439"/>
              <a:gd name="connsiteX8357" fmla="*/ 5982729 w 9586368"/>
              <a:gd name="connsiteY8357" fmla="*/ 496671 h 6479439"/>
              <a:gd name="connsiteX8358" fmla="*/ 5978710 w 9586368"/>
              <a:gd name="connsiteY8358" fmla="*/ 492633 h 6479439"/>
              <a:gd name="connsiteX8359" fmla="*/ 5978710 w 9586368"/>
              <a:gd name="connsiteY8359" fmla="*/ 482764 h 6479439"/>
              <a:gd name="connsiteX8360" fmla="*/ 7897241 w 9586368"/>
              <a:gd name="connsiteY8360" fmla="*/ 478712 h 6479439"/>
              <a:gd name="connsiteX8361" fmla="*/ 7907151 w 9586368"/>
              <a:gd name="connsiteY8361" fmla="*/ 478712 h 6479439"/>
              <a:gd name="connsiteX8362" fmla="*/ 7911170 w 9586368"/>
              <a:gd name="connsiteY8362" fmla="*/ 482751 h 6479439"/>
              <a:gd name="connsiteX8363" fmla="*/ 7911170 w 9586368"/>
              <a:gd name="connsiteY8363" fmla="*/ 492620 h 6479439"/>
              <a:gd name="connsiteX8364" fmla="*/ 7907151 w 9586368"/>
              <a:gd name="connsiteY8364" fmla="*/ 496658 h 6479439"/>
              <a:gd name="connsiteX8365" fmla="*/ 7897241 w 9586368"/>
              <a:gd name="connsiteY8365" fmla="*/ 496658 h 6479439"/>
              <a:gd name="connsiteX8366" fmla="*/ 7893222 w 9586368"/>
              <a:gd name="connsiteY8366" fmla="*/ 492620 h 6479439"/>
              <a:gd name="connsiteX8367" fmla="*/ 7893222 w 9586368"/>
              <a:gd name="connsiteY8367" fmla="*/ 482751 h 6479439"/>
              <a:gd name="connsiteX8368" fmla="*/ 7657926 w 9586368"/>
              <a:gd name="connsiteY8368" fmla="*/ 478712 h 6479439"/>
              <a:gd name="connsiteX8369" fmla="*/ 7667836 w 9586368"/>
              <a:gd name="connsiteY8369" fmla="*/ 478712 h 6479439"/>
              <a:gd name="connsiteX8370" fmla="*/ 7671855 w 9586368"/>
              <a:gd name="connsiteY8370" fmla="*/ 482751 h 6479439"/>
              <a:gd name="connsiteX8371" fmla="*/ 7671855 w 9586368"/>
              <a:gd name="connsiteY8371" fmla="*/ 492620 h 6479439"/>
              <a:gd name="connsiteX8372" fmla="*/ 7667836 w 9586368"/>
              <a:gd name="connsiteY8372" fmla="*/ 496659 h 6479439"/>
              <a:gd name="connsiteX8373" fmla="*/ 7657926 w 9586368"/>
              <a:gd name="connsiteY8373" fmla="*/ 496659 h 6479439"/>
              <a:gd name="connsiteX8374" fmla="*/ 7653906 w 9586368"/>
              <a:gd name="connsiteY8374" fmla="*/ 492620 h 6479439"/>
              <a:gd name="connsiteX8375" fmla="*/ 7653906 w 9586368"/>
              <a:gd name="connsiteY8375" fmla="*/ 482751 h 6479439"/>
              <a:gd name="connsiteX8376" fmla="*/ 7418611 w 9586368"/>
              <a:gd name="connsiteY8376" fmla="*/ 478712 h 6479439"/>
              <a:gd name="connsiteX8377" fmla="*/ 7428521 w 9586368"/>
              <a:gd name="connsiteY8377" fmla="*/ 478712 h 6479439"/>
              <a:gd name="connsiteX8378" fmla="*/ 7432540 w 9586368"/>
              <a:gd name="connsiteY8378" fmla="*/ 482751 h 6479439"/>
              <a:gd name="connsiteX8379" fmla="*/ 7432540 w 9586368"/>
              <a:gd name="connsiteY8379" fmla="*/ 492620 h 6479439"/>
              <a:gd name="connsiteX8380" fmla="*/ 7428521 w 9586368"/>
              <a:gd name="connsiteY8380" fmla="*/ 496659 h 6479439"/>
              <a:gd name="connsiteX8381" fmla="*/ 7418611 w 9586368"/>
              <a:gd name="connsiteY8381" fmla="*/ 496659 h 6479439"/>
              <a:gd name="connsiteX8382" fmla="*/ 7414592 w 9586368"/>
              <a:gd name="connsiteY8382" fmla="*/ 492620 h 6479439"/>
              <a:gd name="connsiteX8383" fmla="*/ 7414592 w 9586368"/>
              <a:gd name="connsiteY8383" fmla="*/ 482751 h 6479439"/>
              <a:gd name="connsiteX8384" fmla="*/ 7179298 w 9586368"/>
              <a:gd name="connsiteY8384" fmla="*/ 478712 h 6479439"/>
              <a:gd name="connsiteX8385" fmla="*/ 7189209 w 9586368"/>
              <a:gd name="connsiteY8385" fmla="*/ 478712 h 6479439"/>
              <a:gd name="connsiteX8386" fmla="*/ 7193228 w 9586368"/>
              <a:gd name="connsiteY8386" fmla="*/ 482751 h 6479439"/>
              <a:gd name="connsiteX8387" fmla="*/ 7193228 w 9586368"/>
              <a:gd name="connsiteY8387" fmla="*/ 492620 h 6479439"/>
              <a:gd name="connsiteX8388" fmla="*/ 7189209 w 9586368"/>
              <a:gd name="connsiteY8388" fmla="*/ 496659 h 6479439"/>
              <a:gd name="connsiteX8389" fmla="*/ 7179298 w 9586368"/>
              <a:gd name="connsiteY8389" fmla="*/ 496659 h 6479439"/>
              <a:gd name="connsiteX8390" fmla="*/ 7175279 w 9586368"/>
              <a:gd name="connsiteY8390" fmla="*/ 492620 h 6479439"/>
              <a:gd name="connsiteX8391" fmla="*/ 7175279 w 9586368"/>
              <a:gd name="connsiteY8391" fmla="*/ 482751 h 6479439"/>
              <a:gd name="connsiteX8392" fmla="*/ 8136553 w 9586368"/>
              <a:gd name="connsiteY8392" fmla="*/ 478711 h 6479439"/>
              <a:gd name="connsiteX8393" fmla="*/ 8146464 w 9586368"/>
              <a:gd name="connsiteY8393" fmla="*/ 478711 h 6479439"/>
              <a:gd name="connsiteX8394" fmla="*/ 8150483 w 9586368"/>
              <a:gd name="connsiteY8394" fmla="*/ 482751 h 6479439"/>
              <a:gd name="connsiteX8395" fmla="*/ 8150483 w 9586368"/>
              <a:gd name="connsiteY8395" fmla="*/ 492620 h 6479439"/>
              <a:gd name="connsiteX8396" fmla="*/ 8146464 w 9586368"/>
              <a:gd name="connsiteY8396" fmla="*/ 496658 h 6479439"/>
              <a:gd name="connsiteX8397" fmla="*/ 8136553 w 9586368"/>
              <a:gd name="connsiteY8397" fmla="*/ 496658 h 6479439"/>
              <a:gd name="connsiteX8398" fmla="*/ 8132534 w 9586368"/>
              <a:gd name="connsiteY8398" fmla="*/ 492620 h 6479439"/>
              <a:gd name="connsiteX8399" fmla="*/ 8132534 w 9586368"/>
              <a:gd name="connsiteY8399" fmla="*/ 482751 h 6479439"/>
              <a:gd name="connsiteX8400" fmla="*/ 9093811 w 9586368"/>
              <a:gd name="connsiteY8400" fmla="*/ 478699 h 6479439"/>
              <a:gd name="connsiteX8401" fmla="*/ 9103722 w 9586368"/>
              <a:gd name="connsiteY8401" fmla="*/ 478699 h 6479439"/>
              <a:gd name="connsiteX8402" fmla="*/ 9107741 w 9586368"/>
              <a:gd name="connsiteY8402" fmla="*/ 482738 h 6479439"/>
              <a:gd name="connsiteX8403" fmla="*/ 9107741 w 9586368"/>
              <a:gd name="connsiteY8403" fmla="*/ 492608 h 6479439"/>
              <a:gd name="connsiteX8404" fmla="*/ 9103722 w 9586368"/>
              <a:gd name="connsiteY8404" fmla="*/ 496646 h 6479439"/>
              <a:gd name="connsiteX8405" fmla="*/ 9093811 w 9586368"/>
              <a:gd name="connsiteY8405" fmla="*/ 496646 h 6479439"/>
              <a:gd name="connsiteX8406" fmla="*/ 9089792 w 9586368"/>
              <a:gd name="connsiteY8406" fmla="*/ 492608 h 6479439"/>
              <a:gd name="connsiteX8407" fmla="*/ 9089792 w 9586368"/>
              <a:gd name="connsiteY8407" fmla="*/ 482738 h 6479439"/>
              <a:gd name="connsiteX8408" fmla="*/ 8854496 w 9586368"/>
              <a:gd name="connsiteY8408" fmla="*/ 478699 h 6479439"/>
              <a:gd name="connsiteX8409" fmla="*/ 8864407 w 9586368"/>
              <a:gd name="connsiteY8409" fmla="*/ 478699 h 6479439"/>
              <a:gd name="connsiteX8410" fmla="*/ 8868426 w 9586368"/>
              <a:gd name="connsiteY8410" fmla="*/ 482738 h 6479439"/>
              <a:gd name="connsiteX8411" fmla="*/ 8868426 w 9586368"/>
              <a:gd name="connsiteY8411" fmla="*/ 492608 h 6479439"/>
              <a:gd name="connsiteX8412" fmla="*/ 8864407 w 9586368"/>
              <a:gd name="connsiteY8412" fmla="*/ 496647 h 6479439"/>
              <a:gd name="connsiteX8413" fmla="*/ 8854496 w 9586368"/>
              <a:gd name="connsiteY8413" fmla="*/ 496647 h 6479439"/>
              <a:gd name="connsiteX8414" fmla="*/ 8850477 w 9586368"/>
              <a:gd name="connsiteY8414" fmla="*/ 492608 h 6479439"/>
              <a:gd name="connsiteX8415" fmla="*/ 8850477 w 9586368"/>
              <a:gd name="connsiteY8415" fmla="*/ 482738 h 6479439"/>
              <a:gd name="connsiteX8416" fmla="*/ 8615184 w 9586368"/>
              <a:gd name="connsiteY8416" fmla="*/ 478699 h 6479439"/>
              <a:gd name="connsiteX8417" fmla="*/ 8625095 w 9586368"/>
              <a:gd name="connsiteY8417" fmla="*/ 478699 h 6479439"/>
              <a:gd name="connsiteX8418" fmla="*/ 8629114 w 9586368"/>
              <a:gd name="connsiteY8418" fmla="*/ 482739 h 6479439"/>
              <a:gd name="connsiteX8419" fmla="*/ 8629114 w 9586368"/>
              <a:gd name="connsiteY8419" fmla="*/ 492608 h 6479439"/>
              <a:gd name="connsiteX8420" fmla="*/ 8625095 w 9586368"/>
              <a:gd name="connsiteY8420" fmla="*/ 496647 h 6479439"/>
              <a:gd name="connsiteX8421" fmla="*/ 8615184 w 9586368"/>
              <a:gd name="connsiteY8421" fmla="*/ 496647 h 6479439"/>
              <a:gd name="connsiteX8422" fmla="*/ 8611165 w 9586368"/>
              <a:gd name="connsiteY8422" fmla="*/ 492608 h 6479439"/>
              <a:gd name="connsiteX8423" fmla="*/ 8611165 w 9586368"/>
              <a:gd name="connsiteY8423" fmla="*/ 482739 h 6479439"/>
              <a:gd name="connsiteX8424" fmla="*/ 8375869 w 9586368"/>
              <a:gd name="connsiteY8424" fmla="*/ 478699 h 6479439"/>
              <a:gd name="connsiteX8425" fmla="*/ 8385779 w 9586368"/>
              <a:gd name="connsiteY8425" fmla="*/ 478699 h 6479439"/>
              <a:gd name="connsiteX8426" fmla="*/ 8389799 w 9586368"/>
              <a:gd name="connsiteY8426" fmla="*/ 482739 h 6479439"/>
              <a:gd name="connsiteX8427" fmla="*/ 8389799 w 9586368"/>
              <a:gd name="connsiteY8427" fmla="*/ 492608 h 6479439"/>
              <a:gd name="connsiteX8428" fmla="*/ 8385779 w 9586368"/>
              <a:gd name="connsiteY8428" fmla="*/ 496647 h 6479439"/>
              <a:gd name="connsiteX8429" fmla="*/ 8375869 w 9586368"/>
              <a:gd name="connsiteY8429" fmla="*/ 496647 h 6479439"/>
              <a:gd name="connsiteX8430" fmla="*/ 8371850 w 9586368"/>
              <a:gd name="connsiteY8430" fmla="*/ 492608 h 6479439"/>
              <a:gd name="connsiteX8431" fmla="*/ 8371850 w 9586368"/>
              <a:gd name="connsiteY8431" fmla="*/ 482739 h 6479439"/>
              <a:gd name="connsiteX8432" fmla="*/ 9333125 w 9586368"/>
              <a:gd name="connsiteY8432" fmla="*/ 478698 h 6479439"/>
              <a:gd name="connsiteX8433" fmla="*/ 9343036 w 9586368"/>
              <a:gd name="connsiteY8433" fmla="*/ 478698 h 6479439"/>
              <a:gd name="connsiteX8434" fmla="*/ 9347055 w 9586368"/>
              <a:gd name="connsiteY8434" fmla="*/ 482738 h 6479439"/>
              <a:gd name="connsiteX8435" fmla="*/ 9347055 w 9586368"/>
              <a:gd name="connsiteY8435" fmla="*/ 492608 h 6479439"/>
              <a:gd name="connsiteX8436" fmla="*/ 9343036 w 9586368"/>
              <a:gd name="connsiteY8436" fmla="*/ 496646 h 6479439"/>
              <a:gd name="connsiteX8437" fmla="*/ 9333125 w 9586368"/>
              <a:gd name="connsiteY8437" fmla="*/ 496646 h 6479439"/>
              <a:gd name="connsiteX8438" fmla="*/ 9329106 w 9586368"/>
              <a:gd name="connsiteY8438" fmla="*/ 492608 h 6479439"/>
              <a:gd name="connsiteX8439" fmla="*/ 9329106 w 9586368"/>
              <a:gd name="connsiteY8439" fmla="*/ 482738 h 6479439"/>
              <a:gd name="connsiteX8440" fmla="*/ 9572438 w 9586368"/>
              <a:gd name="connsiteY8440" fmla="*/ 478687 h 6479439"/>
              <a:gd name="connsiteX8441" fmla="*/ 9582349 w 9586368"/>
              <a:gd name="connsiteY8441" fmla="*/ 478687 h 6479439"/>
              <a:gd name="connsiteX8442" fmla="*/ 9586368 w 9586368"/>
              <a:gd name="connsiteY8442" fmla="*/ 482726 h 6479439"/>
              <a:gd name="connsiteX8443" fmla="*/ 9586368 w 9586368"/>
              <a:gd name="connsiteY8443" fmla="*/ 492596 h 6479439"/>
              <a:gd name="connsiteX8444" fmla="*/ 9582349 w 9586368"/>
              <a:gd name="connsiteY8444" fmla="*/ 496634 h 6479439"/>
              <a:gd name="connsiteX8445" fmla="*/ 9572438 w 9586368"/>
              <a:gd name="connsiteY8445" fmla="*/ 496634 h 6479439"/>
              <a:gd name="connsiteX8446" fmla="*/ 9568419 w 9586368"/>
              <a:gd name="connsiteY8446" fmla="*/ 492596 h 6479439"/>
              <a:gd name="connsiteX8447" fmla="*/ 9568419 w 9586368"/>
              <a:gd name="connsiteY8447" fmla="*/ 482726 h 6479439"/>
              <a:gd name="connsiteX8448" fmla="*/ 721976 w 9586368"/>
              <a:gd name="connsiteY8448" fmla="*/ 478660 h 6479439"/>
              <a:gd name="connsiteX8449" fmla="*/ 731886 w 9586368"/>
              <a:gd name="connsiteY8449" fmla="*/ 478660 h 6479439"/>
              <a:gd name="connsiteX8450" fmla="*/ 735905 w 9586368"/>
              <a:gd name="connsiteY8450" fmla="*/ 482698 h 6479439"/>
              <a:gd name="connsiteX8451" fmla="*/ 735905 w 9586368"/>
              <a:gd name="connsiteY8451" fmla="*/ 492569 h 6479439"/>
              <a:gd name="connsiteX8452" fmla="*/ 731886 w 9586368"/>
              <a:gd name="connsiteY8452" fmla="*/ 496608 h 6479439"/>
              <a:gd name="connsiteX8453" fmla="*/ 721976 w 9586368"/>
              <a:gd name="connsiteY8453" fmla="*/ 496608 h 6479439"/>
              <a:gd name="connsiteX8454" fmla="*/ 717957 w 9586368"/>
              <a:gd name="connsiteY8454" fmla="*/ 492569 h 6479439"/>
              <a:gd name="connsiteX8455" fmla="*/ 717957 w 9586368"/>
              <a:gd name="connsiteY8455" fmla="*/ 482698 h 6479439"/>
              <a:gd name="connsiteX8456" fmla="*/ 482664 w 9586368"/>
              <a:gd name="connsiteY8456" fmla="*/ 478660 h 6479439"/>
              <a:gd name="connsiteX8457" fmla="*/ 492574 w 9586368"/>
              <a:gd name="connsiteY8457" fmla="*/ 478660 h 6479439"/>
              <a:gd name="connsiteX8458" fmla="*/ 496593 w 9586368"/>
              <a:gd name="connsiteY8458" fmla="*/ 482698 h 6479439"/>
              <a:gd name="connsiteX8459" fmla="*/ 496593 w 9586368"/>
              <a:gd name="connsiteY8459" fmla="*/ 492569 h 6479439"/>
              <a:gd name="connsiteX8460" fmla="*/ 492574 w 9586368"/>
              <a:gd name="connsiteY8460" fmla="*/ 496608 h 6479439"/>
              <a:gd name="connsiteX8461" fmla="*/ 482664 w 9586368"/>
              <a:gd name="connsiteY8461" fmla="*/ 496608 h 6479439"/>
              <a:gd name="connsiteX8462" fmla="*/ 478645 w 9586368"/>
              <a:gd name="connsiteY8462" fmla="*/ 492569 h 6479439"/>
              <a:gd name="connsiteX8463" fmla="*/ 478645 w 9586368"/>
              <a:gd name="connsiteY8463" fmla="*/ 482698 h 6479439"/>
              <a:gd name="connsiteX8464" fmla="*/ 243350 w 9586368"/>
              <a:gd name="connsiteY8464" fmla="*/ 478660 h 6479439"/>
              <a:gd name="connsiteX8465" fmla="*/ 253260 w 9586368"/>
              <a:gd name="connsiteY8465" fmla="*/ 478660 h 6479439"/>
              <a:gd name="connsiteX8466" fmla="*/ 257279 w 9586368"/>
              <a:gd name="connsiteY8466" fmla="*/ 482698 h 6479439"/>
              <a:gd name="connsiteX8467" fmla="*/ 257279 w 9586368"/>
              <a:gd name="connsiteY8467" fmla="*/ 492569 h 6479439"/>
              <a:gd name="connsiteX8468" fmla="*/ 253260 w 9586368"/>
              <a:gd name="connsiteY8468" fmla="*/ 496608 h 6479439"/>
              <a:gd name="connsiteX8469" fmla="*/ 243350 w 9586368"/>
              <a:gd name="connsiteY8469" fmla="*/ 496608 h 6479439"/>
              <a:gd name="connsiteX8470" fmla="*/ 239331 w 9586368"/>
              <a:gd name="connsiteY8470" fmla="*/ 492569 h 6479439"/>
              <a:gd name="connsiteX8471" fmla="*/ 239331 w 9586368"/>
              <a:gd name="connsiteY8471" fmla="*/ 482698 h 6479439"/>
              <a:gd name="connsiteX8472" fmla="*/ 4037 w 9586368"/>
              <a:gd name="connsiteY8472" fmla="*/ 478660 h 6479439"/>
              <a:gd name="connsiteX8473" fmla="*/ 13947 w 9586368"/>
              <a:gd name="connsiteY8473" fmla="*/ 478660 h 6479439"/>
              <a:gd name="connsiteX8474" fmla="*/ 17966 w 9586368"/>
              <a:gd name="connsiteY8474" fmla="*/ 482698 h 6479439"/>
              <a:gd name="connsiteX8475" fmla="*/ 17966 w 9586368"/>
              <a:gd name="connsiteY8475" fmla="*/ 492569 h 6479439"/>
              <a:gd name="connsiteX8476" fmla="*/ 13947 w 9586368"/>
              <a:gd name="connsiteY8476" fmla="*/ 496608 h 6479439"/>
              <a:gd name="connsiteX8477" fmla="*/ 4037 w 9586368"/>
              <a:gd name="connsiteY8477" fmla="*/ 496608 h 6479439"/>
              <a:gd name="connsiteX8478" fmla="*/ 18 w 9586368"/>
              <a:gd name="connsiteY8478" fmla="*/ 492569 h 6479439"/>
              <a:gd name="connsiteX8479" fmla="*/ 18 w 9586368"/>
              <a:gd name="connsiteY8479" fmla="*/ 482698 h 6479439"/>
              <a:gd name="connsiteX8480" fmla="*/ 1679220 w 9586368"/>
              <a:gd name="connsiteY8480" fmla="*/ 478650 h 6479439"/>
              <a:gd name="connsiteX8481" fmla="*/ 1689130 w 9586368"/>
              <a:gd name="connsiteY8481" fmla="*/ 478650 h 6479439"/>
              <a:gd name="connsiteX8482" fmla="*/ 1693149 w 9586368"/>
              <a:gd name="connsiteY8482" fmla="*/ 482688 h 6479439"/>
              <a:gd name="connsiteX8483" fmla="*/ 1693149 w 9586368"/>
              <a:gd name="connsiteY8483" fmla="*/ 492559 h 6479439"/>
              <a:gd name="connsiteX8484" fmla="*/ 1689130 w 9586368"/>
              <a:gd name="connsiteY8484" fmla="*/ 496598 h 6479439"/>
              <a:gd name="connsiteX8485" fmla="*/ 1679220 w 9586368"/>
              <a:gd name="connsiteY8485" fmla="*/ 496598 h 6479439"/>
              <a:gd name="connsiteX8486" fmla="*/ 1675200 w 9586368"/>
              <a:gd name="connsiteY8486" fmla="*/ 492559 h 6479439"/>
              <a:gd name="connsiteX8487" fmla="*/ 1675200 w 9586368"/>
              <a:gd name="connsiteY8487" fmla="*/ 482688 h 6479439"/>
              <a:gd name="connsiteX8488" fmla="*/ 1439902 w 9586368"/>
              <a:gd name="connsiteY8488" fmla="*/ 478650 h 6479439"/>
              <a:gd name="connsiteX8489" fmla="*/ 1449812 w 9586368"/>
              <a:gd name="connsiteY8489" fmla="*/ 478650 h 6479439"/>
              <a:gd name="connsiteX8490" fmla="*/ 1453831 w 9586368"/>
              <a:gd name="connsiteY8490" fmla="*/ 482688 h 6479439"/>
              <a:gd name="connsiteX8491" fmla="*/ 1453831 w 9586368"/>
              <a:gd name="connsiteY8491" fmla="*/ 492559 h 6479439"/>
              <a:gd name="connsiteX8492" fmla="*/ 1449812 w 9586368"/>
              <a:gd name="connsiteY8492" fmla="*/ 496598 h 6479439"/>
              <a:gd name="connsiteX8493" fmla="*/ 1439902 w 9586368"/>
              <a:gd name="connsiteY8493" fmla="*/ 496598 h 6479439"/>
              <a:gd name="connsiteX8494" fmla="*/ 1435883 w 9586368"/>
              <a:gd name="connsiteY8494" fmla="*/ 492559 h 6479439"/>
              <a:gd name="connsiteX8495" fmla="*/ 1435883 w 9586368"/>
              <a:gd name="connsiteY8495" fmla="*/ 482688 h 6479439"/>
              <a:gd name="connsiteX8496" fmla="*/ 1200585 w 9586368"/>
              <a:gd name="connsiteY8496" fmla="*/ 478650 h 6479439"/>
              <a:gd name="connsiteX8497" fmla="*/ 1210496 w 9586368"/>
              <a:gd name="connsiteY8497" fmla="*/ 478650 h 6479439"/>
              <a:gd name="connsiteX8498" fmla="*/ 1214515 w 9586368"/>
              <a:gd name="connsiteY8498" fmla="*/ 482689 h 6479439"/>
              <a:gd name="connsiteX8499" fmla="*/ 1214515 w 9586368"/>
              <a:gd name="connsiteY8499" fmla="*/ 492559 h 6479439"/>
              <a:gd name="connsiteX8500" fmla="*/ 1210496 w 9586368"/>
              <a:gd name="connsiteY8500" fmla="*/ 496598 h 6479439"/>
              <a:gd name="connsiteX8501" fmla="*/ 1200585 w 9586368"/>
              <a:gd name="connsiteY8501" fmla="*/ 496598 h 6479439"/>
              <a:gd name="connsiteX8502" fmla="*/ 1196567 w 9586368"/>
              <a:gd name="connsiteY8502" fmla="*/ 492559 h 6479439"/>
              <a:gd name="connsiteX8503" fmla="*/ 1196567 w 9586368"/>
              <a:gd name="connsiteY8503" fmla="*/ 482689 h 6479439"/>
              <a:gd name="connsiteX8504" fmla="*/ 961273 w 9586368"/>
              <a:gd name="connsiteY8504" fmla="*/ 478650 h 6479439"/>
              <a:gd name="connsiteX8505" fmla="*/ 971183 w 9586368"/>
              <a:gd name="connsiteY8505" fmla="*/ 478650 h 6479439"/>
              <a:gd name="connsiteX8506" fmla="*/ 975202 w 9586368"/>
              <a:gd name="connsiteY8506" fmla="*/ 482689 h 6479439"/>
              <a:gd name="connsiteX8507" fmla="*/ 975202 w 9586368"/>
              <a:gd name="connsiteY8507" fmla="*/ 492559 h 6479439"/>
              <a:gd name="connsiteX8508" fmla="*/ 971183 w 9586368"/>
              <a:gd name="connsiteY8508" fmla="*/ 496598 h 6479439"/>
              <a:gd name="connsiteX8509" fmla="*/ 961273 w 9586368"/>
              <a:gd name="connsiteY8509" fmla="*/ 496598 h 6479439"/>
              <a:gd name="connsiteX8510" fmla="*/ 957254 w 9586368"/>
              <a:gd name="connsiteY8510" fmla="*/ 492559 h 6479439"/>
              <a:gd name="connsiteX8511" fmla="*/ 957254 w 9586368"/>
              <a:gd name="connsiteY8511" fmla="*/ 482689 h 6479439"/>
              <a:gd name="connsiteX8512" fmla="*/ 1918515 w 9586368"/>
              <a:gd name="connsiteY8512" fmla="*/ 478641 h 6479439"/>
              <a:gd name="connsiteX8513" fmla="*/ 1928425 w 9586368"/>
              <a:gd name="connsiteY8513" fmla="*/ 478641 h 6479439"/>
              <a:gd name="connsiteX8514" fmla="*/ 1932444 w 9586368"/>
              <a:gd name="connsiteY8514" fmla="*/ 482679 h 6479439"/>
              <a:gd name="connsiteX8515" fmla="*/ 1932444 w 9586368"/>
              <a:gd name="connsiteY8515" fmla="*/ 492550 h 6479439"/>
              <a:gd name="connsiteX8516" fmla="*/ 1928425 w 9586368"/>
              <a:gd name="connsiteY8516" fmla="*/ 496589 h 6479439"/>
              <a:gd name="connsiteX8517" fmla="*/ 1918515 w 9586368"/>
              <a:gd name="connsiteY8517" fmla="*/ 496589 h 6479439"/>
              <a:gd name="connsiteX8518" fmla="*/ 1914495 w 9586368"/>
              <a:gd name="connsiteY8518" fmla="*/ 492550 h 6479439"/>
              <a:gd name="connsiteX8519" fmla="*/ 1914495 w 9586368"/>
              <a:gd name="connsiteY8519" fmla="*/ 482679 h 6479439"/>
              <a:gd name="connsiteX8520" fmla="*/ 2157823 w 9586368"/>
              <a:gd name="connsiteY8520" fmla="*/ 478638 h 6479439"/>
              <a:gd name="connsiteX8521" fmla="*/ 2167734 w 9586368"/>
              <a:gd name="connsiteY8521" fmla="*/ 478638 h 6479439"/>
              <a:gd name="connsiteX8522" fmla="*/ 2171753 w 9586368"/>
              <a:gd name="connsiteY8522" fmla="*/ 482677 h 6479439"/>
              <a:gd name="connsiteX8523" fmla="*/ 2171753 w 9586368"/>
              <a:gd name="connsiteY8523" fmla="*/ 492548 h 6479439"/>
              <a:gd name="connsiteX8524" fmla="*/ 2167734 w 9586368"/>
              <a:gd name="connsiteY8524" fmla="*/ 496587 h 6479439"/>
              <a:gd name="connsiteX8525" fmla="*/ 2157823 w 9586368"/>
              <a:gd name="connsiteY8525" fmla="*/ 496587 h 6479439"/>
              <a:gd name="connsiteX8526" fmla="*/ 2153804 w 9586368"/>
              <a:gd name="connsiteY8526" fmla="*/ 492548 h 6479439"/>
              <a:gd name="connsiteX8527" fmla="*/ 2153804 w 9586368"/>
              <a:gd name="connsiteY8527" fmla="*/ 482677 h 6479439"/>
              <a:gd name="connsiteX8528" fmla="*/ 2632423 w 9586368"/>
              <a:gd name="connsiteY8528" fmla="*/ 239432 h 6479439"/>
              <a:gd name="connsiteX8529" fmla="*/ 2642334 w 9586368"/>
              <a:gd name="connsiteY8529" fmla="*/ 239432 h 6479439"/>
              <a:gd name="connsiteX8530" fmla="*/ 2646352 w 9586368"/>
              <a:gd name="connsiteY8530" fmla="*/ 243470 h 6479439"/>
              <a:gd name="connsiteX8531" fmla="*/ 2646352 w 9586368"/>
              <a:gd name="connsiteY8531" fmla="*/ 253341 h 6479439"/>
              <a:gd name="connsiteX8532" fmla="*/ 2642334 w 9586368"/>
              <a:gd name="connsiteY8532" fmla="*/ 257380 h 6479439"/>
              <a:gd name="connsiteX8533" fmla="*/ 2632423 w 9586368"/>
              <a:gd name="connsiteY8533" fmla="*/ 257380 h 6479439"/>
              <a:gd name="connsiteX8534" fmla="*/ 2628404 w 9586368"/>
              <a:gd name="connsiteY8534" fmla="*/ 253341 h 6479439"/>
              <a:gd name="connsiteX8535" fmla="*/ 2628404 w 9586368"/>
              <a:gd name="connsiteY8535" fmla="*/ 243470 h 6479439"/>
              <a:gd name="connsiteX8536" fmla="*/ 2393104 w 9586368"/>
              <a:gd name="connsiteY8536" fmla="*/ 239432 h 6479439"/>
              <a:gd name="connsiteX8537" fmla="*/ 2403015 w 9586368"/>
              <a:gd name="connsiteY8537" fmla="*/ 239432 h 6479439"/>
              <a:gd name="connsiteX8538" fmla="*/ 2407034 w 9586368"/>
              <a:gd name="connsiteY8538" fmla="*/ 243470 h 6479439"/>
              <a:gd name="connsiteX8539" fmla="*/ 2407034 w 9586368"/>
              <a:gd name="connsiteY8539" fmla="*/ 253341 h 6479439"/>
              <a:gd name="connsiteX8540" fmla="*/ 2403015 w 9586368"/>
              <a:gd name="connsiteY8540" fmla="*/ 257380 h 6479439"/>
              <a:gd name="connsiteX8541" fmla="*/ 2393104 w 9586368"/>
              <a:gd name="connsiteY8541" fmla="*/ 257380 h 6479439"/>
              <a:gd name="connsiteX8542" fmla="*/ 2389087 w 9586368"/>
              <a:gd name="connsiteY8542" fmla="*/ 253341 h 6479439"/>
              <a:gd name="connsiteX8543" fmla="*/ 2389087 w 9586368"/>
              <a:gd name="connsiteY8543" fmla="*/ 243470 h 6479439"/>
              <a:gd name="connsiteX8544" fmla="*/ 3350359 w 9586368"/>
              <a:gd name="connsiteY8544" fmla="*/ 239432 h 6479439"/>
              <a:gd name="connsiteX8545" fmla="*/ 3360268 w 9586368"/>
              <a:gd name="connsiteY8545" fmla="*/ 239432 h 6479439"/>
              <a:gd name="connsiteX8546" fmla="*/ 3364287 w 9586368"/>
              <a:gd name="connsiteY8546" fmla="*/ 243470 h 6479439"/>
              <a:gd name="connsiteX8547" fmla="*/ 3364287 w 9586368"/>
              <a:gd name="connsiteY8547" fmla="*/ 253341 h 6479439"/>
              <a:gd name="connsiteX8548" fmla="*/ 3360268 w 9586368"/>
              <a:gd name="connsiteY8548" fmla="*/ 257380 h 6479439"/>
              <a:gd name="connsiteX8549" fmla="*/ 3350359 w 9586368"/>
              <a:gd name="connsiteY8549" fmla="*/ 257380 h 6479439"/>
              <a:gd name="connsiteX8550" fmla="*/ 3346340 w 9586368"/>
              <a:gd name="connsiteY8550" fmla="*/ 253341 h 6479439"/>
              <a:gd name="connsiteX8551" fmla="*/ 3346340 w 9586368"/>
              <a:gd name="connsiteY8551" fmla="*/ 243470 h 6479439"/>
              <a:gd name="connsiteX8552" fmla="*/ 3111048 w 9586368"/>
              <a:gd name="connsiteY8552" fmla="*/ 239432 h 6479439"/>
              <a:gd name="connsiteX8553" fmla="*/ 3120959 w 9586368"/>
              <a:gd name="connsiteY8553" fmla="*/ 239432 h 6479439"/>
              <a:gd name="connsiteX8554" fmla="*/ 3124977 w 9586368"/>
              <a:gd name="connsiteY8554" fmla="*/ 243470 h 6479439"/>
              <a:gd name="connsiteX8555" fmla="*/ 3124977 w 9586368"/>
              <a:gd name="connsiteY8555" fmla="*/ 253341 h 6479439"/>
              <a:gd name="connsiteX8556" fmla="*/ 3120959 w 9586368"/>
              <a:gd name="connsiteY8556" fmla="*/ 257380 h 6479439"/>
              <a:gd name="connsiteX8557" fmla="*/ 3111048 w 9586368"/>
              <a:gd name="connsiteY8557" fmla="*/ 257380 h 6479439"/>
              <a:gd name="connsiteX8558" fmla="*/ 3107029 w 9586368"/>
              <a:gd name="connsiteY8558" fmla="*/ 253341 h 6479439"/>
              <a:gd name="connsiteX8559" fmla="*/ 3107029 w 9586368"/>
              <a:gd name="connsiteY8559" fmla="*/ 243470 h 6479439"/>
              <a:gd name="connsiteX8560" fmla="*/ 2871737 w 9586368"/>
              <a:gd name="connsiteY8560" fmla="*/ 239432 h 6479439"/>
              <a:gd name="connsiteX8561" fmla="*/ 2881646 w 9586368"/>
              <a:gd name="connsiteY8561" fmla="*/ 239432 h 6479439"/>
              <a:gd name="connsiteX8562" fmla="*/ 2885666 w 9586368"/>
              <a:gd name="connsiteY8562" fmla="*/ 243470 h 6479439"/>
              <a:gd name="connsiteX8563" fmla="*/ 2885666 w 9586368"/>
              <a:gd name="connsiteY8563" fmla="*/ 253341 h 6479439"/>
              <a:gd name="connsiteX8564" fmla="*/ 2881646 w 9586368"/>
              <a:gd name="connsiteY8564" fmla="*/ 257380 h 6479439"/>
              <a:gd name="connsiteX8565" fmla="*/ 2871737 w 9586368"/>
              <a:gd name="connsiteY8565" fmla="*/ 257380 h 6479439"/>
              <a:gd name="connsiteX8566" fmla="*/ 2867717 w 9586368"/>
              <a:gd name="connsiteY8566" fmla="*/ 253341 h 6479439"/>
              <a:gd name="connsiteX8567" fmla="*/ 2867717 w 9586368"/>
              <a:gd name="connsiteY8567" fmla="*/ 243470 h 6479439"/>
              <a:gd name="connsiteX8568" fmla="*/ 3828990 w 9586368"/>
              <a:gd name="connsiteY8568" fmla="*/ 239420 h 6479439"/>
              <a:gd name="connsiteX8569" fmla="*/ 3838899 w 9586368"/>
              <a:gd name="connsiteY8569" fmla="*/ 239420 h 6479439"/>
              <a:gd name="connsiteX8570" fmla="*/ 3842917 w 9586368"/>
              <a:gd name="connsiteY8570" fmla="*/ 243457 h 6479439"/>
              <a:gd name="connsiteX8571" fmla="*/ 3842917 w 9586368"/>
              <a:gd name="connsiteY8571" fmla="*/ 253328 h 6479439"/>
              <a:gd name="connsiteX8572" fmla="*/ 3838899 w 9586368"/>
              <a:gd name="connsiteY8572" fmla="*/ 257367 h 6479439"/>
              <a:gd name="connsiteX8573" fmla="*/ 3828990 w 9586368"/>
              <a:gd name="connsiteY8573" fmla="*/ 257367 h 6479439"/>
              <a:gd name="connsiteX8574" fmla="*/ 3824971 w 9586368"/>
              <a:gd name="connsiteY8574" fmla="*/ 253328 h 6479439"/>
              <a:gd name="connsiteX8575" fmla="*/ 3824971 w 9586368"/>
              <a:gd name="connsiteY8575" fmla="*/ 243457 h 6479439"/>
              <a:gd name="connsiteX8576" fmla="*/ 3589676 w 9586368"/>
              <a:gd name="connsiteY8576" fmla="*/ 239420 h 6479439"/>
              <a:gd name="connsiteX8577" fmla="*/ 3599585 w 9586368"/>
              <a:gd name="connsiteY8577" fmla="*/ 239420 h 6479439"/>
              <a:gd name="connsiteX8578" fmla="*/ 3603604 w 9586368"/>
              <a:gd name="connsiteY8578" fmla="*/ 243457 h 6479439"/>
              <a:gd name="connsiteX8579" fmla="*/ 3603604 w 9586368"/>
              <a:gd name="connsiteY8579" fmla="*/ 253328 h 6479439"/>
              <a:gd name="connsiteX8580" fmla="*/ 3599585 w 9586368"/>
              <a:gd name="connsiteY8580" fmla="*/ 257367 h 6479439"/>
              <a:gd name="connsiteX8581" fmla="*/ 3589676 w 9586368"/>
              <a:gd name="connsiteY8581" fmla="*/ 257367 h 6479439"/>
              <a:gd name="connsiteX8582" fmla="*/ 3585657 w 9586368"/>
              <a:gd name="connsiteY8582" fmla="*/ 253328 h 6479439"/>
              <a:gd name="connsiteX8583" fmla="*/ 3585657 w 9586368"/>
              <a:gd name="connsiteY8583" fmla="*/ 243457 h 6479439"/>
              <a:gd name="connsiteX8584" fmla="*/ 4546929 w 9586368"/>
              <a:gd name="connsiteY8584" fmla="*/ 239419 h 6479439"/>
              <a:gd name="connsiteX8585" fmla="*/ 4556840 w 9586368"/>
              <a:gd name="connsiteY8585" fmla="*/ 239419 h 6479439"/>
              <a:gd name="connsiteX8586" fmla="*/ 4560859 w 9586368"/>
              <a:gd name="connsiteY8586" fmla="*/ 243457 h 6479439"/>
              <a:gd name="connsiteX8587" fmla="*/ 4560859 w 9586368"/>
              <a:gd name="connsiteY8587" fmla="*/ 253328 h 6479439"/>
              <a:gd name="connsiteX8588" fmla="*/ 4556840 w 9586368"/>
              <a:gd name="connsiteY8588" fmla="*/ 257367 h 6479439"/>
              <a:gd name="connsiteX8589" fmla="*/ 4546929 w 9586368"/>
              <a:gd name="connsiteY8589" fmla="*/ 257367 h 6479439"/>
              <a:gd name="connsiteX8590" fmla="*/ 4542910 w 9586368"/>
              <a:gd name="connsiteY8590" fmla="*/ 253328 h 6479439"/>
              <a:gd name="connsiteX8591" fmla="*/ 4542910 w 9586368"/>
              <a:gd name="connsiteY8591" fmla="*/ 243457 h 6479439"/>
              <a:gd name="connsiteX8592" fmla="*/ 4307612 w 9586368"/>
              <a:gd name="connsiteY8592" fmla="*/ 239419 h 6479439"/>
              <a:gd name="connsiteX8593" fmla="*/ 4317523 w 9586368"/>
              <a:gd name="connsiteY8593" fmla="*/ 239419 h 6479439"/>
              <a:gd name="connsiteX8594" fmla="*/ 4321543 w 9586368"/>
              <a:gd name="connsiteY8594" fmla="*/ 243457 h 6479439"/>
              <a:gd name="connsiteX8595" fmla="*/ 4321543 w 9586368"/>
              <a:gd name="connsiteY8595" fmla="*/ 253328 h 6479439"/>
              <a:gd name="connsiteX8596" fmla="*/ 4317523 w 9586368"/>
              <a:gd name="connsiteY8596" fmla="*/ 257367 h 6479439"/>
              <a:gd name="connsiteX8597" fmla="*/ 4307612 w 9586368"/>
              <a:gd name="connsiteY8597" fmla="*/ 257367 h 6479439"/>
              <a:gd name="connsiteX8598" fmla="*/ 4303595 w 9586368"/>
              <a:gd name="connsiteY8598" fmla="*/ 253328 h 6479439"/>
              <a:gd name="connsiteX8599" fmla="*/ 4303595 w 9586368"/>
              <a:gd name="connsiteY8599" fmla="*/ 243457 h 6479439"/>
              <a:gd name="connsiteX8600" fmla="*/ 4068297 w 9586368"/>
              <a:gd name="connsiteY8600" fmla="*/ 239419 h 6479439"/>
              <a:gd name="connsiteX8601" fmla="*/ 4078210 w 9586368"/>
              <a:gd name="connsiteY8601" fmla="*/ 239419 h 6479439"/>
              <a:gd name="connsiteX8602" fmla="*/ 4082229 w 9586368"/>
              <a:gd name="connsiteY8602" fmla="*/ 243457 h 6479439"/>
              <a:gd name="connsiteX8603" fmla="*/ 4082229 w 9586368"/>
              <a:gd name="connsiteY8603" fmla="*/ 253328 h 6479439"/>
              <a:gd name="connsiteX8604" fmla="*/ 4078210 w 9586368"/>
              <a:gd name="connsiteY8604" fmla="*/ 257367 h 6479439"/>
              <a:gd name="connsiteX8605" fmla="*/ 4068297 w 9586368"/>
              <a:gd name="connsiteY8605" fmla="*/ 257367 h 6479439"/>
              <a:gd name="connsiteX8606" fmla="*/ 4064278 w 9586368"/>
              <a:gd name="connsiteY8606" fmla="*/ 253328 h 6479439"/>
              <a:gd name="connsiteX8607" fmla="*/ 4064278 w 9586368"/>
              <a:gd name="connsiteY8607" fmla="*/ 243457 h 6479439"/>
              <a:gd name="connsiteX8608" fmla="*/ 5025470 w 9586368"/>
              <a:gd name="connsiteY8608" fmla="*/ 239407 h 6479439"/>
              <a:gd name="connsiteX8609" fmla="*/ 5035381 w 9586368"/>
              <a:gd name="connsiteY8609" fmla="*/ 239407 h 6479439"/>
              <a:gd name="connsiteX8610" fmla="*/ 5039400 w 9586368"/>
              <a:gd name="connsiteY8610" fmla="*/ 243445 h 6479439"/>
              <a:gd name="connsiteX8611" fmla="*/ 5039400 w 9586368"/>
              <a:gd name="connsiteY8611" fmla="*/ 253316 h 6479439"/>
              <a:gd name="connsiteX8612" fmla="*/ 5035381 w 9586368"/>
              <a:gd name="connsiteY8612" fmla="*/ 257355 h 6479439"/>
              <a:gd name="connsiteX8613" fmla="*/ 5025470 w 9586368"/>
              <a:gd name="connsiteY8613" fmla="*/ 257355 h 6479439"/>
              <a:gd name="connsiteX8614" fmla="*/ 5021451 w 9586368"/>
              <a:gd name="connsiteY8614" fmla="*/ 253316 h 6479439"/>
              <a:gd name="connsiteX8615" fmla="*/ 5021451 w 9586368"/>
              <a:gd name="connsiteY8615" fmla="*/ 243445 h 6479439"/>
              <a:gd name="connsiteX8616" fmla="*/ 4786241 w 9586368"/>
              <a:gd name="connsiteY8616" fmla="*/ 239407 h 6479439"/>
              <a:gd name="connsiteX8617" fmla="*/ 4796152 w 9586368"/>
              <a:gd name="connsiteY8617" fmla="*/ 239407 h 6479439"/>
              <a:gd name="connsiteX8618" fmla="*/ 4800171 w 9586368"/>
              <a:gd name="connsiteY8618" fmla="*/ 243445 h 6479439"/>
              <a:gd name="connsiteX8619" fmla="*/ 4800171 w 9586368"/>
              <a:gd name="connsiteY8619" fmla="*/ 253316 h 6479439"/>
              <a:gd name="connsiteX8620" fmla="*/ 4796152 w 9586368"/>
              <a:gd name="connsiteY8620" fmla="*/ 257355 h 6479439"/>
              <a:gd name="connsiteX8621" fmla="*/ 4786241 w 9586368"/>
              <a:gd name="connsiteY8621" fmla="*/ 257355 h 6479439"/>
              <a:gd name="connsiteX8622" fmla="*/ 4782224 w 9586368"/>
              <a:gd name="connsiteY8622" fmla="*/ 253316 h 6479439"/>
              <a:gd name="connsiteX8623" fmla="*/ 4782224 w 9586368"/>
              <a:gd name="connsiteY8623" fmla="*/ 243445 h 6479439"/>
              <a:gd name="connsiteX8624" fmla="*/ 5743412 w 9586368"/>
              <a:gd name="connsiteY8624" fmla="*/ 239407 h 6479439"/>
              <a:gd name="connsiteX8625" fmla="*/ 5753323 w 9586368"/>
              <a:gd name="connsiteY8625" fmla="*/ 239407 h 6479439"/>
              <a:gd name="connsiteX8626" fmla="*/ 5757342 w 9586368"/>
              <a:gd name="connsiteY8626" fmla="*/ 243445 h 6479439"/>
              <a:gd name="connsiteX8627" fmla="*/ 5757342 w 9586368"/>
              <a:gd name="connsiteY8627" fmla="*/ 253316 h 6479439"/>
              <a:gd name="connsiteX8628" fmla="*/ 5753323 w 9586368"/>
              <a:gd name="connsiteY8628" fmla="*/ 257355 h 6479439"/>
              <a:gd name="connsiteX8629" fmla="*/ 5743412 w 9586368"/>
              <a:gd name="connsiteY8629" fmla="*/ 257355 h 6479439"/>
              <a:gd name="connsiteX8630" fmla="*/ 5739393 w 9586368"/>
              <a:gd name="connsiteY8630" fmla="*/ 253316 h 6479439"/>
              <a:gd name="connsiteX8631" fmla="*/ 5739393 w 9586368"/>
              <a:gd name="connsiteY8631" fmla="*/ 243445 h 6479439"/>
              <a:gd name="connsiteX8632" fmla="*/ 5504099 w 9586368"/>
              <a:gd name="connsiteY8632" fmla="*/ 239407 h 6479439"/>
              <a:gd name="connsiteX8633" fmla="*/ 5514010 w 9586368"/>
              <a:gd name="connsiteY8633" fmla="*/ 239407 h 6479439"/>
              <a:gd name="connsiteX8634" fmla="*/ 5518029 w 9586368"/>
              <a:gd name="connsiteY8634" fmla="*/ 243445 h 6479439"/>
              <a:gd name="connsiteX8635" fmla="*/ 5518029 w 9586368"/>
              <a:gd name="connsiteY8635" fmla="*/ 253316 h 6479439"/>
              <a:gd name="connsiteX8636" fmla="*/ 5514010 w 9586368"/>
              <a:gd name="connsiteY8636" fmla="*/ 257355 h 6479439"/>
              <a:gd name="connsiteX8637" fmla="*/ 5504099 w 9586368"/>
              <a:gd name="connsiteY8637" fmla="*/ 257355 h 6479439"/>
              <a:gd name="connsiteX8638" fmla="*/ 5500080 w 9586368"/>
              <a:gd name="connsiteY8638" fmla="*/ 253316 h 6479439"/>
              <a:gd name="connsiteX8639" fmla="*/ 5500080 w 9586368"/>
              <a:gd name="connsiteY8639" fmla="*/ 243445 h 6479439"/>
              <a:gd name="connsiteX8640" fmla="*/ 5264784 w 9586368"/>
              <a:gd name="connsiteY8640" fmla="*/ 239407 h 6479439"/>
              <a:gd name="connsiteX8641" fmla="*/ 5274694 w 9586368"/>
              <a:gd name="connsiteY8641" fmla="*/ 239407 h 6479439"/>
              <a:gd name="connsiteX8642" fmla="*/ 5278713 w 9586368"/>
              <a:gd name="connsiteY8642" fmla="*/ 243445 h 6479439"/>
              <a:gd name="connsiteX8643" fmla="*/ 5278713 w 9586368"/>
              <a:gd name="connsiteY8643" fmla="*/ 253316 h 6479439"/>
              <a:gd name="connsiteX8644" fmla="*/ 5274694 w 9586368"/>
              <a:gd name="connsiteY8644" fmla="*/ 257355 h 6479439"/>
              <a:gd name="connsiteX8645" fmla="*/ 5264784 w 9586368"/>
              <a:gd name="connsiteY8645" fmla="*/ 257355 h 6479439"/>
              <a:gd name="connsiteX8646" fmla="*/ 5260765 w 9586368"/>
              <a:gd name="connsiteY8646" fmla="*/ 253316 h 6479439"/>
              <a:gd name="connsiteX8647" fmla="*/ 5260765 w 9586368"/>
              <a:gd name="connsiteY8647" fmla="*/ 243445 h 6479439"/>
              <a:gd name="connsiteX8648" fmla="*/ 6222042 w 9586368"/>
              <a:gd name="connsiteY8648" fmla="*/ 239395 h 6479439"/>
              <a:gd name="connsiteX8649" fmla="*/ 6231952 w 9586368"/>
              <a:gd name="connsiteY8649" fmla="*/ 239395 h 6479439"/>
              <a:gd name="connsiteX8650" fmla="*/ 6235971 w 9586368"/>
              <a:gd name="connsiteY8650" fmla="*/ 243432 h 6479439"/>
              <a:gd name="connsiteX8651" fmla="*/ 6235971 w 9586368"/>
              <a:gd name="connsiteY8651" fmla="*/ 253303 h 6479439"/>
              <a:gd name="connsiteX8652" fmla="*/ 6231952 w 9586368"/>
              <a:gd name="connsiteY8652" fmla="*/ 257342 h 6479439"/>
              <a:gd name="connsiteX8653" fmla="*/ 6222042 w 9586368"/>
              <a:gd name="connsiteY8653" fmla="*/ 257342 h 6479439"/>
              <a:gd name="connsiteX8654" fmla="*/ 6218023 w 9586368"/>
              <a:gd name="connsiteY8654" fmla="*/ 253303 h 6479439"/>
              <a:gd name="connsiteX8655" fmla="*/ 6218023 w 9586368"/>
              <a:gd name="connsiteY8655" fmla="*/ 243432 h 6479439"/>
              <a:gd name="connsiteX8656" fmla="*/ 5982729 w 9586368"/>
              <a:gd name="connsiteY8656" fmla="*/ 239395 h 6479439"/>
              <a:gd name="connsiteX8657" fmla="*/ 5992639 w 9586368"/>
              <a:gd name="connsiteY8657" fmla="*/ 239395 h 6479439"/>
              <a:gd name="connsiteX8658" fmla="*/ 5996658 w 9586368"/>
              <a:gd name="connsiteY8658" fmla="*/ 243433 h 6479439"/>
              <a:gd name="connsiteX8659" fmla="*/ 5996658 w 9586368"/>
              <a:gd name="connsiteY8659" fmla="*/ 253303 h 6479439"/>
              <a:gd name="connsiteX8660" fmla="*/ 5992639 w 9586368"/>
              <a:gd name="connsiteY8660" fmla="*/ 257342 h 6479439"/>
              <a:gd name="connsiteX8661" fmla="*/ 5982729 w 9586368"/>
              <a:gd name="connsiteY8661" fmla="*/ 257342 h 6479439"/>
              <a:gd name="connsiteX8662" fmla="*/ 5978710 w 9586368"/>
              <a:gd name="connsiteY8662" fmla="*/ 253303 h 6479439"/>
              <a:gd name="connsiteX8663" fmla="*/ 5978710 w 9586368"/>
              <a:gd name="connsiteY8663" fmla="*/ 243433 h 6479439"/>
              <a:gd name="connsiteX8664" fmla="*/ 6939983 w 9586368"/>
              <a:gd name="connsiteY8664" fmla="*/ 239394 h 6479439"/>
              <a:gd name="connsiteX8665" fmla="*/ 6949894 w 9586368"/>
              <a:gd name="connsiteY8665" fmla="*/ 239394 h 6479439"/>
              <a:gd name="connsiteX8666" fmla="*/ 6953913 w 9586368"/>
              <a:gd name="connsiteY8666" fmla="*/ 243432 h 6479439"/>
              <a:gd name="connsiteX8667" fmla="*/ 6953913 w 9586368"/>
              <a:gd name="connsiteY8667" fmla="*/ 253303 h 6479439"/>
              <a:gd name="connsiteX8668" fmla="*/ 6949894 w 9586368"/>
              <a:gd name="connsiteY8668" fmla="*/ 257342 h 6479439"/>
              <a:gd name="connsiteX8669" fmla="*/ 6939983 w 9586368"/>
              <a:gd name="connsiteY8669" fmla="*/ 257342 h 6479439"/>
              <a:gd name="connsiteX8670" fmla="*/ 6935964 w 9586368"/>
              <a:gd name="connsiteY8670" fmla="*/ 253303 h 6479439"/>
              <a:gd name="connsiteX8671" fmla="*/ 6935964 w 9586368"/>
              <a:gd name="connsiteY8671" fmla="*/ 243432 h 6479439"/>
              <a:gd name="connsiteX8672" fmla="*/ 6700670 w 9586368"/>
              <a:gd name="connsiteY8672" fmla="*/ 239394 h 6479439"/>
              <a:gd name="connsiteX8673" fmla="*/ 6710581 w 9586368"/>
              <a:gd name="connsiteY8673" fmla="*/ 239394 h 6479439"/>
              <a:gd name="connsiteX8674" fmla="*/ 6714600 w 9586368"/>
              <a:gd name="connsiteY8674" fmla="*/ 243432 h 6479439"/>
              <a:gd name="connsiteX8675" fmla="*/ 6714600 w 9586368"/>
              <a:gd name="connsiteY8675" fmla="*/ 253303 h 6479439"/>
              <a:gd name="connsiteX8676" fmla="*/ 6710581 w 9586368"/>
              <a:gd name="connsiteY8676" fmla="*/ 257342 h 6479439"/>
              <a:gd name="connsiteX8677" fmla="*/ 6700670 w 9586368"/>
              <a:gd name="connsiteY8677" fmla="*/ 257342 h 6479439"/>
              <a:gd name="connsiteX8678" fmla="*/ 6696651 w 9586368"/>
              <a:gd name="connsiteY8678" fmla="*/ 253303 h 6479439"/>
              <a:gd name="connsiteX8679" fmla="*/ 6696651 w 9586368"/>
              <a:gd name="connsiteY8679" fmla="*/ 243432 h 6479439"/>
              <a:gd name="connsiteX8680" fmla="*/ 6461356 w 9586368"/>
              <a:gd name="connsiteY8680" fmla="*/ 239394 h 6479439"/>
              <a:gd name="connsiteX8681" fmla="*/ 6471266 w 9586368"/>
              <a:gd name="connsiteY8681" fmla="*/ 239394 h 6479439"/>
              <a:gd name="connsiteX8682" fmla="*/ 6475285 w 9586368"/>
              <a:gd name="connsiteY8682" fmla="*/ 243432 h 6479439"/>
              <a:gd name="connsiteX8683" fmla="*/ 6475285 w 9586368"/>
              <a:gd name="connsiteY8683" fmla="*/ 253303 h 6479439"/>
              <a:gd name="connsiteX8684" fmla="*/ 6471266 w 9586368"/>
              <a:gd name="connsiteY8684" fmla="*/ 257342 h 6479439"/>
              <a:gd name="connsiteX8685" fmla="*/ 6461356 w 9586368"/>
              <a:gd name="connsiteY8685" fmla="*/ 257342 h 6479439"/>
              <a:gd name="connsiteX8686" fmla="*/ 6457337 w 9586368"/>
              <a:gd name="connsiteY8686" fmla="*/ 253303 h 6479439"/>
              <a:gd name="connsiteX8687" fmla="*/ 6457337 w 9586368"/>
              <a:gd name="connsiteY8687" fmla="*/ 243432 h 6479439"/>
              <a:gd name="connsiteX8688" fmla="*/ 7418611 w 9586368"/>
              <a:gd name="connsiteY8688" fmla="*/ 239382 h 6479439"/>
              <a:gd name="connsiteX8689" fmla="*/ 7428521 w 9586368"/>
              <a:gd name="connsiteY8689" fmla="*/ 239382 h 6479439"/>
              <a:gd name="connsiteX8690" fmla="*/ 7432540 w 9586368"/>
              <a:gd name="connsiteY8690" fmla="*/ 243420 h 6479439"/>
              <a:gd name="connsiteX8691" fmla="*/ 7432540 w 9586368"/>
              <a:gd name="connsiteY8691" fmla="*/ 253291 h 6479439"/>
              <a:gd name="connsiteX8692" fmla="*/ 7428521 w 9586368"/>
              <a:gd name="connsiteY8692" fmla="*/ 257330 h 6479439"/>
              <a:gd name="connsiteX8693" fmla="*/ 7418611 w 9586368"/>
              <a:gd name="connsiteY8693" fmla="*/ 257330 h 6479439"/>
              <a:gd name="connsiteX8694" fmla="*/ 7414592 w 9586368"/>
              <a:gd name="connsiteY8694" fmla="*/ 253291 h 6479439"/>
              <a:gd name="connsiteX8695" fmla="*/ 7414592 w 9586368"/>
              <a:gd name="connsiteY8695" fmla="*/ 243420 h 6479439"/>
              <a:gd name="connsiteX8696" fmla="*/ 7179298 w 9586368"/>
              <a:gd name="connsiteY8696" fmla="*/ 239382 h 6479439"/>
              <a:gd name="connsiteX8697" fmla="*/ 7189209 w 9586368"/>
              <a:gd name="connsiteY8697" fmla="*/ 239382 h 6479439"/>
              <a:gd name="connsiteX8698" fmla="*/ 7193228 w 9586368"/>
              <a:gd name="connsiteY8698" fmla="*/ 243421 h 6479439"/>
              <a:gd name="connsiteX8699" fmla="*/ 7193228 w 9586368"/>
              <a:gd name="connsiteY8699" fmla="*/ 253292 h 6479439"/>
              <a:gd name="connsiteX8700" fmla="*/ 7189209 w 9586368"/>
              <a:gd name="connsiteY8700" fmla="*/ 257330 h 6479439"/>
              <a:gd name="connsiteX8701" fmla="*/ 7179298 w 9586368"/>
              <a:gd name="connsiteY8701" fmla="*/ 257330 h 6479439"/>
              <a:gd name="connsiteX8702" fmla="*/ 7175279 w 9586368"/>
              <a:gd name="connsiteY8702" fmla="*/ 253292 h 6479439"/>
              <a:gd name="connsiteX8703" fmla="*/ 7175279 w 9586368"/>
              <a:gd name="connsiteY8703" fmla="*/ 243421 h 6479439"/>
              <a:gd name="connsiteX8704" fmla="*/ 8136553 w 9586368"/>
              <a:gd name="connsiteY8704" fmla="*/ 239382 h 6479439"/>
              <a:gd name="connsiteX8705" fmla="*/ 8146464 w 9586368"/>
              <a:gd name="connsiteY8705" fmla="*/ 239382 h 6479439"/>
              <a:gd name="connsiteX8706" fmla="*/ 8150483 w 9586368"/>
              <a:gd name="connsiteY8706" fmla="*/ 243420 h 6479439"/>
              <a:gd name="connsiteX8707" fmla="*/ 8150483 w 9586368"/>
              <a:gd name="connsiteY8707" fmla="*/ 253291 h 6479439"/>
              <a:gd name="connsiteX8708" fmla="*/ 8146464 w 9586368"/>
              <a:gd name="connsiteY8708" fmla="*/ 257330 h 6479439"/>
              <a:gd name="connsiteX8709" fmla="*/ 8136553 w 9586368"/>
              <a:gd name="connsiteY8709" fmla="*/ 257330 h 6479439"/>
              <a:gd name="connsiteX8710" fmla="*/ 8132534 w 9586368"/>
              <a:gd name="connsiteY8710" fmla="*/ 253291 h 6479439"/>
              <a:gd name="connsiteX8711" fmla="*/ 8132534 w 9586368"/>
              <a:gd name="connsiteY8711" fmla="*/ 243420 h 6479439"/>
              <a:gd name="connsiteX8712" fmla="*/ 7897241 w 9586368"/>
              <a:gd name="connsiteY8712" fmla="*/ 239382 h 6479439"/>
              <a:gd name="connsiteX8713" fmla="*/ 7907151 w 9586368"/>
              <a:gd name="connsiteY8713" fmla="*/ 239382 h 6479439"/>
              <a:gd name="connsiteX8714" fmla="*/ 7911170 w 9586368"/>
              <a:gd name="connsiteY8714" fmla="*/ 243420 h 6479439"/>
              <a:gd name="connsiteX8715" fmla="*/ 7911170 w 9586368"/>
              <a:gd name="connsiteY8715" fmla="*/ 253291 h 6479439"/>
              <a:gd name="connsiteX8716" fmla="*/ 7907151 w 9586368"/>
              <a:gd name="connsiteY8716" fmla="*/ 257330 h 6479439"/>
              <a:gd name="connsiteX8717" fmla="*/ 7897241 w 9586368"/>
              <a:gd name="connsiteY8717" fmla="*/ 257330 h 6479439"/>
              <a:gd name="connsiteX8718" fmla="*/ 7893222 w 9586368"/>
              <a:gd name="connsiteY8718" fmla="*/ 253291 h 6479439"/>
              <a:gd name="connsiteX8719" fmla="*/ 7893222 w 9586368"/>
              <a:gd name="connsiteY8719" fmla="*/ 243420 h 6479439"/>
              <a:gd name="connsiteX8720" fmla="*/ 7657926 w 9586368"/>
              <a:gd name="connsiteY8720" fmla="*/ 239382 h 6479439"/>
              <a:gd name="connsiteX8721" fmla="*/ 7667836 w 9586368"/>
              <a:gd name="connsiteY8721" fmla="*/ 239382 h 6479439"/>
              <a:gd name="connsiteX8722" fmla="*/ 7671855 w 9586368"/>
              <a:gd name="connsiteY8722" fmla="*/ 243420 h 6479439"/>
              <a:gd name="connsiteX8723" fmla="*/ 7671855 w 9586368"/>
              <a:gd name="connsiteY8723" fmla="*/ 253291 h 6479439"/>
              <a:gd name="connsiteX8724" fmla="*/ 7667836 w 9586368"/>
              <a:gd name="connsiteY8724" fmla="*/ 257330 h 6479439"/>
              <a:gd name="connsiteX8725" fmla="*/ 7657926 w 9586368"/>
              <a:gd name="connsiteY8725" fmla="*/ 257330 h 6479439"/>
              <a:gd name="connsiteX8726" fmla="*/ 7653906 w 9586368"/>
              <a:gd name="connsiteY8726" fmla="*/ 253291 h 6479439"/>
              <a:gd name="connsiteX8727" fmla="*/ 7653906 w 9586368"/>
              <a:gd name="connsiteY8727" fmla="*/ 243420 h 6479439"/>
              <a:gd name="connsiteX8728" fmla="*/ 1679220 w 9586368"/>
              <a:gd name="connsiteY8728" fmla="*/ 239371 h 6479439"/>
              <a:gd name="connsiteX8729" fmla="*/ 1689131 w 9586368"/>
              <a:gd name="connsiteY8729" fmla="*/ 239371 h 6479439"/>
              <a:gd name="connsiteX8730" fmla="*/ 1693150 w 9586368"/>
              <a:gd name="connsiteY8730" fmla="*/ 243409 h 6479439"/>
              <a:gd name="connsiteX8731" fmla="*/ 1693150 w 9586368"/>
              <a:gd name="connsiteY8731" fmla="*/ 253280 h 6479439"/>
              <a:gd name="connsiteX8732" fmla="*/ 1689131 w 9586368"/>
              <a:gd name="connsiteY8732" fmla="*/ 257319 h 6479439"/>
              <a:gd name="connsiteX8733" fmla="*/ 1679220 w 9586368"/>
              <a:gd name="connsiteY8733" fmla="*/ 257319 h 6479439"/>
              <a:gd name="connsiteX8734" fmla="*/ 1675202 w 9586368"/>
              <a:gd name="connsiteY8734" fmla="*/ 253280 h 6479439"/>
              <a:gd name="connsiteX8735" fmla="*/ 1675202 w 9586368"/>
              <a:gd name="connsiteY8735" fmla="*/ 243409 h 6479439"/>
              <a:gd name="connsiteX8736" fmla="*/ 1439902 w 9586368"/>
              <a:gd name="connsiteY8736" fmla="*/ 239371 h 6479439"/>
              <a:gd name="connsiteX8737" fmla="*/ 1449813 w 9586368"/>
              <a:gd name="connsiteY8737" fmla="*/ 239371 h 6479439"/>
              <a:gd name="connsiteX8738" fmla="*/ 1453832 w 9586368"/>
              <a:gd name="connsiteY8738" fmla="*/ 243409 h 6479439"/>
              <a:gd name="connsiteX8739" fmla="*/ 1453832 w 9586368"/>
              <a:gd name="connsiteY8739" fmla="*/ 253280 h 6479439"/>
              <a:gd name="connsiteX8740" fmla="*/ 1449813 w 9586368"/>
              <a:gd name="connsiteY8740" fmla="*/ 257319 h 6479439"/>
              <a:gd name="connsiteX8741" fmla="*/ 1439902 w 9586368"/>
              <a:gd name="connsiteY8741" fmla="*/ 257319 h 6479439"/>
              <a:gd name="connsiteX8742" fmla="*/ 1435884 w 9586368"/>
              <a:gd name="connsiteY8742" fmla="*/ 253280 h 6479439"/>
              <a:gd name="connsiteX8743" fmla="*/ 1435884 w 9586368"/>
              <a:gd name="connsiteY8743" fmla="*/ 243409 h 6479439"/>
              <a:gd name="connsiteX8744" fmla="*/ 1200587 w 9586368"/>
              <a:gd name="connsiteY8744" fmla="*/ 239371 h 6479439"/>
              <a:gd name="connsiteX8745" fmla="*/ 1210496 w 9586368"/>
              <a:gd name="connsiteY8745" fmla="*/ 239371 h 6479439"/>
              <a:gd name="connsiteX8746" fmla="*/ 1214515 w 9586368"/>
              <a:gd name="connsiteY8746" fmla="*/ 243409 h 6479439"/>
              <a:gd name="connsiteX8747" fmla="*/ 1214515 w 9586368"/>
              <a:gd name="connsiteY8747" fmla="*/ 253280 h 6479439"/>
              <a:gd name="connsiteX8748" fmla="*/ 1210496 w 9586368"/>
              <a:gd name="connsiteY8748" fmla="*/ 257319 h 6479439"/>
              <a:gd name="connsiteX8749" fmla="*/ 1200587 w 9586368"/>
              <a:gd name="connsiteY8749" fmla="*/ 257319 h 6479439"/>
              <a:gd name="connsiteX8750" fmla="*/ 1196567 w 9586368"/>
              <a:gd name="connsiteY8750" fmla="*/ 253280 h 6479439"/>
              <a:gd name="connsiteX8751" fmla="*/ 1196567 w 9586368"/>
              <a:gd name="connsiteY8751" fmla="*/ 243409 h 6479439"/>
              <a:gd name="connsiteX8752" fmla="*/ 961273 w 9586368"/>
              <a:gd name="connsiteY8752" fmla="*/ 239371 h 6479439"/>
              <a:gd name="connsiteX8753" fmla="*/ 971184 w 9586368"/>
              <a:gd name="connsiteY8753" fmla="*/ 239371 h 6479439"/>
              <a:gd name="connsiteX8754" fmla="*/ 975203 w 9586368"/>
              <a:gd name="connsiteY8754" fmla="*/ 243409 h 6479439"/>
              <a:gd name="connsiteX8755" fmla="*/ 975203 w 9586368"/>
              <a:gd name="connsiteY8755" fmla="*/ 253280 h 6479439"/>
              <a:gd name="connsiteX8756" fmla="*/ 971184 w 9586368"/>
              <a:gd name="connsiteY8756" fmla="*/ 257319 h 6479439"/>
              <a:gd name="connsiteX8757" fmla="*/ 961273 w 9586368"/>
              <a:gd name="connsiteY8757" fmla="*/ 257319 h 6479439"/>
              <a:gd name="connsiteX8758" fmla="*/ 957255 w 9586368"/>
              <a:gd name="connsiteY8758" fmla="*/ 253280 h 6479439"/>
              <a:gd name="connsiteX8759" fmla="*/ 957255 w 9586368"/>
              <a:gd name="connsiteY8759" fmla="*/ 243409 h 6479439"/>
              <a:gd name="connsiteX8760" fmla="*/ 8615184 w 9586368"/>
              <a:gd name="connsiteY8760" fmla="*/ 239370 h 6479439"/>
              <a:gd name="connsiteX8761" fmla="*/ 8625095 w 9586368"/>
              <a:gd name="connsiteY8761" fmla="*/ 239370 h 6479439"/>
              <a:gd name="connsiteX8762" fmla="*/ 8629114 w 9586368"/>
              <a:gd name="connsiteY8762" fmla="*/ 243408 h 6479439"/>
              <a:gd name="connsiteX8763" fmla="*/ 8629114 w 9586368"/>
              <a:gd name="connsiteY8763" fmla="*/ 253278 h 6479439"/>
              <a:gd name="connsiteX8764" fmla="*/ 8625095 w 9586368"/>
              <a:gd name="connsiteY8764" fmla="*/ 257317 h 6479439"/>
              <a:gd name="connsiteX8765" fmla="*/ 8615184 w 9586368"/>
              <a:gd name="connsiteY8765" fmla="*/ 257317 h 6479439"/>
              <a:gd name="connsiteX8766" fmla="*/ 8611165 w 9586368"/>
              <a:gd name="connsiteY8766" fmla="*/ 253278 h 6479439"/>
              <a:gd name="connsiteX8767" fmla="*/ 8611165 w 9586368"/>
              <a:gd name="connsiteY8767" fmla="*/ 243408 h 6479439"/>
              <a:gd name="connsiteX8768" fmla="*/ 8375869 w 9586368"/>
              <a:gd name="connsiteY8768" fmla="*/ 239370 h 6479439"/>
              <a:gd name="connsiteX8769" fmla="*/ 8385779 w 9586368"/>
              <a:gd name="connsiteY8769" fmla="*/ 239370 h 6479439"/>
              <a:gd name="connsiteX8770" fmla="*/ 8389799 w 9586368"/>
              <a:gd name="connsiteY8770" fmla="*/ 243408 h 6479439"/>
              <a:gd name="connsiteX8771" fmla="*/ 8389799 w 9586368"/>
              <a:gd name="connsiteY8771" fmla="*/ 253279 h 6479439"/>
              <a:gd name="connsiteX8772" fmla="*/ 8385779 w 9586368"/>
              <a:gd name="connsiteY8772" fmla="*/ 257318 h 6479439"/>
              <a:gd name="connsiteX8773" fmla="*/ 8375869 w 9586368"/>
              <a:gd name="connsiteY8773" fmla="*/ 257318 h 6479439"/>
              <a:gd name="connsiteX8774" fmla="*/ 8371850 w 9586368"/>
              <a:gd name="connsiteY8774" fmla="*/ 253279 h 6479439"/>
              <a:gd name="connsiteX8775" fmla="*/ 8371850 w 9586368"/>
              <a:gd name="connsiteY8775" fmla="*/ 243408 h 6479439"/>
              <a:gd name="connsiteX8776" fmla="*/ 9333125 w 9586368"/>
              <a:gd name="connsiteY8776" fmla="*/ 239369 h 6479439"/>
              <a:gd name="connsiteX8777" fmla="*/ 9343036 w 9586368"/>
              <a:gd name="connsiteY8777" fmla="*/ 239369 h 6479439"/>
              <a:gd name="connsiteX8778" fmla="*/ 9347055 w 9586368"/>
              <a:gd name="connsiteY8778" fmla="*/ 243407 h 6479439"/>
              <a:gd name="connsiteX8779" fmla="*/ 9347055 w 9586368"/>
              <a:gd name="connsiteY8779" fmla="*/ 253278 h 6479439"/>
              <a:gd name="connsiteX8780" fmla="*/ 9343036 w 9586368"/>
              <a:gd name="connsiteY8780" fmla="*/ 257317 h 6479439"/>
              <a:gd name="connsiteX8781" fmla="*/ 9333125 w 9586368"/>
              <a:gd name="connsiteY8781" fmla="*/ 257317 h 6479439"/>
              <a:gd name="connsiteX8782" fmla="*/ 9329106 w 9586368"/>
              <a:gd name="connsiteY8782" fmla="*/ 253278 h 6479439"/>
              <a:gd name="connsiteX8783" fmla="*/ 9329106 w 9586368"/>
              <a:gd name="connsiteY8783" fmla="*/ 243407 h 6479439"/>
              <a:gd name="connsiteX8784" fmla="*/ 9093811 w 9586368"/>
              <a:gd name="connsiteY8784" fmla="*/ 239369 h 6479439"/>
              <a:gd name="connsiteX8785" fmla="*/ 9103722 w 9586368"/>
              <a:gd name="connsiteY8785" fmla="*/ 239369 h 6479439"/>
              <a:gd name="connsiteX8786" fmla="*/ 9107741 w 9586368"/>
              <a:gd name="connsiteY8786" fmla="*/ 243407 h 6479439"/>
              <a:gd name="connsiteX8787" fmla="*/ 9107741 w 9586368"/>
              <a:gd name="connsiteY8787" fmla="*/ 253278 h 6479439"/>
              <a:gd name="connsiteX8788" fmla="*/ 9103722 w 9586368"/>
              <a:gd name="connsiteY8788" fmla="*/ 257317 h 6479439"/>
              <a:gd name="connsiteX8789" fmla="*/ 9093811 w 9586368"/>
              <a:gd name="connsiteY8789" fmla="*/ 257317 h 6479439"/>
              <a:gd name="connsiteX8790" fmla="*/ 9089792 w 9586368"/>
              <a:gd name="connsiteY8790" fmla="*/ 253278 h 6479439"/>
              <a:gd name="connsiteX8791" fmla="*/ 9089792 w 9586368"/>
              <a:gd name="connsiteY8791" fmla="*/ 243407 h 6479439"/>
              <a:gd name="connsiteX8792" fmla="*/ 8854496 w 9586368"/>
              <a:gd name="connsiteY8792" fmla="*/ 239369 h 6479439"/>
              <a:gd name="connsiteX8793" fmla="*/ 8864407 w 9586368"/>
              <a:gd name="connsiteY8793" fmla="*/ 239369 h 6479439"/>
              <a:gd name="connsiteX8794" fmla="*/ 8868426 w 9586368"/>
              <a:gd name="connsiteY8794" fmla="*/ 243407 h 6479439"/>
              <a:gd name="connsiteX8795" fmla="*/ 8868426 w 9586368"/>
              <a:gd name="connsiteY8795" fmla="*/ 253278 h 6479439"/>
              <a:gd name="connsiteX8796" fmla="*/ 8864407 w 9586368"/>
              <a:gd name="connsiteY8796" fmla="*/ 257317 h 6479439"/>
              <a:gd name="connsiteX8797" fmla="*/ 8854496 w 9586368"/>
              <a:gd name="connsiteY8797" fmla="*/ 257317 h 6479439"/>
              <a:gd name="connsiteX8798" fmla="*/ 8850477 w 9586368"/>
              <a:gd name="connsiteY8798" fmla="*/ 253278 h 6479439"/>
              <a:gd name="connsiteX8799" fmla="*/ 8850477 w 9586368"/>
              <a:gd name="connsiteY8799" fmla="*/ 243407 h 6479439"/>
              <a:gd name="connsiteX8800" fmla="*/ 1918515 w 9586368"/>
              <a:gd name="connsiteY8800" fmla="*/ 239361 h 6479439"/>
              <a:gd name="connsiteX8801" fmla="*/ 1928425 w 9586368"/>
              <a:gd name="connsiteY8801" fmla="*/ 239361 h 6479439"/>
              <a:gd name="connsiteX8802" fmla="*/ 1932444 w 9586368"/>
              <a:gd name="connsiteY8802" fmla="*/ 243400 h 6479439"/>
              <a:gd name="connsiteX8803" fmla="*/ 1932444 w 9586368"/>
              <a:gd name="connsiteY8803" fmla="*/ 253271 h 6479439"/>
              <a:gd name="connsiteX8804" fmla="*/ 1928425 w 9586368"/>
              <a:gd name="connsiteY8804" fmla="*/ 257310 h 6479439"/>
              <a:gd name="connsiteX8805" fmla="*/ 1918515 w 9586368"/>
              <a:gd name="connsiteY8805" fmla="*/ 257310 h 6479439"/>
              <a:gd name="connsiteX8806" fmla="*/ 1914495 w 9586368"/>
              <a:gd name="connsiteY8806" fmla="*/ 253271 h 6479439"/>
              <a:gd name="connsiteX8807" fmla="*/ 1914495 w 9586368"/>
              <a:gd name="connsiteY8807" fmla="*/ 243400 h 6479439"/>
              <a:gd name="connsiteX8808" fmla="*/ 2157824 w 9586368"/>
              <a:gd name="connsiteY8808" fmla="*/ 239359 h 6479439"/>
              <a:gd name="connsiteX8809" fmla="*/ 2167734 w 9586368"/>
              <a:gd name="connsiteY8809" fmla="*/ 239359 h 6479439"/>
              <a:gd name="connsiteX8810" fmla="*/ 2171753 w 9586368"/>
              <a:gd name="connsiteY8810" fmla="*/ 243397 h 6479439"/>
              <a:gd name="connsiteX8811" fmla="*/ 2171753 w 9586368"/>
              <a:gd name="connsiteY8811" fmla="*/ 253268 h 6479439"/>
              <a:gd name="connsiteX8812" fmla="*/ 2167734 w 9586368"/>
              <a:gd name="connsiteY8812" fmla="*/ 257307 h 6479439"/>
              <a:gd name="connsiteX8813" fmla="*/ 2157824 w 9586368"/>
              <a:gd name="connsiteY8813" fmla="*/ 257307 h 6479439"/>
              <a:gd name="connsiteX8814" fmla="*/ 2153804 w 9586368"/>
              <a:gd name="connsiteY8814" fmla="*/ 253268 h 6479439"/>
              <a:gd name="connsiteX8815" fmla="*/ 2153804 w 9586368"/>
              <a:gd name="connsiteY8815" fmla="*/ 243397 h 6479439"/>
              <a:gd name="connsiteX8816" fmla="*/ 9572438 w 9586368"/>
              <a:gd name="connsiteY8816" fmla="*/ 239357 h 6479439"/>
              <a:gd name="connsiteX8817" fmla="*/ 9582349 w 9586368"/>
              <a:gd name="connsiteY8817" fmla="*/ 239357 h 6479439"/>
              <a:gd name="connsiteX8818" fmla="*/ 9586368 w 9586368"/>
              <a:gd name="connsiteY8818" fmla="*/ 243395 h 6479439"/>
              <a:gd name="connsiteX8819" fmla="*/ 9586368 w 9586368"/>
              <a:gd name="connsiteY8819" fmla="*/ 253267 h 6479439"/>
              <a:gd name="connsiteX8820" fmla="*/ 9582349 w 9586368"/>
              <a:gd name="connsiteY8820" fmla="*/ 257306 h 6479439"/>
              <a:gd name="connsiteX8821" fmla="*/ 9572438 w 9586368"/>
              <a:gd name="connsiteY8821" fmla="*/ 257306 h 6479439"/>
              <a:gd name="connsiteX8822" fmla="*/ 9568419 w 9586368"/>
              <a:gd name="connsiteY8822" fmla="*/ 253267 h 6479439"/>
              <a:gd name="connsiteX8823" fmla="*/ 9568419 w 9586368"/>
              <a:gd name="connsiteY8823" fmla="*/ 243395 h 6479439"/>
              <a:gd name="connsiteX8824" fmla="*/ 721976 w 9586368"/>
              <a:gd name="connsiteY8824" fmla="*/ 239330 h 6479439"/>
              <a:gd name="connsiteX8825" fmla="*/ 731887 w 9586368"/>
              <a:gd name="connsiteY8825" fmla="*/ 239330 h 6479439"/>
              <a:gd name="connsiteX8826" fmla="*/ 735906 w 9586368"/>
              <a:gd name="connsiteY8826" fmla="*/ 243368 h 6479439"/>
              <a:gd name="connsiteX8827" fmla="*/ 735906 w 9586368"/>
              <a:gd name="connsiteY8827" fmla="*/ 253239 h 6479439"/>
              <a:gd name="connsiteX8828" fmla="*/ 731887 w 9586368"/>
              <a:gd name="connsiteY8828" fmla="*/ 257278 h 6479439"/>
              <a:gd name="connsiteX8829" fmla="*/ 721976 w 9586368"/>
              <a:gd name="connsiteY8829" fmla="*/ 257278 h 6479439"/>
              <a:gd name="connsiteX8830" fmla="*/ 717958 w 9586368"/>
              <a:gd name="connsiteY8830" fmla="*/ 253239 h 6479439"/>
              <a:gd name="connsiteX8831" fmla="*/ 717958 w 9586368"/>
              <a:gd name="connsiteY8831" fmla="*/ 243368 h 6479439"/>
              <a:gd name="connsiteX8832" fmla="*/ 482664 w 9586368"/>
              <a:gd name="connsiteY8832" fmla="*/ 239330 h 6479439"/>
              <a:gd name="connsiteX8833" fmla="*/ 492575 w 9586368"/>
              <a:gd name="connsiteY8833" fmla="*/ 239330 h 6479439"/>
              <a:gd name="connsiteX8834" fmla="*/ 496594 w 9586368"/>
              <a:gd name="connsiteY8834" fmla="*/ 243368 h 6479439"/>
              <a:gd name="connsiteX8835" fmla="*/ 496594 w 9586368"/>
              <a:gd name="connsiteY8835" fmla="*/ 253239 h 6479439"/>
              <a:gd name="connsiteX8836" fmla="*/ 492575 w 9586368"/>
              <a:gd name="connsiteY8836" fmla="*/ 257278 h 6479439"/>
              <a:gd name="connsiteX8837" fmla="*/ 482664 w 9586368"/>
              <a:gd name="connsiteY8837" fmla="*/ 257278 h 6479439"/>
              <a:gd name="connsiteX8838" fmla="*/ 478645 w 9586368"/>
              <a:gd name="connsiteY8838" fmla="*/ 253239 h 6479439"/>
              <a:gd name="connsiteX8839" fmla="*/ 478645 w 9586368"/>
              <a:gd name="connsiteY8839" fmla="*/ 243368 h 6479439"/>
              <a:gd name="connsiteX8840" fmla="*/ 243350 w 9586368"/>
              <a:gd name="connsiteY8840" fmla="*/ 239330 h 6479439"/>
              <a:gd name="connsiteX8841" fmla="*/ 253261 w 9586368"/>
              <a:gd name="connsiteY8841" fmla="*/ 239330 h 6479439"/>
              <a:gd name="connsiteX8842" fmla="*/ 257280 w 9586368"/>
              <a:gd name="connsiteY8842" fmla="*/ 243368 h 6479439"/>
              <a:gd name="connsiteX8843" fmla="*/ 257280 w 9586368"/>
              <a:gd name="connsiteY8843" fmla="*/ 253239 h 6479439"/>
              <a:gd name="connsiteX8844" fmla="*/ 253261 w 9586368"/>
              <a:gd name="connsiteY8844" fmla="*/ 257278 h 6479439"/>
              <a:gd name="connsiteX8845" fmla="*/ 243350 w 9586368"/>
              <a:gd name="connsiteY8845" fmla="*/ 257278 h 6479439"/>
              <a:gd name="connsiteX8846" fmla="*/ 239332 w 9586368"/>
              <a:gd name="connsiteY8846" fmla="*/ 253239 h 6479439"/>
              <a:gd name="connsiteX8847" fmla="*/ 239332 w 9586368"/>
              <a:gd name="connsiteY8847" fmla="*/ 243368 h 6479439"/>
              <a:gd name="connsiteX8848" fmla="*/ 4037 w 9586368"/>
              <a:gd name="connsiteY8848" fmla="*/ 239330 h 6479439"/>
              <a:gd name="connsiteX8849" fmla="*/ 13948 w 9586368"/>
              <a:gd name="connsiteY8849" fmla="*/ 239330 h 6479439"/>
              <a:gd name="connsiteX8850" fmla="*/ 17967 w 9586368"/>
              <a:gd name="connsiteY8850" fmla="*/ 243368 h 6479439"/>
              <a:gd name="connsiteX8851" fmla="*/ 17967 w 9586368"/>
              <a:gd name="connsiteY8851" fmla="*/ 253239 h 6479439"/>
              <a:gd name="connsiteX8852" fmla="*/ 13948 w 9586368"/>
              <a:gd name="connsiteY8852" fmla="*/ 257278 h 6479439"/>
              <a:gd name="connsiteX8853" fmla="*/ 4037 w 9586368"/>
              <a:gd name="connsiteY8853" fmla="*/ 257278 h 6479439"/>
              <a:gd name="connsiteX8854" fmla="*/ 18 w 9586368"/>
              <a:gd name="connsiteY8854" fmla="*/ 253239 h 6479439"/>
              <a:gd name="connsiteX8855" fmla="*/ 18 w 9586368"/>
              <a:gd name="connsiteY8855" fmla="*/ 243368 h 6479439"/>
              <a:gd name="connsiteX8856" fmla="*/ 3111048 w 9586368"/>
              <a:gd name="connsiteY8856" fmla="*/ 106 h 6479439"/>
              <a:gd name="connsiteX8857" fmla="*/ 3120959 w 9586368"/>
              <a:gd name="connsiteY8857" fmla="*/ 106 h 6479439"/>
              <a:gd name="connsiteX8858" fmla="*/ 3124977 w 9586368"/>
              <a:gd name="connsiteY8858" fmla="*/ 4144 h 6479439"/>
              <a:gd name="connsiteX8859" fmla="*/ 3124977 w 9586368"/>
              <a:gd name="connsiteY8859" fmla="*/ 14015 h 6479439"/>
              <a:gd name="connsiteX8860" fmla="*/ 3120959 w 9586368"/>
              <a:gd name="connsiteY8860" fmla="*/ 18054 h 6479439"/>
              <a:gd name="connsiteX8861" fmla="*/ 3111048 w 9586368"/>
              <a:gd name="connsiteY8861" fmla="*/ 18054 h 6479439"/>
              <a:gd name="connsiteX8862" fmla="*/ 3107029 w 9586368"/>
              <a:gd name="connsiteY8862" fmla="*/ 14015 h 6479439"/>
              <a:gd name="connsiteX8863" fmla="*/ 3107029 w 9586368"/>
              <a:gd name="connsiteY8863" fmla="*/ 4144 h 6479439"/>
              <a:gd name="connsiteX8864" fmla="*/ 2871737 w 9586368"/>
              <a:gd name="connsiteY8864" fmla="*/ 106 h 6479439"/>
              <a:gd name="connsiteX8865" fmla="*/ 2881646 w 9586368"/>
              <a:gd name="connsiteY8865" fmla="*/ 106 h 6479439"/>
              <a:gd name="connsiteX8866" fmla="*/ 2885666 w 9586368"/>
              <a:gd name="connsiteY8866" fmla="*/ 4145 h 6479439"/>
              <a:gd name="connsiteX8867" fmla="*/ 2885666 w 9586368"/>
              <a:gd name="connsiteY8867" fmla="*/ 14015 h 6479439"/>
              <a:gd name="connsiteX8868" fmla="*/ 2881646 w 9586368"/>
              <a:gd name="connsiteY8868" fmla="*/ 18054 h 6479439"/>
              <a:gd name="connsiteX8869" fmla="*/ 2871737 w 9586368"/>
              <a:gd name="connsiteY8869" fmla="*/ 18054 h 6479439"/>
              <a:gd name="connsiteX8870" fmla="*/ 2867717 w 9586368"/>
              <a:gd name="connsiteY8870" fmla="*/ 14015 h 6479439"/>
              <a:gd name="connsiteX8871" fmla="*/ 2867717 w 9586368"/>
              <a:gd name="connsiteY8871" fmla="*/ 4145 h 6479439"/>
              <a:gd name="connsiteX8872" fmla="*/ 2632423 w 9586368"/>
              <a:gd name="connsiteY8872" fmla="*/ 106 h 6479439"/>
              <a:gd name="connsiteX8873" fmla="*/ 2642334 w 9586368"/>
              <a:gd name="connsiteY8873" fmla="*/ 106 h 6479439"/>
              <a:gd name="connsiteX8874" fmla="*/ 2646352 w 9586368"/>
              <a:gd name="connsiteY8874" fmla="*/ 4145 h 6479439"/>
              <a:gd name="connsiteX8875" fmla="*/ 2646352 w 9586368"/>
              <a:gd name="connsiteY8875" fmla="*/ 14016 h 6479439"/>
              <a:gd name="connsiteX8876" fmla="*/ 2642334 w 9586368"/>
              <a:gd name="connsiteY8876" fmla="*/ 18055 h 6479439"/>
              <a:gd name="connsiteX8877" fmla="*/ 2632423 w 9586368"/>
              <a:gd name="connsiteY8877" fmla="*/ 18055 h 6479439"/>
              <a:gd name="connsiteX8878" fmla="*/ 2628404 w 9586368"/>
              <a:gd name="connsiteY8878" fmla="*/ 14016 h 6479439"/>
              <a:gd name="connsiteX8879" fmla="*/ 2628404 w 9586368"/>
              <a:gd name="connsiteY8879" fmla="*/ 4145 h 6479439"/>
              <a:gd name="connsiteX8880" fmla="*/ 2393104 w 9586368"/>
              <a:gd name="connsiteY8880" fmla="*/ 106 h 6479439"/>
              <a:gd name="connsiteX8881" fmla="*/ 2403015 w 9586368"/>
              <a:gd name="connsiteY8881" fmla="*/ 106 h 6479439"/>
              <a:gd name="connsiteX8882" fmla="*/ 2407034 w 9586368"/>
              <a:gd name="connsiteY8882" fmla="*/ 4145 h 6479439"/>
              <a:gd name="connsiteX8883" fmla="*/ 2407034 w 9586368"/>
              <a:gd name="connsiteY8883" fmla="*/ 14016 h 6479439"/>
              <a:gd name="connsiteX8884" fmla="*/ 2403015 w 9586368"/>
              <a:gd name="connsiteY8884" fmla="*/ 18055 h 6479439"/>
              <a:gd name="connsiteX8885" fmla="*/ 2393104 w 9586368"/>
              <a:gd name="connsiteY8885" fmla="*/ 18055 h 6479439"/>
              <a:gd name="connsiteX8886" fmla="*/ 2389087 w 9586368"/>
              <a:gd name="connsiteY8886" fmla="*/ 14016 h 6479439"/>
              <a:gd name="connsiteX8887" fmla="*/ 2389087 w 9586368"/>
              <a:gd name="connsiteY8887" fmla="*/ 4145 h 6479439"/>
              <a:gd name="connsiteX8888" fmla="*/ 3350359 w 9586368"/>
              <a:gd name="connsiteY8888" fmla="*/ 106 h 6479439"/>
              <a:gd name="connsiteX8889" fmla="*/ 3360268 w 9586368"/>
              <a:gd name="connsiteY8889" fmla="*/ 106 h 6479439"/>
              <a:gd name="connsiteX8890" fmla="*/ 3364287 w 9586368"/>
              <a:gd name="connsiteY8890" fmla="*/ 4144 h 6479439"/>
              <a:gd name="connsiteX8891" fmla="*/ 3364287 w 9586368"/>
              <a:gd name="connsiteY8891" fmla="*/ 14015 h 6479439"/>
              <a:gd name="connsiteX8892" fmla="*/ 3360268 w 9586368"/>
              <a:gd name="connsiteY8892" fmla="*/ 18054 h 6479439"/>
              <a:gd name="connsiteX8893" fmla="*/ 3350359 w 9586368"/>
              <a:gd name="connsiteY8893" fmla="*/ 18054 h 6479439"/>
              <a:gd name="connsiteX8894" fmla="*/ 3346340 w 9586368"/>
              <a:gd name="connsiteY8894" fmla="*/ 14015 h 6479439"/>
              <a:gd name="connsiteX8895" fmla="*/ 3346340 w 9586368"/>
              <a:gd name="connsiteY8895" fmla="*/ 4144 h 6479439"/>
              <a:gd name="connsiteX8896" fmla="*/ 4546929 w 9586368"/>
              <a:gd name="connsiteY8896" fmla="*/ 93 h 6479439"/>
              <a:gd name="connsiteX8897" fmla="*/ 4556840 w 9586368"/>
              <a:gd name="connsiteY8897" fmla="*/ 93 h 6479439"/>
              <a:gd name="connsiteX8898" fmla="*/ 4560859 w 9586368"/>
              <a:gd name="connsiteY8898" fmla="*/ 4132 h 6479439"/>
              <a:gd name="connsiteX8899" fmla="*/ 4560859 w 9586368"/>
              <a:gd name="connsiteY8899" fmla="*/ 14002 h 6479439"/>
              <a:gd name="connsiteX8900" fmla="*/ 4556840 w 9586368"/>
              <a:gd name="connsiteY8900" fmla="*/ 18041 h 6479439"/>
              <a:gd name="connsiteX8901" fmla="*/ 4546929 w 9586368"/>
              <a:gd name="connsiteY8901" fmla="*/ 18041 h 6479439"/>
              <a:gd name="connsiteX8902" fmla="*/ 4542910 w 9586368"/>
              <a:gd name="connsiteY8902" fmla="*/ 14002 h 6479439"/>
              <a:gd name="connsiteX8903" fmla="*/ 4542910 w 9586368"/>
              <a:gd name="connsiteY8903" fmla="*/ 4132 h 6479439"/>
              <a:gd name="connsiteX8904" fmla="*/ 4307612 w 9586368"/>
              <a:gd name="connsiteY8904" fmla="*/ 93 h 6479439"/>
              <a:gd name="connsiteX8905" fmla="*/ 4317523 w 9586368"/>
              <a:gd name="connsiteY8905" fmla="*/ 93 h 6479439"/>
              <a:gd name="connsiteX8906" fmla="*/ 4321543 w 9586368"/>
              <a:gd name="connsiteY8906" fmla="*/ 4132 h 6479439"/>
              <a:gd name="connsiteX8907" fmla="*/ 4321543 w 9586368"/>
              <a:gd name="connsiteY8907" fmla="*/ 14003 h 6479439"/>
              <a:gd name="connsiteX8908" fmla="*/ 4317523 w 9586368"/>
              <a:gd name="connsiteY8908" fmla="*/ 18042 h 6479439"/>
              <a:gd name="connsiteX8909" fmla="*/ 4307612 w 9586368"/>
              <a:gd name="connsiteY8909" fmla="*/ 18042 h 6479439"/>
              <a:gd name="connsiteX8910" fmla="*/ 4303595 w 9586368"/>
              <a:gd name="connsiteY8910" fmla="*/ 14003 h 6479439"/>
              <a:gd name="connsiteX8911" fmla="*/ 4303595 w 9586368"/>
              <a:gd name="connsiteY8911" fmla="*/ 4132 h 6479439"/>
              <a:gd name="connsiteX8912" fmla="*/ 4068297 w 9586368"/>
              <a:gd name="connsiteY8912" fmla="*/ 93 h 6479439"/>
              <a:gd name="connsiteX8913" fmla="*/ 4078210 w 9586368"/>
              <a:gd name="connsiteY8913" fmla="*/ 93 h 6479439"/>
              <a:gd name="connsiteX8914" fmla="*/ 4082229 w 9586368"/>
              <a:gd name="connsiteY8914" fmla="*/ 4132 h 6479439"/>
              <a:gd name="connsiteX8915" fmla="*/ 4082229 w 9586368"/>
              <a:gd name="connsiteY8915" fmla="*/ 14003 h 6479439"/>
              <a:gd name="connsiteX8916" fmla="*/ 4078210 w 9586368"/>
              <a:gd name="connsiteY8916" fmla="*/ 18042 h 6479439"/>
              <a:gd name="connsiteX8917" fmla="*/ 4068297 w 9586368"/>
              <a:gd name="connsiteY8917" fmla="*/ 18042 h 6479439"/>
              <a:gd name="connsiteX8918" fmla="*/ 4064278 w 9586368"/>
              <a:gd name="connsiteY8918" fmla="*/ 14003 h 6479439"/>
              <a:gd name="connsiteX8919" fmla="*/ 4064278 w 9586368"/>
              <a:gd name="connsiteY8919" fmla="*/ 4132 h 6479439"/>
              <a:gd name="connsiteX8920" fmla="*/ 3828990 w 9586368"/>
              <a:gd name="connsiteY8920" fmla="*/ 93 h 6479439"/>
              <a:gd name="connsiteX8921" fmla="*/ 3838899 w 9586368"/>
              <a:gd name="connsiteY8921" fmla="*/ 93 h 6479439"/>
              <a:gd name="connsiteX8922" fmla="*/ 3842917 w 9586368"/>
              <a:gd name="connsiteY8922" fmla="*/ 4132 h 6479439"/>
              <a:gd name="connsiteX8923" fmla="*/ 3842917 w 9586368"/>
              <a:gd name="connsiteY8923" fmla="*/ 14003 h 6479439"/>
              <a:gd name="connsiteX8924" fmla="*/ 3838899 w 9586368"/>
              <a:gd name="connsiteY8924" fmla="*/ 18042 h 6479439"/>
              <a:gd name="connsiteX8925" fmla="*/ 3828990 w 9586368"/>
              <a:gd name="connsiteY8925" fmla="*/ 18042 h 6479439"/>
              <a:gd name="connsiteX8926" fmla="*/ 3824971 w 9586368"/>
              <a:gd name="connsiteY8926" fmla="*/ 14003 h 6479439"/>
              <a:gd name="connsiteX8927" fmla="*/ 3824971 w 9586368"/>
              <a:gd name="connsiteY8927" fmla="*/ 4132 h 6479439"/>
              <a:gd name="connsiteX8928" fmla="*/ 3589676 w 9586368"/>
              <a:gd name="connsiteY8928" fmla="*/ 93 h 6479439"/>
              <a:gd name="connsiteX8929" fmla="*/ 3599585 w 9586368"/>
              <a:gd name="connsiteY8929" fmla="*/ 93 h 6479439"/>
              <a:gd name="connsiteX8930" fmla="*/ 3603604 w 9586368"/>
              <a:gd name="connsiteY8930" fmla="*/ 4132 h 6479439"/>
              <a:gd name="connsiteX8931" fmla="*/ 3603604 w 9586368"/>
              <a:gd name="connsiteY8931" fmla="*/ 14003 h 6479439"/>
              <a:gd name="connsiteX8932" fmla="*/ 3599585 w 9586368"/>
              <a:gd name="connsiteY8932" fmla="*/ 18042 h 6479439"/>
              <a:gd name="connsiteX8933" fmla="*/ 3589676 w 9586368"/>
              <a:gd name="connsiteY8933" fmla="*/ 18042 h 6479439"/>
              <a:gd name="connsiteX8934" fmla="*/ 3585657 w 9586368"/>
              <a:gd name="connsiteY8934" fmla="*/ 14003 h 6479439"/>
              <a:gd name="connsiteX8935" fmla="*/ 3585657 w 9586368"/>
              <a:gd name="connsiteY8935" fmla="*/ 4132 h 6479439"/>
              <a:gd name="connsiteX8936" fmla="*/ 4786241 w 9586368"/>
              <a:gd name="connsiteY8936" fmla="*/ 81 h 6479439"/>
              <a:gd name="connsiteX8937" fmla="*/ 4796152 w 9586368"/>
              <a:gd name="connsiteY8937" fmla="*/ 81 h 6479439"/>
              <a:gd name="connsiteX8938" fmla="*/ 4800171 w 9586368"/>
              <a:gd name="connsiteY8938" fmla="*/ 4119 h 6479439"/>
              <a:gd name="connsiteX8939" fmla="*/ 4800171 w 9586368"/>
              <a:gd name="connsiteY8939" fmla="*/ 13990 h 6479439"/>
              <a:gd name="connsiteX8940" fmla="*/ 4796152 w 9586368"/>
              <a:gd name="connsiteY8940" fmla="*/ 18029 h 6479439"/>
              <a:gd name="connsiteX8941" fmla="*/ 4786241 w 9586368"/>
              <a:gd name="connsiteY8941" fmla="*/ 18029 h 6479439"/>
              <a:gd name="connsiteX8942" fmla="*/ 4782224 w 9586368"/>
              <a:gd name="connsiteY8942" fmla="*/ 13990 h 6479439"/>
              <a:gd name="connsiteX8943" fmla="*/ 4782224 w 9586368"/>
              <a:gd name="connsiteY8943" fmla="*/ 4119 h 6479439"/>
              <a:gd name="connsiteX8944" fmla="*/ 5743412 w 9586368"/>
              <a:gd name="connsiteY8944" fmla="*/ 80 h 6479439"/>
              <a:gd name="connsiteX8945" fmla="*/ 5753323 w 9586368"/>
              <a:gd name="connsiteY8945" fmla="*/ 80 h 6479439"/>
              <a:gd name="connsiteX8946" fmla="*/ 5757342 w 9586368"/>
              <a:gd name="connsiteY8946" fmla="*/ 4119 h 6479439"/>
              <a:gd name="connsiteX8947" fmla="*/ 5757342 w 9586368"/>
              <a:gd name="connsiteY8947" fmla="*/ 13990 h 6479439"/>
              <a:gd name="connsiteX8948" fmla="*/ 5753323 w 9586368"/>
              <a:gd name="connsiteY8948" fmla="*/ 18029 h 6479439"/>
              <a:gd name="connsiteX8949" fmla="*/ 5743412 w 9586368"/>
              <a:gd name="connsiteY8949" fmla="*/ 18029 h 6479439"/>
              <a:gd name="connsiteX8950" fmla="*/ 5739393 w 9586368"/>
              <a:gd name="connsiteY8950" fmla="*/ 13990 h 6479439"/>
              <a:gd name="connsiteX8951" fmla="*/ 5739393 w 9586368"/>
              <a:gd name="connsiteY8951" fmla="*/ 4119 h 6479439"/>
              <a:gd name="connsiteX8952" fmla="*/ 5504099 w 9586368"/>
              <a:gd name="connsiteY8952" fmla="*/ 80 h 6479439"/>
              <a:gd name="connsiteX8953" fmla="*/ 5514010 w 9586368"/>
              <a:gd name="connsiteY8953" fmla="*/ 80 h 6479439"/>
              <a:gd name="connsiteX8954" fmla="*/ 5518029 w 9586368"/>
              <a:gd name="connsiteY8954" fmla="*/ 4119 h 6479439"/>
              <a:gd name="connsiteX8955" fmla="*/ 5518029 w 9586368"/>
              <a:gd name="connsiteY8955" fmla="*/ 13990 h 6479439"/>
              <a:gd name="connsiteX8956" fmla="*/ 5514010 w 9586368"/>
              <a:gd name="connsiteY8956" fmla="*/ 18029 h 6479439"/>
              <a:gd name="connsiteX8957" fmla="*/ 5504099 w 9586368"/>
              <a:gd name="connsiteY8957" fmla="*/ 18029 h 6479439"/>
              <a:gd name="connsiteX8958" fmla="*/ 5500080 w 9586368"/>
              <a:gd name="connsiteY8958" fmla="*/ 13990 h 6479439"/>
              <a:gd name="connsiteX8959" fmla="*/ 5500080 w 9586368"/>
              <a:gd name="connsiteY8959" fmla="*/ 4119 h 6479439"/>
              <a:gd name="connsiteX8960" fmla="*/ 5264784 w 9586368"/>
              <a:gd name="connsiteY8960" fmla="*/ 80 h 6479439"/>
              <a:gd name="connsiteX8961" fmla="*/ 5274694 w 9586368"/>
              <a:gd name="connsiteY8961" fmla="*/ 80 h 6479439"/>
              <a:gd name="connsiteX8962" fmla="*/ 5278713 w 9586368"/>
              <a:gd name="connsiteY8962" fmla="*/ 4119 h 6479439"/>
              <a:gd name="connsiteX8963" fmla="*/ 5278713 w 9586368"/>
              <a:gd name="connsiteY8963" fmla="*/ 13990 h 6479439"/>
              <a:gd name="connsiteX8964" fmla="*/ 5274694 w 9586368"/>
              <a:gd name="connsiteY8964" fmla="*/ 18029 h 6479439"/>
              <a:gd name="connsiteX8965" fmla="*/ 5264784 w 9586368"/>
              <a:gd name="connsiteY8965" fmla="*/ 18029 h 6479439"/>
              <a:gd name="connsiteX8966" fmla="*/ 5260765 w 9586368"/>
              <a:gd name="connsiteY8966" fmla="*/ 13990 h 6479439"/>
              <a:gd name="connsiteX8967" fmla="*/ 5260765 w 9586368"/>
              <a:gd name="connsiteY8967" fmla="*/ 4119 h 6479439"/>
              <a:gd name="connsiteX8968" fmla="*/ 5025470 w 9586368"/>
              <a:gd name="connsiteY8968" fmla="*/ 80 h 6479439"/>
              <a:gd name="connsiteX8969" fmla="*/ 5035381 w 9586368"/>
              <a:gd name="connsiteY8969" fmla="*/ 80 h 6479439"/>
              <a:gd name="connsiteX8970" fmla="*/ 5039400 w 9586368"/>
              <a:gd name="connsiteY8970" fmla="*/ 4119 h 6479439"/>
              <a:gd name="connsiteX8971" fmla="*/ 5039400 w 9586368"/>
              <a:gd name="connsiteY8971" fmla="*/ 13990 h 6479439"/>
              <a:gd name="connsiteX8972" fmla="*/ 5035381 w 9586368"/>
              <a:gd name="connsiteY8972" fmla="*/ 18029 h 6479439"/>
              <a:gd name="connsiteX8973" fmla="*/ 5025470 w 9586368"/>
              <a:gd name="connsiteY8973" fmla="*/ 18029 h 6479439"/>
              <a:gd name="connsiteX8974" fmla="*/ 5021451 w 9586368"/>
              <a:gd name="connsiteY8974" fmla="*/ 13990 h 6479439"/>
              <a:gd name="connsiteX8975" fmla="*/ 5021451 w 9586368"/>
              <a:gd name="connsiteY8975" fmla="*/ 4119 h 6479439"/>
              <a:gd name="connsiteX8976" fmla="*/ 6461356 w 9586368"/>
              <a:gd name="connsiteY8976" fmla="*/ 68 h 6479439"/>
              <a:gd name="connsiteX8977" fmla="*/ 6471266 w 9586368"/>
              <a:gd name="connsiteY8977" fmla="*/ 68 h 6479439"/>
              <a:gd name="connsiteX8978" fmla="*/ 6475285 w 9586368"/>
              <a:gd name="connsiteY8978" fmla="*/ 4106 h 6479439"/>
              <a:gd name="connsiteX8979" fmla="*/ 6475285 w 9586368"/>
              <a:gd name="connsiteY8979" fmla="*/ 13976 h 6479439"/>
              <a:gd name="connsiteX8980" fmla="*/ 6471266 w 9586368"/>
              <a:gd name="connsiteY8980" fmla="*/ 18015 h 6479439"/>
              <a:gd name="connsiteX8981" fmla="*/ 6461356 w 9586368"/>
              <a:gd name="connsiteY8981" fmla="*/ 18015 h 6479439"/>
              <a:gd name="connsiteX8982" fmla="*/ 6457337 w 9586368"/>
              <a:gd name="connsiteY8982" fmla="*/ 13976 h 6479439"/>
              <a:gd name="connsiteX8983" fmla="*/ 6457337 w 9586368"/>
              <a:gd name="connsiteY8983" fmla="*/ 4106 h 6479439"/>
              <a:gd name="connsiteX8984" fmla="*/ 6222042 w 9586368"/>
              <a:gd name="connsiteY8984" fmla="*/ 68 h 6479439"/>
              <a:gd name="connsiteX8985" fmla="*/ 6231952 w 9586368"/>
              <a:gd name="connsiteY8985" fmla="*/ 68 h 6479439"/>
              <a:gd name="connsiteX8986" fmla="*/ 6235971 w 9586368"/>
              <a:gd name="connsiteY8986" fmla="*/ 4106 h 6479439"/>
              <a:gd name="connsiteX8987" fmla="*/ 6235971 w 9586368"/>
              <a:gd name="connsiteY8987" fmla="*/ 13977 h 6479439"/>
              <a:gd name="connsiteX8988" fmla="*/ 6231952 w 9586368"/>
              <a:gd name="connsiteY8988" fmla="*/ 18016 h 6479439"/>
              <a:gd name="connsiteX8989" fmla="*/ 6222042 w 9586368"/>
              <a:gd name="connsiteY8989" fmla="*/ 18016 h 6479439"/>
              <a:gd name="connsiteX8990" fmla="*/ 6218023 w 9586368"/>
              <a:gd name="connsiteY8990" fmla="*/ 13977 h 6479439"/>
              <a:gd name="connsiteX8991" fmla="*/ 6218023 w 9586368"/>
              <a:gd name="connsiteY8991" fmla="*/ 4106 h 6479439"/>
              <a:gd name="connsiteX8992" fmla="*/ 5982729 w 9586368"/>
              <a:gd name="connsiteY8992" fmla="*/ 68 h 6479439"/>
              <a:gd name="connsiteX8993" fmla="*/ 5992639 w 9586368"/>
              <a:gd name="connsiteY8993" fmla="*/ 68 h 6479439"/>
              <a:gd name="connsiteX8994" fmla="*/ 5996658 w 9586368"/>
              <a:gd name="connsiteY8994" fmla="*/ 4106 h 6479439"/>
              <a:gd name="connsiteX8995" fmla="*/ 5996658 w 9586368"/>
              <a:gd name="connsiteY8995" fmla="*/ 13977 h 6479439"/>
              <a:gd name="connsiteX8996" fmla="*/ 5992639 w 9586368"/>
              <a:gd name="connsiteY8996" fmla="*/ 18016 h 6479439"/>
              <a:gd name="connsiteX8997" fmla="*/ 5982729 w 9586368"/>
              <a:gd name="connsiteY8997" fmla="*/ 18016 h 6479439"/>
              <a:gd name="connsiteX8998" fmla="*/ 5978710 w 9586368"/>
              <a:gd name="connsiteY8998" fmla="*/ 13977 h 6479439"/>
              <a:gd name="connsiteX8999" fmla="*/ 5978710 w 9586368"/>
              <a:gd name="connsiteY8999" fmla="*/ 4106 h 6479439"/>
              <a:gd name="connsiteX9000" fmla="*/ 6939983 w 9586368"/>
              <a:gd name="connsiteY9000" fmla="*/ 67 h 6479439"/>
              <a:gd name="connsiteX9001" fmla="*/ 6949894 w 9586368"/>
              <a:gd name="connsiteY9001" fmla="*/ 67 h 6479439"/>
              <a:gd name="connsiteX9002" fmla="*/ 6953913 w 9586368"/>
              <a:gd name="connsiteY9002" fmla="*/ 4105 h 6479439"/>
              <a:gd name="connsiteX9003" fmla="*/ 6953913 w 9586368"/>
              <a:gd name="connsiteY9003" fmla="*/ 13976 h 6479439"/>
              <a:gd name="connsiteX9004" fmla="*/ 6949894 w 9586368"/>
              <a:gd name="connsiteY9004" fmla="*/ 18015 h 6479439"/>
              <a:gd name="connsiteX9005" fmla="*/ 6939983 w 9586368"/>
              <a:gd name="connsiteY9005" fmla="*/ 18015 h 6479439"/>
              <a:gd name="connsiteX9006" fmla="*/ 6935964 w 9586368"/>
              <a:gd name="connsiteY9006" fmla="*/ 13976 h 6479439"/>
              <a:gd name="connsiteX9007" fmla="*/ 6935964 w 9586368"/>
              <a:gd name="connsiteY9007" fmla="*/ 4105 h 6479439"/>
              <a:gd name="connsiteX9008" fmla="*/ 6700670 w 9586368"/>
              <a:gd name="connsiteY9008" fmla="*/ 67 h 6479439"/>
              <a:gd name="connsiteX9009" fmla="*/ 6710581 w 9586368"/>
              <a:gd name="connsiteY9009" fmla="*/ 67 h 6479439"/>
              <a:gd name="connsiteX9010" fmla="*/ 6714600 w 9586368"/>
              <a:gd name="connsiteY9010" fmla="*/ 4105 h 6479439"/>
              <a:gd name="connsiteX9011" fmla="*/ 6714600 w 9586368"/>
              <a:gd name="connsiteY9011" fmla="*/ 13976 h 6479439"/>
              <a:gd name="connsiteX9012" fmla="*/ 6710581 w 9586368"/>
              <a:gd name="connsiteY9012" fmla="*/ 18015 h 6479439"/>
              <a:gd name="connsiteX9013" fmla="*/ 6700670 w 9586368"/>
              <a:gd name="connsiteY9013" fmla="*/ 18015 h 6479439"/>
              <a:gd name="connsiteX9014" fmla="*/ 6696651 w 9586368"/>
              <a:gd name="connsiteY9014" fmla="*/ 13976 h 6479439"/>
              <a:gd name="connsiteX9015" fmla="*/ 6696651 w 9586368"/>
              <a:gd name="connsiteY9015" fmla="*/ 4105 h 6479439"/>
              <a:gd name="connsiteX9016" fmla="*/ 8136553 w 9586368"/>
              <a:gd name="connsiteY9016" fmla="*/ 54 h 6479439"/>
              <a:gd name="connsiteX9017" fmla="*/ 8146464 w 9586368"/>
              <a:gd name="connsiteY9017" fmla="*/ 54 h 6479439"/>
              <a:gd name="connsiteX9018" fmla="*/ 8150483 w 9586368"/>
              <a:gd name="connsiteY9018" fmla="*/ 4093 h 6479439"/>
              <a:gd name="connsiteX9019" fmla="*/ 8150483 w 9586368"/>
              <a:gd name="connsiteY9019" fmla="*/ 13963 h 6479439"/>
              <a:gd name="connsiteX9020" fmla="*/ 8146464 w 9586368"/>
              <a:gd name="connsiteY9020" fmla="*/ 18002 h 6479439"/>
              <a:gd name="connsiteX9021" fmla="*/ 8136553 w 9586368"/>
              <a:gd name="connsiteY9021" fmla="*/ 18002 h 6479439"/>
              <a:gd name="connsiteX9022" fmla="*/ 8132534 w 9586368"/>
              <a:gd name="connsiteY9022" fmla="*/ 13963 h 6479439"/>
              <a:gd name="connsiteX9023" fmla="*/ 8132534 w 9586368"/>
              <a:gd name="connsiteY9023" fmla="*/ 4093 h 6479439"/>
              <a:gd name="connsiteX9024" fmla="*/ 7897241 w 9586368"/>
              <a:gd name="connsiteY9024" fmla="*/ 54 h 6479439"/>
              <a:gd name="connsiteX9025" fmla="*/ 7907151 w 9586368"/>
              <a:gd name="connsiteY9025" fmla="*/ 54 h 6479439"/>
              <a:gd name="connsiteX9026" fmla="*/ 7911170 w 9586368"/>
              <a:gd name="connsiteY9026" fmla="*/ 4093 h 6479439"/>
              <a:gd name="connsiteX9027" fmla="*/ 7911170 w 9586368"/>
              <a:gd name="connsiteY9027" fmla="*/ 13964 h 6479439"/>
              <a:gd name="connsiteX9028" fmla="*/ 7907151 w 9586368"/>
              <a:gd name="connsiteY9028" fmla="*/ 18003 h 6479439"/>
              <a:gd name="connsiteX9029" fmla="*/ 7897241 w 9586368"/>
              <a:gd name="connsiteY9029" fmla="*/ 18003 h 6479439"/>
              <a:gd name="connsiteX9030" fmla="*/ 7893222 w 9586368"/>
              <a:gd name="connsiteY9030" fmla="*/ 13964 h 6479439"/>
              <a:gd name="connsiteX9031" fmla="*/ 7893222 w 9586368"/>
              <a:gd name="connsiteY9031" fmla="*/ 4093 h 6479439"/>
              <a:gd name="connsiteX9032" fmla="*/ 7657926 w 9586368"/>
              <a:gd name="connsiteY9032" fmla="*/ 54 h 6479439"/>
              <a:gd name="connsiteX9033" fmla="*/ 7667836 w 9586368"/>
              <a:gd name="connsiteY9033" fmla="*/ 54 h 6479439"/>
              <a:gd name="connsiteX9034" fmla="*/ 7671855 w 9586368"/>
              <a:gd name="connsiteY9034" fmla="*/ 4093 h 6479439"/>
              <a:gd name="connsiteX9035" fmla="*/ 7671855 w 9586368"/>
              <a:gd name="connsiteY9035" fmla="*/ 13964 h 6479439"/>
              <a:gd name="connsiteX9036" fmla="*/ 7667836 w 9586368"/>
              <a:gd name="connsiteY9036" fmla="*/ 18003 h 6479439"/>
              <a:gd name="connsiteX9037" fmla="*/ 7657926 w 9586368"/>
              <a:gd name="connsiteY9037" fmla="*/ 18003 h 6479439"/>
              <a:gd name="connsiteX9038" fmla="*/ 7653906 w 9586368"/>
              <a:gd name="connsiteY9038" fmla="*/ 13964 h 6479439"/>
              <a:gd name="connsiteX9039" fmla="*/ 7653906 w 9586368"/>
              <a:gd name="connsiteY9039" fmla="*/ 4093 h 6479439"/>
              <a:gd name="connsiteX9040" fmla="*/ 7418611 w 9586368"/>
              <a:gd name="connsiteY9040" fmla="*/ 54 h 6479439"/>
              <a:gd name="connsiteX9041" fmla="*/ 7428521 w 9586368"/>
              <a:gd name="connsiteY9041" fmla="*/ 54 h 6479439"/>
              <a:gd name="connsiteX9042" fmla="*/ 7432540 w 9586368"/>
              <a:gd name="connsiteY9042" fmla="*/ 4093 h 6479439"/>
              <a:gd name="connsiteX9043" fmla="*/ 7432540 w 9586368"/>
              <a:gd name="connsiteY9043" fmla="*/ 13964 h 6479439"/>
              <a:gd name="connsiteX9044" fmla="*/ 7428521 w 9586368"/>
              <a:gd name="connsiteY9044" fmla="*/ 18003 h 6479439"/>
              <a:gd name="connsiteX9045" fmla="*/ 7418611 w 9586368"/>
              <a:gd name="connsiteY9045" fmla="*/ 18003 h 6479439"/>
              <a:gd name="connsiteX9046" fmla="*/ 7414592 w 9586368"/>
              <a:gd name="connsiteY9046" fmla="*/ 13964 h 6479439"/>
              <a:gd name="connsiteX9047" fmla="*/ 7414592 w 9586368"/>
              <a:gd name="connsiteY9047" fmla="*/ 4093 h 6479439"/>
              <a:gd name="connsiteX9048" fmla="*/ 7179298 w 9586368"/>
              <a:gd name="connsiteY9048" fmla="*/ 54 h 6479439"/>
              <a:gd name="connsiteX9049" fmla="*/ 7189209 w 9586368"/>
              <a:gd name="connsiteY9049" fmla="*/ 54 h 6479439"/>
              <a:gd name="connsiteX9050" fmla="*/ 7193228 w 9586368"/>
              <a:gd name="connsiteY9050" fmla="*/ 4093 h 6479439"/>
              <a:gd name="connsiteX9051" fmla="*/ 7193228 w 9586368"/>
              <a:gd name="connsiteY9051" fmla="*/ 13964 h 6479439"/>
              <a:gd name="connsiteX9052" fmla="*/ 7189209 w 9586368"/>
              <a:gd name="connsiteY9052" fmla="*/ 18003 h 6479439"/>
              <a:gd name="connsiteX9053" fmla="*/ 7179298 w 9586368"/>
              <a:gd name="connsiteY9053" fmla="*/ 18003 h 6479439"/>
              <a:gd name="connsiteX9054" fmla="*/ 7175279 w 9586368"/>
              <a:gd name="connsiteY9054" fmla="*/ 13964 h 6479439"/>
              <a:gd name="connsiteX9055" fmla="*/ 7175279 w 9586368"/>
              <a:gd name="connsiteY9055" fmla="*/ 4093 h 6479439"/>
              <a:gd name="connsiteX9056" fmla="*/ 8375869 w 9586368"/>
              <a:gd name="connsiteY9056" fmla="*/ 42 h 6479439"/>
              <a:gd name="connsiteX9057" fmla="*/ 8385779 w 9586368"/>
              <a:gd name="connsiteY9057" fmla="*/ 42 h 6479439"/>
              <a:gd name="connsiteX9058" fmla="*/ 8389799 w 9586368"/>
              <a:gd name="connsiteY9058" fmla="*/ 4080 h 6479439"/>
              <a:gd name="connsiteX9059" fmla="*/ 8389799 w 9586368"/>
              <a:gd name="connsiteY9059" fmla="*/ 13951 h 6479439"/>
              <a:gd name="connsiteX9060" fmla="*/ 8385779 w 9586368"/>
              <a:gd name="connsiteY9060" fmla="*/ 17990 h 6479439"/>
              <a:gd name="connsiteX9061" fmla="*/ 8375869 w 9586368"/>
              <a:gd name="connsiteY9061" fmla="*/ 17990 h 6479439"/>
              <a:gd name="connsiteX9062" fmla="*/ 8371850 w 9586368"/>
              <a:gd name="connsiteY9062" fmla="*/ 13951 h 6479439"/>
              <a:gd name="connsiteX9063" fmla="*/ 8371850 w 9586368"/>
              <a:gd name="connsiteY9063" fmla="*/ 4080 h 6479439"/>
              <a:gd name="connsiteX9064" fmla="*/ 9333125 w 9586368"/>
              <a:gd name="connsiteY9064" fmla="*/ 41 h 6479439"/>
              <a:gd name="connsiteX9065" fmla="*/ 9343036 w 9586368"/>
              <a:gd name="connsiteY9065" fmla="*/ 41 h 6479439"/>
              <a:gd name="connsiteX9066" fmla="*/ 9347055 w 9586368"/>
              <a:gd name="connsiteY9066" fmla="*/ 4080 h 6479439"/>
              <a:gd name="connsiteX9067" fmla="*/ 9347055 w 9586368"/>
              <a:gd name="connsiteY9067" fmla="*/ 13951 h 6479439"/>
              <a:gd name="connsiteX9068" fmla="*/ 9343036 w 9586368"/>
              <a:gd name="connsiteY9068" fmla="*/ 17990 h 6479439"/>
              <a:gd name="connsiteX9069" fmla="*/ 9333125 w 9586368"/>
              <a:gd name="connsiteY9069" fmla="*/ 17990 h 6479439"/>
              <a:gd name="connsiteX9070" fmla="*/ 9329106 w 9586368"/>
              <a:gd name="connsiteY9070" fmla="*/ 13951 h 6479439"/>
              <a:gd name="connsiteX9071" fmla="*/ 9329106 w 9586368"/>
              <a:gd name="connsiteY9071" fmla="*/ 4080 h 6479439"/>
              <a:gd name="connsiteX9072" fmla="*/ 9093811 w 9586368"/>
              <a:gd name="connsiteY9072" fmla="*/ 41 h 6479439"/>
              <a:gd name="connsiteX9073" fmla="*/ 9103722 w 9586368"/>
              <a:gd name="connsiteY9073" fmla="*/ 41 h 6479439"/>
              <a:gd name="connsiteX9074" fmla="*/ 9107741 w 9586368"/>
              <a:gd name="connsiteY9074" fmla="*/ 4080 h 6479439"/>
              <a:gd name="connsiteX9075" fmla="*/ 9107741 w 9586368"/>
              <a:gd name="connsiteY9075" fmla="*/ 13951 h 6479439"/>
              <a:gd name="connsiteX9076" fmla="*/ 9103722 w 9586368"/>
              <a:gd name="connsiteY9076" fmla="*/ 17990 h 6479439"/>
              <a:gd name="connsiteX9077" fmla="*/ 9093811 w 9586368"/>
              <a:gd name="connsiteY9077" fmla="*/ 17990 h 6479439"/>
              <a:gd name="connsiteX9078" fmla="*/ 9089792 w 9586368"/>
              <a:gd name="connsiteY9078" fmla="*/ 13951 h 6479439"/>
              <a:gd name="connsiteX9079" fmla="*/ 9089792 w 9586368"/>
              <a:gd name="connsiteY9079" fmla="*/ 4080 h 6479439"/>
              <a:gd name="connsiteX9080" fmla="*/ 8854496 w 9586368"/>
              <a:gd name="connsiteY9080" fmla="*/ 41 h 6479439"/>
              <a:gd name="connsiteX9081" fmla="*/ 8864407 w 9586368"/>
              <a:gd name="connsiteY9081" fmla="*/ 41 h 6479439"/>
              <a:gd name="connsiteX9082" fmla="*/ 8868426 w 9586368"/>
              <a:gd name="connsiteY9082" fmla="*/ 4080 h 6479439"/>
              <a:gd name="connsiteX9083" fmla="*/ 8868426 w 9586368"/>
              <a:gd name="connsiteY9083" fmla="*/ 13951 h 6479439"/>
              <a:gd name="connsiteX9084" fmla="*/ 8864407 w 9586368"/>
              <a:gd name="connsiteY9084" fmla="*/ 17990 h 6479439"/>
              <a:gd name="connsiteX9085" fmla="*/ 8854496 w 9586368"/>
              <a:gd name="connsiteY9085" fmla="*/ 17990 h 6479439"/>
              <a:gd name="connsiteX9086" fmla="*/ 8850477 w 9586368"/>
              <a:gd name="connsiteY9086" fmla="*/ 13951 h 6479439"/>
              <a:gd name="connsiteX9087" fmla="*/ 8850477 w 9586368"/>
              <a:gd name="connsiteY9087" fmla="*/ 4080 h 6479439"/>
              <a:gd name="connsiteX9088" fmla="*/ 8615184 w 9586368"/>
              <a:gd name="connsiteY9088" fmla="*/ 41 h 6479439"/>
              <a:gd name="connsiteX9089" fmla="*/ 8625095 w 9586368"/>
              <a:gd name="connsiteY9089" fmla="*/ 41 h 6479439"/>
              <a:gd name="connsiteX9090" fmla="*/ 8629114 w 9586368"/>
              <a:gd name="connsiteY9090" fmla="*/ 4080 h 6479439"/>
              <a:gd name="connsiteX9091" fmla="*/ 8629114 w 9586368"/>
              <a:gd name="connsiteY9091" fmla="*/ 13951 h 6479439"/>
              <a:gd name="connsiteX9092" fmla="*/ 8625095 w 9586368"/>
              <a:gd name="connsiteY9092" fmla="*/ 17990 h 6479439"/>
              <a:gd name="connsiteX9093" fmla="*/ 8615184 w 9586368"/>
              <a:gd name="connsiteY9093" fmla="*/ 17990 h 6479439"/>
              <a:gd name="connsiteX9094" fmla="*/ 8611165 w 9586368"/>
              <a:gd name="connsiteY9094" fmla="*/ 13951 h 6479439"/>
              <a:gd name="connsiteX9095" fmla="*/ 8611165 w 9586368"/>
              <a:gd name="connsiteY9095" fmla="*/ 4080 h 6479439"/>
              <a:gd name="connsiteX9096" fmla="*/ 961275 w 9586368"/>
              <a:gd name="connsiteY9096" fmla="*/ 41 h 6479439"/>
              <a:gd name="connsiteX9097" fmla="*/ 971184 w 9586368"/>
              <a:gd name="connsiteY9097" fmla="*/ 41 h 6479439"/>
              <a:gd name="connsiteX9098" fmla="*/ 975204 w 9586368"/>
              <a:gd name="connsiteY9098" fmla="*/ 4080 h 6479439"/>
              <a:gd name="connsiteX9099" fmla="*/ 975204 w 9586368"/>
              <a:gd name="connsiteY9099" fmla="*/ 13951 h 6479439"/>
              <a:gd name="connsiteX9100" fmla="*/ 971184 w 9586368"/>
              <a:gd name="connsiteY9100" fmla="*/ 17990 h 6479439"/>
              <a:gd name="connsiteX9101" fmla="*/ 961275 w 9586368"/>
              <a:gd name="connsiteY9101" fmla="*/ 17990 h 6479439"/>
              <a:gd name="connsiteX9102" fmla="*/ 957256 w 9586368"/>
              <a:gd name="connsiteY9102" fmla="*/ 13951 h 6479439"/>
              <a:gd name="connsiteX9103" fmla="*/ 957256 w 9586368"/>
              <a:gd name="connsiteY9103" fmla="*/ 4080 h 6479439"/>
              <a:gd name="connsiteX9104" fmla="*/ 1679221 w 9586368"/>
              <a:gd name="connsiteY9104" fmla="*/ 41 h 6479439"/>
              <a:gd name="connsiteX9105" fmla="*/ 1689131 w 9586368"/>
              <a:gd name="connsiteY9105" fmla="*/ 41 h 6479439"/>
              <a:gd name="connsiteX9106" fmla="*/ 1693151 w 9586368"/>
              <a:gd name="connsiteY9106" fmla="*/ 4079 h 6479439"/>
              <a:gd name="connsiteX9107" fmla="*/ 1693151 w 9586368"/>
              <a:gd name="connsiteY9107" fmla="*/ 13950 h 6479439"/>
              <a:gd name="connsiteX9108" fmla="*/ 1689131 w 9586368"/>
              <a:gd name="connsiteY9108" fmla="*/ 17989 h 6479439"/>
              <a:gd name="connsiteX9109" fmla="*/ 1679221 w 9586368"/>
              <a:gd name="connsiteY9109" fmla="*/ 17989 h 6479439"/>
              <a:gd name="connsiteX9110" fmla="*/ 1675203 w 9586368"/>
              <a:gd name="connsiteY9110" fmla="*/ 13950 h 6479439"/>
              <a:gd name="connsiteX9111" fmla="*/ 1675203 w 9586368"/>
              <a:gd name="connsiteY9111" fmla="*/ 4079 h 6479439"/>
              <a:gd name="connsiteX9112" fmla="*/ 1439904 w 9586368"/>
              <a:gd name="connsiteY9112" fmla="*/ 41 h 6479439"/>
              <a:gd name="connsiteX9113" fmla="*/ 1449813 w 9586368"/>
              <a:gd name="connsiteY9113" fmla="*/ 41 h 6479439"/>
              <a:gd name="connsiteX9114" fmla="*/ 1453833 w 9586368"/>
              <a:gd name="connsiteY9114" fmla="*/ 4079 h 6479439"/>
              <a:gd name="connsiteX9115" fmla="*/ 1453833 w 9586368"/>
              <a:gd name="connsiteY9115" fmla="*/ 13950 h 6479439"/>
              <a:gd name="connsiteX9116" fmla="*/ 1449813 w 9586368"/>
              <a:gd name="connsiteY9116" fmla="*/ 17989 h 6479439"/>
              <a:gd name="connsiteX9117" fmla="*/ 1439904 w 9586368"/>
              <a:gd name="connsiteY9117" fmla="*/ 17989 h 6479439"/>
              <a:gd name="connsiteX9118" fmla="*/ 1435885 w 9586368"/>
              <a:gd name="connsiteY9118" fmla="*/ 13950 h 6479439"/>
              <a:gd name="connsiteX9119" fmla="*/ 1435885 w 9586368"/>
              <a:gd name="connsiteY9119" fmla="*/ 4079 h 6479439"/>
              <a:gd name="connsiteX9120" fmla="*/ 1200587 w 9586368"/>
              <a:gd name="connsiteY9120" fmla="*/ 41 h 6479439"/>
              <a:gd name="connsiteX9121" fmla="*/ 1210497 w 9586368"/>
              <a:gd name="connsiteY9121" fmla="*/ 41 h 6479439"/>
              <a:gd name="connsiteX9122" fmla="*/ 1214516 w 9586368"/>
              <a:gd name="connsiteY9122" fmla="*/ 4080 h 6479439"/>
              <a:gd name="connsiteX9123" fmla="*/ 1214516 w 9586368"/>
              <a:gd name="connsiteY9123" fmla="*/ 13951 h 6479439"/>
              <a:gd name="connsiteX9124" fmla="*/ 1210497 w 9586368"/>
              <a:gd name="connsiteY9124" fmla="*/ 17989 h 6479439"/>
              <a:gd name="connsiteX9125" fmla="*/ 1200587 w 9586368"/>
              <a:gd name="connsiteY9125" fmla="*/ 17989 h 6479439"/>
              <a:gd name="connsiteX9126" fmla="*/ 1196568 w 9586368"/>
              <a:gd name="connsiteY9126" fmla="*/ 13951 h 6479439"/>
              <a:gd name="connsiteX9127" fmla="*/ 1196568 w 9586368"/>
              <a:gd name="connsiteY9127" fmla="*/ 4080 h 6479439"/>
              <a:gd name="connsiteX9128" fmla="*/ 1918515 w 9586368"/>
              <a:gd name="connsiteY9128" fmla="*/ 31 h 6479439"/>
              <a:gd name="connsiteX9129" fmla="*/ 1928425 w 9586368"/>
              <a:gd name="connsiteY9129" fmla="*/ 31 h 6479439"/>
              <a:gd name="connsiteX9130" fmla="*/ 1932444 w 9586368"/>
              <a:gd name="connsiteY9130" fmla="*/ 4069 h 6479439"/>
              <a:gd name="connsiteX9131" fmla="*/ 1932444 w 9586368"/>
              <a:gd name="connsiteY9131" fmla="*/ 13940 h 6479439"/>
              <a:gd name="connsiteX9132" fmla="*/ 1928425 w 9586368"/>
              <a:gd name="connsiteY9132" fmla="*/ 17979 h 6479439"/>
              <a:gd name="connsiteX9133" fmla="*/ 1918515 w 9586368"/>
              <a:gd name="connsiteY9133" fmla="*/ 17979 h 6479439"/>
              <a:gd name="connsiteX9134" fmla="*/ 1914497 w 9586368"/>
              <a:gd name="connsiteY9134" fmla="*/ 13940 h 6479439"/>
              <a:gd name="connsiteX9135" fmla="*/ 1914497 w 9586368"/>
              <a:gd name="connsiteY9135" fmla="*/ 4069 h 6479439"/>
              <a:gd name="connsiteX9136" fmla="*/ 9572438 w 9586368"/>
              <a:gd name="connsiteY9136" fmla="*/ 29 h 6479439"/>
              <a:gd name="connsiteX9137" fmla="*/ 9582349 w 9586368"/>
              <a:gd name="connsiteY9137" fmla="*/ 29 h 6479439"/>
              <a:gd name="connsiteX9138" fmla="*/ 9586368 w 9586368"/>
              <a:gd name="connsiteY9138" fmla="*/ 4067 h 6479439"/>
              <a:gd name="connsiteX9139" fmla="*/ 9586368 w 9586368"/>
              <a:gd name="connsiteY9139" fmla="*/ 13938 h 6479439"/>
              <a:gd name="connsiteX9140" fmla="*/ 9582349 w 9586368"/>
              <a:gd name="connsiteY9140" fmla="*/ 17977 h 6479439"/>
              <a:gd name="connsiteX9141" fmla="*/ 9572438 w 9586368"/>
              <a:gd name="connsiteY9141" fmla="*/ 17977 h 6479439"/>
              <a:gd name="connsiteX9142" fmla="*/ 9568419 w 9586368"/>
              <a:gd name="connsiteY9142" fmla="*/ 13938 h 6479439"/>
              <a:gd name="connsiteX9143" fmla="*/ 9568419 w 9586368"/>
              <a:gd name="connsiteY9143" fmla="*/ 4067 h 6479439"/>
              <a:gd name="connsiteX9144" fmla="*/ 2157824 w 9586368"/>
              <a:gd name="connsiteY9144" fmla="*/ 28 h 6479439"/>
              <a:gd name="connsiteX9145" fmla="*/ 2167734 w 9586368"/>
              <a:gd name="connsiteY9145" fmla="*/ 28 h 6479439"/>
              <a:gd name="connsiteX9146" fmla="*/ 2171753 w 9586368"/>
              <a:gd name="connsiteY9146" fmla="*/ 4067 h 6479439"/>
              <a:gd name="connsiteX9147" fmla="*/ 2171753 w 9586368"/>
              <a:gd name="connsiteY9147" fmla="*/ 13938 h 6479439"/>
              <a:gd name="connsiteX9148" fmla="*/ 2167734 w 9586368"/>
              <a:gd name="connsiteY9148" fmla="*/ 17977 h 6479439"/>
              <a:gd name="connsiteX9149" fmla="*/ 2157824 w 9586368"/>
              <a:gd name="connsiteY9149" fmla="*/ 17977 h 6479439"/>
              <a:gd name="connsiteX9150" fmla="*/ 2153804 w 9586368"/>
              <a:gd name="connsiteY9150" fmla="*/ 13938 h 6479439"/>
              <a:gd name="connsiteX9151" fmla="*/ 2153804 w 9586368"/>
              <a:gd name="connsiteY9151" fmla="*/ 4067 h 6479439"/>
              <a:gd name="connsiteX9152" fmla="*/ 721977 w 9586368"/>
              <a:gd name="connsiteY9152" fmla="*/ 0 h 6479439"/>
              <a:gd name="connsiteX9153" fmla="*/ 731887 w 9586368"/>
              <a:gd name="connsiteY9153" fmla="*/ 0 h 6479439"/>
              <a:gd name="connsiteX9154" fmla="*/ 735906 w 9586368"/>
              <a:gd name="connsiteY9154" fmla="*/ 4039 h 6479439"/>
              <a:gd name="connsiteX9155" fmla="*/ 735906 w 9586368"/>
              <a:gd name="connsiteY9155" fmla="*/ 13910 h 6479439"/>
              <a:gd name="connsiteX9156" fmla="*/ 731887 w 9586368"/>
              <a:gd name="connsiteY9156" fmla="*/ 17949 h 6479439"/>
              <a:gd name="connsiteX9157" fmla="*/ 721977 w 9586368"/>
              <a:gd name="connsiteY9157" fmla="*/ 17949 h 6479439"/>
              <a:gd name="connsiteX9158" fmla="*/ 717959 w 9586368"/>
              <a:gd name="connsiteY9158" fmla="*/ 13910 h 6479439"/>
              <a:gd name="connsiteX9159" fmla="*/ 717959 w 9586368"/>
              <a:gd name="connsiteY9159" fmla="*/ 4039 h 6479439"/>
              <a:gd name="connsiteX9160" fmla="*/ 482665 w 9586368"/>
              <a:gd name="connsiteY9160" fmla="*/ 0 h 6479439"/>
              <a:gd name="connsiteX9161" fmla="*/ 492575 w 9586368"/>
              <a:gd name="connsiteY9161" fmla="*/ 0 h 6479439"/>
              <a:gd name="connsiteX9162" fmla="*/ 496594 w 9586368"/>
              <a:gd name="connsiteY9162" fmla="*/ 4039 h 6479439"/>
              <a:gd name="connsiteX9163" fmla="*/ 496594 w 9586368"/>
              <a:gd name="connsiteY9163" fmla="*/ 13910 h 6479439"/>
              <a:gd name="connsiteX9164" fmla="*/ 492575 w 9586368"/>
              <a:gd name="connsiteY9164" fmla="*/ 17949 h 6479439"/>
              <a:gd name="connsiteX9165" fmla="*/ 482665 w 9586368"/>
              <a:gd name="connsiteY9165" fmla="*/ 17949 h 6479439"/>
              <a:gd name="connsiteX9166" fmla="*/ 478646 w 9586368"/>
              <a:gd name="connsiteY9166" fmla="*/ 13910 h 6479439"/>
              <a:gd name="connsiteX9167" fmla="*/ 478646 w 9586368"/>
              <a:gd name="connsiteY9167" fmla="*/ 4039 h 6479439"/>
              <a:gd name="connsiteX9168" fmla="*/ 243351 w 9586368"/>
              <a:gd name="connsiteY9168" fmla="*/ 0 h 6479439"/>
              <a:gd name="connsiteX9169" fmla="*/ 253261 w 9586368"/>
              <a:gd name="connsiteY9169" fmla="*/ 0 h 6479439"/>
              <a:gd name="connsiteX9170" fmla="*/ 257281 w 9586368"/>
              <a:gd name="connsiteY9170" fmla="*/ 4039 h 6479439"/>
              <a:gd name="connsiteX9171" fmla="*/ 257281 w 9586368"/>
              <a:gd name="connsiteY9171" fmla="*/ 13910 h 6479439"/>
              <a:gd name="connsiteX9172" fmla="*/ 253261 w 9586368"/>
              <a:gd name="connsiteY9172" fmla="*/ 17949 h 6479439"/>
              <a:gd name="connsiteX9173" fmla="*/ 243351 w 9586368"/>
              <a:gd name="connsiteY9173" fmla="*/ 17949 h 6479439"/>
              <a:gd name="connsiteX9174" fmla="*/ 239332 w 9586368"/>
              <a:gd name="connsiteY9174" fmla="*/ 13910 h 6479439"/>
              <a:gd name="connsiteX9175" fmla="*/ 239332 w 9586368"/>
              <a:gd name="connsiteY9175" fmla="*/ 4039 h 6479439"/>
              <a:gd name="connsiteX9176" fmla="*/ 4039 w 9586368"/>
              <a:gd name="connsiteY9176" fmla="*/ 0 h 6479439"/>
              <a:gd name="connsiteX9177" fmla="*/ 13948 w 9586368"/>
              <a:gd name="connsiteY9177" fmla="*/ 0 h 6479439"/>
              <a:gd name="connsiteX9178" fmla="*/ 17967 w 9586368"/>
              <a:gd name="connsiteY9178" fmla="*/ 4039 h 6479439"/>
              <a:gd name="connsiteX9179" fmla="*/ 17967 w 9586368"/>
              <a:gd name="connsiteY9179" fmla="*/ 13910 h 6479439"/>
              <a:gd name="connsiteX9180" fmla="*/ 13948 w 9586368"/>
              <a:gd name="connsiteY9180" fmla="*/ 17949 h 6479439"/>
              <a:gd name="connsiteX9181" fmla="*/ 4039 w 9586368"/>
              <a:gd name="connsiteY9181" fmla="*/ 17949 h 6479439"/>
              <a:gd name="connsiteX9182" fmla="*/ 19 w 9586368"/>
              <a:gd name="connsiteY9182" fmla="*/ 13910 h 6479439"/>
              <a:gd name="connsiteX9183" fmla="*/ 19 w 9586368"/>
              <a:gd name="connsiteY9183" fmla="*/ 4039 h 6479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Lst>
            <a:rect l="l" t="t" r="r" b="b"/>
            <a:pathLst>
              <a:path w="9586368" h="6479439">
                <a:moveTo>
                  <a:pt x="2157895" y="6461491"/>
                </a:moveTo>
                <a:lnTo>
                  <a:pt x="2167802" y="6461491"/>
                </a:lnTo>
                <a:lnTo>
                  <a:pt x="2171820" y="6465529"/>
                </a:lnTo>
                <a:lnTo>
                  <a:pt x="2171820" y="6475400"/>
                </a:lnTo>
                <a:lnTo>
                  <a:pt x="2167802" y="6479439"/>
                </a:lnTo>
                <a:lnTo>
                  <a:pt x="2157895" y="6479439"/>
                </a:lnTo>
                <a:lnTo>
                  <a:pt x="2153871" y="6475400"/>
                </a:lnTo>
                <a:lnTo>
                  <a:pt x="2153871" y="6465529"/>
                </a:lnTo>
                <a:close/>
                <a:moveTo>
                  <a:pt x="1918509" y="6461491"/>
                </a:moveTo>
                <a:lnTo>
                  <a:pt x="1928419" y="6461491"/>
                </a:lnTo>
                <a:lnTo>
                  <a:pt x="1932437" y="6465529"/>
                </a:lnTo>
                <a:lnTo>
                  <a:pt x="1932437" y="6475400"/>
                </a:lnTo>
                <a:lnTo>
                  <a:pt x="1928419" y="6479439"/>
                </a:lnTo>
                <a:lnTo>
                  <a:pt x="1918509" y="6479439"/>
                </a:lnTo>
                <a:lnTo>
                  <a:pt x="1914490" y="6475400"/>
                </a:lnTo>
                <a:lnTo>
                  <a:pt x="1914490" y="6465529"/>
                </a:lnTo>
                <a:close/>
                <a:moveTo>
                  <a:pt x="1679200" y="6461491"/>
                </a:moveTo>
                <a:lnTo>
                  <a:pt x="1689110" y="6461491"/>
                </a:lnTo>
                <a:lnTo>
                  <a:pt x="1693128" y="6465529"/>
                </a:lnTo>
                <a:lnTo>
                  <a:pt x="1693128" y="6475400"/>
                </a:lnTo>
                <a:lnTo>
                  <a:pt x="1689110" y="6479439"/>
                </a:lnTo>
                <a:lnTo>
                  <a:pt x="1679200" y="6479439"/>
                </a:lnTo>
                <a:lnTo>
                  <a:pt x="1675180" y="6475400"/>
                </a:lnTo>
                <a:lnTo>
                  <a:pt x="1675180" y="6465529"/>
                </a:lnTo>
                <a:close/>
                <a:moveTo>
                  <a:pt x="1439885" y="6461491"/>
                </a:moveTo>
                <a:lnTo>
                  <a:pt x="1449795" y="6461491"/>
                </a:lnTo>
                <a:lnTo>
                  <a:pt x="1453813" y="6465529"/>
                </a:lnTo>
                <a:lnTo>
                  <a:pt x="1453813" y="6475400"/>
                </a:lnTo>
                <a:lnTo>
                  <a:pt x="1449795" y="6479439"/>
                </a:lnTo>
                <a:lnTo>
                  <a:pt x="1439885" y="6479439"/>
                </a:lnTo>
                <a:lnTo>
                  <a:pt x="1435865" y="6475400"/>
                </a:lnTo>
                <a:lnTo>
                  <a:pt x="1435865" y="6465529"/>
                </a:lnTo>
                <a:close/>
                <a:moveTo>
                  <a:pt x="1200570" y="6461491"/>
                </a:moveTo>
                <a:lnTo>
                  <a:pt x="1210480" y="6461491"/>
                </a:lnTo>
                <a:lnTo>
                  <a:pt x="1214498" y="6465529"/>
                </a:lnTo>
                <a:lnTo>
                  <a:pt x="1214498" y="6475400"/>
                </a:lnTo>
                <a:lnTo>
                  <a:pt x="1210480" y="6479439"/>
                </a:lnTo>
                <a:lnTo>
                  <a:pt x="1200570" y="6479439"/>
                </a:lnTo>
                <a:lnTo>
                  <a:pt x="1196551" y="6475400"/>
                </a:lnTo>
                <a:lnTo>
                  <a:pt x="1196551" y="6465529"/>
                </a:lnTo>
                <a:close/>
                <a:moveTo>
                  <a:pt x="961257" y="6461491"/>
                </a:moveTo>
                <a:lnTo>
                  <a:pt x="971167" y="6461491"/>
                </a:lnTo>
                <a:lnTo>
                  <a:pt x="975186" y="6465529"/>
                </a:lnTo>
                <a:lnTo>
                  <a:pt x="975186" y="6475400"/>
                </a:lnTo>
                <a:lnTo>
                  <a:pt x="971167" y="6479439"/>
                </a:lnTo>
                <a:lnTo>
                  <a:pt x="961257" y="6479439"/>
                </a:lnTo>
                <a:lnTo>
                  <a:pt x="957238" y="6475400"/>
                </a:lnTo>
                <a:lnTo>
                  <a:pt x="957238" y="6465529"/>
                </a:lnTo>
                <a:close/>
                <a:moveTo>
                  <a:pt x="9572438" y="6461440"/>
                </a:moveTo>
                <a:lnTo>
                  <a:pt x="9582349" y="6461440"/>
                </a:lnTo>
                <a:lnTo>
                  <a:pt x="9586368" y="6465478"/>
                </a:lnTo>
                <a:lnTo>
                  <a:pt x="9586368" y="6475349"/>
                </a:lnTo>
                <a:lnTo>
                  <a:pt x="9582349" y="6479388"/>
                </a:lnTo>
                <a:lnTo>
                  <a:pt x="9572438" y="6479388"/>
                </a:lnTo>
                <a:lnTo>
                  <a:pt x="9568419" y="6475349"/>
                </a:lnTo>
                <a:lnTo>
                  <a:pt x="9568419" y="6465478"/>
                </a:lnTo>
                <a:close/>
                <a:moveTo>
                  <a:pt x="9333125" y="6461440"/>
                </a:moveTo>
                <a:lnTo>
                  <a:pt x="9343036" y="6461440"/>
                </a:lnTo>
                <a:lnTo>
                  <a:pt x="9347055" y="6465478"/>
                </a:lnTo>
                <a:lnTo>
                  <a:pt x="9347055" y="6475349"/>
                </a:lnTo>
                <a:lnTo>
                  <a:pt x="9343036" y="6479388"/>
                </a:lnTo>
                <a:lnTo>
                  <a:pt x="9333125" y="6479388"/>
                </a:lnTo>
                <a:lnTo>
                  <a:pt x="9329106" y="6475349"/>
                </a:lnTo>
                <a:lnTo>
                  <a:pt x="9329106" y="6465478"/>
                </a:lnTo>
                <a:close/>
                <a:moveTo>
                  <a:pt x="9093811" y="6461440"/>
                </a:moveTo>
                <a:lnTo>
                  <a:pt x="9103722" y="6461440"/>
                </a:lnTo>
                <a:lnTo>
                  <a:pt x="9107741" y="6465478"/>
                </a:lnTo>
                <a:lnTo>
                  <a:pt x="9107741" y="6475349"/>
                </a:lnTo>
                <a:lnTo>
                  <a:pt x="9103722" y="6479388"/>
                </a:lnTo>
                <a:lnTo>
                  <a:pt x="9093811" y="6479388"/>
                </a:lnTo>
                <a:lnTo>
                  <a:pt x="9089792" y="6475349"/>
                </a:lnTo>
                <a:lnTo>
                  <a:pt x="9089792" y="6465478"/>
                </a:lnTo>
                <a:close/>
                <a:moveTo>
                  <a:pt x="8854496" y="6461440"/>
                </a:moveTo>
                <a:lnTo>
                  <a:pt x="8864407" y="6461440"/>
                </a:lnTo>
                <a:lnTo>
                  <a:pt x="8868426" y="6465478"/>
                </a:lnTo>
                <a:lnTo>
                  <a:pt x="8868426" y="6475349"/>
                </a:lnTo>
                <a:lnTo>
                  <a:pt x="8864407" y="6479388"/>
                </a:lnTo>
                <a:lnTo>
                  <a:pt x="8854496" y="6479388"/>
                </a:lnTo>
                <a:lnTo>
                  <a:pt x="8850477" y="6475349"/>
                </a:lnTo>
                <a:lnTo>
                  <a:pt x="8850477" y="6465478"/>
                </a:lnTo>
                <a:close/>
                <a:moveTo>
                  <a:pt x="8615184" y="6461440"/>
                </a:moveTo>
                <a:lnTo>
                  <a:pt x="8625095" y="6461440"/>
                </a:lnTo>
                <a:lnTo>
                  <a:pt x="8629114" y="6465478"/>
                </a:lnTo>
                <a:lnTo>
                  <a:pt x="8629114" y="6475349"/>
                </a:lnTo>
                <a:lnTo>
                  <a:pt x="8625095" y="6479388"/>
                </a:lnTo>
                <a:lnTo>
                  <a:pt x="8615184" y="6479388"/>
                </a:lnTo>
                <a:lnTo>
                  <a:pt x="8611165" y="6475349"/>
                </a:lnTo>
                <a:lnTo>
                  <a:pt x="8611165" y="6465478"/>
                </a:lnTo>
                <a:close/>
                <a:moveTo>
                  <a:pt x="8375869" y="6461440"/>
                </a:moveTo>
                <a:lnTo>
                  <a:pt x="8385779" y="6461440"/>
                </a:lnTo>
                <a:lnTo>
                  <a:pt x="8389799" y="6465478"/>
                </a:lnTo>
                <a:lnTo>
                  <a:pt x="8389799" y="6475349"/>
                </a:lnTo>
                <a:lnTo>
                  <a:pt x="8385779" y="6479388"/>
                </a:lnTo>
                <a:lnTo>
                  <a:pt x="8375869" y="6479388"/>
                </a:lnTo>
                <a:lnTo>
                  <a:pt x="8371850" y="6475349"/>
                </a:lnTo>
                <a:lnTo>
                  <a:pt x="8371850" y="6465478"/>
                </a:lnTo>
                <a:close/>
                <a:moveTo>
                  <a:pt x="8136553" y="6461440"/>
                </a:moveTo>
                <a:lnTo>
                  <a:pt x="8146464" y="6461440"/>
                </a:lnTo>
                <a:lnTo>
                  <a:pt x="8150483" y="6465478"/>
                </a:lnTo>
                <a:lnTo>
                  <a:pt x="8150483" y="6475349"/>
                </a:lnTo>
                <a:lnTo>
                  <a:pt x="8146464" y="6479388"/>
                </a:lnTo>
                <a:lnTo>
                  <a:pt x="8136553" y="6479388"/>
                </a:lnTo>
                <a:lnTo>
                  <a:pt x="8132534" y="6475349"/>
                </a:lnTo>
                <a:lnTo>
                  <a:pt x="8132534" y="6465478"/>
                </a:lnTo>
                <a:close/>
                <a:moveTo>
                  <a:pt x="7897241" y="6461440"/>
                </a:moveTo>
                <a:lnTo>
                  <a:pt x="7907151" y="6461440"/>
                </a:lnTo>
                <a:lnTo>
                  <a:pt x="7911170" y="6465478"/>
                </a:lnTo>
                <a:lnTo>
                  <a:pt x="7911170" y="6475349"/>
                </a:lnTo>
                <a:lnTo>
                  <a:pt x="7907151" y="6479388"/>
                </a:lnTo>
                <a:lnTo>
                  <a:pt x="7897241" y="6479388"/>
                </a:lnTo>
                <a:lnTo>
                  <a:pt x="7893222" y="6475349"/>
                </a:lnTo>
                <a:lnTo>
                  <a:pt x="7893222" y="6465478"/>
                </a:lnTo>
                <a:close/>
                <a:moveTo>
                  <a:pt x="7657926" y="6461440"/>
                </a:moveTo>
                <a:lnTo>
                  <a:pt x="7667836" y="6461440"/>
                </a:lnTo>
                <a:lnTo>
                  <a:pt x="7671855" y="6465478"/>
                </a:lnTo>
                <a:lnTo>
                  <a:pt x="7671855" y="6475349"/>
                </a:lnTo>
                <a:lnTo>
                  <a:pt x="7667836" y="6479388"/>
                </a:lnTo>
                <a:lnTo>
                  <a:pt x="7657926" y="6479388"/>
                </a:lnTo>
                <a:lnTo>
                  <a:pt x="7653906" y="6475349"/>
                </a:lnTo>
                <a:lnTo>
                  <a:pt x="7653906" y="6465478"/>
                </a:lnTo>
                <a:close/>
                <a:moveTo>
                  <a:pt x="7418611" y="6461440"/>
                </a:moveTo>
                <a:lnTo>
                  <a:pt x="7428521" y="6461440"/>
                </a:lnTo>
                <a:lnTo>
                  <a:pt x="7432540" y="6465478"/>
                </a:lnTo>
                <a:lnTo>
                  <a:pt x="7432540" y="6475349"/>
                </a:lnTo>
                <a:lnTo>
                  <a:pt x="7428521" y="6479388"/>
                </a:lnTo>
                <a:lnTo>
                  <a:pt x="7418611" y="6479388"/>
                </a:lnTo>
                <a:lnTo>
                  <a:pt x="7414592" y="6475349"/>
                </a:lnTo>
                <a:lnTo>
                  <a:pt x="7414592" y="6465478"/>
                </a:lnTo>
                <a:close/>
                <a:moveTo>
                  <a:pt x="7179298" y="6461440"/>
                </a:moveTo>
                <a:lnTo>
                  <a:pt x="7189209" y="6461440"/>
                </a:lnTo>
                <a:lnTo>
                  <a:pt x="7193228" y="6465478"/>
                </a:lnTo>
                <a:lnTo>
                  <a:pt x="7193228" y="6475349"/>
                </a:lnTo>
                <a:lnTo>
                  <a:pt x="7189209" y="6479388"/>
                </a:lnTo>
                <a:lnTo>
                  <a:pt x="7179298" y="6479388"/>
                </a:lnTo>
                <a:lnTo>
                  <a:pt x="7175279" y="6475349"/>
                </a:lnTo>
                <a:lnTo>
                  <a:pt x="7175279" y="6465478"/>
                </a:lnTo>
                <a:close/>
                <a:moveTo>
                  <a:pt x="6939983" y="6461440"/>
                </a:moveTo>
                <a:lnTo>
                  <a:pt x="6949894" y="6461440"/>
                </a:lnTo>
                <a:lnTo>
                  <a:pt x="6953913" y="6465478"/>
                </a:lnTo>
                <a:lnTo>
                  <a:pt x="6953913" y="6475349"/>
                </a:lnTo>
                <a:lnTo>
                  <a:pt x="6949894" y="6479388"/>
                </a:lnTo>
                <a:lnTo>
                  <a:pt x="6939983" y="6479388"/>
                </a:lnTo>
                <a:lnTo>
                  <a:pt x="6935964" y="6475349"/>
                </a:lnTo>
                <a:lnTo>
                  <a:pt x="6935964" y="6465478"/>
                </a:lnTo>
                <a:close/>
                <a:moveTo>
                  <a:pt x="6700670" y="6461440"/>
                </a:moveTo>
                <a:lnTo>
                  <a:pt x="6710581" y="6461440"/>
                </a:lnTo>
                <a:lnTo>
                  <a:pt x="6714600" y="6465478"/>
                </a:lnTo>
                <a:lnTo>
                  <a:pt x="6714600" y="6475349"/>
                </a:lnTo>
                <a:lnTo>
                  <a:pt x="6710581" y="6479388"/>
                </a:lnTo>
                <a:lnTo>
                  <a:pt x="6700670" y="6479388"/>
                </a:lnTo>
                <a:lnTo>
                  <a:pt x="6696651" y="6475349"/>
                </a:lnTo>
                <a:lnTo>
                  <a:pt x="6696651" y="6465478"/>
                </a:lnTo>
                <a:close/>
                <a:moveTo>
                  <a:pt x="6461356" y="6461440"/>
                </a:moveTo>
                <a:lnTo>
                  <a:pt x="6471266" y="6461440"/>
                </a:lnTo>
                <a:lnTo>
                  <a:pt x="6475285" y="6465478"/>
                </a:lnTo>
                <a:lnTo>
                  <a:pt x="6475285" y="6475349"/>
                </a:lnTo>
                <a:lnTo>
                  <a:pt x="6471266" y="6479388"/>
                </a:lnTo>
                <a:lnTo>
                  <a:pt x="6461356" y="6479388"/>
                </a:lnTo>
                <a:lnTo>
                  <a:pt x="6457337" y="6475349"/>
                </a:lnTo>
                <a:lnTo>
                  <a:pt x="6457337" y="6465478"/>
                </a:lnTo>
                <a:close/>
                <a:moveTo>
                  <a:pt x="6222042" y="6461440"/>
                </a:moveTo>
                <a:lnTo>
                  <a:pt x="6231952" y="6461440"/>
                </a:lnTo>
                <a:lnTo>
                  <a:pt x="6235971" y="6465478"/>
                </a:lnTo>
                <a:lnTo>
                  <a:pt x="6235971" y="6475349"/>
                </a:lnTo>
                <a:lnTo>
                  <a:pt x="6231952" y="6479388"/>
                </a:lnTo>
                <a:lnTo>
                  <a:pt x="6222042" y="6479388"/>
                </a:lnTo>
                <a:lnTo>
                  <a:pt x="6218023" y="6475349"/>
                </a:lnTo>
                <a:lnTo>
                  <a:pt x="6218023" y="6465478"/>
                </a:lnTo>
                <a:close/>
                <a:moveTo>
                  <a:pt x="5982729" y="6461440"/>
                </a:moveTo>
                <a:lnTo>
                  <a:pt x="5992639" y="6461440"/>
                </a:lnTo>
                <a:lnTo>
                  <a:pt x="5996658" y="6465478"/>
                </a:lnTo>
                <a:lnTo>
                  <a:pt x="5996658" y="6475349"/>
                </a:lnTo>
                <a:lnTo>
                  <a:pt x="5992639" y="6479388"/>
                </a:lnTo>
                <a:lnTo>
                  <a:pt x="5982729" y="6479388"/>
                </a:lnTo>
                <a:lnTo>
                  <a:pt x="5978710" y="6475349"/>
                </a:lnTo>
                <a:lnTo>
                  <a:pt x="5978710" y="6465478"/>
                </a:lnTo>
                <a:close/>
                <a:moveTo>
                  <a:pt x="5743412" y="6461440"/>
                </a:moveTo>
                <a:lnTo>
                  <a:pt x="5753323" y="6461440"/>
                </a:lnTo>
                <a:lnTo>
                  <a:pt x="5757342" y="6465478"/>
                </a:lnTo>
                <a:lnTo>
                  <a:pt x="5757342" y="6475349"/>
                </a:lnTo>
                <a:lnTo>
                  <a:pt x="5753323" y="6479388"/>
                </a:lnTo>
                <a:lnTo>
                  <a:pt x="5743412" y="6479388"/>
                </a:lnTo>
                <a:lnTo>
                  <a:pt x="5739393" y="6475349"/>
                </a:lnTo>
                <a:lnTo>
                  <a:pt x="5739393" y="6465478"/>
                </a:lnTo>
                <a:close/>
                <a:moveTo>
                  <a:pt x="5504099" y="6461440"/>
                </a:moveTo>
                <a:lnTo>
                  <a:pt x="5514010" y="6461440"/>
                </a:lnTo>
                <a:lnTo>
                  <a:pt x="5518029" y="6465478"/>
                </a:lnTo>
                <a:lnTo>
                  <a:pt x="5518029" y="6475349"/>
                </a:lnTo>
                <a:lnTo>
                  <a:pt x="5514010" y="6479388"/>
                </a:lnTo>
                <a:lnTo>
                  <a:pt x="5504099" y="6479388"/>
                </a:lnTo>
                <a:lnTo>
                  <a:pt x="5500080" y="6475349"/>
                </a:lnTo>
                <a:lnTo>
                  <a:pt x="5500080" y="6465478"/>
                </a:lnTo>
                <a:close/>
                <a:moveTo>
                  <a:pt x="5264784" y="6461440"/>
                </a:moveTo>
                <a:lnTo>
                  <a:pt x="5274694" y="6461440"/>
                </a:lnTo>
                <a:lnTo>
                  <a:pt x="5278713" y="6465478"/>
                </a:lnTo>
                <a:lnTo>
                  <a:pt x="5278713" y="6475349"/>
                </a:lnTo>
                <a:lnTo>
                  <a:pt x="5274694" y="6479388"/>
                </a:lnTo>
                <a:lnTo>
                  <a:pt x="5264784" y="6479388"/>
                </a:lnTo>
                <a:lnTo>
                  <a:pt x="5260765" y="6475349"/>
                </a:lnTo>
                <a:lnTo>
                  <a:pt x="5260765" y="6465478"/>
                </a:lnTo>
                <a:close/>
                <a:moveTo>
                  <a:pt x="5025470" y="6461440"/>
                </a:moveTo>
                <a:lnTo>
                  <a:pt x="5035381" y="6461440"/>
                </a:lnTo>
                <a:lnTo>
                  <a:pt x="5039400" y="6465478"/>
                </a:lnTo>
                <a:lnTo>
                  <a:pt x="5039400" y="6475349"/>
                </a:lnTo>
                <a:lnTo>
                  <a:pt x="5035381" y="6479388"/>
                </a:lnTo>
                <a:lnTo>
                  <a:pt x="5025470" y="6479388"/>
                </a:lnTo>
                <a:lnTo>
                  <a:pt x="5021451" y="6475349"/>
                </a:lnTo>
                <a:lnTo>
                  <a:pt x="5021451" y="6465478"/>
                </a:lnTo>
                <a:close/>
                <a:moveTo>
                  <a:pt x="4786241" y="6461440"/>
                </a:moveTo>
                <a:lnTo>
                  <a:pt x="4796152" y="6461440"/>
                </a:lnTo>
                <a:lnTo>
                  <a:pt x="4800171" y="6465478"/>
                </a:lnTo>
                <a:lnTo>
                  <a:pt x="4800171" y="6475349"/>
                </a:lnTo>
                <a:lnTo>
                  <a:pt x="4796152" y="6479388"/>
                </a:lnTo>
                <a:lnTo>
                  <a:pt x="4786241" y="6479388"/>
                </a:lnTo>
                <a:lnTo>
                  <a:pt x="4782224" y="6475349"/>
                </a:lnTo>
                <a:lnTo>
                  <a:pt x="4782224" y="6465478"/>
                </a:lnTo>
                <a:close/>
                <a:moveTo>
                  <a:pt x="4546929" y="6461440"/>
                </a:moveTo>
                <a:lnTo>
                  <a:pt x="4556840" y="6461440"/>
                </a:lnTo>
                <a:lnTo>
                  <a:pt x="4560859" y="6465478"/>
                </a:lnTo>
                <a:lnTo>
                  <a:pt x="4560859" y="6475349"/>
                </a:lnTo>
                <a:lnTo>
                  <a:pt x="4556840" y="6479388"/>
                </a:lnTo>
                <a:lnTo>
                  <a:pt x="4546929" y="6479388"/>
                </a:lnTo>
                <a:lnTo>
                  <a:pt x="4542910" y="6475349"/>
                </a:lnTo>
                <a:lnTo>
                  <a:pt x="4542910" y="6465478"/>
                </a:lnTo>
                <a:close/>
                <a:moveTo>
                  <a:pt x="4307612" y="6461440"/>
                </a:moveTo>
                <a:lnTo>
                  <a:pt x="4317523" y="6461440"/>
                </a:lnTo>
                <a:lnTo>
                  <a:pt x="4321543" y="6465478"/>
                </a:lnTo>
                <a:lnTo>
                  <a:pt x="4321543" y="6475349"/>
                </a:lnTo>
                <a:lnTo>
                  <a:pt x="4317523" y="6479388"/>
                </a:lnTo>
                <a:lnTo>
                  <a:pt x="4307612" y="6479388"/>
                </a:lnTo>
                <a:lnTo>
                  <a:pt x="4303595" y="6475349"/>
                </a:lnTo>
                <a:lnTo>
                  <a:pt x="4303595" y="6465478"/>
                </a:lnTo>
                <a:close/>
                <a:moveTo>
                  <a:pt x="4068297" y="6461440"/>
                </a:moveTo>
                <a:lnTo>
                  <a:pt x="4078210" y="6461440"/>
                </a:lnTo>
                <a:lnTo>
                  <a:pt x="4082229" y="6465478"/>
                </a:lnTo>
                <a:lnTo>
                  <a:pt x="4082229" y="6475349"/>
                </a:lnTo>
                <a:lnTo>
                  <a:pt x="4078210" y="6479388"/>
                </a:lnTo>
                <a:lnTo>
                  <a:pt x="4068297" y="6479388"/>
                </a:lnTo>
                <a:lnTo>
                  <a:pt x="4064278" y="6475349"/>
                </a:lnTo>
                <a:lnTo>
                  <a:pt x="4064278" y="6465478"/>
                </a:lnTo>
                <a:close/>
                <a:moveTo>
                  <a:pt x="3828990" y="6461440"/>
                </a:moveTo>
                <a:lnTo>
                  <a:pt x="3838899" y="6461440"/>
                </a:lnTo>
                <a:lnTo>
                  <a:pt x="3842917" y="6465478"/>
                </a:lnTo>
                <a:lnTo>
                  <a:pt x="3842917" y="6475349"/>
                </a:lnTo>
                <a:lnTo>
                  <a:pt x="3838899" y="6479388"/>
                </a:lnTo>
                <a:lnTo>
                  <a:pt x="3828990" y="6479388"/>
                </a:lnTo>
                <a:lnTo>
                  <a:pt x="3824971" y="6475349"/>
                </a:lnTo>
                <a:lnTo>
                  <a:pt x="3824971" y="6465478"/>
                </a:lnTo>
                <a:close/>
                <a:moveTo>
                  <a:pt x="3589676" y="6461440"/>
                </a:moveTo>
                <a:lnTo>
                  <a:pt x="3599585" y="6461440"/>
                </a:lnTo>
                <a:lnTo>
                  <a:pt x="3603604" y="6465478"/>
                </a:lnTo>
                <a:lnTo>
                  <a:pt x="3603604" y="6475349"/>
                </a:lnTo>
                <a:lnTo>
                  <a:pt x="3599585" y="6479388"/>
                </a:lnTo>
                <a:lnTo>
                  <a:pt x="3589676" y="6479388"/>
                </a:lnTo>
                <a:lnTo>
                  <a:pt x="3585657" y="6475349"/>
                </a:lnTo>
                <a:lnTo>
                  <a:pt x="3585657" y="6465478"/>
                </a:lnTo>
                <a:close/>
                <a:moveTo>
                  <a:pt x="3350359" y="6461440"/>
                </a:moveTo>
                <a:lnTo>
                  <a:pt x="3360268" y="6461440"/>
                </a:lnTo>
                <a:lnTo>
                  <a:pt x="3364287" y="6465478"/>
                </a:lnTo>
                <a:lnTo>
                  <a:pt x="3364287" y="6475349"/>
                </a:lnTo>
                <a:lnTo>
                  <a:pt x="3360268" y="6479388"/>
                </a:lnTo>
                <a:lnTo>
                  <a:pt x="3350359" y="6479388"/>
                </a:lnTo>
                <a:lnTo>
                  <a:pt x="3346340" y="6475349"/>
                </a:lnTo>
                <a:lnTo>
                  <a:pt x="3346340" y="6465478"/>
                </a:lnTo>
                <a:close/>
                <a:moveTo>
                  <a:pt x="3111048" y="6461440"/>
                </a:moveTo>
                <a:lnTo>
                  <a:pt x="3120959" y="6461440"/>
                </a:lnTo>
                <a:lnTo>
                  <a:pt x="3124977" y="6465478"/>
                </a:lnTo>
                <a:lnTo>
                  <a:pt x="3124977" y="6475349"/>
                </a:lnTo>
                <a:lnTo>
                  <a:pt x="3120959" y="6479388"/>
                </a:lnTo>
                <a:lnTo>
                  <a:pt x="3111048" y="6479388"/>
                </a:lnTo>
                <a:lnTo>
                  <a:pt x="3107029" y="6475349"/>
                </a:lnTo>
                <a:lnTo>
                  <a:pt x="3107029" y="6465478"/>
                </a:lnTo>
                <a:close/>
                <a:moveTo>
                  <a:pt x="2871737" y="6461440"/>
                </a:moveTo>
                <a:lnTo>
                  <a:pt x="2881646" y="6461440"/>
                </a:lnTo>
                <a:lnTo>
                  <a:pt x="2885666" y="6465478"/>
                </a:lnTo>
                <a:lnTo>
                  <a:pt x="2885666" y="6475349"/>
                </a:lnTo>
                <a:lnTo>
                  <a:pt x="2881646" y="6479388"/>
                </a:lnTo>
                <a:lnTo>
                  <a:pt x="2871737" y="6479388"/>
                </a:lnTo>
                <a:lnTo>
                  <a:pt x="2867717" y="6475349"/>
                </a:lnTo>
                <a:lnTo>
                  <a:pt x="2867717" y="6465478"/>
                </a:lnTo>
                <a:close/>
                <a:moveTo>
                  <a:pt x="2632423" y="6461440"/>
                </a:moveTo>
                <a:lnTo>
                  <a:pt x="2642334" y="6461440"/>
                </a:lnTo>
                <a:lnTo>
                  <a:pt x="2646352" y="6465478"/>
                </a:lnTo>
                <a:lnTo>
                  <a:pt x="2646352" y="6475349"/>
                </a:lnTo>
                <a:lnTo>
                  <a:pt x="2642334" y="6479388"/>
                </a:lnTo>
                <a:lnTo>
                  <a:pt x="2632423" y="6479388"/>
                </a:lnTo>
                <a:lnTo>
                  <a:pt x="2628404" y="6475349"/>
                </a:lnTo>
                <a:lnTo>
                  <a:pt x="2628404" y="6465478"/>
                </a:lnTo>
                <a:close/>
                <a:moveTo>
                  <a:pt x="2393104" y="6461440"/>
                </a:moveTo>
                <a:lnTo>
                  <a:pt x="2403015" y="6461440"/>
                </a:lnTo>
                <a:lnTo>
                  <a:pt x="2407034" y="6465478"/>
                </a:lnTo>
                <a:lnTo>
                  <a:pt x="2407034" y="6475349"/>
                </a:lnTo>
                <a:lnTo>
                  <a:pt x="2403015" y="6479388"/>
                </a:lnTo>
                <a:lnTo>
                  <a:pt x="2393104" y="6479388"/>
                </a:lnTo>
                <a:lnTo>
                  <a:pt x="2389087" y="6475349"/>
                </a:lnTo>
                <a:lnTo>
                  <a:pt x="2389087" y="6465478"/>
                </a:lnTo>
                <a:close/>
                <a:moveTo>
                  <a:pt x="721958" y="6461440"/>
                </a:moveTo>
                <a:lnTo>
                  <a:pt x="731868" y="6461440"/>
                </a:lnTo>
                <a:lnTo>
                  <a:pt x="735887" y="6465478"/>
                </a:lnTo>
                <a:lnTo>
                  <a:pt x="735887" y="6475349"/>
                </a:lnTo>
                <a:lnTo>
                  <a:pt x="731868" y="6479388"/>
                </a:lnTo>
                <a:lnTo>
                  <a:pt x="721958" y="6479388"/>
                </a:lnTo>
                <a:lnTo>
                  <a:pt x="717939" y="6475349"/>
                </a:lnTo>
                <a:lnTo>
                  <a:pt x="717939" y="6465478"/>
                </a:lnTo>
                <a:close/>
                <a:moveTo>
                  <a:pt x="482646" y="6461440"/>
                </a:moveTo>
                <a:lnTo>
                  <a:pt x="492556" y="6461440"/>
                </a:lnTo>
                <a:lnTo>
                  <a:pt x="496575" y="6465478"/>
                </a:lnTo>
                <a:lnTo>
                  <a:pt x="496575" y="6475349"/>
                </a:lnTo>
                <a:lnTo>
                  <a:pt x="492556" y="6479388"/>
                </a:lnTo>
                <a:lnTo>
                  <a:pt x="482646" y="6479388"/>
                </a:lnTo>
                <a:lnTo>
                  <a:pt x="478627" y="6475349"/>
                </a:lnTo>
                <a:lnTo>
                  <a:pt x="478627" y="6465478"/>
                </a:lnTo>
                <a:close/>
                <a:moveTo>
                  <a:pt x="243332" y="6461440"/>
                </a:moveTo>
                <a:lnTo>
                  <a:pt x="253242" y="6461440"/>
                </a:lnTo>
                <a:lnTo>
                  <a:pt x="257261" y="6465478"/>
                </a:lnTo>
                <a:lnTo>
                  <a:pt x="257261" y="6475349"/>
                </a:lnTo>
                <a:lnTo>
                  <a:pt x="253242" y="6479388"/>
                </a:lnTo>
                <a:lnTo>
                  <a:pt x="243332" y="6479388"/>
                </a:lnTo>
                <a:lnTo>
                  <a:pt x="239313" y="6475349"/>
                </a:lnTo>
                <a:lnTo>
                  <a:pt x="239313" y="6465478"/>
                </a:lnTo>
                <a:close/>
                <a:moveTo>
                  <a:pt x="4019" y="6461440"/>
                </a:moveTo>
                <a:lnTo>
                  <a:pt x="13929" y="6461440"/>
                </a:lnTo>
                <a:lnTo>
                  <a:pt x="17949" y="6465478"/>
                </a:lnTo>
                <a:lnTo>
                  <a:pt x="17949" y="6475349"/>
                </a:lnTo>
                <a:lnTo>
                  <a:pt x="13929" y="6479388"/>
                </a:lnTo>
                <a:lnTo>
                  <a:pt x="4019" y="6479388"/>
                </a:lnTo>
                <a:lnTo>
                  <a:pt x="0" y="6475349"/>
                </a:lnTo>
                <a:lnTo>
                  <a:pt x="0" y="6465478"/>
                </a:lnTo>
                <a:close/>
                <a:moveTo>
                  <a:pt x="9572438" y="6222160"/>
                </a:moveTo>
                <a:lnTo>
                  <a:pt x="9582349" y="6222160"/>
                </a:lnTo>
                <a:lnTo>
                  <a:pt x="9586368" y="6226198"/>
                </a:lnTo>
                <a:lnTo>
                  <a:pt x="9586368" y="6236069"/>
                </a:lnTo>
                <a:lnTo>
                  <a:pt x="9582349" y="6240109"/>
                </a:lnTo>
                <a:lnTo>
                  <a:pt x="9572438" y="6240109"/>
                </a:lnTo>
                <a:lnTo>
                  <a:pt x="9568419" y="6236069"/>
                </a:lnTo>
                <a:lnTo>
                  <a:pt x="9568419" y="6226198"/>
                </a:lnTo>
                <a:close/>
                <a:moveTo>
                  <a:pt x="9333125" y="6222160"/>
                </a:moveTo>
                <a:lnTo>
                  <a:pt x="9343036" y="6222160"/>
                </a:lnTo>
                <a:lnTo>
                  <a:pt x="9347055" y="6226198"/>
                </a:lnTo>
                <a:lnTo>
                  <a:pt x="9347055" y="6236069"/>
                </a:lnTo>
                <a:lnTo>
                  <a:pt x="9343036" y="6240109"/>
                </a:lnTo>
                <a:lnTo>
                  <a:pt x="9333125" y="6240109"/>
                </a:lnTo>
                <a:lnTo>
                  <a:pt x="9329106" y="6236069"/>
                </a:lnTo>
                <a:lnTo>
                  <a:pt x="9329106" y="6226198"/>
                </a:lnTo>
                <a:close/>
                <a:moveTo>
                  <a:pt x="9093811" y="6222160"/>
                </a:moveTo>
                <a:lnTo>
                  <a:pt x="9103722" y="6222160"/>
                </a:lnTo>
                <a:lnTo>
                  <a:pt x="9107741" y="6226198"/>
                </a:lnTo>
                <a:lnTo>
                  <a:pt x="9107741" y="6236069"/>
                </a:lnTo>
                <a:lnTo>
                  <a:pt x="9103722" y="6240109"/>
                </a:lnTo>
                <a:lnTo>
                  <a:pt x="9093811" y="6240109"/>
                </a:lnTo>
                <a:lnTo>
                  <a:pt x="9089792" y="6236069"/>
                </a:lnTo>
                <a:lnTo>
                  <a:pt x="9089792" y="6226198"/>
                </a:lnTo>
                <a:close/>
                <a:moveTo>
                  <a:pt x="8854496" y="6222160"/>
                </a:moveTo>
                <a:lnTo>
                  <a:pt x="8864407" y="6222160"/>
                </a:lnTo>
                <a:lnTo>
                  <a:pt x="8868426" y="6226198"/>
                </a:lnTo>
                <a:lnTo>
                  <a:pt x="8868426" y="6236069"/>
                </a:lnTo>
                <a:lnTo>
                  <a:pt x="8864407" y="6240109"/>
                </a:lnTo>
                <a:lnTo>
                  <a:pt x="8854496" y="6240109"/>
                </a:lnTo>
                <a:lnTo>
                  <a:pt x="8850477" y="6236069"/>
                </a:lnTo>
                <a:lnTo>
                  <a:pt x="8850477" y="6226198"/>
                </a:lnTo>
                <a:close/>
                <a:moveTo>
                  <a:pt x="8615184" y="6222160"/>
                </a:moveTo>
                <a:lnTo>
                  <a:pt x="8625095" y="6222160"/>
                </a:lnTo>
                <a:lnTo>
                  <a:pt x="8629114" y="6226198"/>
                </a:lnTo>
                <a:lnTo>
                  <a:pt x="8629114" y="6236069"/>
                </a:lnTo>
                <a:lnTo>
                  <a:pt x="8625095" y="6240109"/>
                </a:lnTo>
                <a:lnTo>
                  <a:pt x="8615184" y="6240109"/>
                </a:lnTo>
                <a:lnTo>
                  <a:pt x="8611165" y="6236069"/>
                </a:lnTo>
                <a:lnTo>
                  <a:pt x="8611165" y="6226198"/>
                </a:lnTo>
                <a:close/>
                <a:moveTo>
                  <a:pt x="8375869" y="6222160"/>
                </a:moveTo>
                <a:lnTo>
                  <a:pt x="8385779" y="6222160"/>
                </a:lnTo>
                <a:lnTo>
                  <a:pt x="8389799" y="6226198"/>
                </a:lnTo>
                <a:lnTo>
                  <a:pt x="8389799" y="6236069"/>
                </a:lnTo>
                <a:lnTo>
                  <a:pt x="8385779" y="6240109"/>
                </a:lnTo>
                <a:lnTo>
                  <a:pt x="8375869" y="6240109"/>
                </a:lnTo>
                <a:lnTo>
                  <a:pt x="8371850" y="6236069"/>
                </a:lnTo>
                <a:lnTo>
                  <a:pt x="8371850" y="6226198"/>
                </a:lnTo>
                <a:close/>
                <a:moveTo>
                  <a:pt x="8136553" y="6222160"/>
                </a:moveTo>
                <a:lnTo>
                  <a:pt x="8146464" y="6222160"/>
                </a:lnTo>
                <a:lnTo>
                  <a:pt x="8150483" y="6226198"/>
                </a:lnTo>
                <a:lnTo>
                  <a:pt x="8150483" y="6236069"/>
                </a:lnTo>
                <a:lnTo>
                  <a:pt x="8146464" y="6240109"/>
                </a:lnTo>
                <a:lnTo>
                  <a:pt x="8136553" y="6240109"/>
                </a:lnTo>
                <a:lnTo>
                  <a:pt x="8132534" y="6236069"/>
                </a:lnTo>
                <a:lnTo>
                  <a:pt x="8132534" y="6226198"/>
                </a:lnTo>
                <a:close/>
                <a:moveTo>
                  <a:pt x="7897241" y="6222160"/>
                </a:moveTo>
                <a:lnTo>
                  <a:pt x="7907151" y="6222160"/>
                </a:lnTo>
                <a:lnTo>
                  <a:pt x="7911170" y="6226198"/>
                </a:lnTo>
                <a:lnTo>
                  <a:pt x="7911170" y="6236069"/>
                </a:lnTo>
                <a:lnTo>
                  <a:pt x="7907151" y="6240109"/>
                </a:lnTo>
                <a:lnTo>
                  <a:pt x="7897241" y="6240109"/>
                </a:lnTo>
                <a:lnTo>
                  <a:pt x="7893222" y="6236069"/>
                </a:lnTo>
                <a:lnTo>
                  <a:pt x="7893222" y="6226198"/>
                </a:lnTo>
                <a:close/>
                <a:moveTo>
                  <a:pt x="7657926" y="6222160"/>
                </a:moveTo>
                <a:lnTo>
                  <a:pt x="7667836" y="6222160"/>
                </a:lnTo>
                <a:lnTo>
                  <a:pt x="7671855" y="6226198"/>
                </a:lnTo>
                <a:lnTo>
                  <a:pt x="7671855" y="6236069"/>
                </a:lnTo>
                <a:lnTo>
                  <a:pt x="7667836" y="6240109"/>
                </a:lnTo>
                <a:lnTo>
                  <a:pt x="7657926" y="6240109"/>
                </a:lnTo>
                <a:lnTo>
                  <a:pt x="7653906" y="6236069"/>
                </a:lnTo>
                <a:lnTo>
                  <a:pt x="7653906" y="6226198"/>
                </a:lnTo>
                <a:close/>
                <a:moveTo>
                  <a:pt x="7418611" y="6222160"/>
                </a:moveTo>
                <a:lnTo>
                  <a:pt x="7428521" y="6222160"/>
                </a:lnTo>
                <a:lnTo>
                  <a:pt x="7432540" y="6226198"/>
                </a:lnTo>
                <a:lnTo>
                  <a:pt x="7432540" y="6236069"/>
                </a:lnTo>
                <a:lnTo>
                  <a:pt x="7428521" y="6240109"/>
                </a:lnTo>
                <a:lnTo>
                  <a:pt x="7418611" y="6240109"/>
                </a:lnTo>
                <a:lnTo>
                  <a:pt x="7414592" y="6236069"/>
                </a:lnTo>
                <a:lnTo>
                  <a:pt x="7414592" y="6226198"/>
                </a:lnTo>
                <a:close/>
                <a:moveTo>
                  <a:pt x="7179298" y="6222160"/>
                </a:moveTo>
                <a:lnTo>
                  <a:pt x="7189209" y="6222160"/>
                </a:lnTo>
                <a:lnTo>
                  <a:pt x="7193228" y="6226198"/>
                </a:lnTo>
                <a:lnTo>
                  <a:pt x="7193228" y="6236069"/>
                </a:lnTo>
                <a:lnTo>
                  <a:pt x="7189209" y="6240109"/>
                </a:lnTo>
                <a:lnTo>
                  <a:pt x="7179298" y="6240109"/>
                </a:lnTo>
                <a:lnTo>
                  <a:pt x="7175279" y="6236069"/>
                </a:lnTo>
                <a:lnTo>
                  <a:pt x="7175279" y="6226198"/>
                </a:lnTo>
                <a:close/>
                <a:moveTo>
                  <a:pt x="6939983" y="6222160"/>
                </a:moveTo>
                <a:lnTo>
                  <a:pt x="6949894" y="6222160"/>
                </a:lnTo>
                <a:lnTo>
                  <a:pt x="6953913" y="6226198"/>
                </a:lnTo>
                <a:lnTo>
                  <a:pt x="6953913" y="6236069"/>
                </a:lnTo>
                <a:lnTo>
                  <a:pt x="6949894" y="6240109"/>
                </a:lnTo>
                <a:lnTo>
                  <a:pt x="6939983" y="6240109"/>
                </a:lnTo>
                <a:lnTo>
                  <a:pt x="6935964" y="6236069"/>
                </a:lnTo>
                <a:lnTo>
                  <a:pt x="6935964" y="6226198"/>
                </a:lnTo>
                <a:close/>
                <a:moveTo>
                  <a:pt x="6700670" y="6222160"/>
                </a:moveTo>
                <a:lnTo>
                  <a:pt x="6710581" y="6222160"/>
                </a:lnTo>
                <a:lnTo>
                  <a:pt x="6714600" y="6226198"/>
                </a:lnTo>
                <a:lnTo>
                  <a:pt x="6714600" y="6236069"/>
                </a:lnTo>
                <a:lnTo>
                  <a:pt x="6710581" y="6240109"/>
                </a:lnTo>
                <a:lnTo>
                  <a:pt x="6700670" y="6240109"/>
                </a:lnTo>
                <a:lnTo>
                  <a:pt x="6696651" y="6236069"/>
                </a:lnTo>
                <a:lnTo>
                  <a:pt x="6696651" y="6226198"/>
                </a:lnTo>
                <a:close/>
                <a:moveTo>
                  <a:pt x="6461356" y="6222160"/>
                </a:moveTo>
                <a:lnTo>
                  <a:pt x="6471266" y="6222160"/>
                </a:lnTo>
                <a:lnTo>
                  <a:pt x="6475285" y="6226198"/>
                </a:lnTo>
                <a:lnTo>
                  <a:pt x="6475285" y="6236069"/>
                </a:lnTo>
                <a:lnTo>
                  <a:pt x="6471266" y="6240109"/>
                </a:lnTo>
                <a:lnTo>
                  <a:pt x="6461356" y="6240109"/>
                </a:lnTo>
                <a:lnTo>
                  <a:pt x="6457337" y="6236069"/>
                </a:lnTo>
                <a:lnTo>
                  <a:pt x="6457337" y="6226198"/>
                </a:lnTo>
                <a:close/>
                <a:moveTo>
                  <a:pt x="6222042" y="6222160"/>
                </a:moveTo>
                <a:lnTo>
                  <a:pt x="6231952" y="6222160"/>
                </a:lnTo>
                <a:lnTo>
                  <a:pt x="6235971" y="6226198"/>
                </a:lnTo>
                <a:lnTo>
                  <a:pt x="6235971" y="6236069"/>
                </a:lnTo>
                <a:lnTo>
                  <a:pt x="6231952" y="6240109"/>
                </a:lnTo>
                <a:lnTo>
                  <a:pt x="6222042" y="6240109"/>
                </a:lnTo>
                <a:lnTo>
                  <a:pt x="6218023" y="6236069"/>
                </a:lnTo>
                <a:lnTo>
                  <a:pt x="6218023" y="6226198"/>
                </a:lnTo>
                <a:close/>
                <a:moveTo>
                  <a:pt x="5982729" y="6222160"/>
                </a:moveTo>
                <a:lnTo>
                  <a:pt x="5992639" y="6222160"/>
                </a:lnTo>
                <a:lnTo>
                  <a:pt x="5996658" y="6226198"/>
                </a:lnTo>
                <a:lnTo>
                  <a:pt x="5996658" y="6236069"/>
                </a:lnTo>
                <a:lnTo>
                  <a:pt x="5992639" y="6240109"/>
                </a:lnTo>
                <a:lnTo>
                  <a:pt x="5982729" y="6240109"/>
                </a:lnTo>
                <a:lnTo>
                  <a:pt x="5978710" y="6236069"/>
                </a:lnTo>
                <a:lnTo>
                  <a:pt x="5978710" y="6226198"/>
                </a:lnTo>
                <a:close/>
                <a:moveTo>
                  <a:pt x="5743412" y="6222160"/>
                </a:moveTo>
                <a:lnTo>
                  <a:pt x="5753323" y="6222160"/>
                </a:lnTo>
                <a:lnTo>
                  <a:pt x="5757342" y="6226198"/>
                </a:lnTo>
                <a:lnTo>
                  <a:pt x="5757342" y="6236069"/>
                </a:lnTo>
                <a:lnTo>
                  <a:pt x="5753323" y="6240109"/>
                </a:lnTo>
                <a:lnTo>
                  <a:pt x="5743412" y="6240109"/>
                </a:lnTo>
                <a:lnTo>
                  <a:pt x="5739393" y="6236069"/>
                </a:lnTo>
                <a:lnTo>
                  <a:pt x="5739393" y="6226198"/>
                </a:lnTo>
                <a:close/>
                <a:moveTo>
                  <a:pt x="5504099" y="6222160"/>
                </a:moveTo>
                <a:lnTo>
                  <a:pt x="5514010" y="6222160"/>
                </a:lnTo>
                <a:lnTo>
                  <a:pt x="5518029" y="6226198"/>
                </a:lnTo>
                <a:lnTo>
                  <a:pt x="5518029" y="6236069"/>
                </a:lnTo>
                <a:lnTo>
                  <a:pt x="5514010" y="6240109"/>
                </a:lnTo>
                <a:lnTo>
                  <a:pt x="5504099" y="6240109"/>
                </a:lnTo>
                <a:lnTo>
                  <a:pt x="5500080" y="6236069"/>
                </a:lnTo>
                <a:lnTo>
                  <a:pt x="5500080" y="6226198"/>
                </a:lnTo>
                <a:close/>
                <a:moveTo>
                  <a:pt x="5264784" y="6222160"/>
                </a:moveTo>
                <a:lnTo>
                  <a:pt x="5274694" y="6222160"/>
                </a:lnTo>
                <a:lnTo>
                  <a:pt x="5278713" y="6226198"/>
                </a:lnTo>
                <a:lnTo>
                  <a:pt x="5278713" y="6236069"/>
                </a:lnTo>
                <a:lnTo>
                  <a:pt x="5274694" y="6240109"/>
                </a:lnTo>
                <a:lnTo>
                  <a:pt x="5264784" y="6240109"/>
                </a:lnTo>
                <a:lnTo>
                  <a:pt x="5260765" y="6236069"/>
                </a:lnTo>
                <a:lnTo>
                  <a:pt x="5260765" y="6226198"/>
                </a:lnTo>
                <a:close/>
                <a:moveTo>
                  <a:pt x="5025470" y="6222160"/>
                </a:moveTo>
                <a:lnTo>
                  <a:pt x="5035381" y="6222160"/>
                </a:lnTo>
                <a:lnTo>
                  <a:pt x="5039400" y="6226198"/>
                </a:lnTo>
                <a:lnTo>
                  <a:pt x="5039400" y="6236069"/>
                </a:lnTo>
                <a:lnTo>
                  <a:pt x="5035381" y="6240109"/>
                </a:lnTo>
                <a:lnTo>
                  <a:pt x="5025470" y="6240109"/>
                </a:lnTo>
                <a:lnTo>
                  <a:pt x="5021451" y="6236069"/>
                </a:lnTo>
                <a:lnTo>
                  <a:pt x="5021451" y="6226198"/>
                </a:lnTo>
                <a:close/>
                <a:moveTo>
                  <a:pt x="4786241" y="6222160"/>
                </a:moveTo>
                <a:lnTo>
                  <a:pt x="4796152" y="6222160"/>
                </a:lnTo>
                <a:lnTo>
                  <a:pt x="4800171" y="6226198"/>
                </a:lnTo>
                <a:lnTo>
                  <a:pt x="4800171" y="6236069"/>
                </a:lnTo>
                <a:lnTo>
                  <a:pt x="4796152" y="6240109"/>
                </a:lnTo>
                <a:lnTo>
                  <a:pt x="4786241" y="6240109"/>
                </a:lnTo>
                <a:lnTo>
                  <a:pt x="4782224" y="6236069"/>
                </a:lnTo>
                <a:lnTo>
                  <a:pt x="4782224" y="6226198"/>
                </a:lnTo>
                <a:close/>
                <a:moveTo>
                  <a:pt x="4546929" y="6222160"/>
                </a:moveTo>
                <a:lnTo>
                  <a:pt x="4556840" y="6222160"/>
                </a:lnTo>
                <a:lnTo>
                  <a:pt x="4560859" y="6226198"/>
                </a:lnTo>
                <a:lnTo>
                  <a:pt x="4560859" y="6236069"/>
                </a:lnTo>
                <a:lnTo>
                  <a:pt x="4556840" y="6240109"/>
                </a:lnTo>
                <a:lnTo>
                  <a:pt x="4546929" y="6240109"/>
                </a:lnTo>
                <a:lnTo>
                  <a:pt x="4542910" y="6236069"/>
                </a:lnTo>
                <a:lnTo>
                  <a:pt x="4542910" y="6226198"/>
                </a:lnTo>
                <a:close/>
                <a:moveTo>
                  <a:pt x="4307612" y="6222160"/>
                </a:moveTo>
                <a:lnTo>
                  <a:pt x="4317523" y="6222160"/>
                </a:lnTo>
                <a:lnTo>
                  <a:pt x="4321543" y="6226198"/>
                </a:lnTo>
                <a:lnTo>
                  <a:pt x="4321543" y="6236069"/>
                </a:lnTo>
                <a:lnTo>
                  <a:pt x="4317523" y="6240109"/>
                </a:lnTo>
                <a:lnTo>
                  <a:pt x="4307612" y="6240109"/>
                </a:lnTo>
                <a:lnTo>
                  <a:pt x="4303595" y="6236069"/>
                </a:lnTo>
                <a:lnTo>
                  <a:pt x="4303595" y="6226198"/>
                </a:lnTo>
                <a:close/>
                <a:moveTo>
                  <a:pt x="4068297" y="6222160"/>
                </a:moveTo>
                <a:lnTo>
                  <a:pt x="4078210" y="6222160"/>
                </a:lnTo>
                <a:lnTo>
                  <a:pt x="4082229" y="6226198"/>
                </a:lnTo>
                <a:lnTo>
                  <a:pt x="4082229" y="6236069"/>
                </a:lnTo>
                <a:lnTo>
                  <a:pt x="4078210" y="6240109"/>
                </a:lnTo>
                <a:lnTo>
                  <a:pt x="4068297" y="6240109"/>
                </a:lnTo>
                <a:lnTo>
                  <a:pt x="4064278" y="6236069"/>
                </a:lnTo>
                <a:lnTo>
                  <a:pt x="4064278" y="6226198"/>
                </a:lnTo>
                <a:close/>
                <a:moveTo>
                  <a:pt x="3828990" y="6222160"/>
                </a:moveTo>
                <a:lnTo>
                  <a:pt x="3838899" y="6222160"/>
                </a:lnTo>
                <a:lnTo>
                  <a:pt x="3842917" y="6226198"/>
                </a:lnTo>
                <a:lnTo>
                  <a:pt x="3842917" y="6236069"/>
                </a:lnTo>
                <a:lnTo>
                  <a:pt x="3838899" y="6240109"/>
                </a:lnTo>
                <a:lnTo>
                  <a:pt x="3828990" y="6240109"/>
                </a:lnTo>
                <a:lnTo>
                  <a:pt x="3824971" y="6236069"/>
                </a:lnTo>
                <a:lnTo>
                  <a:pt x="3824971" y="6226198"/>
                </a:lnTo>
                <a:close/>
                <a:moveTo>
                  <a:pt x="3589676" y="6222160"/>
                </a:moveTo>
                <a:lnTo>
                  <a:pt x="3599585" y="6222160"/>
                </a:lnTo>
                <a:lnTo>
                  <a:pt x="3603604" y="6226198"/>
                </a:lnTo>
                <a:lnTo>
                  <a:pt x="3603604" y="6236069"/>
                </a:lnTo>
                <a:lnTo>
                  <a:pt x="3599585" y="6240109"/>
                </a:lnTo>
                <a:lnTo>
                  <a:pt x="3589676" y="6240109"/>
                </a:lnTo>
                <a:lnTo>
                  <a:pt x="3585657" y="6236069"/>
                </a:lnTo>
                <a:lnTo>
                  <a:pt x="3585657" y="6226198"/>
                </a:lnTo>
                <a:close/>
                <a:moveTo>
                  <a:pt x="3350359" y="6222160"/>
                </a:moveTo>
                <a:lnTo>
                  <a:pt x="3360268" y="6222160"/>
                </a:lnTo>
                <a:lnTo>
                  <a:pt x="3364287" y="6226198"/>
                </a:lnTo>
                <a:lnTo>
                  <a:pt x="3364287" y="6236069"/>
                </a:lnTo>
                <a:lnTo>
                  <a:pt x="3360268" y="6240109"/>
                </a:lnTo>
                <a:lnTo>
                  <a:pt x="3350359" y="6240109"/>
                </a:lnTo>
                <a:lnTo>
                  <a:pt x="3346340" y="6236069"/>
                </a:lnTo>
                <a:lnTo>
                  <a:pt x="3346340" y="6226198"/>
                </a:lnTo>
                <a:close/>
                <a:moveTo>
                  <a:pt x="3111048" y="6222160"/>
                </a:moveTo>
                <a:lnTo>
                  <a:pt x="3120959" y="6222160"/>
                </a:lnTo>
                <a:lnTo>
                  <a:pt x="3124977" y="6226198"/>
                </a:lnTo>
                <a:lnTo>
                  <a:pt x="3124977" y="6236069"/>
                </a:lnTo>
                <a:lnTo>
                  <a:pt x="3120959" y="6240109"/>
                </a:lnTo>
                <a:lnTo>
                  <a:pt x="3111048" y="6240109"/>
                </a:lnTo>
                <a:lnTo>
                  <a:pt x="3107029" y="6236069"/>
                </a:lnTo>
                <a:lnTo>
                  <a:pt x="3107029" y="6226198"/>
                </a:lnTo>
                <a:close/>
                <a:moveTo>
                  <a:pt x="2871737" y="6222160"/>
                </a:moveTo>
                <a:lnTo>
                  <a:pt x="2881646" y="6222160"/>
                </a:lnTo>
                <a:lnTo>
                  <a:pt x="2885666" y="6226198"/>
                </a:lnTo>
                <a:lnTo>
                  <a:pt x="2885666" y="6236069"/>
                </a:lnTo>
                <a:lnTo>
                  <a:pt x="2881646" y="6240109"/>
                </a:lnTo>
                <a:lnTo>
                  <a:pt x="2871737" y="6240109"/>
                </a:lnTo>
                <a:lnTo>
                  <a:pt x="2867717" y="6236069"/>
                </a:lnTo>
                <a:lnTo>
                  <a:pt x="2867717" y="6226198"/>
                </a:lnTo>
                <a:close/>
                <a:moveTo>
                  <a:pt x="2632423" y="6222160"/>
                </a:moveTo>
                <a:lnTo>
                  <a:pt x="2642334" y="6222160"/>
                </a:lnTo>
                <a:lnTo>
                  <a:pt x="2646352" y="6226198"/>
                </a:lnTo>
                <a:lnTo>
                  <a:pt x="2646352" y="6236069"/>
                </a:lnTo>
                <a:lnTo>
                  <a:pt x="2642334" y="6240109"/>
                </a:lnTo>
                <a:lnTo>
                  <a:pt x="2632423" y="6240109"/>
                </a:lnTo>
                <a:lnTo>
                  <a:pt x="2628404" y="6236069"/>
                </a:lnTo>
                <a:lnTo>
                  <a:pt x="2628404" y="6226198"/>
                </a:lnTo>
                <a:close/>
                <a:moveTo>
                  <a:pt x="2393104" y="6222160"/>
                </a:moveTo>
                <a:lnTo>
                  <a:pt x="2403015" y="6222160"/>
                </a:lnTo>
                <a:lnTo>
                  <a:pt x="2407034" y="6226198"/>
                </a:lnTo>
                <a:lnTo>
                  <a:pt x="2407034" y="6236069"/>
                </a:lnTo>
                <a:lnTo>
                  <a:pt x="2403015" y="6240109"/>
                </a:lnTo>
                <a:lnTo>
                  <a:pt x="2393104" y="6240109"/>
                </a:lnTo>
                <a:lnTo>
                  <a:pt x="2389087" y="6236069"/>
                </a:lnTo>
                <a:lnTo>
                  <a:pt x="2389087" y="6226198"/>
                </a:lnTo>
                <a:close/>
                <a:moveTo>
                  <a:pt x="2157818" y="6222160"/>
                </a:moveTo>
                <a:lnTo>
                  <a:pt x="2167728" y="6222160"/>
                </a:lnTo>
                <a:lnTo>
                  <a:pt x="2171746" y="6226198"/>
                </a:lnTo>
                <a:lnTo>
                  <a:pt x="2171746" y="6236069"/>
                </a:lnTo>
                <a:lnTo>
                  <a:pt x="2167728" y="6240109"/>
                </a:lnTo>
                <a:lnTo>
                  <a:pt x="2157818" y="6240109"/>
                </a:lnTo>
                <a:lnTo>
                  <a:pt x="2153799" y="6236069"/>
                </a:lnTo>
                <a:lnTo>
                  <a:pt x="2153799" y="6226198"/>
                </a:lnTo>
                <a:close/>
                <a:moveTo>
                  <a:pt x="1918509" y="6222160"/>
                </a:moveTo>
                <a:lnTo>
                  <a:pt x="1928419" y="6222160"/>
                </a:lnTo>
                <a:lnTo>
                  <a:pt x="1932438" y="6226198"/>
                </a:lnTo>
                <a:lnTo>
                  <a:pt x="1932438" y="6236069"/>
                </a:lnTo>
                <a:lnTo>
                  <a:pt x="1928419" y="6240109"/>
                </a:lnTo>
                <a:lnTo>
                  <a:pt x="1918509" y="6240109"/>
                </a:lnTo>
                <a:lnTo>
                  <a:pt x="1914490" y="6236069"/>
                </a:lnTo>
                <a:lnTo>
                  <a:pt x="1914490" y="6226198"/>
                </a:lnTo>
                <a:close/>
                <a:moveTo>
                  <a:pt x="1679200" y="6222160"/>
                </a:moveTo>
                <a:lnTo>
                  <a:pt x="1689110" y="6222160"/>
                </a:lnTo>
                <a:lnTo>
                  <a:pt x="1693129" y="6226198"/>
                </a:lnTo>
                <a:lnTo>
                  <a:pt x="1693129" y="6236069"/>
                </a:lnTo>
                <a:lnTo>
                  <a:pt x="1689110" y="6240109"/>
                </a:lnTo>
                <a:lnTo>
                  <a:pt x="1679200" y="6240109"/>
                </a:lnTo>
                <a:lnTo>
                  <a:pt x="1675182" y="6236069"/>
                </a:lnTo>
                <a:lnTo>
                  <a:pt x="1675182" y="6226198"/>
                </a:lnTo>
                <a:close/>
                <a:moveTo>
                  <a:pt x="1439885" y="6222160"/>
                </a:moveTo>
                <a:lnTo>
                  <a:pt x="1449795" y="6222160"/>
                </a:lnTo>
                <a:lnTo>
                  <a:pt x="1453814" y="6226198"/>
                </a:lnTo>
                <a:lnTo>
                  <a:pt x="1453814" y="6236069"/>
                </a:lnTo>
                <a:lnTo>
                  <a:pt x="1449795" y="6240109"/>
                </a:lnTo>
                <a:lnTo>
                  <a:pt x="1439885" y="6240109"/>
                </a:lnTo>
                <a:lnTo>
                  <a:pt x="1435866" y="6236069"/>
                </a:lnTo>
                <a:lnTo>
                  <a:pt x="1435866" y="6226198"/>
                </a:lnTo>
                <a:close/>
                <a:moveTo>
                  <a:pt x="1200570" y="6222160"/>
                </a:moveTo>
                <a:lnTo>
                  <a:pt x="1210481" y="6222160"/>
                </a:lnTo>
                <a:lnTo>
                  <a:pt x="1214499" y="6226198"/>
                </a:lnTo>
                <a:lnTo>
                  <a:pt x="1214499" y="6236069"/>
                </a:lnTo>
                <a:lnTo>
                  <a:pt x="1210481" y="6240109"/>
                </a:lnTo>
                <a:lnTo>
                  <a:pt x="1200570" y="6240109"/>
                </a:lnTo>
                <a:lnTo>
                  <a:pt x="1196551" y="6236069"/>
                </a:lnTo>
                <a:lnTo>
                  <a:pt x="1196551" y="6226198"/>
                </a:lnTo>
                <a:close/>
                <a:moveTo>
                  <a:pt x="961258" y="6222160"/>
                </a:moveTo>
                <a:lnTo>
                  <a:pt x="971167" y="6222160"/>
                </a:lnTo>
                <a:lnTo>
                  <a:pt x="975186" y="6226198"/>
                </a:lnTo>
                <a:lnTo>
                  <a:pt x="975186" y="6236069"/>
                </a:lnTo>
                <a:lnTo>
                  <a:pt x="971167" y="6240109"/>
                </a:lnTo>
                <a:lnTo>
                  <a:pt x="961258" y="6240109"/>
                </a:lnTo>
                <a:lnTo>
                  <a:pt x="957239" y="6236069"/>
                </a:lnTo>
                <a:lnTo>
                  <a:pt x="957239" y="6226198"/>
                </a:lnTo>
                <a:close/>
                <a:moveTo>
                  <a:pt x="721959" y="6222160"/>
                </a:moveTo>
                <a:lnTo>
                  <a:pt x="731869" y="6222160"/>
                </a:lnTo>
                <a:lnTo>
                  <a:pt x="735888" y="6226198"/>
                </a:lnTo>
                <a:lnTo>
                  <a:pt x="735888" y="6236069"/>
                </a:lnTo>
                <a:lnTo>
                  <a:pt x="731869" y="6240109"/>
                </a:lnTo>
                <a:lnTo>
                  <a:pt x="721959" y="6240109"/>
                </a:lnTo>
                <a:lnTo>
                  <a:pt x="717940" y="6236069"/>
                </a:lnTo>
                <a:lnTo>
                  <a:pt x="717940" y="6226198"/>
                </a:lnTo>
                <a:close/>
                <a:moveTo>
                  <a:pt x="482646" y="6222160"/>
                </a:moveTo>
                <a:lnTo>
                  <a:pt x="492557" y="6222160"/>
                </a:lnTo>
                <a:lnTo>
                  <a:pt x="496576" y="6226198"/>
                </a:lnTo>
                <a:lnTo>
                  <a:pt x="496576" y="6236069"/>
                </a:lnTo>
                <a:lnTo>
                  <a:pt x="492557" y="6240109"/>
                </a:lnTo>
                <a:lnTo>
                  <a:pt x="482646" y="6240109"/>
                </a:lnTo>
                <a:lnTo>
                  <a:pt x="478627" y="6236069"/>
                </a:lnTo>
                <a:lnTo>
                  <a:pt x="478627" y="6226198"/>
                </a:lnTo>
                <a:close/>
                <a:moveTo>
                  <a:pt x="243333" y="6222160"/>
                </a:moveTo>
                <a:lnTo>
                  <a:pt x="253243" y="6222160"/>
                </a:lnTo>
                <a:lnTo>
                  <a:pt x="257263" y="6226198"/>
                </a:lnTo>
                <a:lnTo>
                  <a:pt x="257263" y="6236069"/>
                </a:lnTo>
                <a:lnTo>
                  <a:pt x="253243" y="6240109"/>
                </a:lnTo>
                <a:lnTo>
                  <a:pt x="243333" y="6240109"/>
                </a:lnTo>
                <a:lnTo>
                  <a:pt x="239314" y="6236069"/>
                </a:lnTo>
                <a:lnTo>
                  <a:pt x="239314" y="6226198"/>
                </a:lnTo>
                <a:close/>
                <a:moveTo>
                  <a:pt x="4020" y="6222160"/>
                </a:moveTo>
                <a:lnTo>
                  <a:pt x="13930" y="6222160"/>
                </a:lnTo>
                <a:lnTo>
                  <a:pt x="17949" y="6226198"/>
                </a:lnTo>
                <a:lnTo>
                  <a:pt x="17949" y="6236069"/>
                </a:lnTo>
                <a:lnTo>
                  <a:pt x="13930" y="6240109"/>
                </a:lnTo>
                <a:lnTo>
                  <a:pt x="4020" y="6240109"/>
                </a:lnTo>
                <a:lnTo>
                  <a:pt x="1" y="6236069"/>
                </a:lnTo>
                <a:lnTo>
                  <a:pt x="1" y="6226198"/>
                </a:lnTo>
                <a:close/>
                <a:moveTo>
                  <a:pt x="2157818" y="5982881"/>
                </a:moveTo>
                <a:lnTo>
                  <a:pt x="2167728" y="5982881"/>
                </a:lnTo>
                <a:lnTo>
                  <a:pt x="2171747" y="5986919"/>
                </a:lnTo>
                <a:lnTo>
                  <a:pt x="2171747" y="5996790"/>
                </a:lnTo>
                <a:lnTo>
                  <a:pt x="2167728" y="6000829"/>
                </a:lnTo>
                <a:lnTo>
                  <a:pt x="2157818" y="6000829"/>
                </a:lnTo>
                <a:lnTo>
                  <a:pt x="2153799" y="5996790"/>
                </a:lnTo>
                <a:lnTo>
                  <a:pt x="2153799" y="5986919"/>
                </a:lnTo>
                <a:close/>
                <a:moveTo>
                  <a:pt x="1918509" y="5982881"/>
                </a:moveTo>
                <a:lnTo>
                  <a:pt x="1928420" y="5982881"/>
                </a:lnTo>
                <a:lnTo>
                  <a:pt x="1932438" y="5986919"/>
                </a:lnTo>
                <a:lnTo>
                  <a:pt x="1932438" y="5996790"/>
                </a:lnTo>
                <a:lnTo>
                  <a:pt x="1928420" y="6000829"/>
                </a:lnTo>
                <a:lnTo>
                  <a:pt x="1918509" y="6000829"/>
                </a:lnTo>
                <a:lnTo>
                  <a:pt x="1914490" y="5996790"/>
                </a:lnTo>
                <a:lnTo>
                  <a:pt x="1914490" y="5986919"/>
                </a:lnTo>
                <a:close/>
                <a:moveTo>
                  <a:pt x="1679201" y="5982881"/>
                </a:moveTo>
                <a:lnTo>
                  <a:pt x="1689111" y="5982881"/>
                </a:lnTo>
                <a:lnTo>
                  <a:pt x="1693129" y="5986919"/>
                </a:lnTo>
                <a:lnTo>
                  <a:pt x="1693129" y="5996790"/>
                </a:lnTo>
                <a:lnTo>
                  <a:pt x="1689111" y="6000829"/>
                </a:lnTo>
                <a:lnTo>
                  <a:pt x="1679201" y="6000829"/>
                </a:lnTo>
                <a:lnTo>
                  <a:pt x="1675182" y="5996790"/>
                </a:lnTo>
                <a:lnTo>
                  <a:pt x="1675182" y="5986919"/>
                </a:lnTo>
                <a:close/>
                <a:moveTo>
                  <a:pt x="1439886" y="5982881"/>
                </a:moveTo>
                <a:lnTo>
                  <a:pt x="1449796" y="5982881"/>
                </a:lnTo>
                <a:lnTo>
                  <a:pt x="1453814" y="5986919"/>
                </a:lnTo>
                <a:lnTo>
                  <a:pt x="1453814" y="5996790"/>
                </a:lnTo>
                <a:lnTo>
                  <a:pt x="1449796" y="6000829"/>
                </a:lnTo>
                <a:lnTo>
                  <a:pt x="1439886" y="6000829"/>
                </a:lnTo>
                <a:lnTo>
                  <a:pt x="1435866" y="5996790"/>
                </a:lnTo>
                <a:lnTo>
                  <a:pt x="1435866" y="5986919"/>
                </a:lnTo>
                <a:close/>
                <a:moveTo>
                  <a:pt x="1200571" y="5982881"/>
                </a:moveTo>
                <a:lnTo>
                  <a:pt x="1210481" y="5982881"/>
                </a:lnTo>
                <a:lnTo>
                  <a:pt x="1214500" y="5986919"/>
                </a:lnTo>
                <a:lnTo>
                  <a:pt x="1214500" y="5996790"/>
                </a:lnTo>
                <a:lnTo>
                  <a:pt x="1210481" y="6000829"/>
                </a:lnTo>
                <a:lnTo>
                  <a:pt x="1200571" y="6000829"/>
                </a:lnTo>
                <a:lnTo>
                  <a:pt x="1196553" y="5996790"/>
                </a:lnTo>
                <a:lnTo>
                  <a:pt x="1196553" y="5986919"/>
                </a:lnTo>
                <a:close/>
                <a:moveTo>
                  <a:pt x="961258" y="5982881"/>
                </a:moveTo>
                <a:lnTo>
                  <a:pt x="971168" y="5982881"/>
                </a:lnTo>
                <a:lnTo>
                  <a:pt x="975187" y="5986919"/>
                </a:lnTo>
                <a:lnTo>
                  <a:pt x="975187" y="5996790"/>
                </a:lnTo>
                <a:lnTo>
                  <a:pt x="971168" y="6000829"/>
                </a:lnTo>
                <a:lnTo>
                  <a:pt x="961258" y="6000829"/>
                </a:lnTo>
                <a:lnTo>
                  <a:pt x="957239" y="5996790"/>
                </a:lnTo>
                <a:lnTo>
                  <a:pt x="957239" y="5986919"/>
                </a:lnTo>
                <a:close/>
                <a:moveTo>
                  <a:pt x="9572438" y="5982829"/>
                </a:moveTo>
                <a:lnTo>
                  <a:pt x="9582349" y="5982829"/>
                </a:lnTo>
                <a:lnTo>
                  <a:pt x="9586368" y="5986868"/>
                </a:lnTo>
                <a:lnTo>
                  <a:pt x="9586368" y="5996739"/>
                </a:lnTo>
                <a:lnTo>
                  <a:pt x="9582349" y="6000778"/>
                </a:lnTo>
                <a:lnTo>
                  <a:pt x="9572438" y="6000778"/>
                </a:lnTo>
                <a:lnTo>
                  <a:pt x="9568419" y="5996739"/>
                </a:lnTo>
                <a:lnTo>
                  <a:pt x="9568419" y="5986868"/>
                </a:lnTo>
                <a:close/>
                <a:moveTo>
                  <a:pt x="9333125" y="5982829"/>
                </a:moveTo>
                <a:lnTo>
                  <a:pt x="9343036" y="5982829"/>
                </a:lnTo>
                <a:lnTo>
                  <a:pt x="9347055" y="5986868"/>
                </a:lnTo>
                <a:lnTo>
                  <a:pt x="9347055" y="5996739"/>
                </a:lnTo>
                <a:lnTo>
                  <a:pt x="9343036" y="6000778"/>
                </a:lnTo>
                <a:lnTo>
                  <a:pt x="9333125" y="6000778"/>
                </a:lnTo>
                <a:lnTo>
                  <a:pt x="9329106" y="5996739"/>
                </a:lnTo>
                <a:lnTo>
                  <a:pt x="9329106" y="5986868"/>
                </a:lnTo>
                <a:close/>
                <a:moveTo>
                  <a:pt x="9093811" y="5982829"/>
                </a:moveTo>
                <a:lnTo>
                  <a:pt x="9103722" y="5982829"/>
                </a:lnTo>
                <a:lnTo>
                  <a:pt x="9107741" y="5986868"/>
                </a:lnTo>
                <a:lnTo>
                  <a:pt x="9107741" y="5996739"/>
                </a:lnTo>
                <a:lnTo>
                  <a:pt x="9103722" y="6000778"/>
                </a:lnTo>
                <a:lnTo>
                  <a:pt x="9093811" y="6000778"/>
                </a:lnTo>
                <a:lnTo>
                  <a:pt x="9089792" y="5996739"/>
                </a:lnTo>
                <a:lnTo>
                  <a:pt x="9089792" y="5986868"/>
                </a:lnTo>
                <a:close/>
                <a:moveTo>
                  <a:pt x="8854496" y="5982829"/>
                </a:moveTo>
                <a:lnTo>
                  <a:pt x="8864407" y="5982829"/>
                </a:lnTo>
                <a:lnTo>
                  <a:pt x="8868426" y="5986868"/>
                </a:lnTo>
                <a:lnTo>
                  <a:pt x="8868426" y="5996739"/>
                </a:lnTo>
                <a:lnTo>
                  <a:pt x="8864407" y="6000778"/>
                </a:lnTo>
                <a:lnTo>
                  <a:pt x="8854496" y="6000778"/>
                </a:lnTo>
                <a:lnTo>
                  <a:pt x="8850477" y="5996739"/>
                </a:lnTo>
                <a:lnTo>
                  <a:pt x="8850477" y="5986868"/>
                </a:lnTo>
                <a:close/>
                <a:moveTo>
                  <a:pt x="8615184" y="5982829"/>
                </a:moveTo>
                <a:lnTo>
                  <a:pt x="8625095" y="5982829"/>
                </a:lnTo>
                <a:lnTo>
                  <a:pt x="8629114" y="5986868"/>
                </a:lnTo>
                <a:lnTo>
                  <a:pt x="8629114" y="5996739"/>
                </a:lnTo>
                <a:lnTo>
                  <a:pt x="8625095" y="6000778"/>
                </a:lnTo>
                <a:lnTo>
                  <a:pt x="8615184" y="6000778"/>
                </a:lnTo>
                <a:lnTo>
                  <a:pt x="8611165" y="5996739"/>
                </a:lnTo>
                <a:lnTo>
                  <a:pt x="8611165" y="5986868"/>
                </a:lnTo>
                <a:close/>
                <a:moveTo>
                  <a:pt x="8375869" y="5982829"/>
                </a:moveTo>
                <a:lnTo>
                  <a:pt x="8385779" y="5982829"/>
                </a:lnTo>
                <a:lnTo>
                  <a:pt x="8389799" y="5986868"/>
                </a:lnTo>
                <a:lnTo>
                  <a:pt x="8389799" y="5996739"/>
                </a:lnTo>
                <a:lnTo>
                  <a:pt x="8385779" y="6000778"/>
                </a:lnTo>
                <a:lnTo>
                  <a:pt x="8375869" y="6000778"/>
                </a:lnTo>
                <a:lnTo>
                  <a:pt x="8371850" y="5996739"/>
                </a:lnTo>
                <a:lnTo>
                  <a:pt x="8371850" y="5986868"/>
                </a:lnTo>
                <a:close/>
                <a:moveTo>
                  <a:pt x="8136553" y="5982829"/>
                </a:moveTo>
                <a:lnTo>
                  <a:pt x="8146464" y="5982829"/>
                </a:lnTo>
                <a:lnTo>
                  <a:pt x="8150483" y="5986868"/>
                </a:lnTo>
                <a:lnTo>
                  <a:pt x="8150483" y="5996739"/>
                </a:lnTo>
                <a:lnTo>
                  <a:pt x="8146464" y="6000778"/>
                </a:lnTo>
                <a:lnTo>
                  <a:pt x="8136553" y="6000778"/>
                </a:lnTo>
                <a:lnTo>
                  <a:pt x="8132534" y="5996739"/>
                </a:lnTo>
                <a:lnTo>
                  <a:pt x="8132534" y="5986868"/>
                </a:lnTo>
                <a:close/>
                <a:moveTo>
                  <a:pt x="7897241" y="5982829"/>
                </a:moveTo>
                <a:lnTo>
                  <a:pt x="7907151" y="5982829"/>
                </a:lnTo>
                <a:lnTo>
                  <a:pt x="7911170" y="5986868"/>
                </a:lnTo>
                <a:lnTo>
                  <a:pt x="7911170" y="5996739"/>
                </a:lnTo>
                <a:lnTo>
                  <a:pt x="7907151" y="6000778"/>
                </a:lnTo>
                <a:lnTo>
                  <a:pt x="7897241" y="6000778"/>
                </a:lnTo>
                <a:lnTo>
                  <a:pt x="7893222" y="5996739"/>
                </a:lnTo>
                <a:lnTo>
                  <a:pt x="7893222" y="5986868"/>
                </a:lnTo>
                <a:close/>
                <a:moveTo>
                  <a:pt x="7657926" y="5982829"/>
                </a:moveTo>
                <a:lnTo>
                  <a:pt x="7667836" y="5982829"/>
                </a:lnTo>
                <a:lnTo>
                  <a:pt x="7671855" y="5986868"/>
                </a:lnTo>
                <a:lnTo>
                  <a:pt x="7671855" y="5996739"/>
                </a:lnTo>
                <a:lnTo>
                  <a:pt x="7667836" y="6000778"/>
                </a:lnTo>
                <a:lnTo>
                  <a:pt x="7657926" y="6000778"/>
                </a:lnTo>
                <a:lnTo>
                  <a:pt x="7653906" y="5996739"/>
                </a:lnTo>
                <a:lnTo>
                  <a:pt x="7653906" y="5986868"/>
                </a:lnTo>
                <a:close/>
                <a:moveTo>
                  <a:pt x="7418611" y="5982829"/>
                </a:moveTo>
                <a:lnTo>
                  <a:pt x="7428521" y="5982829"/>
                </a:lnTo>
                <a:lnTo>
                  <a:pt x="7432540" y="5986868"/>
                </a:lnTo>
                <a:lnTo>
                  <a:pt x="7432540" y="5996739"/>
                </a:lnTo>
                <a:lnTo>
                  <a:pt x="7428521" y="6000778"/>
                </a:lnTo>
                <a:lnTo>
                  <a:pt x="7418611" y="6000778"/>
                </a:lnTo>
                <a:lnTo>
                  <a:pt x="7414592" y="5996739"/>
                </a:lnTo>
                <a:lnTo>
                  <a:pt x="7414592" y="5986868"/>
                </a:lnTo>
                <a:close/>
                <a:moveTo>
                  <a:pt x="7179298" y="5982829"/>
                </a:moveTo>
                <a:lnTo>
                  <a:pt x="7189209" y="5982829"/>
                </a:lnTo>
                <a:lnTo>
                  <a:pt x="7193228" y="5986868"/>
                </a:lnTo>
                <a:lnTo>
                  <a:pt x="7193228" y="5996739"/>
                </a:lnTo>
                <a:lnTo>
                  <a:pt x="7189209" y="6000778"/>
                </a:lnTo>
                <a:lnTo>
                  <a:pt x="7179298" y="6000778"/>
                </a:lnTo>
                <a:lnTo>
                  <a:pt x="7175279" y="5996739"/>
                </a:lnTo>
                <a:lnTo>
                  <a:pt x="7175279" y="5986868"/>
                </a:lnTo>
                <a:close/>
                <a:moveTo>
                  <a:pt x="6939983" y="5982829"/>
                </a:moveTo>
                <a:lnTo>
                  <a:pt x="6949894" y="5982829"/>
                </a:lnTo>
                <a:lnTo>
                  <a:pt x="6953913" y="5986868"/>
                </a:lnTo>
                <a:lnTo>
                  <a:pt x="6953913" y="5996739"/>
                </a:lnTo>
                <a:lnTo>
                  <a:pt x="6949894" y="6000778"/>
                </a:lnTo>
                <a:lnTo>
                  <a:pt x="6939983" y="6000778"/>
                </a:lnTo>
                <a:lnTo>
                  <a:pt x="6935964" y="5996739"/>
                </a:lnTo>
                <a:lnTo>
                  <a:pt x="6935964" y="5986868"/>
                </a:lnTo>
                <a:close/>
                <a:moveTo>
                  <a:pt x="6700670" y="5982829"/>
                </a:moveTo>
                <a:lnTo>
                  <a:pt x="6710581" y="5982829"/>
                </a:lnTo>
                <a:lnTo>
                  <a:pt x="6714600" y="5986868"/>
                </a:lnTo>
                <a:lnTo>
                  <a:pt x="6714600" y="5996739"/>
                </a:lnTo>
                <a:lnTo>
                  <a:pt x="6710581" y="6000778"/>
                </a:lnTo>
                <a:lnTo>
                  <a:pt x="6700670" y="6000778"/>
                </a:lnTo>
                <a:lnTo>
                  <a:pt x="6696651" y="5996739"/>
                </a:lnTo>
                <a:lnTo>
                  <a:pt x="6696651" y="5986868"/>
                </a:lnTo>
                <a:close/>
                <a:moveTo>
                  <a:pt x="6461356" y="5982829"/>
                </a:moveTo>
                <a:lnTo>
                  <a:pt x="6471266" y="5982829"/>
                </a:lnTo>
                <a:lnTo>
                  <a:pt x="6475285" y="5986868"/>
                </a:lnTo>
                <a:lnTo>
                  <a:pt x="6475285" y="5996739"/>
                </a:lnTo>
                <a:lnTo>
                  <a:pt x="6471266" y="6000778"/>
                </a:lnTo>
                <a:lnTo>
                  <a:pt x="6461356" y="6000778"/>
                </a:lnTo>
                <a:lnTo>
                  <a:pt x="6457337" y="5996739"/>
                </a:lnTo>
                <a:lnTo>
                  <a:pt x="6457337" y="5986868"/>
                </a:lnTo>
                <a:close/>
                <a:moveTo>
                  <a:pt x="6222042" y="5982829"/>
                </a:moveTo>
                <a:lnTo>
                  <a:pt x="6231952" y="5982829"/>
                </a:lnTo>
                <a:lnTo>
                  <a:pt x="6235971" y="5986868"/>
                </a:lnTo>
                <a:lnTo>
                  <a:pt x="6235971" y="5996739"/>
                </a:lnTo>
                <a:lnTo>
                  <a:pt x="6231952" y="6000778"/>
                </a:lnTo>
                <a:lnTo>
                  <a:pt x="6222042" y="6000778"/>
                </a:lnTo>
                <a:lnTo>
                  <a:pt x="6218023" y="5996739"/>
                </a:lnTo>
                <a:lnTo>
                  <a:pt x="6218023" y="5986868"/>
                </a:lnTo>
                <a:close/>
                <a:moveTo>
                  <a:pt x="5982729" y="5982829"/>
                </a:moveTo>
                <a:lnTo>
                  <a:pt x="5992639" y="5982829"/>
                </a:lnTo>
                <a:lnTo>
                  <a:pt x="5996658" y="5986868"/>
                </a:lnTo>
                <a:lnTo>
                  <a:pt x="5996658" y="5996739"/>
                </a:lnTo>
                <a:lnTo>
                  <a:pt x="5992639" y="6000778"/>
                </a:lnTo>
                <a:lnTo>
                  <a:pt x="5982729" y="6000778"/>
                </a:lnTo>
                <a:lnTo>
                  <a:pt x="5978710" y="5996739"/>
                </a:lnTo>
                <a:lnTo>
                  <a:pt x="5978710" y="5986868"/>
                </a:lnTo>
                <a:close/>
                <a:moveTo>
                  <a:pt x="5743412" y="5982829"/>
                </a:moveTo>
                <a:lnTo>
                  <a:pt x="5753323" y="5982829"/>
                </a:lnTo>
                <a:lnTo>
                  <a:pt x="5757342" y="5986868"/>
                </a:lnTo>
                <a:lnTo>
                  <a:pt x="5757342" y="5996739"/>
                </a:lnTo>
                <a:lnTo>
                  <a:pt x="5753323" y="6000778"/>
                </a:lnTo>
                <a:lnTo>
                  <a:pt x="5743412" y="6000778"/>
                </a:lnTo>
                <a:lnTo>
                  <a:pt x="5739393" y="5996739"/>
                </a:lnTo>
                <a:lnTo>
                  <a:pt x="5739393" y="5986868"/>
                </a:lnTo>
                <a:close/>
                <a:moveTo>
                  <a:pt x="5504099" y="5982829"/>
                </a:moveTo>
                <a:lnTo>
                  <a:pt x="5514010" y="5982829"/>
                </a:lnTo>
                <a:lnTo>
                  <a:pt x="5518029" y="5986868"/>
                </a:lnTo>
                <a:lnTo>
                  <a:pt x="5518029" y="5996739"/>
                </a:lnTo>
                <a:lnTo>
                  <a:pt x="5514010" y="6000778"/>
                </a:lnTo>
                <a:lnTo>
                  <a:pt x="5504099" y="6000778"/>
                </a:lnTo>
                <a:lnTo>
                  <a:pt x="5500080" y="5996739"/>
                </a:lnTo>
                <a:lnTo>
                  <a:pt x="5500080" y="5986868"/>
                </a:lnTo>
                <a:close/>
                <a:moveTo>
                  <a:pt x="5264784" y="5982829"/>
                </a:moveTo>
                <a:lnTo>
                  <a:pt x="5274694" y="5982829"/>
                </a:lnTo>
                <a:lnTo>
                  <a:pt x="5278713" y="5986868"/>
                </a:lnTo>
                <a:lnTo>
                  <a:pt x="5278713" y="5996739"/>
                </a:lnTo>
                <a:lnTo>
                  <a:pt x="5274694" y="6000778"/>
                </a:lnTo>
                <a:lnTo>
                  <a:pt x="5264784" y="6000778"/>
                </a:lnTo>
                <a:lnTo>
                  <a:pt x="5260765" y="5996739"/>
                </a:lnTo>
                <a:lnTo>
                  <a:pt x="5260765" y="5986868"/>
                </a:lnTo>
                <a:close/>
                <a:moveTo>
                  <a:pt x="5025470" y="5982829"/>
                </a:moveTo>
                <a:lnTo>
                  <a:pt x="5035381" y="5982829"/>
                </a:lnTo>
                <a:lnTo>
                  <a:pt x="5039400" y="5986868"/>
                </a:lnTo>
                <a:lnTo>
                  <a:pt x="5039400" y="5996739"/>
                </a:lnTo>
                <a:lnTo>
                  <a:pt x="5035381" y="6000778"/>
                </a:lnTo>
                <a:lnTo>
                  <a:pt x="5025470" y="6000778"/>
                </a:lnTo>
                <a:lnTo>
                  <a:pt x="5021451" y="5996739"/>
                </a:lnTo>
                <a:lnTo>
                  <a:pt x="5021451" y="5986868"/>
                </a:lnTo>
                <a:close/>
                <a:moveTo>
                  <a:pt x="4786241" y="5982829"/>
                </a:moveTo>
                <a:lnTo>
                  <a:pt x="4796152" y="5982829"/>
                </a:lnTo>
                <a:lnTo>
                  <a:pt x="4800171" y="5986868"/>
                </a:lnTo>
                <a:lnTo>
                  <a:pt x="4800171" y="5996739"/>
                </a:lnTo>
                <a:lnTo>
                  <a:pt x="4796152" y="6000778"/>
                </a:lnTo>
                <a:lnTo>
                  <a:pt x="4786241" y="6000778"/>
                </a:lnTo>
                <a:lnTo>
                  <a:pt x="4782224" y="5996739"/>
                </a:lnTo>
                <a:lnTo>
                  <a:pt x="4782224" y="5986868"/>
                </a:lnTo>
                <a:close/>
                <a:moveTo>
                  <a:pt x="4546929" y="5982829"/>
                </a:moveTo>
                <a:lnTo>
                  <a:pt x="4556840" y="5982829"/>
                </a:lnTo>
                <a:lnTo>
                  <a:pt x="4560859" y="5986868"/>
                </a:lnTo>
                <a:lnTo>
                  <a:pt x="4560859" y="5996739"/>
                </a:lnTo>
                <a:lnTo>
                  <a:pt x="4556840" y="6000778"/>
                </a:lnTo>
                <a:lnTo>
                  <a:pt x="4546929" y="6000778"/>
                </a:lnTo>
                <a:lnTo>
                  <a:pt x="4542910" y="5996739"/>
                </a:lnTo>
                <a:lnTo>
                  <a:pt x="4542910" y="5986868"/>
                </a:lnTo>
                <a:close/>
                <a:moveTo>
                  <a:pt x="4307612" y="5982829"/>
                </a:moveTo>
                <a:lnTo>
                  <a:pt x="4317523" y="5982829"/>
                </a:lnTo>
                <a:lnTo>
                  <a:pt x="4321543" y="5986868"/>
                </a:lnTo>
                <a:lnTo>
                  <a:pt x="4321543" y="5996739"/>
                </a:lnTo>
                <a:lnTo>
                  <a:pt x="4317523" y="6000778"/>
                </a:lnTo>
                <a:lnTo>
                  <a:pt x="4307612" y="6000778"/>
                </a:lnTo>
                <a:lnTo>
                  <a:pt x="4303595" y="5996739"/>
                </a:lnTo>
                <a:lnTo>
                  <a:pt x="4303595" y="5986868"/>
                </a:lnTo>
                <a:close/>
                <a:moveTo>
                  <a:pt x="4068297" y="5982829"/>
                </a:moveTo>
                <a:lnTo>
                  <a:pt x="4078210" y="5982829"/>
                </a:lnTo>
                <a:lnTo>
                  <a:pt x="4082229" y="5986868"/>
                </a:lnTo>
                <a:lnTo>
                  <a:pt x="4082229" y="5996739"/>
                </a:lnTo>
                <a:lnTo>
                  <a:pt x="4078210" y="6000778"/>
                </a:lnTo>
                <a:lnTo>
                  <a:pt x="4068297" y="6000778"/>
                </a:lnTo>
                <a:lnTo>
                  <a:pt x="4064278" y="5996739"/>
                </a:lnTo>
                <a:lnTo>
                  <a:pt x="4064278" y="5986868"/>
                </a:lnTo>
                <a:close/>
                <a:moveTo>
                  <a:pt x="3828990" y="5982829"/>
                </a:moveTo>
                <a:lnTo>
                  <a:pt x="3838899" y="5982829"/>
                </a:lnTo>
                <a:lnTo>
                  <a:pt x="3842917" y="5986868"/>
                </a:lnTo>
                <a:lnTo>
                  <a:pt x="3842917" y="5996739"/>
                </a:lnTo>
                <a:lnTo>
                  <a:pt x="3838899" y="6000778"/>
                </a:lnTo>
                <a:lnTo>
                  <a:pt x="3828990" y="6000778"/>
                </a:lnTo>
                <a:lnTo>
                  <a:pt x="3824971" y="5996739"/>
                </a:lnTo>
                <a:lnTo>
                  <a:pt x="3824971" y="5986868"/>
                </a:lnTo>
                <a:close/>
                <a:moveTo>
                  <a:pt x="3589676" y="5982829"/>
                </a:moveTo>
                <a:lnTo>
                  <a:pt x="3599585" y="5982829"/>
                </a:lnTo>
                <a:lnTo>
                  <a:pt x="3603604" y="5986868"/>
                </a:lnTo>
                <a:lnTo>
                  <a:pt x="3603604" y="5996739"/>
                </a:lnTo>
                <a:lnTo>
                  <a:pt x="3599585" y="6000778"/>
                </a:lnTo>
                <a:lnTo>
                  <a:pt x="3589676" y="6000778"/>
                </a:lnTo>
                <a:lnTo>
                  <a:pt x="3585657" y="5996739"/>
                </a:lnTo>
                <a:lnTo>
                  <a:pt x="3585657" y="5986868"/>
                </a:lnTo>
                <a:close/>
                <a:moveTo>
                  <a:pt x="3350359" y="5982829"/>
                </a:moveTo>
                <a:lnTo>
                  <a:pt x="3360268" y="5982829"/>
                </a:lnTo>
                <a:lnTo>
                  <a:pt x="3364287" y="5986868"/>
                </a:lnTo>
                <a:lnTo>
                  <a:pt x="3364287" y="5996739"/>
                </a:lnTo>
                <a:lnTo>
                  <a:pt x="3360268" y="6000778"/>
                </a:lnTo>
                <a:lnTo>
                  <a:pt x="3350359" y="6000778"/>
                </a:lnTo>
                <a:lnTo>
                  <a:pt x="3346340" y="5996739"/>
                </a:lnTo>
                <a:lnTo>
                  <a:pt x="3346340" y="5986868"/>
                </a:lnTo>
                <a:close/>
                <a:moveTo>
                  <a:pt x="3111048" y="5982829"/>
                </a:moveTo>
                <a:lnTo>
                  <a:pt x="3120959" y="5982829"/>
                </a:lnTo>
                <a:lnTo>
                  <a:pt x="3124977" y="5986868"/>
                </a:lnTo>
                <a:lnTo>
                  <a:pt x="3124977" y="5996739"/>
                </a:lnTo>
                <a:lnTo>
                  <a:pt x="3120959" y="6000778"/>
                </a:lnTo>
                <a:lnTo>
                  <a:pt x="3111048" y="6000778"/>
                </a:lnTo>
                <a:lnTo>
                  <a:pt x="3107029" y="5996739"/>
                </a:lnTo>
                <a:lnTo>
                  <a:pt x="3107029" y="5986868"/>
                </a:lnTo>
                <a:close/>
                <a:moveTo>
                  <a:pt x="2871737" y="5982829"/>
                </a:moveTo>
                <a:lnTo>
                  <a:pt x="2881646" y="5982829"/>
                </a:lnTo>
                <a:lnTo>
                  <a:pt x="2885666" y="5986868"/>
                </a:lnTo>
                <a:lnTo>
                  <a:pt x="2885666" y="5996739"/>
                </a:lnTo>
                <a:lnTo>
                  <a:pt x="2881646" y="6000778"/>
                </a:lnTo>
                <a:lnTo>
                  <a:pt x="2871737" y="6000778"/>
                </a:lnTo>
                <a:lnTo>
                  <a:pt x="2867717" y="5996739"/>
                </a:lnTo>
                <a:lnTo>
                  <a:pt x="2867717" y="5986868"/>
                </a:lnTo>
                <a:close/>
                <a:moveTo>
                  <a:pt x="2632423" y="5982829"/>
                </a:moveTo>
                <a:lnTo>
                  <a:pt x="2642334" y="5982829"/>
                </a:lnTo>
                <a:lnTo>
                  <a:pt x="2646352" y="5986868"/>
                </a:lnTo>
                <a:lnTo>
                  <a:pt x="2646352" y="5996739"/>
                </a:lnTo>
                <a:lnTo>
                  <a:pt x="2642334" y="6000778"/>
                </a:lnTo>
                <a:lnTo>
                  <a:pt x="2632423" y="6000778"/>
                </a:lnTo>
                <a:lnTo>
                  <a:pt x="2628404" y="5996739"/>
                </a:lnTo>
                <a:lnTo>
                  <a:pt x="2628404" y="5986868"/>
                </a:lnTo>
                <a:close/>
                <a:moveTo>
                  <a:pt x="2393104" y="5982829"/>
                </a:moveTo>
                <a:lnTo>
                  <a:pt x="2403015" y="5982829"/>
                </a:lnTo>
                <a:lnTo>
                  <a:pt x="2407034" y="5986868"/>
                </a:lnTo>
                <a:lnTo>
                  <a:pt x="2407034" y="5996739"/>
                </a:lnTo>
                <a:lnTo>
                  <a:pt x="2403015" y="6000778"/>
                </a:lnTo>
                <a:lnTo>
                  <a:pt x="2393104" y="6000778"/>
                </a:lnTo>
                <a:lnTo>
                  <a:pt x="2389087" y="5996739"/>
                </a:lnTo>
                <a:lnTo>
                  <a:pt x="2389087" y="5986868"/>
                </a:lnTo>
                <a:close/>
                <a:moveTo>
                  <a:pt x="721960" y="5982829"/>
                </a:moveTo>
                <a:lnTo>
                  <a:pt x="731869" y="5982829"/>
                </a:lnTo>
                <a:lnTo>
                  <a:pt x="735888" y="5986868"/>
                </a:lnTo>
                <a:lnTo>
                  <a:pt x="735888" y="5996739"/>
                </a:lnTo>
                <a:lnTo>
                  <a:pt x="731869" y="6000778"/>
                </a:lnTo>
                <a:lnTo>
                  <a:pt x="721960" y="6000778"/>
                </a:lnTo>
                <a:lnTo>
                  <a:pt x="717940" y="5996739"/>
                </a:lnTo>
                <a:lnTo>
                  <a:pt x="717940" y="5986868"/>
                </a:lnTo>
                <a:close/>
                <a:moveTo>
                  <a:pt x="482647" y="5982829"/>
                </a:moveTo>
                <a:lnTo>
                  <a:pt x="492557" y="5982829"/>
                </a:lnTo>
                <a:lnTo>
                  <a:pt x="496576" y="5986868"/>
                </a:lnTo>
                <a:lnTo>
                  <a:pt x="496576" y="5996739"/>
                </a:lnTo>
                <a:lnTo>
                  <a:pt x="492557" y="6000778"/>
                </a:lnTo>
                <a:lnTo>
                  <a:pt x="482647" y="6000778"/>
                </a:lnTo>
                <a:lnTo>
                  <a:pt x="478628" y="5996739"/>
                </a:lnTo>
                <a:lnTo>
                  <a:pt x="478628" y="5986868"/>
                </a:lnTo>
                <a:close/>
                <a:moveTo>
                  <a:pt x="243334" y="5982829"/>
                </a:moveTo>
                <a:lnTo>
                  <a:pt x="253244" y="5982829"/>
                </a:lnTo>
                <a:lnTo>
                  <a:pt x="257263" y="5986868"/>
                </a:lnTo>
                <a:lnTo>
                  <a:pt x="257263" y="5996739"/>
                </a:lnTo>
                <a:lnTo>
                  <a:pt x="253244" y="6000778"/>
                </a:lnTo>
                <a:lnTo>
                  <a:pt x="243334" y="6000778"/>
                </a:lnTo>
                <a:lnTo>
                  <a:pt x="239315" y="5996739"/>
                </a:lnTo>
                <a:lnTo>
                  <a:pt x="239315" y="5986868"/>
                </a:lnTo>
                <a:close/>
                <a:moveTo>
                  <a:pt x="4021" y="5982829"/>
                </a:moveTo>
                <a:lnTo>
                  <a:pt x="13931" y="5982829"/>
                </a:lnTo>
                <a:lnTo>
                  <a:pt x="17950" y="5986868"/>
                </a:lnTo>
                <a:lnTo>
                  <a:pt x="17950" y="5996739"/>
                </a:lnTo>
                <a:lnTo>
                  <a:pt x="13931" y="6000778"/>
                </a:lnTo>
                <a:lnTo>
                  <a:pt x="4021" y="6000778"/>
                </a:lnTo>
                <a:lnTo>
                  <a:pt x="1" y="5996739"/>
                </a:lnTo>
                <a:lnTo>
                  <a:pt x="1" y="5986868"/>
                </a:lnTo>
                <a:close/>
                <a:moveTo>
                  <a:pt x="2157818" y="5743551"/>
                </a:moveTo>
                <a:lnTo>
                  <a:pt x="2167728" y="5743551"/>
                </a:lnTo>
                <a:lnTo>
                  <a:pt x="2171747" y="5747589"/>
                </a:lnTo>
                <a:lnTo>
                  <a:pt x="2171747" y="5757460"/>
                </a:lnTo>
                <a:lnTo>
                  <a:pt x="2167728" y="5761499"/>
                </a:lnTo>
                <a:lnTo>
                  <a:pt x="2157818" y="5761499"/>
                </a:lnTo>
                <a:lnTo>
                  <a:pt x="2153799" y="5757460"/>
                </a:lnTo>
                <a:lnTo>
                  <a:pt x="2153799" y="5747589"/>
                </a:lnTo>
                <a:close/>
                <a:moveTo>
                  <a:pt x="1918510" y="5743551"/>
                </a:moveTo>
                <a:lnTo>
                  <a:pt x="1928420" y="5743551"/>
                </a:lnTo>
                <a:lnTo>
                  <a:pt x="1932438" y="5747589"/>
                </a:lnTo>
                <a:lnTo>
                  <a:pt x="1932438" y="5757460"/>
                </a:lnTo>
                <a:lnTo>
                  <a:pt x="1928420" y="5761499"/>
                </a:lnTo>
                <a:lnTo>
                  <a:pt x="1918510" y="5761499"/>
                </a:lnTo>
                <a:lnTo>
                  <a:pt x="1914490" y="5757460"/>
                </a:lnTo>
                <a:lnTo>
                  <a:pt x="1914490" y="5747589"/>
                </a:lnTo>
                <a:close/>
                <a:moveTo>
                  <a:pt x="1679201" y="5743551"/>
                </a:moveTo>
                <a:lnTo>
                  <a:pt x="1689112" y="5743551"/>
                </a:lnTo>
                <a:lnTo>
                  <a:pt x="1693131" y="5747589"/>
                </a:lnTo>
                <a:lnTo>
                  <a:pt x="1693131" y="5757460"/>
                </a:lnTo>
                <a:lnTo>
                  <a:pt x="1689112" y="5761499"/>
                </a:lnTo>
                <a:lnTo>
                  <a:pt x="1679201" y="5761499"/>
                </a:lnTo>
                <a:lnTo>
                  <a:pt x="1675183" y="5757460"/>
                </a:lnTo>
                <a:lnTo>
                  <a:pt x="1675183" y="5747589"/>
                </a:lnTo>
                <a:close/>
                <a:moveTo>
                  <a:pt x="1439886" y="5743551"/>
                </a:moveTo>
                <a:lnTo>
                  <a:pt x="1449797" y="5743551"/>
                </a:lnTo>
                <a:lnTo>
                  <a:pt x="1453815" y="5747589"/>
                </a:lnTo>
                <a:lnTo>
                  <a:pt x="1453815" y="5757460"/>
                </a:lnTo>
                <a:lnTo>
                  <a:pt x="1449797" y="5761499"/>
                </a:lnTo>
                <a:lnTo>
                  <a:pt x="1439886" y="5761499"/>
                </a:lnTo>
                <a:lnTo>
                  <a:pt x="1435868" y="5757460"/>
                </a:lnTo>
                <a:lnTo>
                  <a:pt x="1435868" y="5747589"/>
                </a:lnTo>
                <a:close/>
                <a:moveTo>
                  <a:pt x="1200572" y="5743551"/>
                </a:moveTo>
                <a:lnTo>
                  <a:pt x="1210482" y="5743551"/>
                </a:lnTo>
                <a:lnTo>
                  <a:pt x="1214500" y="5747589"/>
                </a:lnTo>
                <a:lnTo>
                  <a:pt x="1214500" y="5757460"/>
                </a:lnTo>
                <a:lnTo>
                  <a:pt x="1210482" y="5761499"/>
                </a:lnTo>
                <a:lnTo>
                  <a:pt x="1200572" y="5761499"/>
                </a:lnTo>
                <a:lnTo>
                  <a:pt x="1196553" y="5757460"/>
                </a:lnTo>
                <a:lnTo>
                  <a:pt x="1196553" y="5747589"/>
                </a:lnTo>
                <a:close/>
                <a:moveTo>
                  <a:pt x="961259" y="5743551"/>
                </a:moveTo>
                <a:lnTo>
                  <a:pt x="971169" y="5743551"/>
                </a:lnTo>
                <a:lnTo>
                  <a:pt x="975188" y="5747589"/>
                </a:lnTo>
                <a:lnTo>
                  <a:pt x="975188" y="5757460"/>
                </a:lnTo>
                <a:lnTo>
                  <a:pt x="971169" y="5761499"/>
                </a:lnTo>
                <a:lnTo>
                  <a:pt x="961259" y="5761499"/>
                </a:lnTo>
                <a:lnTo>
                  <a:pt x="957240" y="5757460"/>
                </a:lnTo>
                <a:lnTo>
                  <a:pt x="957240" y="5747589"/>
                </a:lnTo>
                <a:close/>
                <a:moveTo>
                  <a:pt x="9572438" y="5743499"/>
                </a:moveTo>
                <a:lnTo>
                  <a:pt x="9582349" y="5743499"/>
                </a:lnTo>
                <a:lnTo>
                  <a:pt x="9586368" y="5747537"/>
                </a:lnTo>
                <a:lnTo>
                  <a:pt x="9586368" y="5757408"/>
                </a:lnTo>
                <a:lnTo>
                  <a:pt x="9582349" y="5761447"/>
                </a:lnTo>
                <a:lnTo>
                  <a:pt x="9572438" y="5761447"/>
                </a:lnTo>
                <a:lnTo>
                  <a:pt x="9568419" y="5757408"/>
                </a:lnTo>
                <a:lnTo>
                  <a:pt x="9568419" y="5747537"/>
                </a:lnTo>
                <a:close/>
                <a:moveTo>
                  <a:pt x="9333125" y="5743499"/>
                </a:moveTo>
                <a:lnTo>
                  <a:pt x="9343036" y="5743499"/>
                </a:lnTo>
                <a:lnTo>
                  <a:pt x="9347055" y="5747537"/>
                </a:lnTo>
                <a:lnTo>
                  <a:pt x="9347055" y="5757408"/>
                </a:lnTo>
                <a:lnTo>
                  <a:pt x="9343036" y="5761447"/>
                </a:lnTo>
                <a:lnTo>
                  <a:pt x="9333125" y="5761447"/>
                </a:lnTo>
                <a:lnTo>
                  <a:pt x="9329106" y="5757408"/>
                </a:lnTo>
                <a:lnTo>
                  <a:pt x="9329106" y="5747537"/>
                </a:lnTo>
                <a:close/>
                <a:moveTo>
                  <a:pt x="9093811" y="5743499"/>
                </a:moveTo>
                <a:lnTo>
                  <a:pt x="9103722" y="5743499"/>
                </a:lnTo>
                <a:lnTo>
                  <a:pt x="9107741" y="5747537"/>
                </a:lnTo>
                <a:lnTo>
                  <a:pt x="9107741" y="5757408"/>
                </a:lnTo>
                <a:lnTo>
                  <a:pt x="9103722" y="5761447"/>
                </a:lnTo>
                <a:lnTo>
                  <a:pt x="9093811" y="5761447"/>
                </a:lnTo>
                <a:lnTo>
                  <a:pt x="9089792" y="5757408"/>
                </a:lnTo>
                <a:lnTo>
                  <a:pt x="9089792" y="5747537"/>
                </a:lnTo>
                <a:close/>
                <a:moveTo>
                  <a:pt x="8854496" y="5743499"/>
                </a:moveTo>
                <a:lnTo>
                  <a:pt x="8864407" y="5743499"/>
                </a:lnTo>
                <a:lnTo>
                  <a:pt x="8868426" y="5747537"/>
                </a:lnTo>
                <a:lnTo>
                  <a:pt x="8868426" y="5757408"/>
                </a:lnTo>
                <a:lnTo>
                  <a:pt x="8864407" y="5761447"/>
                </a:lnTo>
                <a:lnTo>
                  <a:pt x="8854496" y="5761447"/>
                </a:lnTo>
                <a:lnTo>
                  <a:pt x="8850477" y="5757408"/>
                </a:lnTo>
                <a:lnTo>
                  <a:pt x="8850477" y="5747537"/>
                </a:lnTo>
                <a:close/>
                <a:moveTo>
                  <a:pt x="8615184" y="5743499"/>
                </a:moveTo>
                <a:lnTo>
                  <a:pt x="8625095" y="5743499"/>
                </a:lnTo>
                <a:lnTo>
                  <a:pt x="8629114" y="5747537"/>
                </a:lnTo>
                <a:lnTo>
                  <a:pt x="8629114" y="5757408"/>
                </a:lnTo>
                <a:lnTo>
                  <a:pt x="8625095" y="5761447"/>
                </a:lnTo>
                <a:lnTo>
                  <a:pt x="8615184" y="5761447"/>
                </a:lnTo>
                <a:lnTo>
                  <a:pt x="8611165" y="5757408"/>
                </a:lnTo>
                <a:lnTo>
                  <a:pt x="8611165" y="5747537"/>
                </a:lnTo>
                <a:close/>
                <a:moveTo>
                  <a:pt x="8375869" y="5743499"/>
                </a:moveTo>
                <a:lnTo>
                  <a:pt x="8385779" y="5743499"/>
                </a:lnTo>
                <a:lnTo>
                  <a:pt x="8389799" y="5747537"/>
                </a:lnTo>
                <a:lnTo>
                  <a:pt x="8389799" y="5757408"/>
                </a:lnTo>
                <a:lnTo>
                  <a:pt x="8385779" y="5761447"/>
                </a:lnTo>
                <a:lnTo>
                  <a:pt x="8375869" y="5761447"/>
                </a:lnTo>
                <a:lnTo>
                  <a:pt x="8371850" y="5757408"/>
                </a:lnTo>
                <a:lnTo>
                  <a:pt x="8371850" y="5747537"/>
                </a:lnTo>
                <a:close/>
                <a:moveTo>
                  <a:pt x="8136553" y="5743499"/>
                </a:moveTo>
                <a:lnTo>
                  <a:pt x="8146464" y="5743499"/>
                </a:lnTo>
                <a:lnTo>
                  <a:pt x="8150483" y="5747537"/>
                </a:lnTo>
                <a:lnTo>
                  <a:pt x="8150483" y="5757408"/>
                </a:lnTo>
                <a:lnTo>
                  <a:pt x="8146464" y="5761447"/>
                </a:lnTo>
                <a:lnTo>
                  <a:pt x="8136553" y="5761447"/>
                </a:lnTo>
                <a:lnTo>
                  <a:pt x="8132534" y="5757408"/>
                </a:lnTo>
                <a:lnTo>
                  <a:pt x="8132534" y="5747537"/>
                </a:lnTo>
                <a:close/>
                <a:moveTo>
                  <a:pt x="7897241" y="5743499"/>
                </a:moveTo>
                <a:lnTo>
                  <a:pt x="7907151" y="5743499"/>
                </a:lnTo>
                <a:lnTo>
                  <a:pt x="7911170" y="5747537"/>
                </a:lnTo>
                <a:lnTo>
                  <a:pt x="7911170" y="5757408"/>
                </a:lnTo>
                <a:lnTo>
                  <a:pt x="7907151" y="5761447"/>
                </a:lnTo>
                <a:lnTo>
                  <a:pt x="7897241" y="5761447"/>
                </a:lnTo>
                <a:lnTo>
                  <a:pt x="7893222" y="5757408"/>
                </a:lnTo>
                <a:lnTo>
                  <a:pt x="7893222" y="5747537"/>
                </a:lnTo>
                <a:close/>
                <a:moveTo>
                  <a:pt x="7657926" y="5743499"/>
                </a:moveTo>
                <a:lnTo>
                  <a:pt x="7667836" y="5743499"/>
                </a:lnTo>
                <a:lnTo>
                  <a:pt x="7671855" y="5747537"/>
                </a:lnTo>
                <a:lnTo>
                  <a:pt x="7671855" y="5757408"/>
                </a:lnTo>
                <a:lnTo>
                  <a:pt x="7667836" y="5761447"/>
                </a:lnTo>
                <a:lnTo>
                  <a:pt x="7657926" y="5761447"/>
                </a:lnTo>
                <a:lnTo>
                  <a:pt x="7653906" y="5757408"/>
                </a:lnTo>
                <a:lnTo>
                  <a:pt x="7653906" y="5747537"/>
                </a:lnTo>
                <a:close/>
                <a:moveTo>
                  <a:pt x="7418611" y="5743499"/>
                </a:moveTo>
                <a:lnTo>
                  <a:pt x="7428521" y="5743499"/>
                </a:lnTo>
                <a:lnTo>
                  <a:pt x="7432540" y="5747537"/>
                </a:lnTo>
                <a:lnTo>
                  <a:pt x="7432540" y="5757408"/>
                </a:lnTo>
                <a:lnTo>
                  <a:pt x="7428521" y="5761447"/>
                </a:lnTo>
                <a:lnTo>
                  <a:pt x="7418611" y="5761447"/>
                </a:lnTo>
                <a:lnTo>
                  <a:pt x="7414592" y="5757408"/>
                </a:lnTo>
                <a:lnTo>
                  <a:pt x="7414592" y="5747537"/>
                </a:lnTo>
                <a:close/>
                <a:moveTo>
                  <a:pt x="7179298" y="5743499"/>
                </a:moveTo>
                <a:lnTo>
                  <a:pt x="7189209" y="5743499"/>
                </a:lnTo>
                <a:lnTo>
                  <a:pt x="7193228" y="5747537"/>
                </a:lnTo>
                <a:lnTo>
                  <a:pt x="7193228" y="5757408"/>
                </a:lnTo>
                <a:lnTo>
                  <a:pt x="7189209" y="5761447"/>
                </a:lnTo>
                <a:lnTo>
                  <a:pt x="7179298" y="5761447"/>
                </a:lnTo>
                <a:lnTo>
                  <a:pt x="7175279" y="5757408"/>
                </a:lnTo>
                <a:lnTo>
                  <a:pt x="7175279" y="5747537"/>
                </a:lnTo>
                <a:close/>
                <a:moveTo>
                  <a:pt x="6939983" y="5743499"/>
                </a:moveTo>
                <a:lnTo>
                  <a:pt x="6949894" y="5743499"/>
                </a:lnTo>
                <a:lnTo>
                  <a:pt x="6953913" y="5747537"/>
                </a:lnTo>
                <a:lnTo>
                  <a:pt x="6953913" y="5757408"/>
                </a:lnTo>
                <a:lnTo>
                  <a:pt x="6949894" y="5761447"/>
                </a:lnTo>
                <a:lnTo>
                  <a:pt x="6939983" y="5761447"/>
                </a:lnTo>
                <a:lnTo>
                  <a:pt x="6935964" y="5757408"/>
                </a:lnTo>
                <a:lnTo>
                  <a:pt x="6935964" y="5747537"/>
                </a:lnTo>
                <a:close/>
                <a:moveTo>
                  <a:pt x="6700670" y="5743499"/>
                </a:moveTo>
                <a:lnTo>
                  <a:pt x="6710581" y="5743499"/>
                </a:lnTo>
                <a:lnTo>
                  <a:pt x="6714600" y="5747537"/>
                </a:lnTo>
                <a:lnTo>
                  <a:pt x="6714600" y="5757408"/>
                </a:lnTo>
                <a:lnTo>
                  <a:pt x="6710581" y="5761447"/>
                </a:lnTo>
                <a:lnTo>
                  <a:pt x="6700670" y="5761447"/>
                </a:lnTo>
                <a:lnTo>
                  <a:pt x="6696651" y="5757408"/>
                </a:lnTo>
                <a:lnTo>
                  <a:pt x="6696651" y="5747537"/>
                </a:lnTo>
                <a:close/>
                <a:moveTo>
                  <a:pt x="6461356" y="5743499"/>
                </a:moveTo>
                <a:lnTo>
                  <a:pt x="6471266" y="5743499"/>
                </a:lnTo>
                <a:lnTo>
                  <a:pt x="6475285" y="5747537"/>
                </a:lnTo>
                <a:lnTo>
                  <a:pt x="6475285" y="5757408"/>
                </a:lnTo>
                <a:lnTo>
                  <a:pt x="6471266" y="5761447"/>
                </a:lnTo>
                <a:lnTo>
                  <a:pt x="6461356" y="5761447"/>
                </a:lnTo>
                <a:lnTo>
                  <a:pt x="6457337" y="5757408"/>
                </a:lnTo>
                <a:lnTo>
                  <a:pt x="6457337" y="5747537"/>
                </a:lnTo>
                <a:close/>
                <a:moveTo>
                  <a:pt x="6222042" y="5743499"/>
                </a:moveTo>
                <a:lnTo>
                  <a:pt x="6231952" y="5743499"/>
                </a:lnTo>
                <a:lnTo>
                  <a:pt x="6235971" y="5747537"/>
                </a:lnTo>
                <a:lnTo>
                  <a:pt x="6235971" y="5757408"/>
                </a:lnTo>
                <a:lnTo>
                  <a:pt x="6231952" y="5761447"/>
                </a:lnTo>
                <a:lnTo>
                  <a:pt x="6222042" y="5761447"/>
                </a:lnTo>
                <a:lnTo>
                  <a:pt x="6218023" y="5757408"/>
                </a:lnTo>
                <a:lnTo>
                  <a:pt x="6218023" y="5747537"/>
                </a:lnTo>
                <a:close/>
                <a:moveTo>
                  <a:pt x="5982729" y="5743499"/>
                </a:moveTo>
                <a:lnTo>
                  <a:pt x="5992639" y="5743499"/>
                </a:lnTo>
                <a:lnTo>
                  <a:pt x="5996658" y="5747537"/>
                </a:lnTo>
                <a:lnTo>
                  <a:pt x="5996658" y="5757408"/>
                </a:lnTo>
                <a:lnTo>
                  <a:pt x="5992639" y="5761447"/>
                </a:lnTo>
                <a:lnTo>
                  <a:pt x="5982729" y="5761447"/>
                </a:lnTo>
                <a:lnTo>
                  <a:pt x="5978710" y="5757408"/>
                </a:lnTo>
                <a:lnTo>
                  <a:pt x="5978710" y="5747537"/>
                </a:lnTo>
                <a:close/>
                <a:moveTo>
                  <a:pt x="5743412" y="5743499"/>
                </a:moveTo>
                <a:lnTo>
                  <a:pt x="5753323" y="5743499"/>
                </a:lnTo>
                <a:lnTo>
                  <a:pt x="5757342" y="5747537"/>
                </a:lnTo>
                <a:lnTo>
                  <a:pt x="5757342" y="5757408"/>
                </a:lnTo>
                <a:lnTo>
                  <a:pt x="5753323" y="5761447"/>
                </a:lnTo>
                <a:lnTo>
                  <a:pt x="5743412" y="5761447"/>
                </a:lnTo>
                <a:lnTo>
                  <a:pt x="5739393" y="5757408"/>
                </a:lnTo>
                <a:lnTo>
                  <a:pt x="5739393" y="5747537"/>
                </a:lnTo>
                <a:close/>
                <a:moveTo>
                  <a:pt x="5504099" y="5743499"/>
                </a:moveTo>
                <a:lnTo>
                  <a:pt x="5514010" y="5743499"/>
                </a:lnTo>
                <a:lnTo>
                  <a:pt x="5518029" y="5747537"/>
                </a:lnTo>
                <a:lnTo>
                  <a:pt x="5518029" y="5757408"/>
                </a:lnTo>
                <a:lnTo>
                  <a:pt x="5514010" y="5761447"/>
                </a:lnTo>
                <a:lnTo>
                  <a:pt x="5504099" y="5761447"/>
                </a:lnTo>
                <a:lnTo>
                  <a:pt x="5500080" y="5757408"/>
                </a:lnTo>
                <a:lnTo>
                  <a:pt x="5500080" y="5747537"/>
                </a:lnTo>
                <a:close/>
                <a:moveTo>
                  <a:pt x="5264784" y="5743499"/>
                </a:moveTo>
                <a:lnTo>
                  <a:pt x="5274694" y="5743499"/>
                </a:lnTo>
                <a:lnTo>
                  <a:pt x="5278713" y="5747537"/>
                </a:lnTo>
                <a:lnTo>
                  <a:pt x="5278713" y="5757408"/>
                </a:lnTo>
                <a:lnTo>
                  <a:pt x="5274694" y="5761447"/>
                </a:lnTo>
                <a:lnTo>
                  <a:pt x="5264784" y="5761447"/>
                </a:lnTo>
                <a:lnTo>
                  <a:pt x="5260765" y="5757408"/>
                </a:lnTo>
                <a:lnTo>
                  <a:pt x="5260765" y="5747537"/>
                </a:lnTo>
                <a:close/>
                <a:moveTo>
                  <a:pt x="5025470" y="5743499"/>
                </a:moveTo>
                <a:lnTo>
                  <a:pt x="5035381" y="5743499"/>
                </a:lnTo>
                <a:lnTo>
                  <a:pt x="5039400" y="5747537"/>
                </a:lnTo>
                <a:lnTo>
                  <a:pt x="5039400" y="5757408"/>
                </a:lnTo>
                <a:lnTo>
                  <a:pt x="5035381" y="5761447"/>
                </a:lnTo>
                <a:lnTo>
                  <a:pt x="5025470" y="5761447"/>
                </a:lnTo>
                <a:lnTo>
                  <a:pt x="5021451" y="5757408"/>
                </a:lnTo>
                <a:lnTo>
                  <a:pt x="5021451" y="5747537"/>
                </a:lnTo>
                <a:close/>
                <a:moveTo>
                  <a:pt x="4786241" y="5743499"/>
                </a:moveTo>
                <a:lnTo>
                  <a:pt x="4796152" y="5743499"/>
                </a:lnTo>
                <a:lnTo>
                  <a:pt x="4800171" y="5747537"/>
                </a:lnTo>
                <a:lnTo>
                  <a:pt x="4800171" y="5757408"/>
                </a:lnTo>
                <a:lnTo>
                  <a:pt x="4796152" y="5761447"/>
                </a:lnTo>
                <a:lnTo>
                  <a:pt x="4786241" y="5761447"/>
                </a:lnTo>
                <a:lnTo>
                  <a:pt x="4782224" y="5757408"/>
                </a:lnTo>
                <a:lnTo>
                  <a:pt x="4782224" y="5747537"/>
                </a:lnTo>
                <a:close/>
                <a:moveTo>
                  <a:pt x="4546929" y="5743499"/>
                </a:moveTo>
                <a:lnTo>
                  <a:pt x="4556840" y="5743499"/>
                </a:lnTo>
                <a:lnTo>
                  <a:pt x="4560859" y="5747537"/>
                </a:lnTo>
                <a:lnTo>
                  <a:pt x="4560859" y="5757408"/>
                </a:lnTo>
                <a:lnTo>
                  <a:pt x="4556840" y="5761447"/>
                </a:lnTo>
                <a:lnTo>
                  <a:pt x="4546929" y="5761447"/>
                </a:lnTo>
                <a:lnTo>
                  <a:pt x="4542910" y="5757408"/>
                </a:lnTo>
                <a:lnTo>
                  <a:pt x="4542910" y="5747537"/>
                </a:lnTo>
                <a:close/>
                <a:moveTo>
                  <a:pt x="4307612" y="5743499"/>
                </a:moveTo>
                <a:lnTo>
                  <a:pt x="4317523" y="5743499"/>
                </a:lnTo>
                <a:lnTo>
                  <a:pt x="4321543" y="5747537"/>
                </a:lnTo>
                <a:lnTo>
                  <a:pt x="4321543" y="5757408"/>
                </a:lnTo>
                <a:lnTo>
                  <a:pt x="4317523" y="5761447"/>
                </a:lnTo>
                <a:lnTo>
                  <a:pt x="4307612" y="5761447"/>
                </a:lnTo>
                <a:lnTo>
                  <a:pt x="4303595" y="5757408"/>
                </a:lnTo>
                <a:lnTo>
                  <a:pt x="4303595" y="5747537"/>
                </a:lnTo>
                <a:close/>
                <a:moveTo>
                  <a:pt x="4068297" y="5743499"/>
                </a:moveTo>
                <a:lnTo>
                  <a:pt x="4078210" y="5743499"/>
                </a:lnTo>
                <a:lnTo>
                  <a:pt x="4082229" y="5747537"/>
                </a:lnTo>
                <a:lnTo>
                  <a:pt x="4082229" y="5757408"/>
                </a:lnTo>
                <a:lnTo>
                  <a:pt x="4078210" y="5761447"/>
                </a:lnTo>
                <a:lnTo>
                  <a:pt x="4068297" y="5761447"/>
                </a:lnTo>
                <a:lnTo>
                  <a:pt x="4064278" y="5757408"/>
                </a:lnTo>
                <a:lnTo>
                  <a:pt x="4064278" y="5747537"/>
                </a:lnTo>
                <a:close/>
                <a:moveTo>
                  <a:pt x="3828990" y="5743499"/>
                </a:moveTo>
                <a:lnTo>
                  <a:pt x="3838899" y="5743499"/>
                </a:lnTo>
                <a:lnTo>
                  <a:pt x="3842917" y="5747537"/>
                </a:lnTo>
                <a:lnTo>
                  <a:pt x="3842917" y="5757408"/>
                </a:lnTo>
                <a:lnTo>
                  <a:pt x="3838899" y="5761447"/>
                </a:lnTo>
                <a:lnTo>
                  <a:pt x="3828990" y="5761447"/>
                </a:lnTo>
                <a:lnTo>
                  <a:pt x="3824971" y="5757408"/>
                </a:lnTo>
                <a:lnTo>
                  <a:pt x="3824971" y="5747537"/>
                </a:lnTo>
                <a:close/>
                <a:moveTo>
                  <a:pt x="3589676" y="5743499"/>
                </a:moveTo>
                <a:lnTo>
                  <a:pt x="3599585" y="5743499"/>
                </a:lnTo>
                <a:lnTo>
                  <a:pt x="3603604" y="5747537"/>
                </a:lnTo>
                <a:lnTo>
                  <a:pt x="3603604" y="5757408"/>
                </a:lnTo>
                <a:lnTo>
                  <a:pt x="3599585" y="5761447"/>
                </a:lnTo>
                <a:lnTo>
                  <a:pt x="3589676" y="5761447"/>
                </a:lnTo>
                <a:lnTo>
                  <a:pt x="3585657" y="5757408"/>
                </a:lnTo>
                <a:lnTo>
                  <a:pt x="3585657" y="5747537"/>
                </a:lnTo>
                <a:close/>
                <a:moveTo>
                  <a:pt x="3350359" y="5743499"/>
                </a:moveTo>
                <a:lnTo>
                  <a:pt x="3360268" y="5743499"/>
                </a:lnTo>
                <a:lnTo>
                  <a:pt x="3364287" y="5747537"/>
                </a:lnTo>
                <a:lnTo>
                  <a:pt x="3364287" y="5757408"/>
                </a:lnTo>
                <a:lnTo>
                  <a:pt x="3360268" y="5761447"/>
                </a:lnTo>
                <a:lnTo>
                  <a:pt x="3350359" y="5761447"/>
                </a:lnTo>
                <a:lnTo>
                  <a:pt x="3346340" y="5757408"/>
                </a:lnTo>
                <a:lnTo>
                  <a:pt x="3346340" y="5747537"/>
                </a:lnTo>
                <a:close/>
                <a:moveTo>
                  <a:pt x="3111048" y="5743499"/>
                </a:moveTo>
                <a:lnTo>
                  <a:pt x="3120959" y="5743499"/>
                </a:lnTo>
                <a:lnTo>
                  <a:pt x="3124977" y="5747537"/>
                </a:lnTo>
                <a:lnTo>
                  <a:pt x="3124977" y="5757408"/>
                </a:lnTo>
                <a:lnTo>
                  <a:pt x="3120959" y="5761447"/>
                </a:lnTo>
                <a:lnTo>
                  <a:pt x="3111048" y="5761447"/>
                </a:lnTo>
                <a:lnTo>
                  <a:pt x="3107029" y="5757408"/>
                </a:lnTo>
                <a:lnTo>
                  <a:pt x="3107029" y="5747537"/>
                </a:lnTo>
                <a:close/>
                <a:moveTo>
                  <a:pt x="2871737" y="5743499"/>
                </a:moveTo>
                <a:lnTo>
                  <a:pt x="2881646" y="5743499"/>
                </a:lnTo>
                <a:lnTo>
                  <a:pt x="2885666" y="5747537"/>
                </a:lnTo>
                <a:lnTo>
                  <a:pt x="2885666" y="5757408"/>
                </a:lnTo>
                <a:lnTo>
                  <a:pt x="2881646" y="5761447"/>
                </a:lnTo>
                <a:lnTo>
                  <a:pt x="2871737" y="5761447"/>
                </a:lnTo>
                <a:lnTo>
                  <a:pt x="2867717" y="5757408"/>
                </a:lnTo>
                <a:lnTo>
                  <a:pt x="2867717" y="5747537"/>
                </a:lnTo>
                <a:close/>
                <a:moveTo>
                  <a:pt x="2632423" y="5743499"/>
                </a:moveTo>
                <a:lnTo>
                  <a:pt x="2642334" y="5743499"/>
                </a:lnTo>
                <a:lnTo>
                  <a:pt x="2646352" y="5747537"/>
                </a:lnTo>
                <a:lnTo>
                  <a:pt x="2646352" y="5757408"/>
                </a:lnTo>
                <a:lnTo>
                  <a:pt x="2642334" y="5761447"/>
                </a:lnTo>
                <a:lnTo>
                  <a:pt x="2632423" y="5761447"/>
                </a:lnTo>
                <a:lnTo>
                  <a:pt x="2628404" y="5757408"/>
                </a:lnTo>
                <a:lnTo>
                  <a:pt x="2628404" y="5747537"/>
                </a:lnTo>
                <a:close/>
                <a:moveTo>
                  <a:pt x="2393104" y="5743499"/>
                </a:moveTo>
                <a:lnTo>
                  <a:pt x="2403015" y="5743499"/>
                </a:lnTo>
                <a:lnTo>
                  <a:pt x="2407034" y="5747537"/>
                </a:lnTo>
                <a:lnTo>
                  <a:pt x="2407034" y="5757408"/>
                </a:lnTo>
                <a:lnTo>
                  <a:pt x="2403015" y="5761447"/>
                </a:lnTo>
                <a:lnTo>
                  <a:pt x="2393104" y="5761447"/>
                </a:lnTo>
                <a:lnTo>
                  <a:pt x="2389087" y="5757408"/>
                </a:lnTo>
                <a:lnTo>
                  <a:pt x="2389087" y="5747537"/>
                </a:lnTo>
                <a:close/>
                <a:moveTo>
                  <a:pt x="721960" y="5743499"/>
                </a:moveTo>
                <a:lnTo>
                  <a:pt x="731871" y="5743499"/>
                </a:lnTo>
                <a:lnTo>
                  <a:pt x="735889" y="5747537"/>
                </a:lnTo>
                <a:lnTo>
                  <a:pt x="735889" y="5757408"/>
                </a:lnTo>
                <a:lnTo>
                  <a:pt x="731871" y="5761447"/>
                </a:lnTo>
                <a:lnTo>
                  <a:pt x="721960" y="5761447"/>
                </a:lnTo>
                <a:lnTo>
                  <a:pt x="717941" y="5757408"/>
                </a:lnTo>
                <a:lnTo>
                  <a:pt x="717941" y="5747537"/>
                </a:lnTo>
                <a:close/>
                <a:moveTo>
                  <a:pt x="482648" y="5743499"/>
                </a:moveTo>
                <a:lnTo>
                  <a:pt x="492558" y="5743499"/>
                </a:lnTo>
                <a:lnTo>
                  <a:pt x="496578" y="5747537"/>
                </a:lnTo>
                <a:lnTo>
                  <a:pt x="496578" y="5757408"/>
                </a:lnTo>
                <a:lnTo>
                  <a:pt x="492558" y="5761447"/>
                </a:lnTo>
                <a:lnTo>
                  <a:pt x="482648" y="5761447"/>
                </a:lnTo>
                <a:lnTo>
                  <a:pt x="478629" y="5757408"/>
                </a:lnTo>
                <a:lnTo>
                  <a:pt x="478629" y="5747537"/>
                </a:lnTo>
                <a:close/>
                <a:moveTo>
                  <a:pt x="243334" y="5743499"/>
                </a:moveTo>
                <a:lnTo>
                  <a:pt x="253245" y="5743499"/>
                </a:lnTo>
                <a:lnTo>
                  <a:pt x="257264" y="5747537"/>
                </a:lnTo>
                <a:lnTo>
                  <a:pt x="257264" y="5757408"/>
                </a:lnTo>
                <a:lnTo>
                  <a:pt x="253245" y="5761447"/>
                </a:lnTo>
                <a:lnTo>
                  <a:pt x="243334" y="5761447"/>
                </a:lnTo>
                <a:lnTo>
                  <a:pt x="239315" y="5757408"/>
                </a:lnTo>
                <a:lnTo>
                  <a:pt x="239315" y="5747537"/>
                </a:lnTo>
                <a:close/>
                <a:moveTo>
                  <a:pt x="4021" y="5743499"/>
                </a:moveTo>
                <a:lnTo>
                  <a:pt x="13932" y="5743499"/>
                </a:lnTo>
                <a:lnTo>
                  <a:pt x="17950" y="5747537"/>
                </a:lnTo>
                <a:lnTo>
                  <a:pt x="17950" y="5757408"/>
                </a:lnTo>
                <a:lnTo>
                  <a:pt x="13932" y="5761447"/>
                </a:lnTo>
                <a:lnTo>
                  <a:pt x="4021" y="5761447"/>
                </a:lnTo>
                <a:lnTo>
                  <a:pt x="2" y="5757408"/>
                </a:lnTo>
                <a:lnTo>
                  <a:pt x="2" y="5747537"/>
                </a:lnTo>
                <a:close/>
                <a:moveTo>
                  <a:pt x="9572438" y="5504220"/>
                </a:moveTo>
                <a:lnTo>
                  <a:pt x="9582349" y="5504220"/>
                </a:lnTo>
                <a:lnTo>
                  <a:pt x="9586368" y="5508258"/>
                </a:lnTo>
                <a:lnTo>
                  <a:pt x="9586368" y="5518129"/>
                </a:lnTo>
                <a:lnTo>
                  <a:pt x="9582349" y="5522168"/>
                </a:lnTo>
                <a:lnTo>
                  <a:pt x="9572438" y="5522168"/>
                </a:lnTo>
                <a:lnTo>
                  <a:pt x="9568419" y="5518129"/>
                </a:lnTo>
                <a:lnTo>
                  <a:pt x="9568419" y="5508258"/>
                </a:lnTo>
                <a:close/>
                <a:moveTo>
                  <a:pt x="9333125" y="5504220"/>
                </a:moveTo>
                <a:lnTo>
                  <a:pt x="9343036" y="5504220"/>
                </a:lnTo>
                <a:lnTo>
                  <a:pt x="9347055" y="5508258"/>
                </a:lnTo>
                <a:lnTo>
                  <a:pt x="9347055" y="5518129"/>
                </a:lnTo>
                <a:lnTo>
                  <a:pt x="9343036" y="5522168"/>
                </a:lnTo>
                <a:lnTo>
                  <a:pt x="9333125" y="5522168"/>
                </a:lnTo>
                <a:lnTo>
                  <a:pt x="9329106" y="5518129"/>
                </a:lnTo>
                <a:lnTo>
                  <a:pt x="9329106" y="5508258"/>
                </a:lnTo>
                <a:close/>
                <a:moveTo>
                  <a:pt x="9093811" y="5504220"/>
                </a:moveTo>
                <a:lnTo>
                  <a:pt x="9103722" y="5504220"/>
                </a:lnTo>
                <a:lnTo>
                  <a:pt x="9107741" y="5508258"/>
                </a:lnTo>
                <a:lnTo>
                  <a:pt x="9107741" y="5518129"/>
                </a:lnTo>
                <a:lnTo>
                  <a:pt x="9103722" y="5522168"/>
                </a:lnTo>
                <a:lnTo>
                  <a:pt x="9093811" y="5522168"/>
                </a:lnTo>
                <a:lnTo>
                  <a:pt x="9089792" y="5518129"/>
                </a:lnTo>
                <a:lnTo>
                  <a:pt x="9089792" y="5508258"/>
                </a:lnTo>
                <a:close/>
                <a:moveTo>
                  <a:pt x="8854496" y="5504220"/>
                </a:moveTo>
                <a:lnTo>
                  <a:pt x="8864407" y="5504220"/>
                </a:lnTo>
                <a:lnTo>
                  <a:pt x="8868426" y="5508258"/>
                </a:lnTo>
                <a:lnTo>
                  <a:pt x="8868426" y="5518129"/>
                </a:lnTo>
                <a:lnTo>
                  <a:pt x="8864407" y="5522168"/>
                </a:lnTo>
                <a:lnTo>
                  <a:pt x="8854496" y="5522168"/>
                </a:lnTo>
                <a:lnTo>
                  <a:pt x="8850477" y="5518129"/>
                </a:lnTo>
                <a:lnTo>
                  <a:pt x="8850477" y="5508258"/>
                </a:lnTo>
                <a:close/>
                <a:moveTo>
                  <a:pt x="8615184" y="5504220"/>
                </a:moveTo>
                <a:lnTo>
                  <a:pt x="8625095" y="5504220"/>
                </a:lnTo>
                <a:lnTo>
                  <a:pt x="8629114" y="5508258"/>
                </a:lnTo>
                <a:lnTo>
                  <a:pt x="8629114" y="5518129"/>
                </a:lnTo>
                <a:lnTo>
                  <a:pt x="8625095" y="5522168"/>
                </a:lnTo>
                <a:lnTo>
                  <a:pt x="8615184" y="5522168"/>
                </a:lnTo>
                <a:lnTo>
                  <a:pt x="8611165" y="5518129"/>
                </a:lnTo>
                <a:lnTo>
                  <a:pt x="8611165" y="5508258"/>
                </a:lnTo>
                <a:close/>
                <a:moveTo>
                  <a:pt x="8375869" y="5504220"/>
                </a:moveTo>
                <a:lnTo>
                  <a:pt x="8385779" y="5504220"/>
                </a:lnTo>
                <a:lnTo>
                  <a:pt x="8389799" y="5508258"/>
                </a:lnTo>
                <a:lnTo>
                  <a:pt x="8389799" y="5518129"/>
                </a:lnTo>
                <a:lnTo>
                  <a:pt x="8385779" y="5522168"/>
                </a:lnTo>
                <a:lnTo>
                  <a:pt x="8375869" y="5522168"/>
                </a:lnTo>
                <a:lnTo>
                  <a:pt x="8371850" y="5518129"/>
                </a:lnTo>
                <a:lnTo>
                  <a:pt x="8371850" y="5508258"/>
                </a:lnTo>
                <a:close/>
                <a:moveTo>
                  <a:pt x="8136553" y="5504220"/>
                </a:moveTo>
                <a:lnTo>
                  <a:pt x="8146464" y="5504220"/>
                </a:lnTo>
                <a:lnTo>
                  <a:pt x="8150483" y="5508258"/>
                </a:lnTo>
                <a:lnTo>
                  <a:pt x="8150483" y="5518129"/>
                </a:lnTo>
                <a:lnTo>
                  <a:pt x="8146464" y="5522168"/>
                </a:lnTo>
                <a:lnTo>
                  <a:pt x="8136553" y="5522168"/>
                </a:lnTo>
                <a:lnTo>
                  <a:pt x="8132534" y="5518129"/>
                </a:lnTo>
                <a:lnTo>
                  <a:pt x="8132534" y="5508258"/>
                </a:lnTo>
                <a:close/>
                <a:moveTo>
                  <a:pt x="7897241" y="5504220"/>
                </a:moveTo>
                <a:lnTo>
                  <a:pt x="7907151" y="5504220"/>
                </a:lnTo>
                <a:lnTo>
                  <a:pt x="7911170" y="5508258"/>
                </a:lnTo>
                <a:lnTo>
                  <a:pt x="7911170" y="5518129"/>
                </a:lnTo>
                <a:lnTo>
                  <a:pt x="7907151" y="5522168"/>
                </a:lnTo>
                <a:lnTo>
                  <a:pt x="7897241" y="5522168"/>
                </a:lnTo>
                <a:lnTo>
                  <a:pt x="7893222" y="5518129"/>
                </a:lnTo>
                <a:lnTo>
                  <a:pt x="7893222" y="5508258"/>
                </a:lnTo>
                <a:close/>
                <a:moveTo>
                  <a:pt x="7657926" y="5504220"/>
                </a:moveTo>
                <a:lnTo>
                  <a:pt x="7667836" y="5504220"/>
                </a:lnTo>
                <a:lnTo>
                  <a:pt x="7671855" y="5508258"/>
                </a:lnTo>
                <a:lnTo>
                  <a:pt x="7671855" y="5518129"/>
                </a:lnTo>
                <a:lnTo>
                  <a:pt x="7667836" y="5522168"/>
                </a:lnTo>
                <a:lnTo>
                  <a:pt x="7657926" y="5522168"/>
                </a:lnTo>
                <a:lnTo>
                  <a:pt x="7653906" y="5518129"/>
                </a:lnTo>
                <a:lnTo>
                  <a:pt x="7653906" y="5508258"/>
                </a:lnTo>
                <a:close/>
                <a:moveTo>
                  <a:pt x="7418611" y="5504220"/>
                </a:moveTo>
                <a:lnTo>
                  <a:pt x="7428521" y="5504220"/>
                </a:lnTo>
                <a:lnTo>
                  <a:pt x="7432540" y="5508258"/>
                </a:lnTo>
                <a:lnTo>
                  <a:pt x="7432540" y="5518129"/>
                </a:lnTo>
                <a:lnTo>
                  <a:pt x="7428521" y="5522168"/>
                </a:lnTo>
                <a:lnTo>
                  <a:pt x="7418611" y="5522168"/>
                </a:lnTo>
                <a:lnTo>
                  <a:pt x="7414592" y="5518129"/>
                </a:lnTo>
                <a:lnTo>
                  <a:pt x="7414592" y="5508258"/>
                </a:lnTo>
                <a:close/>
                <a:moveTo>
                  <a:pt x="7179298" y="5504220"/>
                </a:moveTo>
                <a:lnTo>
                  <a:pt x="7189209" y="5504220"/>
                </a:lnTo>
                <a:lnTo>
                  <a:pt x="7193228" y="5508258"/>
                </a:lnTo>
                <a:lnTo>
                  <a:pt x="7193228" y="5518129"/>
                </a:lnTo>
                <a:lnTo>
                  <a:pt x="7189209" y="5522168"/>
                </a:lnTo>
                <a:lnTo>
                  <a:pt x="7179298" y="5522168"/>
                </a:lnTo>
                <a:lnTo>
                  <a:pt x="7175279" y="5518129"/>
                </a:lnTo>
                <a:lnTo>
                  <a:pt x="7175279" y="5508258"/>
                </a:lnTo>
                <a:close/>
                <a:moveTo>
                  <a:pt x="6939983" y="5504220"/>
                </a:moveTo>
                <a:lnTo>
                  <a:pt x="6949894" y="5504220"/>
                </a:lnTo>
                <a:lnTo>
                  <a:pt x="6953913" y="5508258"/>
                </a:lnTo>
                <a:lnTo>
                  <a:pt x="6953913" y="5518129"/>
                </a:lnTo>
                <a:lnTo>
                  <a:pt x="6949894" y="5522168"/>
                </a:lnTo>
                <a:lnTo>
                  <a:pt x="6939983" y="5522168"/>
                </a:lnTo>
                <a:lnTo>
                  <a:pt x="6935964" y="5518129"/>
                </a:lnTo>
                <a:lnTo>
                  <a:pt x="6935964" y="5508258"/>
                </a:lnTo>
                <a:close/>
                <a:moveTo>
                  <a:pt x="6700670" y="5504220"/>
                </a:moveTo>
                <a:lnTo>
                  <a:pt x="6710581" y="5504220"/>
                </a:lnTo>
                <a:lnTo>
                  <a:pt x="6714600" y="5508258"/>
                </a:lnTo>
                <a:lnTo>
                  <a:pt x="6714600" y="5518129"/>
                </a:lnTo>
                <a:lnTo>
                  <a:pt x="6710581" y="5522168"/>
                </a:lnTo>
                <a:lnTo>
                  <a:pt x="6700670" y="5522168"/>
                </a:lnTo>
                <a:lnTo>
                  <a:pt x="6696651" y="5518129"/>
                </a:lnTo>
                <a:lnTo>
                  <a:pt x="6696651" y="5508258"/>
                </a:lnTo>
                <a:close/>
                <a:moveTo>
                  <a:pt x="6461356" y="5504220"/>
                </a:moveTo>
                <a:lnTo>
                  <a:pt x="6471266" y="5504220"/>
                </a:lnTo>
                <a:lnTo>
                  <a:pt x="6475285" y="5508258"/>
                </a:lnTo>
                <a:lnTo>
                  <a:pt x="6475285" y="5518129"/>
                </a:lnTo>
                <a:lnTo>
                  <a:pt x="6471266" y="5522168"/>
                </a:lnTo>
                <a:lnTo>
                  <a:pt x="6461356" y="5522168"/>
                </a:lnTo>
                <a:lnTo>
                  <a:pt x="6457337" y="5518129"/>
                </a:lnTo>
                <a:lnTo>
                  <a:pt x="6457337" y="5508258"/>
                </a:lnTo>
                <a:close/>
                <a:moveTo>
                  <a:pt x="6222042" y="5504220"/>
                </a:moveTo>
                <a:lnTo>
                  <a:pt x="6231952" y="5504220"/>
                </a:lnTo>
                <a:lnTo>
                  <a:pt x="6235971" y="5508258"/>
                </a:lnTo>
                <a:lnTo>
                  <a:pt x="6235971" y="5518129"/>
                </a:lnTo>
                <a:lnTo>
                  <a:pt x="6231952" y="5522168"/>
                </a:lnTo>
                <a:lnTo>
                  <a:pt x="6222042" y="5522168"/>
                </a:lnTo>
                <a:lnTo>
                  <a:pt x="6218023" y="5518129"/>
                </a:lnTo>
                <a:lnTo>
                  <a:pt x="6218023" y="5508258"/>
                </a:lnTo>
                <a:close/>
                <a:moveTo>
                  <a:pt x="5982729" y="5504220"/>
                </a:moveTo>
                <a:lnTo>
                  <a:pt x="5992639" y="5504220"/>
                </a:lnTo>
                <a:lnTo>
                  <a:pt x="5996658" y="5508258"/>
                </a:lnTo>
                <a:lnTo>
                  <a:pt x="5996658" y="5518129"/>
                </a:lnTo>
                <a:lnTo>
                  <a:pt x="5992639" y="5522168"/>
                </a:lnTo>
                <a:lnTo>
                  <a:pt x="5982729" y="5522168"/>
                </a:lnTo>
                <a:lnTo>
                  <a:pt x="5978710" y="5518129"/>
                </a:lnTo>
                <a:lnTo>
                  <a:pt x="5978710" y="5508258"/>
                </a:lnTo>
                <a:close/>
                <a:moveTo>
                  <a:pt x="5743412" y="5504220"/>
                </a:moveTo>
                <a:lnTo>
                  <a:pt x="5753323" y="5504220"/>
                </a:lnTo>
                <a:lnTo>
                  <a:pt x="5757342" y="5508258"/>
                </a:lnTo>
                <a:lnTo>
                  <a:pt x="5757342" y="5518129"/>
                </a:lnTo>
                <a:lnTo>
                  <a:pt x="5753323" y="5522168"/>
                </a:lnTo>
                <a:lnTo>
                  <a:pt x="5743412" y="5522168"/>
                </a:lnTo>
                <a:lnTo>
                  <a:pt x="5739393" y="5518129"/>
                </a:lnTo>
                <a:lnTo>
                  <a:pt x="5739393" y="5508258"/>
                </a:lnTo>
                <a:close/>
                <a:moveTo>
                  <a:pt x="5504099" y="5504220"/>
                </a:moveTo>
                <a:lnTo>
                  <a:pt x="5514010" y="5504220"/>
                </a:lnTo>
                <a:lnTo>
                  <a:pt x="5518029" y="5508258"/>
                </a:lnTo>
                <a:lnTo>
                  <a:pt x="5518029" y="5518129"/>
                </a:lnTo>
                <a:lnTo>
                  <a:pt x="5514010" y="5522168"/>
                </a:lnTo>
                <a:lnTo>
                  <a:pt x="5504099" y="5522168"/>
                </a:lnTo>
                <a:lnTo>
                  <a:pt x="5500080" y="5518129"/>
                </a:lnTo>
                <a:lnTo>
                  <a:pt x="5500080" y="5508258"/>
                </a:lnTo>
                <a:close/>
                <a:moveTo>
                  <a:pt x="5264784" y="5504220"/>
                </a:moveTo>
                <a:lnTo>
                  <a:pt x="5274694" y="5504220"/>
                </a:lnTo>
                <a:lnTo>
                  <a:pt x="5278713" y="5508258"/>
                </a:lnTo>
                <a:lnTo>
                  <a:pt x="5278713" y="5518129"/>
                </a:lnTo>
                <a:lnTo>
                  <a:pt x="5274694" y="5522168"/>
                </a:lnTo>
                <a:lnTo>
                  <a:pt x="5264784" y="5522168"/>
                </a:lnTo>
                <a:lnTo>
                  <a:pt x="5260765" y="5518129"/>
                </a:lnTo>
                <a:lnTo>
                  <a:pt x="5260765" y="5508258"/>
                </a:lnTo>
                <a:close/>
                <a:moveTo>
                  <a:pt x="5025470" y="5504220"/>
                </a:moveTo>
                <a:lnTo>
                  <a:pt x="5035381" y="5504220"/>
                </a:lnTo>
                <a:lnTo>
                  <a:pt x="5039400" y="5508258"/>
                </a:lnTo>
                <a:lnTo>
                  <a:pt x="5039400" y="5518129"/>
                </a:lnTo>
                <a:lnTo>
                  <a:pt x="5035381" y="5522168"/>
                </a:lnTo>
                <a:lnTo>
                  <a:pt x="5025470" y="5522168"/>
                </a:lnTo>
                <a:lnTo>
                  <a:pt x="5021451" y="5518129"/>
                </a:lnTo>
                <a:lnTo>
                  <a:pt x="5021451" y="5508258"/>
                </a:lnTo>
                <a:close/>
                <a:moveTo>
                  <a:pt x="4786241" y="5504220"/>
                </a:moveTo>
                <a:lnTo>
                  <a:pt x="4796152" y="5504220"/>
                </a:lnTo>
                <a:lnTo>
                  <a:pt x="4800171" y="5508258"/>
                </a:lnTo>
                <a:lnTo>
                  <a:pt x="4800171" y="5518129"/>
                </a:lnTo>
                <a:lnTo>
                  <a:pt x="4796152" y="5522168"/>
                </a:lnTo>
                <a:lnTo>
                  <a:pt x="4786241" y="5522168"/>
                </a:lnTo>
                <a:lnTo>
                  <a:pt x="4782224" y="5518129"/>
                </a:lnTo>
                <a:lnTo>
                  <a:pt x="4782224" y="5508258"/>
                </a:lnTo>
                <a:close/>
                <a:moveTo>
                  <a:pt x="4546929" y="5504220"/>
                </a:moveTo>
                <a:lnTo>
                  <a:pt x="4556840" y="5504220"/>
                </a:lnTo>
                <a:lnTo>
                  <a:pt x="4560859" y="5508258"/>
                </a:lnTo>
                <a:lnTo>
                  <a:pt x="4560859" y="5518129"/>
                </a:lnTo>
                <a:lnTo>
                  <a:pt x="4556840" y="5522168"/>
                </a:lnTo>
                <a:lnTo>
                  <a:pt x="4546929" y="5522168"/>
                </a:lnTo>
                <a:lnTo>
                  <a:pt x="4542910" y="5518129"/>
                </a:lnTo>
                <a:lnTo>
                  <a:pt x="4542910" y="5508258"/>
                </a:lnTo>
                <a:close/>
                <a:moveTo>
                  <a:pt x="4307612" y="5504220"/>
                </a:moveTo>
                <a:lnTo>
                  <a:pt x="4317523" y="5504220"/>
                </a:lnTo>
                <a:lnTo>
                  <a:pt x="4321543" y="5508258"/>
                </a:lnTo>
                <a:lnTo>
                  <a:pt x="4321543" y="5518129"/>
                </a:lnTo>
                <a:lnTo>
                  <a:pt x="4317523" y="5522168"/>
                </a:lnTo>
                <a:lnTo>
                  <a:pt x="4307612" y="5522168"/>
                </a:lnTo>
                <a:lnTo>
                  <a:pt x="4303595" y="5518129"/>
                </a:lnTo>
                <a:lnTo>
                  <a:pt x="4303595" y="5508258"/>
                </a:lnTo>
                <a:close/>
                <a:moveTo>
                  <a:pt x="4068297" y="5504220"/>
                </a:moveTo>
                <a:lnTo>
                  <a:pt x="4078210" y="5504220"/>
                </a:lnTo>
                <a:lnTo>
                  <a:pt x="4082229" y="5508258"/>
                </a:lnTo>
                <a:lnTo>
                  <a:pt x="4082229" y="5518129"/>
                </a:lnTo>
                <a:lnTo>
                  <a:pt x="4078210" y="5522168"/>
                </a:lnTo>
                <a:lnTo>
                  <a:pt x="4068297" y="5522168"/>
                </a:lnTo>
                <a:lnTo>
                  <a:pt x="4064278" y="5518129"/>
                </a:lnTo>
                <a:lnTo>
                  <a:pt x="4064278" y="5508258"/>
                </a:lnTo>
                <a:close/>
                <a:moveTo>
                  <a:pt x="3828990" y="5504220"/>
                </a:moveTo>
                <a:lnTo>
                  <a:pt x="3838899" y="5504220"/>
                </a:lnTo>
                <a:lnTo>
                  <a:pt x="3842917" y="5508258"/>
                </a:lnTo>
                <a:lnTo>
                  <a:pt x="3842917" y="5518129"/>
                </a:lnTo>
                <a:lnTo>
                  <a:pt x="3838899" y="5522168"/>
                </a:lnTo>
                <a:lnTo>
                  <a:pt x="3828990" y="5522168"/>
                </a:lnTo>
                <a:lnTo>
                  <a:pt x="3824971" y="5518129"/>
                </a:lnTo>
                <a:lnTo>
                  <a:pt x="3824971" y="5508258"/>
                </a:lnTo>
                <a:close/>
                <a:moveTo>
                  <a:pt x="3589676" y="5504220"/>
                </a:moveTo>
                <a:lnTo>
                  <a:pt x="3599585" y="5504220"/>
                </a:lnTo>
                <a:lnTo>
                  <a:pt x="3603604" y="5508258"/>
                </a:lnTo>
                <a:lnTo>
                  <a:pt x="3603604" y="5518129"/>
                </a:lnTo>
                <a:lnTo>
                  <a:pt x="3599585" y="5522168"/>
                </a:lnTo>
                <a:lnTo>
                  <a:pt x="3589676" y="5522168"/>
                </a:lnTo>
                <a:lnTo>
                  <a:pt x="3585657" y="5518129"/>
                </a:lnTo>
                <a:lnTo>
                  <a:pt x="3585657" y="5508258"/>
                </a:lnTo>
                <a:close/>
                <a:moveTo>
                  <a:pt x="3350359" y="5504220"/>
                </a:moveTo>
                <a:lnTo>
                  <a:pt x="3360268" y="5504220"/>
                </a:lnTo>
                <a:lnTo>
                  <a:pt x="3364287" y="5508258"/>
                </a:lnTo>
                <a:lnTo>
                  <a:pt x="3364287" y="5518129"/>
                </a:lnTo>
                <a:lnTo>
                  <a:pt x="3360268" y="5522168"/>
                </a:lnTo>
                <a:lnTo>
                  <a:pt x="3350359" y="5522168"/>
                </a:lnTo>
                <a:lnTo>
                  <a:pt x="3346340" y="5518129"/>
                </a:lnTo>
                <a:lnTo>
                  <a:pt x="3346340" y="5508258"/>
                </a:lnTo>
                <a:close/>
                <a:moveTo>
                  <a:pt x="3111048" y="5504220"/>
                </a:moveTo>
                <a:lnTo>
                  <a:pt x="3120959" y="5504220"/>
                </a:lnTo>
                <a:lnTo>
                  <a:pt x="3124977" y="5508258"/>
                </a:lnTo>
                <a:lnTo>
                  <a:pt x="3124977" y="5518129"/>
                </a:lnTo>
                <a:lnTo>
                  <a:pt x="3120959" y="5522168"/>
                </a:lnTo>
                <a:lnTo>
                  <a:pt x="3111048" y="5522168"/>
                </a:lnTo>
                <a:lnTo>
                  <a:pt x="3107029" y="5518129"/>
                </a:lnTo>
                <a:lnTo>
                  <a:pt x="3107029" y="5508258"/>
                </a:lnTo>
                <a:close/>
                <a:moveTo>
                  <a:pt x="2871737" y="5504220"/>
                </a:moveTo>
                <a:lnTo>
                  <a:pt x="2881646" y="5504220"/>
                </a:lnTo>
                <a:lnTo>
                  <a:pt x="2885666" y="5508258"/>
                </a:lnTo>
                <a:lnTo>
                  <a:pt x="2885666" y="5518129"/>
                </a:lnTo>
                <a:lnTo>
                  <a:pt x="2881646" y="5522168"/>
                </a:lnTo>
                <a:lnTo>
                  <a:pt x="2871737" y="5522168"/>
                </a:lnTo>
                <a:lnTo>
                  <a:pt x="2867717" y="5518129"/>
                </a:lnTo>
                <a:lnTo>
                  <a:pt x="2867717" y="5508258"/>
                </a:lnTo>
                <a:close/>
                <a:moveTo>
                  <a:pt x="2632423" y="5504220"/>
                </a:moveTo>
                <a:lnTo>
                  <a:pt x="2642334" y="5504220"/>
                </a:lnTo>
                <a:lnTo>
                  <a:pt x="2646352" y="5508258"/>
                </a:lnTo>
                <a:lnTo>
                  <a:pt x="2646352" y="5518129"/>
                </a:lnTo>
                <a:lnTo>
                  <a:pt x="2642334" y="5522168"/>
                </a:lnTo>
                <a:lnTo>
                  <a:pt x="2632423" y="5522168"/>
                </a:lnTo>
                <a:lnTo>
                  <a:pt x="2628404" y="5518129"/>
                </a:lnTo>
                <a:lnTo>
                  <a:pt x="2628404" y="5508258"/>
                </a:lnTo>
                <a:close/>
                <a:moveTo>
                  <a:pt x="2393104" y="5504220"/>
                </a:moveTo>
                <a:lnTo>
                  <a:pt x="2403015" y="5504220"/>
                </a:lnTo>
                <a:lnTo>
                  <a:pt x="2407034" y="5508258"/>
                </a:lnTo>
                <a:lnTo>
                  <a:pt x="2407034" y="5518129"/>
                </a:lnTo>
                <a:lnTo>
                  <a:pt x="2403015" y="5522168"/>
                </a:lnTo>
                <a:lnTo>
                  <a:pt x="2393104" y="5522168"/>
                </a:lnTo>
                <a:lnTo>
                  <a:pt x="2389087" y="5518129"/>
                </a:lnTo>
                <a:lnTo>
                  <a:pt x="2389087" y="5508258"/>
                </a:lnTo>
                <a:close/>
                <a:moveTo>
                  <a:pt x="2157818" y="5504220"/>
                </a:moveTo>
                <a:lnTo>
                  <a:pt x="2167728" y="5504220"/>
                </a:lnTo>
                <a:lnTo>
                  <a:pt x="2171748" y="5508258"/>
                </a:lnTo>
                <a:lnTo>
                  <a:pt x="2171748" y="5518129"/>
                </a:lnTo>
                <a:lnTo>
                  <a:pt x="2167728" y="5522168"/>
                </a:lnTo>
                <a:lnTo>
                  <a:pt x="2157818" y="5522168"/>
                </a:lnTo>
                <a:lnTo>
                  <a:pt x="2153799" y="5518129"/>
                </a:lnTo>
                <a:lnTo>
                  <a:pt x="2153799" y="5508258"/>
                </a:lnTo>
                <a:close/>
                <a:moveTo>
                  <a:pt x="1918510" y="5504220"/>
                </a:moveTo>
                <a:lnTo>
                  <a:pt x="1928420" y="5504220"/>
                </a:lnTo>
                <a:lnTo>
                  <a:pt x="1932438" y="5508258"/>
                </a:lnTo>
                <a:lnTo>
                  <a:pt x="1932438" y="5518129"/>
                </a:lnTo>
                <a:lnTo>
                  <a:pt x="1928420" y="5522168"/>
                </a:lnTo>
                <a:lnTo>
                  <a:pt x="1918510" y="5522168"/>
                </a:lnTo>
                <a:lnTo>
                  <a:pt x="1914490" y="5518129"/>
                </a:lnTo>
                <a:lnTo>
                  <a:pt x="1914490" y="5508258"/>
                </a:lnTo>
                <a:close/>
                <a:moveTo>
                  <a:pt x="1679202" y="5504220"/>
                </a:moveTo>
                <a:lnTo>
                  <a:pt x="1689112" y="5504220"/>
                </a:lnTo>
                <a:lnTo>
                  <a:pt x="1693132" y="5508258"/>
                </a:lnTo>
                <a:lnTo>
                  <a:pt x="1693132" y="5518129"/>
                </a:lnTo>
                <a:lnTo>
                  <a:pt x="1689112" y="5522168"/>
                </a:lnTo>
                <a:lnTo>
                  <a:pt x="1679202" y="5522168"/>
                </a:lnTo>
                <a:lnTo>
                  <a:pt x="1675184" y="5518129"/>
                </a:lnTo>
                <a:lnTo>
                  <a:pt x="1675184" y="5508258"/>
                </a:lnTo>
                <a:close/>
                <a:moveTo>
                  <a:pt x="1439887" y="5504220"/>
                </a:moveTo>
                <a:lnTo>
                  <a:pt x="1449797" y="5504220"/>
                </a:lnTo>
                <a:lnTo>
                  <a:pt x="1453815" y="5508258"/>
                </a:lnTo>
                <a:lnTo>
                  <a:pt x="1453815" y="5518129"/>
                </a:lnTo>
                <a:lnTo>
                  <a:pt x="1449797" y="5522168"/>
                </a:lnTo>
                <a:lnTo>
                  <a:pt x="1439887" y="5522168"/>
                </a:lnTo>
                <a:lnTo>
                  <a:pt x="1435869" y="5518129"/>
                </a:lnTo>
                <a:lnTo>
                  <a:pt x="1435869" y="5508258"/>
                </a:lnTo>
                <a:close/>
                <a:moveTo>
                  <a:pt x="1200572" y="5504220"/>
                </a:moveTo>
                <a:lnTo>
                  <a:pt x="1210483" y="5504220"/>
                </a:lnTo>
                <a:lnTo>
                  <a:pt x="1214501" y="5508258"/>
                </a:lnTo>
                <a:lnTo>
                  <a:pt x="1214501" y="5518129"/>
                </a:lnTo>
                <a:lnTo>
                  <a:pt x="1210483" y="5522168"/>
                </a:lnTo>
                <a:lnTo>
                  <a:pt x="1200572" y="5522168"/>
                </a:lnTo>
                <a:lnTo>
                  <a:pt x="1196554" y="5518129"/>
                </a:lnTo>
                <a:lnTo>
                  <a:pt x="1196554" y="5508258"/>
                </a:lnTo>
                <a:close/>
                <a:moveTo>
                  <a:pt x="961260" y="5504220"/>
                </a:moveTo>
                <a:lnTo>
                  <a:pt x="971169" y="5504220"/>
                </a:lnTo>
                <a:lnTo>
                  <a:pt x="975189" y="5508258"/>
                </a:lnTo>
                <a:lnTo>
                  <a:pt x="975189" y="5518129"/>
                </a:lnTo>
                <a:lnTo>
                  <a:pt x="971169" y="5522168"/>
                </a:lnTo>
                <a:lnTo>
                  <a:pt x="961260" y="5522168"/>
                </a:lnTo>
                <a:lnTo>
                  <a:pt x="957241" y="5518129"/>
                </a:lnTo>
                <a:lnTo>
                  <a:pt x="957241" y="5508258"/>
                </a:lnTo>
                <a:close/>
                <a:moveTo>
                  <a:pt x="721961" y="5504220"/>
                </a:moveTo>
                <a:lnTo>
                  <a:pt x="731871" y="5504220"/>
                </a:lnTo>
                <a:lnTo>
                  <a:pt x="735890" y="5508258"/>
                </a:lnTo>
                <a:lnTo>
                  <a:pt x="735890" y="5518129"/>
                </a:lnTo>
                <a:lnTo>
                  <a:pt x="731871" y="5522168"/>
                </a:lnTo>
                <a:lnTo>
                  <a:pt x="721961" y="5522168"/>
                </a:lnTo>
                <a:lnTo>
                  <a:pt x="717942" y="5518129"/>
                </a:lnTo>
                <a:lnTo>
                  <a:pt x="717942" y="5508258"/>
                </a:lnTo>
                <a:close/>
                <a:moveTo>
                  <a:pt x="482649" y="5504220"/>
                </a:moveTo>
                <a:lnTo>
                  <a:pt x="492559" y="5504220"/>
                </a:lnTo>
                <a:lnTo>
                  <a:pt x="496578" y="5508258"/>
                </a:lnTo>
                <a:lnTo>
                  <a:pt x="496578" y="5518129"/>
                </a:lnTo>
                <a:lnTo>
                  <a:pt x="492559" y="5522168"/>
                </a:lnTo>
                <a:lnTo>
                  <a:pt x="482649" y="5522168"/>
                </a:lnTo>
                <a:lnTo>
                  <a:pt x="478630" y="5518129"/>
                </a:lnTo>
                <a:lnTo>
                  <a:pt x="478630" y="5508258"/>
                </a:lnTo>
                <a:close/>
                <a:moveTo>
                  <a:pt x="243335" y="5504220"/>
                </a:moveTo>
                <a:lnTo>
                  <a:pt x="253245" y="5504220"/>
                </a:lnTo>
                <a:lnTo>
                  <a:pt x="257264" y="5508258"/>
                </a:lnTo>
                <a:lnTo>
                  <a:pt x="257264" y="5518129"/>
                </a:lnTo>
                <a:lnTo>
                  <a:pt x="253245" y="5522168"/>
                </a:lnTo>
                <a:lnTo>
                  <a:pt x="243335" y="5522168"/>
                </a:lnTo>
                <a:lnTo>
                  <a:pt x="239316" y="5518129"/>
                </a:lnTo>
                <a:lnTo>
                  <a:pt x="239316" y="5508258"/>
                </a:lnTo>
                <a:close/>
                <a:moveTo>
                  <a:pt x="4022" y="5504220"/>
                </a:moveTo>
                <a:lnTo>
                  <a:pt x="13932" y="5504220"/>
                </a:lnTo>
                <a:lnTo>
                  <a:pt x="17951" y="5508258"/>
                </a:lnTo>
                <a:lnTo>
                  <a:pt x="17951" y="5518129"/>
                </a:lnTo>
                <a:lnTo>
                  <a:pt x="13932" y="5522168"/>
                </a:lnTo>
                <a:lnTo>
                  <a:pt x="4022" y="5522168"/>
                </a:lnTo>
                <a:lnTo>
                  <a:pt x="3" y="5518129"/>
                </a:lnTo>
                <a:lnTo>
                  <a:pt x="3" y="5508258"/>
                </a:lnTo>
                <a:close/>
                <a:moveTo>
                  <a:pt x="2157818" y="5264940"/>
                </a:moveTo>
                <a:lnTo>
                  <a:pt x="2167729" y="5264940"/>
                </a:lnTo>
                <a:lnTo>
                  <a:pt x="2171748" y="5268978"/>
                </a:lnTo>
                <a:lnTo>
                  <a:pt x="2171748" y="5278849"/>
                </a:lnTo>
                <a:lnTo>
                  <a:pt x="2167729" y="5282888"/>
                </a:lnTo>
                <a:lnTo>
                  <a:pt x="2157818" y="5282888"/>
                </a:lnTo>
                <a:lnTo>
                  <a:pt x="2153799" y="5278849"/>
                </a:lnTo>
                <a:lnTo>
                  <a:pt x="2153799" y="5268978"/>
                </a:lnTo>
                <a:close/>
                <a:moveTo>
                  <a:pt x="1918510" y="5264940"/>
                </a:moveTo>
                <a:lnTo>
                  <a:pt x="1928420" y="5264940"/>
                </a:lnTo>
                <a:lnTo>
                  <a:pt x="1932438" y="5268978"/>
                </a:lnTo>
                <a:lnTo>
                  <a:pt x="1932438" y="5278849"/>
                </a:lnTo>
                <a:lnTo>
                  <a:pt x="1928420" y="5282888"/>
                </a:lnTo>
                <a:lnTo>
                  <a:pt x="1918510" y="5282888"/>
                </a:lnTo>
                <a:lnTo>
                  <a:pt x="1914492" y="5278849"/>
                </a:lnTo>
                <a:lnTo>
                  <a:pt x="1914492" y="5268978"/>
                </a:lnTo>
                <a:close/>
                <a:moveTo>
                  <a:pt x="1679204" y="5264940"/>
                </a:moveTo>
                <a:lnTo>
                  <a:pt x="1689113" y="5264940"/>
                </a:lnTo>
                <a:lnTo>
                  <a:pt x="1693132" y="5268978"/>
                </a:lnTo>
                <a:lnTo>
                  <a:pt x="1693132" y="5278849"/>
                </a:lnTo>
                <a:lnTo>
                  <a:pt x="1689113" y="5282888"/>
                </a:lnTo>
                <a:lnTo>
                  <a:pt x="1679204" y="5282888"/>
                </a:lnTo>
                <a:lnTo>
                  <a:pt x="1675184" y="5278849"/>
                </a:lnTo>
                <a:lnTo>
                  <a:pt x="1675184" y="5268978"/>
                </a:lnTo>
                <a:close/>
                <a:moveTo>
                  <a:pt x="1439889" y="5264940"/>
                </a:moveTo>
                <a:lnTo>
                  <a:pt x="1449798" y="5264940"/>
                </a:lnTo>
                <a:lnTo>
                  <a:pt x="1453817" y="5268978"/>
                </a:lnTo>
                <a:lnTo>
                  <a:pt x="1453817" y="5278849"/>
                </a:lnTo>
                <a:lnTo>
                  <a:pt x="1449798" y="5282888"/>
                </a:lnTo>
                <a:lnTo>
                  <a:pt x="1439889" y="5282888"/>
                </a:lnTo>
                <a:lnTo>
                  <a:pt x="1435869" y="5278849"/>
                </a:lnTo>
                <a:lnTo>
                  <a:pt x="1435869" y="5268978"/>
                </a:lnTo>
                <a:close/>
                <a:moveTo>
                  <a:pt x="1200573" y="5264940"/>
                </a:moveTo>
                <a:lnTo>
                  <a:pt x="1210483" y="5264940"/>
                </a:lnTo>
                <a:lnTo>
                  <a:pt x="1214502" y="5268978"/>
                </a:lnTo>
                <a:lnTo>
                  <a:pt x="1214502" y="5278849"/>
                </a:lnTo>
                <a:lnTo>
                  <a:pt x="1210483" y="5282888"/>
                </a:lnTo>
                <a:lnTo>
                  <a:pt x="1200573" y="5282888"/>
                </a:lnTo>
                <a:lnTo>
                  <a:pt x="1196554" y="5278849"/>
                </a:lnTo>
                <a:lnTo>
                  <a:pt x="1196554" y="5268978"/>
                </a:lnTo>
                <a:close/>
                <a:moveTo>
                  <a:pt x="961260" y="5264940"/>
                </a:moveTo>
                <a:lnTo>
                  <a:pt x="971171" y="5264940"/>
                </a:lnTo>
                <a:lnTo>
                  <a:pt x="975189" y="5268978"/>
                </a:lnTo>
                <a:lnTo>
                  <a:pt x="975189" y="5278849"/>
                </a:lnTo>
                <a:lnTo>
                  <a:pt x="971171" y="5282888"/>
                </a:lnTo>
                <a:lnTo>
                  <a:pt x="961260" y="5282888"/>
                </a:lnTo>
                <a:lnTo>
                  <a:pt x="957241" y="5278849"/>
                </a:lnTo>
                <a:lnTo>
                  <a:pt x="957241" y="5268978"/>
                </a:lnTo>
                <a:close/>
                <a:moveTo>
                  <a:pt x="9572438" y="5264889"/>
                </a:moveTo>
                <a:lnTo>
                  <a:pt x="9582349" y="5264889"/>
                </a:lnTo>
                <a:lnTo>
                  <a:pt x="9586368" y="5268928"/>
                </a:lnTo>
                <a:lnTo>
                  <a:pt x="9586368" y="5278799"/>
                </a:lnTo>
                <a:lnTo>
                  <a:pt x="9582349" y="5282838"/>
                </a:lnTo>
                <a:lnTo>
                  <a:pt x="9572438" y="5282838"/>
                </a:lnTo>
                <a:lnTo>
                  <a:pt x="9568419" y="5278799"/>
                </a:lnTo>
                <a:lnTo>
                  <a:pt x="9568419" y="5268928"/>
                </a:lnTo>
                <a:close/>
                <a:moveTo>
                  <a:pt x="9333125" y="5264889"/>
                </a:moveTo>
                <a:lnTo>
                  <a:pt x="9343036" y="5264889"/>
                </a:lnTo>
                <a:lnTo>
                  <a:pt x="9347055" y="5268928"/>
                </a:lnTo>
                <a:lnTo>
                  <a:pt x="9347055" y="5278799"/>
                </a:lnTo>
                <a:lnTo>
                  <a:pt x="9343036" y="5282838"/>
                </a:lnTo>
                <a:lnTo>
                  <a:pt x="9333125" y="5282838"/>
                </a:lnTo>
                <a:lnTo>
                  <a:pt x="9329106" y="5278799"/>
                </a:lnTo>
                <a:lnTo>
                  <a:pt x="9329106" y="5268928"/>
                </a:lnTo>
                <a:close/>
                <a:moveTo>
                  <a:pt x="9093811" y="5264889"/>
                </a:moveTo>
                <a:lnTo>
                  <a:pt x="9103722" y="5264889"/>
                </a:lnTo>
                <a:lnTo>
                  <a:pt x="9107741" y="5268928"/>
                </a:lnTo>
                <a:lnTo>
                  <a:pt x="9107741" y="5278799"/>
                </a:lnTo>
                <a:lnTo>
                  <a:pt x="9103722" y="5282838"/>
                </a:lnTo>
                <a:lnTo>
                  <a:pt x="9093811" y="5282838"/>
                </a:lnTo>
                <a:lnTo>
                  <a:pt x="9089792" y="5278799"/>
                </a:lnTo>
                <a:lnTo>
                  <a:pt x="9089792" y="5268928"/>
                </a:lnTo>
                <a:close/>
                <a:moveTo>
                  <a:pt x="8854496" y="5264889"/>
                </a:moveTo>
                <a:lnTo>
                  <a:pt x="8864407" y="5264889"/>
                </a:lnTo>
                <a:lnTo>
                  <a:pt x="8868426" y="5268928"/>
                </a:lnTo>
                <a:lnTo>
                  <a:pt x="8868426" y="5278799"/>
                </a:lnTo>
                <a:lnTo>
                  <a:pt x="8864407" y="5282838"/>
                </a:lnTo>
                <a:lnTo>
                  <a:pt x="8854496" y="5282838"/>
                </a:lnTo>
                <a:lnTo>
                  <a:pt x="8850477" y="5278799"/>
                </a:lnTo>
                <a:lnTo>
                  <a:pt x="8850477" y="5268928"/>
                </a:lnTo>
                <a:close/>
                <a:moveTo>
                  <a:pt x="8615184" y="5264889"/>
                </a:moveTo>
                <a:lnTo>
                  <a:pt x="8625095" y="5264889"/>
                </a:lnTo>
                <a:lnTo>
                  <a:pt x="8629114" y="5268928"/>
                </a:lnTo>
                <a:lnTo>
                  <a:pt x="8629114" y="5278799"/>
                </a:lnTo>
                <a:lnTo>
                  <a:pt x="8625095" y="5282838"/>
                </a:lnTo>
                <a:lnTo>
                  <a:pt x="8615184" y="5282838"/>
                </a:lnTo>
                <a:lnTo>
                  <a:pt x="8611165" y="5278799"/>
                </a:lnTo>
                <a:lnTo>
                  <a:pt x="8611165" y="5268928"/>
                </a:lnTo>
                <a:close/>
                <a:moveTo>
                  <a:pt x="8375869" y="5264889"/>
                </a:moveTo>
                <a:lnTo>
                  <a:pt x="8385779" y="5264889"/>
                </a:lnTo>
                <a:lnTo>
                  <a:pt x="8389799" y="5268928"/>
                </a:lnTo>
                <a:lnTo>
                  <a:pt x="8389799" y="5278799"/>
                </a:lnTo>
                <a:lnTo>
                  <a:pt x="8385779" y="5282838"/>
                </a:lnTo>
                <a:lnTo>
                  <a:pt x="8375869" y="5282838"/>
                </a:lnTo>
                <a:lnTo>
                  <a:pt x="8371850" y="5278799"/>
                </a:lnTo>
                <a:lnTo>
                  <a:pt x="8371850" y="5268928"/>
                </a:lnTo>
                <a:close/>
                <a:moveTo>
                  <a:pt x="8136553" y="5264889"/>
                </a:moveTo>
                <a:lnTo>
                  <a:pt x="8146464" y="5264889"/>
                </a:lnTo>
                <a:lnTo>
                  <a:pt x="8150483" y="5268928"/>
                </a:lnTo>
                <a:lnTo>
                  <a:pt x="8150483" y="5278799"/>
                </a:lnTo>
                <a:lnTo>
                  <a:pt x="8146464" y="5282838"/>
                </a:lnTo>
                <a:lnTo>
                  <a:pt x="8136553" y="5282838"/>
                </a:lnTo>
                <a:lnTo>
                  <a:pt x="8132534" y="5278799"/>
                </a:lnTo>
                <a:lnTo>
                  <a:pt x="8132534" y="5268928"/>
                </a:lnTo>
                <a:close/>
                <a:moveTo>
                  <a:pt x="7897241" y="5264889"/>
                </a:moveTo>
                <a:lnTo>
                  <a:pt x="7907151" y="5264889"/>
                </a:lnTo>
                <a:lnTo>
                  <a:pt x="7911170" y="5268928"/>
                </a:lnTo>
                <a:lnTo>
                  <a:pt x="7911170" y="5278799"/>
                </a:lnTo>
                <a:lnTo>
                  <a:pt x="7907151" y="5282838"/>
                </a:lnTo>
                <a:lnTo>
                  <a:pt x="7897241" y="5282838"/>
                </a:lnTo>
                <a:lnTo>
                  <a:pt x="7893222" y="5278799"/>
                </a:lnTo>
                <a:lnTo>
                  <a:pt x="7893222" y="5268928"/>
                </a:lnTo>
                <a:close/>
                <a:moveTo>
                  <a:pt x="7657926" y="5264889"/>
                </a:moveTo>
                <a:lnTo>
                  <a:pt x="7667836" y="5264889"/>
                </a:lnTo>
                <a:lnTo>
                  <a:pt x="7671855" y="5268928"/>
                </a:lnTo>
                <a:lnTo>
                  <a:pt x="7671855" y="5278799"/>
                </a:lnTo>
                <a:lnTo>
                  <a:pt x="7667836" y="5282838"/>
                </a:lnTo>
                <a:lnTo>
                  <a:pt x="7657926" y="5282838"/>
                </a:lnTo>
                <a:lnTo>
                  <a:pt x="7653906" y="5278799"/>
                </a:lnTo>
                <a:lnTo>
                  <a:pt x="7653906" y="5268928"/>
                </a:lnTo>
                <a:close/>
                <a:moveTo>
                  <a:pt x="7418611" y="5264889"/>
                </a:moveTo>
                <a:lnTo>
                  <a:pt x="7428521" y="5264889"/>
                </a:lnTo>
                <a:lnTo>
                  <a:pt x="7432540" y="5268928"/>
                </a:lnTo>
                <a:lnTo>
                  <a:pt x="7432540" y="5278799"/>
                </a:lnTo>
                <a:lnTo>
                  <a:pt x="7428521" y="5282838"/>
                </a:lnTo>
                <a:lnTo>
                  <a:pt x="7418611" y="5282838"/>
                </a:lnTo>
                <a:lnTo>
                  <a:pt x="7414592" y="5278799"/>
                </a:lnTo>
                <a:lnTo>
                  <a:pt x="7414592" y="5268928"/>
                </a:lnTo>
                <a:close/>
                <a:moveTo>
                  <a:pt x="7179298" y="5264889"/>
                </a:moveTo>
                <a:lnTo>
                  <a:pt x="7189209" y="5264889"/>
                </a:lnTo>
                <a:lnTo>
                  <a:pt x="7193228" y="5268928"/>
                </a:lnTo>
                <a:lnTo>
                  <a:pt x="7193228" y="5278799"/>
                </a:lnTo>
                <a:lnTo>
                  <a:pt x="7189209" y="5282838"/>
                </a:lnTo>
                <a:lnTo>
                  <a:pt x="7179298" y="5282838"/>
                </a:lnTo>
                <a:lnTo>
                  <a:pt x="7175279" y="5278799"/>
                </a:lnTo>
                <a:lnTo>
                  <a:pt x="7175279" y="5268928"/>
                </a:lnTo>
                <a:close/>
                <a:moveTo>
                  <a:pt x="6939983" y="5264889"/>
                </a:moveTo>
                <a:lnTo>
                  <a:pt x="6949894" y="5264889"/>
                </a:lnTo>
                <a:lnTo>
                  <a:pt x="6953913" y="5268928"/>
                </a:lnTo>
                <a:lnTo>
                  <a:pt x="6953913" y="5278799"/>
                </a:lnTo>
                <a:lnTo>
                  <a:pt x="6949894" y="5282838"/>
                </a:lnTo>
                <a:lnTo>
                  <a:pt x="6939983" y="5282838"/>
                </a:lnTo>
                <a:lnTo>
                  <a:pt x="6935964" y="5278799"/>
                </a:lnTo>
                <a:lnTo>
                  <a:pt x="6935964" y="5268928"/>
                </a:lnTo>
                <a:close/>
                <a:moveTo>
                  <a:pt x="6700670" y="5264889"/>
                </a:moveTo>
                <a:lnTo>
                  <a:pt x="6710581" y="5264889"/>
                </a:lnTo>
                <a:lnTo>
                  <a:pt x="6714600" y="5268928"/>
                </a:lnTo>
                <a:lnTo>
                  <a:pt x="6714600" y="5278799"/>
                </a:lnTo>
                <a:lnTo>
                  <a:pt x="6710581" y="5282838"/>
                </a:lnTo>
                <a:lnTo>
                  <a:pt x="6700670" y="5282838"/>
                </a:lnTo>
                <a:lnTo>
                  <a:pt x="6696651" y="5278799"/>
                </a:lnTo>
                <a:lnTo>
                  <a:pt x="6696651" y="5268928"/>
                </a:lnTo>
                <a:close/>
                <a:moveTo>
                  <a:pt x="6461356" y="5264889"/>
                </a:moveTo>
                <a:lnTo>
                  <a:pt x="6471266" y="5264889"/>
                </a:lnTo>
                <a:lnTo>
                  <a:pt x="6475285" y="5268928"/>
                </a:lnTo>
                <a:lnTo>
                  <a:pt x="6475285" y="5278799"/>
                </a:lnTo>
                <a:lnTo>
                  <a:pt x="6471266" y="5282838"/>
                </a:lnTo>
                <a:lnTo>
                  <a:pt x="6461356" y="5282838"/>
                </a:lnTo>
                <a:lnTo>
                  <a:pt x="6457337" y="5278799"/>
                </a:lnTo>
                <a:lnTo>
                  <a:pt x="6457337" y="5268928"/>
                </a:lnTo>
                <a:close/>
                <a:moveTo>
                  <a:pt x="6222042" y="5264889"/>
                </a:moveTo>
                <a:lnTo>
                  <a:pt x="6231952" y="5264889"/>
                </a:lnTo>
                <a:lnTo>
                  <a:pt x="6235971" y="5268928"/>
                </a:lnTo>
                <a:lnTo>
                  <a:pt x="6235971" y="5278799"/>
                </a:lnTo>
                <a:lnTo>
                  <a:pt x="6231952" y="5282838"/>
                </a:lnTo>
                <a:lnTo>
                  <a:pt x="6222042" y="5282838"/>
                </a:lnTo>
                <a:lnTo>
                  <a:pt x="6218023" y="5278799"/>
                </a:lnTo>
                <a:lnTo>
                  <a:pt x="6218023" y="5268928"/>
                </a:lnTo>
                <a:close/>
                <a:moveTo>
                  <a:pt x="5982729" y="5264889"/>
                </a:moveTo>
                <a:lnTo>
                  <a:pt x="5992639" y="5264889"/>
                </a:lnTo>
                <a:lnTo>
                  <a:pt x="5996658" y="5268928"/>
                </a:lnTo>
                <a:lnTo>
                  <a:pt x="5996658" y="5278799"/>
                </a:lnTo>
                <a:lnTo>
                  <a:pt x="5992639" y="5282838"/>
                </a:lnTo>
                <a:lnTo>
                  <a:pt x="5982729" y="5282838"/>
                </a:lnTo>
                <a:lnTo>
                  <a:pt x="5978710" y="5278799"/>
                </a:lnTo>
                <a:lnTo>
                  <a:pt x="5978710" y="5268928"/>
                </a:lnTo>
                <a:close/>
                <a:moveTo>
                  <a:pt x="5743412" y="5264889"/>
                </a:moveTo>
                <a:lnTo>
                  <a:pt x="5753323" y="5264889"/>
                </a:lnTo>
                <a:lnTo>
                  <a:pt x="5757342" y="5268928"/>
                </a:lnTo>
                <a:lnTo>
                  <a:pt x="5757342" y="5278799"/>
                </a:lnTo>
                <a:lnTo>
                  <a:pt x="5753323" y="5282838"/>
                </a:lnTo>
                <a:lnTo>
                  <a:pt x="5743412" y="5282838"/>
                </a:lnTo>
                <a:lnTo>
                  <a:pt x="5739393" y="5278799"/>
                </a:lnTo>
                <a:lnTo>
                  <a:pt x="5739393" y="5268928"/>
                </a:lnTo>
                <a:close/>
                <a:moveTo>
                  <a:pt x="5504099" y="5264889"/>
                </a:moveTo>
                <a:lnTo>
                  <a:pt x="5514010" y="5264889"/>
                </a:lnTo>
                <a:lnTo>
                  <a:pt x="5518029" y="5268928"/>
                </a:lnTo>
                <a:lnTo>
                  <a:pt x="5518029" y="5278799"/>
                </a:lnTo>
                <a:lnTo>
                  <a:pt x="5514010" y="5282838"/>
                </a:lnTo>
                <a:lnTo>
                  <a:pt x="5504099" y="5282838"/>
                </a:lnTo>
                <a:lnTo>
                  <a:pt x="5500080" y="5278799"/>
                </a:lnTo>
                <a:lnTo>
                  <a:pt x="5500080" y="5268928"/>
                </a:lnTo>
                <a:close/>
                <a:moveTo>
                  <a:pt x="5264784" y="5264889"/>
                </a:moveTo>
                <a:lnTo>
                  <a:pt x="5274694" y="5264889"/>
                </a:lnTo>
                <a:lnTo>
                  <a:pt x="5278713" y="5268928"/>
                </a:lnTo>
                <a:lnTo>
                  <a:pt x="5278713" y="5278799"/>
                </a:lnTo>
                <a:lnTo>
                  <a:pt x="5274694" y="5282838"/>
                </a:lnTo>
                <a:lnTo>
                  <a:pt x="5264784" y="5282838"/>
                </a:lnTo>
                <a:lnTo>
                  <a:pt x="5260765" y="5278799"/>
                </a:lnTo>
                <a:lnTo>
                  <a:pt x="5260765" y="5268928"/>
                </a:lnTo>
                <a:close/>
                <a:moveTo>
                  <a:pt x="5025470" y="5264889"/>
                </a:moveTo>
                <a:lnTo>
                  <a:pt x="5035381" y="5264889"/>
                </a:lnTo>
                <a:lnTo>
                  <a:pt x="5039400" y="5268928"/>
                </a:lnTo>
                <a:lnTo>
                  <a:pt x="5039400" y="5278799"/>
                </a:lnTo>
                <a:lnTo>
                  <a:pt x="5035381" y="5282838"/>
                </a:lnTo>
                <a:lnTo>
                  <a:pt x="5025470" y="5282838"/>
                </a:lnTo>
                <a:lnTo>
                  <a:pt x="5021451" y="5278799"/>
                </a:lnTo>
                <a:lnTo>
                  <a:pt x="5021451" y="5268928"/>
                </a:lnTo>
                <a:close/>
                <a:moveTo>
                  <a:pt x="4786241" y="5264889"/>
                </a:moveTo>
                <a:lnTo>
                  <a:pt x="4796152" y="5264889"/>
                </a:lnTo>
                <a:lnTo>
                  <a:pt x="4800171" y="5268928"/>
                </a:lnTo>
                <a:lnTo>
                  <a:pt x="4800171" y="5278799"/>
                </a:lnTo>
                <a:lnTo>
                  <a:pt x="4796152" y="5282838"/>
                </a:lnTo>
                <a:lnTo>
                  <a:pt x="4786241" y="5282838"/>
                </a:lnTo>
                <a:lnTo>
                  <a:pt x="4782224" y="5278799"/>
                </a:lnTo>
                <a:lnTo>
                  <a:pt x="4782224" y="5268928"/>
                </a:lnTo>
                <a:close/>
                <a:moveTo>
                  <a:pt x="4546929" y="5264889"/>
                </a:moveTo>
                <a:lnTo>
                  <a:pt x="4556840" y="5264889"/>
                </a:lnTo>
                <a:lnTo>
                  <a:pt x="4560859" y="5268928"/>
                </a:lnTo>
                <a:lnTo>
                  <a:pt x="4560859" y="5278799"/>
                </a:lnTo>
                <a:lnTo>
                  <a:pt x="4556840" y="5282838"/>
                </a:lnTo>
                <a:lnTo>
                  <a:pt x="4546929" y="5282838"/>
                </a:lnTo>
                <a:lnTo>
                  <a:pt x="4542910" y="5278799"/>
                </a:lnTo>
                <a:lnTo>
                  <a:pt x="4542910" y="5268928"/>
                </a:lnTo>
                <a:close/>
                <a:moveTo>
                  <a:pt x="4307612" y="5264889"/>
                </a:moveTo>
                <a:lnTo>
                  <a:pt x="4317523" y="5264889"/>
                </a:lnTo>
                <a:lnTo>
                  <a:pt x="4321543" y="5268928"/>
                </a:lnTo>
                <a:lnTo>
                  <a:pt x="4321543" y="5278799"/>
                </a:lnTo>
                <a:lnTo>
                  <a:pt x="4317523" y="5282838"/>
                </a:lnTo>
                <a:lnTo>
                  <a:pt x="4307612" y="5282838"/>
                </a:lnTo>
                <a:lnTo>
                  <a:pt x="4303595" y="5278799"/>
                </a:lnTo>
                <a:lnTo>
                  <a:pt x="4303595" y="5268928"/>
                </a:lnTo>
                <a:close/>
                <a:moveTo>
                  <a:pt x="4068297" y="5264889"/>
                </a:moveTo>
                <a:lnTo>
                  <a:pt x="4078210" y="5264889"/>
                </a:lnTo>
                <a:lnTo>
                  <a:pt x="4082229" y="5268928"/>
                </a:lnTo>
                <a:lnTo>
                  <a:pt x="4082229" y="5278799"/>
                </a:lnTo>
                <a:lnTo>
                  <a:pt x="4078210" y="5282838"/>
                </a:lnTo>
                <a:lnTo>
                  <a:pt x="4068297" y="5282838"/>
                </a:lnTo>
                <a:lnTo>
                  <a:pt x="4064278" y="5278799"/>
                </a:lnTo>
                <a:lnTo>
                  <a:pt x="4064278" y="5268928"/>
                </a:lnTo>
                <a:close/>
                <a:moveTo>
                  <a:pt x="3828990" y="5264889"/>
                </a:moveTo>
                <a:lnTo>
                  <a:pt x="3838899" y="5264889"/>
                </a:lnTo>
                <a:lnTo>
                  <a:pt x="3842917" y="5268928"/>
                </a:lnTo>
                <a:lnTo>
                  <a:pt x="3842917" y="5278799"/>
                </a:lnTo>
                <a:lnTo>
                  <a:pt x="3838899" y="5282838"/>
                </a:lnTo>
                <a:lnTo>
                  <a:pt x="3828990" y="5282838"/>
                </a:lnTo>
                <a:lnTo>
                  <a:pt x="3824971" y="5278799"/>
                </a:lnTo>
                <a:lnTo>
                  <a:pt x="3824971" y="5268928"/>
                </a:lnTo>
                <a:close/>
                <a:moveTo>
                  <a:pt x="3589676" y="5264889"/>
                </a:moveTo>
                <a:lnTo>
                  <a:pt x="3599585" y="5264889"/>
                </a:lnTo>
                <a:lnTo>
                  <a:pt x="3603604" y="5268928"/>
                </a:lnTo>
                <a:lnTo>
                  <a:pt x="3603604" y="5278799"/>
                </a:lnTo>
                <a:lnTo>
                  <a:pt x="3599585" y="5282838"/>
                </a:lnTo>
                <a:lnTo>
                  <a:pt x="3589676" y="5282838"/>
                </a:lnTo>
                <a:lnTo>
                  <a:pt x="3585657" y="5278799"/>
                </a:lnTo>
                <a:lnTo>
                  <a:pt x="3585657" y="5268928"/>
                </a:lnTo>
                <a:close/>
                <a:moveTo>
                  <a:pt x="3350359" y="5264889"/>
                </a:moveTo>
                <a:lnTo>
                  <a:pt x="3360268" y="5264889"/>
                </a:lnTo>
                <a:lnTo>
                  <a:pt x="3364287" y="5268928"/>
                </a:lnTo>
                <a:lnTo>
                  <a:pt x="3364287" y="5278799"/>
                </a:lnTo>
                <a:lnTo>
                  <a:pt x="3360268" y="5282838"/>
                </a:lnTo>
                <a:lnTo>
                  <a:pt x="3350359" y="5282838"/>
                </a:lnTo>
                <a:lnTo>
                  <a:pt x="3346340" y="5278799"/>
                </a:lnTo>
                <a:lnTo>
                  <a:pt x="3346340" y="5268928"/>
                </a:lnTo>
                <a:close/>
                <a:moveTo>
                  <a:pt x="3111048" y="5264889"/>
                </a:moveTo>
                <a:lnTo>
                  <a:pt x="3120959" y="5264889"/>
                </a:lnTo>
                <a:lnTo>
                  <a:pt x="3124977" y="5268928"/>
                </a:lnTo>
                <a:lnTo>
                  <a:pt x="3124977" y="5278799"/>
                </a:lnTo>
                <a:lnTo>
                  <a:pt x="3120959" y="5282838"/>
                </a:lnTo>
                <a:lnTo>
                  <a:pt x="3111048" y="5282838"/>
                </a:lnTo>
                <a:lnTo>
                  <a:pt x="3107029" y="5278799"/>
                </a:lnTo>
                <a:lnTo>
                  <a:pt x="3107029" y="5268928"/>
                </a:lnTo>
                <a:close/>
                <a:moveTo>
                  <a:pt x="2871737" y="5264889"/>
                </a:moveTo>
                <a:lnTo>
                  <a:pt x="2881646" y="5264889"/>
                </a:lnTo>
                <a:lnTo>
                  <a:pt x="2885666" y="5268928"/>
                </a:lnTo>
                <a:lnTo>
                  <a:pt x="2885666" y="5278799"/>
                </a:lnTo>
                <a:lnTo>
                  <a:pt x="2881646" y="5282838"/>
                </a:lnTo>
                <a:lnTo>
                  <a:pt x="2871737" y="5282838"/>
                </a:lnTo>
                <a:lnTo>
                  <a:pt x="2867717" y="5278799"/>
                </a:lnTo>
                <a:lnTo>
                  <a:pt x="2867717" y="5268928"/>
                </a:lnTo>
                <a:close/>
                <a:moveTo>
                  <a:pt x="2632423" y="5264889"/>
                </a:moveTo>
                <a:lnTo>
                  <a:pt x="2642334" y="5264889"/>
                </a:lnTo>
                <a:lnTo>
                  <a:pt x="2646352" y="5268928"/>
                </a:lnTo>
                <a:lnTo>
                  <a:pt x="2646352" y="5278799"/>
                </a:lnTo>
                <a:lnTo>
                  <a:pt x="2642334" y="5282838"/>
                </a:lnTo>
                <a:lnTo>
                  <a:pt x="2632423" y="5282838"/>
                </a:lnTo>
                <a:lnTo>
                  <a:pt x="2628404" y="5278799"/>
                </a:lnTo>
                <a:lnTo>
                  <a:pt x="2628404" y="5268928"/>
                </a:lnTo>
                <a:close/>
                <a:moveTo>
                  <a:pt x="2393104" y="5264889"/>
                </a:moveTo>
                <a:lnTo>
                  <a:pt x="2403015" y="5264889"/>
                </a:lnTo>
                <a:lnTo>
                  <a:pt x="2407034" y="5268928"/>
                </a:lnTo>
                <a:lnTo>
                  <a:pt x="2407034" y="5278799"/>
                </a:lnTo>
                <a:lnTo>
                  <a:pt x="2403015" y="5282838"/>
                </a:lnTo>
                <a:lnTo>
                  <a:pt x="2393104" y="5282838"/>
                </a:lnTo>
                <a:lnTo>
                  <a:pt x="2389087" y="5278799"/>
                </a:lnTo>
                <a:lnTo>
                  <a:pt x="2389087" y="5268928"/>
                </a:lnTo>
                <a:close/>
                <a:moveTo>
                  <a:pt x="721961" y="5264889"/>
                </a:moveTo>
                <a:lnTo>
                  <a:pt x="731872" y="5264889"/>
                </a:lnTo>
                <a:lnTo>
                  <a:pt x="735891" y="5268928"/>
                </a:lnTo>
                <a:lnTo>
                  <a:pt x="735891" y="5278799"/>
                </a:lnTo>
                <a:lnTo>
                  <a:pt x="731872" y="5282838"/>
                </a:lnTo>
                <a:lnTo>
                  <a:pt x="721961" y="5282838"/>
                </a:lnTo>
                <a:lnTo>
                  <a:pt x="717943" y="5278799"/>
                </a:lnTo>
                <a:lnTo>
                  <a:pt x="717943" y="5268928"/>
                </a:lnTo>
                <a:close/>
                <a:moveTo>
                  <a:pt x="482649" y="5264889"/>
                </a:moveTo>
                <a:lnTo>
                  <a:pt x="492560" y="5264889"/>
                </a:lnTo>
                <a:lnTo>
                  <a:pt x="496579" y="5268928"/>
                </a:lnTo>
                <a:lnTo>
                  <a:pt x="496579" y="5278799"/>
                </a:lnTo>
                <a:lnTo>
                  <a:pt x="492560" y="5282838"/>
                </a:lnTo>
                <a:lnTo>
                  <a:pt x="482649" y="5282838"/>
                </a:lnTo>
                <a:lnTo>
                  <a:pt x="478630" y="5278799"/>
                </a:lnTo>
                <a:lnTo>
                  <a:pt x="478630" y="5268928"/>
                </a:lnTo>
                <a:close/>
                <a:moveTo>
                  <a:pt x="243336" y="5264889"/>
                </a:moveTo>
                <a:lnTo>
                  <a:pt x="253246" y="5264889"/>
                </a:lnTo>
                <a:lnTo>
                  <a:pt x="257265" y="5268928"/>
                </a:lnTo>
                <a:lnTo>
                  <a:pt x="257265" y="5278799"/>
                </a:lnTo>
                <a:lnTo>
                  <a:pt x="253246" y="5282838"/>
                </a:lnTo>
                <a:lnTo>
                  <a:pt x="243336" y="5282838"/>
                </a:lnTo>
                <a:lnTo>
                  <a:pt x="239317" y="5278799"/>
                </a:lnTo>
                <a:lnTo>
                  <a:pt x="239317" y="5268928"/>
                </a:lnTo>
                <a:close/>
                <a:moveTo>
                  <a:pt x="4022" y="5264889"/>
                </a:moveTo>
                <a:lnTo>
                  <a:pt x="13933" y="5264889"/>
                </a:lnTo>
                <a:lnTo>
                  <a:pt x="17952" y="5268928"/>
                </a:lnTo>
                <a:lnTo>
                  <a:pt x="17952" y="5278799"/>
                </a:lnTo>
                <a:lnTo>
                  <a:pt x="13933" y="5282838"/>
                </a:lnTo>
                <a:lnTo>
                  <a:pt x="4022" y="5282838"/>
                </a:lnTo>
                <a:lnTo>
                  <a:pt x="3" y="5278799"/>
                </a:lnTo>
                <a:lnTo>
                  <a:pt x="3" y="5268928"/>
                </a:lnTo>
                <a:close/>
                <a:moveTo>
                  <a:pt x="2157819" y="5025610"/>
                </a:moveTo>
                <a:lnTo>
                  <a:pt x="2167729" y="5025610"/>
                </a:lnTo>
                <a:lnTo>
                  <a:pt x="2171748" y="5029648"/>
                </a:lnTo>
                <a:lnTo>
                  <a:pt x="2171748" y="5039519"/>
                </a:lnTo>
                <a:lnTo>
                  <a:pt x="2167729" y="5043558"/>
                </a:lnTo>
                <a:lnTo>
                  <a:pt x="2157819" y="5043558"/>
                </a:lnTo>
                <a:lnTo>
                  <a:pt x="2153800" y="5039519"/>
                </a:lnTo>
                <a:lnTo>
                  <a:pt x="2153800" y="5029648"/>
                </a:lnTo>
                <a:close/>
                <a:moveTo>
                  <a:pt x="1918510" y="5025610"/>
                </a:moveTo>
                <a:lnTo>
                  <a:pt x="1928420" y="5025610"/>
                </a:lnTo>
                <a:lnTo>
                  <a:pt x="1932440" y="5029648"/>
                </a:lnTo>
                <a:lnTo>
                  <a:pt x="1932440" y="5039519"/>
                </a:lnTo>
                <a:lnTo>
                  <a:pt x="1928420" y="5043558"/>
                </a:lnTo>
                <a:lnTo>
                  <a:pt x="1918510" y="5043558"/>
                </a:lnTo>
                <a:lnTo>
                  <a:pt x="1914492" y="5039519"/>
                </a:lnTo>
                <a:lnTo>
                  <a:pt x="1914492" y="5029648"/>
                </a:lnTo>
                <a:close/>
                <a:moveTo>
                  <a:pt x="1679204" y="5025610"/>
                </a:moveTo>
                <a:lnTo>
                  <a:pt x="1689115" y="5025610"/>
                </a:lnTo>
                <a:lnTo>
                  <a:pt x="1693133" y="5029648"/>
                </a:lnTo>
                <a:lnTo>
                  <a:pt x="1693133" y="5039519"/>
                </a:lnTo>
                <a:lnTo>
                  <a:pt x="1689115" y="5043558"/>
                </a:lnTo>
                <a:lnTo>
                  <a:pt x="1679204" y="5043558"/>
                </a:lnTo>
                <a:lnTo>
                  <a:pt x="1675185" y="5039519"/>
                </a:lnTo>
                <a:lnTo>
                  <a:pt x="1675185" y="5029648"/>
                </a:lnTo>
                <a:close/>
                <a:moveTo>
                  <a:pt x="1439889" y="5025610"/>
                </a:moveTo>
                <a:lnTo>
                  <a:pt x="1449798" y="5025610"/>
                </a:lnTo>
                <a:lnTo>
                  <a:pt x="1453818" y="5029648"/>
                </a:lnTo>
                <a:lnTo>
                  <a:pt x="1453818" y="5039519"/>
                </a:lnTo>
                <a:lnTo>
                  <a:pt x="1449798" y="5043558"/>
                </a:lnTo>
                <a:lnTo>
                  <a:pt x="1439889" y="5043558"/>
                </a:lnTo>
                <a:lnTo>
                  <a:pt x="1435870" y="5039519"/>
                </a:lnTo>
                <a:lnTo>
                  <a:pt x="1435870" y="5029648"/>
                </a:lnTo>
                <a:close/>
                <a:moveTo>
                  <a:pt x="1200573" y="5025610"/>
                </a:moveTo>
                <a:lnTo>
                  <a:pt x="1210484" y="5025610"/>
                </a:lnTo>
                <a:lnTo>
                  <a:pt x="1214502" y="5029648"/>
                </a:lnTo>
                <a:lnTo>
                  <a:pt x="1214502" y="5039519"/>
                </a:lnTo>
                <a:lnTo>
                  <a:pt x="1210484" y="5043558"/>
                </a:lnTo>
                <a:lnTo>
                  <a:pt x="1200573" y="5043558"/>
                </a:lnTo>
                <a:lnTo>
                  <a:pt x="1196555" y="5039519"/>
                </a:lnTo>
                <a:lnTo>
                  <a:pt x="1196555" y="5029648"/>
                </a:lnTo>
                <a:close/>
                <a:moveTo>
                  <a:pt x="961261" y="5025610"/>
                </a:moveTo>
                <a:lnTo>
                  <a:pt x="971171" y="5025610"/>
                </a:lnTo>
                <a:lnTo>
                  <a:pt x="975190" y="5029648"/>
                </a:lnTo>
                <a:lnTo>
                  <a:pt x="975190" y="5039519"/>
                </a:lnTo>
                <a:lnTo>
                  <a:pt x="971171" y="5043558"/>
                </a:lnTo>
                <a:lnTo>
                  <a:pt x="961261" y="5043558"/>
                </a:lnTo>
                <a:lnTo>
                  <a:pt x="957242" y="5039519"/>
                </a:lnTo>
                <a:lnTo>
                  <a:pt x="957242" y="5029648"/>
                </a:lnTo>
                <a:close/>
                <a:moveTo>
                  <a:pt x="9572438" y="5025558"/>
                </a:moveTo>
                <a:lnTo>
                  <a:pt x="9582349" y="5025558"/>
                </a:lnTo>
                <a:lnTo>
                  <a:pt x="9586368" y="5029597"/>
                </a:lnTo>
                <a:lnTo>
                  <a:pt x="9586368" y="5039468"/>
                </a:lnTo>
                <a:lnTo>
                  <a:pt x="9582349" y="5043507"/>
                </a:lnTo>
                <a:lnTo>
                  <a:pt x="9572438" y="5043507"/>
                </a:lnTo>
                <a:lnTo>
                  <a:pt x="9568419" y="5039468"/>
                </a:lnTo>
                <a:lnTo>
                  <a:pt x="9568419" y="5029597"/>
                </a:lnTo>
                <a:close/>
                <a:moveTo>
                  <a:pt x="9333125" y="5025558"/>
                </a:moveTo>
                <a:lnTo>
                  <a:pt x="9343036" y="5025558"/>
                </a:lnTo>
                <a:lnTo>
                  <a:pt x="9347055" y="5029597"/>
                </a:lnTo>
                <a:lnTo>
                  <a:pt x="9347055" y="5039468"/>
                </a:lnTo>
                <a:lnTo>
                  <a:pt x="9343036" y="5043507"/>
                </a:lnTo>
                <a:lnTo>
                  <a:pt x="9333125" y="5043507"/>
                </a:lnTo>
                <a:lnTo>
                  <a:pt x="9329106" y="5039468"/>
                </a:lnTo>
                <a:lnTo>
                  <a:pt x="9329106" y="5029597"/>
                </a:lnTo>
                <a:close/>
                <a:moveTo>
                  <a:pt x="9093811" y="5025558"/>
                </a:moveTo>
                <a:lnTo>
                  <a:pt x="9103722" y="5025558"/>
                </a:lnTo>
                <a:lnTo>
                  <a:pt x="9107741" y="5029597"/>
                </a:lnTo>
                <a:lnTo>
                  <a:pt x="9107741" y="5039468"/>
                </a:lnTo>
                <a:lnTo>
                  <a:pt x="9103722" y="5043507"/>
                </a:lnTo>
                <a:lnTo>
                  <a:pt x="9093811" y="5043507"/>
                </a:lnTo>
                <a:lnTo>
                  <a:pt x="9089792" y="5039468"/>
                </a:lnTo>
                <a:lnTo>
                  <a:pt x="9089792" y="5029597"/>
                </a:lnTo>
                <a:close/>
                <a:moveTo>
                  <a:pt x="8854496" y="5025558"/>
                </a:moveTo>
                <a:lnTo>
                  <a:pt x="8864407" y="5025558"/>
                </a:lnTo>
                <a:lnTo>
                  <a:pt x="8868426" y="5029597"/>
                </a:lnTo>
                <a:lnTo>
                  <a:pt x="8868426" y="5039468"/>
                </a:lnTo>
                <a:lnTo>
                  <a:pt x="8864407" y="5043507"/>
                </a:lnTo>
                <a:lnTo>
                  <a:pt x="8854496" y="5043507"/>
                </a:lnTo>
                <a:lnTo>
                  <a:pt x="8850477" y="5039468"/>
                </a:lnTo>
                <a:lnTo>
                  <a:pt x="8850477" y="5029597"/>
                </a:lnTo>
                <a:close/>
                <a:moveTo>
                  <a:pt x="8615184" y="5025558"/>
                </a:moveTo>
                <a:lnTo>
                  <a:pt x="8625095" y="5025558"/>
                </a:lnTo>
                <a:lnTo>
                  <a:pt x="8629114" y="5029597"/>
                </a:lnTo>
                <a:lnTo>
                  <a:pt x="8629114" y="5039468"/>
                </a:lnTo>
                <a:lnTo>
                  <a:pt x="8625095" y="5043507"/>
                </a:lnTo>
                <a:lnTo>
                  <a:pt x="8615184" y="5043507"/>
                </a:lnTo>
                <a:lnTo>
                  <a:pt x="8611165" y="5039468"/>
                </a:lnTo>
                <a:lnTo>
                  <a:pt x="8611165" y="5029597"/>
                </a:lnTo>
                <a:close/>
                <a:moveTo>
                  <a:pt x="8375869" y="5025558"/>
                </a:moveTo>
                <a:lnTo>
                  <a:pt x="8385779" y="5025558"/>
                </a:lnTo>
                <a:lnTo>
                  <a:pt x="8389799" y="5029597"/>
                </a:lnTo>
                <a:lnTo>
                  <a:pt x="8389799" y="5039468"/>
                </a:lnTo>
                <a:lnTo>
                  <a:pt x="8385779" y="5043507"/>
                </a:lnTo>
                <a:lnTo>
                  <a:pt x="8375869" y="5043507"/>
                </a:lnTo>
                <a:lnTo>
                  <a:pt x="8371850" y="5039468"/>
                </a:lnTo>
                <a:lnTo>
                  <a:pt x="8371850" y="5029597"/>
                </a:lnTo>
                <a:close/>
                <a:moveTo>
                  <a:pt x="8136553" y="5025558"/>
                </a:moveTo>
                <a:lnTo>
                  <a:pt x="8146464" y="5025558"/>
                </a:lnTo>
                <a:lnTo>
                  <a:pt x="8150483" y="5029597"/>
                </a:lnTo>
                <a:lnTo>
                  <a:pt x="8150483" y="5039468"/>
                </a:lnTo>
                <a:lnTo>
                  <a:pt x="8146464" y="5043507"/>
                </a:lnTo>
                <a:lnTo>
                  <a:pt x="8136553" y="5043507"/>
                </a:lnTo>
                <a:lnTo>
                  <a:pt x="8132534" y="5039468"/>
                </a:lnTo>
                <a:lnTo>
                  <a:pt x="8132534" y="5029597"/>
                </a:lnTo>
                <a:close/>
                <a:moveTo>
                  <a:pt x="7897241" y="5025558"/>
                </a:moveTo>
                <a:lnTo>
                  <a:pt x="7907151" y="5025558"/>
                </a:lnTo>
                <a:lnTo>
                  <a:pt x="7911170" y="5029597"/>
                </a:lnTo>
                <a:lnTo>
                  <a:pt x="7911170" y="5039468"/>
                </a:lnTo>
                <a:lnTo>
                  <a:pt x="7907151" y="5043507"/>
                </a:lnTo>
                <a:lnTo>
                  <a:pt x="7897241" y="5043507"/>
                </a:lnTo>
                <a:lnTo>
                  <a:pt x="7893222" y="5039468"/>
                </a:lnTo>
                <a:lnTo>
                  <a:pt x="7893222" y="5029597"/>
                </a:lnTo>
                <a:close/>
                <a:moveTo>
                  <a:pt x="7657926" y="5025558"/>
                </a:moveTo>
                <a:lnTo>
                  <a:pt x="7667836" y="5025558"/>
                </a:lnTo>
                <a:lnTo>
                  <a:pt x="7671855" y="5029597"/>
                </a:lnTo>
                <a:lnTo>
                  <a:pt x="7671855" y="5039468"/>
                </a:lnTo>
                <a:lnTo>
                  <a:pt x="7667836" y="5043507"/>
                </a:lnTo>
                <a:lnTo>
                  <a:pt x="7657926" y="5043507"/>
                </a:lnTo>
                <a:lnTo>
                  <a:pt x="7653906" y="5039468"/>
                </a:lnTo>
                <a:lnTo>
                  <a:pt x="7653906" y="5029597"/>
                </a:lnTo>
                <a:close/>
                <a:moveTo>
                  <a:pt x="7418611" y="5025558"/>
                </a:moveTo>
                <a:lnTo>
                  <a:pt x="7428521" y="5025558"/>
                </a:lnTo>
                <a:lnTo>
                  <a:pt x="7432540" y="5029597"/>
                </a:lnTo>
                <a:lnTo>
                  <a:pt x="7432540" y="5039468"/>
                </a:lnTo>
                <a:lnTo>
                  <a:pt x="7428521" y="5043507"/>
                </a:lnTo>
                <a:lnTo>
                  <a:pt x="7418611" y="5043507"/>
                </a:lnTo>
                <a:lnTo>
                  <a:pt x="7414592" y="5039468"/>
                </a:lnTo>
                <a:lnTo>
                  <a:pt x="7414592" y="5029597"/>
                </a:lnTo>
                <a:close/>
                <a:moveTo>
                  <a:pt x="7179298" y="5025558"/>
                </a:moveTo>
                <a:lnTo>
                  <a:pt x="7189209" y="5025558"/>
                </a:lnTo>
                <a:lnTo>
                  <a:pt x="7193228" y="5029597"/>
                </a:lnTo>
                <a:lnTo>
                  <a:pt x="7193228" y="5039468"/>
                </a:lnTo>
                <a:lnTo>
                  <a:pt x="7189209" y="5043507"/>
                </a:lnTo>
                <a:lnTo>
                  <a:pt x="7179298" y="5043507"/>
                </a:lnTo>
                <a:lnTo>
                  <a:pt x="7175279" y="5039468"/>
                </a:lnTo>
                <a:lnTo>
                  <a:pt x="7175279" y="5029597"/>
                </a:lnTo>
                <a:close/>
                <a:moveTo>
                  <a:pt x="6939983" y="5025558"/>
                </a:moveTo>
                <a:lnTo>
                  <a:pt x="6949894" y="5025558"/>
                </a:lnTo>
                <a:lnTo>
                  <a:pt x="6953913" y="5029597"/>
                </a:lnTo>
                <a:lnTo>
                  <a:pt x="6953913" y="5039468"/>
                </a:lnTo>
                <a:lnTo>
                  <a:pt x="6949894" y="5043507"/>
                </a:lnTo>
                <a:lnTo>
                  <a:pt x="6939983" y="5043507"/>
                </a:lnTo>
                <a:lnTo>
                  <a:pt x="6935964" y="5039468"/>
                </a:lnTo>
                <a:lnTo>
                  <a:pt x="6935964" y="5029597"/>
                </a:lnTo>
                <a:close/>
                <a:moveTo>
                  <a:pt x="6700670" y="5025558"/>
                </a:moveTo>
                <a:lnTo>
                  <a:pt x="6710581" y="5025558"/>
                </a:lnTo>
                <a:lnTo>
                  <a:pt x="6714600" y="5029597"/>
                </a:lnTo>
                <a:lnTo>
                  <a:pt x="6714600" y="5039468"/>
                </a:lnTo>
                <a:lnTo>
                  <a:pt x="6710581" y="5043507"/>
                </a:lnTo>
                <a:lnTo>
                  <a:pt x="6700670" y="5043507"/>
                </a:lnTo>
                <a:lnTo>
                  <a:pt x="6696651" y="5039468"/>
                </a:lnTo>
                <a:lnTo>
                  <a:pt x="6696651" y="5029597"/>
                </a:lnTo>
                <a:close/>
                <a:moveTo>
                  <a:pt x="6461356" y="5025558"/>
                </a:moveTo>
                <a:lnTo>
                  <a:pt x="6471266" y="5025558"/>
                </a:lnTo>
                <a:lnTo>
                  <a:pt x="6475285" y="5029597"/>
                </a:lnTo>
                <a:lnTo>
                  <a:pt x="6475285" y="5039468"/>
                </a:lnTo>
                <a:lnTo>
                  <a:pt x="6471266" y="5043507"/>
                </a:lnTo>
                <a:lnTo>
                  <a:pt x="6461356" y="5043507"/>
                </a:lnTo>
                <a:lnTo>
                  <a:pt x="6457337" y="5039468"/>
                </a:lnTo>
                <a:lnTo>
                  <a:pt x="6457337" y="5029597"/>
                </a:lnTo>
                <a:close/>
                <a:moveTo>
                  <a:pt x="6222042" y="5025558"/>
                </a:moveTo>
                <a:lnTo>
                  <a:pt x="6231952" y="5025558"/>
                </a:lnTo>
                <a:lnTo>
                  <a:pt x="6235971" y="5029597"/>
                </a:lnTo>
                <a:lnTo>
                  <a:pt x="6235971" y="5039468"/>
                </a:lnTo>
                <a:lnTo>
                  <a:pt x="6231952" y="5043507"/>
                </a:lnTo>
                <a:lnTo>
                  <a:pt x="6222042" y="5043507"/>
                </a:lnTo>
                <a:lnTo>
                  <a:pt x="6218023" y="5039468"/>
                </a:lnTo>
                <a:lnTo>
                  <a:pt x="6218023" y="5029597"/>
                </a:lnTo>
                <a:close/>
                <a:moveTo>
                  <a:pt x="5982729" y="5025558"/>
                </a:moveTo>
                <a:lnTo>
                  <a:pt x="5992639" y="5025558"/>
                </a:lnTo>
                <a:lnTo>
                  <a:pt x="5996658" y="5029597"/>
                </a:lnTo>
                <a:lnTo>
                  <a:pt x="5996658" y="5039468"/>
                </a:lnTo>
                <a:lnTo>
                  <a:pt x="5992639" y="5043507"/>
                </a:lnTo>
                <a:lnTo>
                  <a:pt x="5982729" y="5043507"/>
                </a:lnTo>
                <a:lnTo>
                  <a:pt x="5978710" y="5039468"/>
                </a:lnTo>
                <a:lnTo>
                  <a:pt x="5978710" y="5029597"/>
                </a:lnTo>
                <a:close/>
                <a:moveTo>
                  <a:pt x="5743412" y="5025558"/>
                </a:moveTo>
                <a:lnTo>
                  <a:pt x="5753323" y="5025558"/>
                </a:lnTo>
                <a:lnTo>
                  <a:pt x="5757342" y="5029597"/>
                </a:lnTo>
                <a:lnTo>
                  <a:pt x="5757342" y="5039468"/>
                </a:lnTo>
                <a:lnTo>
                  <a:pt x="5753323" y="5043507"/>
                </a:lnTo>
                <a:lnTo>
                  <a:pt x="5743412" y="5043507"/>
                </a:lnTo>
                <a:lnTo>
                  <a:pt x="5739393" y="5039468"/>
                </a:lnTo>
                <a:lnTo>
                  <a:pt x="5739393" y="5029597"/>
                </a:lnTo>
                <a:close/>
                <a:moveTo>
                  <a:pt x="5504099" y="5025558"/>
                </a:moveTo>
                <a:lnTo>
                  <a:pt x="5514010" y="5025558"/>
                </a:lnTo>
                <a:lnTo>
                  <a:pt x="5518029" y="5029597"/>
                </a:lnTo>
                <a:lnTo>
                  <a:pt x="5518029" y="5039468"/>
                </a:lnTo>
                <a:lnTo>
                  <a:pt x="5514010" y="5043507"/>
                </a:lnTo>
                <a:lnTo>
                  <a:pt x="5504099" y="5043507"/>
                </a:lnTo>
                <a:lnTo>
                  <a:pt x="5500080" y="5039468"/>
                </a:lnTo>
                <a:lnTo>
                  <a:pt x="5500080" y="5029597"/>
                </a:lnTo>
                <a:close/>
                <a:moveTo>
                  <a:pt x="5264784" y="5025558"/>
                </a:moveTo>
                <a:lnTo>
                  <a:pt x="5274694" y="5025558"/>
                </a:lnTo>
                <a:lnTo>
                  <a:pt x="5278713" y="5029597"/>
                </a:lnTo>
                <a:lnTo>
                  <a:pt x="5278713" y="5039468"/>
                </a:lnTo>
                <a:lnTo>
                  <a:pt x="5274694" y="5043507"/>
                </a:lnTo>
                <a:lnTo>
                  <a:pt x="5264784" y="5043507"/>
                </a:lnTo>
                <a:lnTo>
                  <a:pt x="5260765" y="5039468"/>
                </a:lnTo>
                <a:lnTo>
                  <a:pt x="5260765" y="5029597"/>
                </a:lnTo>
                <a:close/>
                <a:moveTo>
                  <a:pt x="5025470" y="5025558"/>
                </a:moveTo>
                <a:lnTo>
                  <a:pt x="5035381" y="5025558"/>
                </a:lnTo>
                <a:lnTo>
                  <a:pt x="5039400" y="5029597"/>
                </a:lnTo>
                <a:lnTo>
                  <a:pt x="5039400" y="5039468"/>
                </a:lnTo>
                <a:lnTo>
                  <a:pt x="5035381" y="5043507"/>
                </a:lnTo>
                <a:lnTo>
                  <a:pt x="5025470" y="5043507"/>
                </a:lnTo>
                <a:lnTo>
                  <a:pt x="5021451" y="5039468"/>
                </a:lnTo>
                <a:lnTo>
                  <a:pt x="5021451" y="5029597"/>
                </a:lnTo>
                <a:close/>
                <a:moveTo>
                  <a:pt x="4786241" y="5025558"/>
                </a:moveTo>
                <a:lnTo>
                  <a:pt x="4796152" y="5025558"/>
                </a:lnTo>
                <a:lnTo>
                  <a:pt x="4800171" y="5029597"/>
                </a:lnTo>
                <a:lnTo>
                  <a:pt x="4800171" y="5039468"/>
                </a:lnTo>
                <a:lnTo>
                  <a:pt x="4796152" y="5043507"/>
                </a:lnTo>
                <a:lnTo>
                  <a:pt x="4786241" y="5043507"/>
                </a:lnTo>
                <a:lnTo>
                  <a:pt x="4782224" y="5039468"/>
                </a:lnTo>
                <a:lnTo>
                  <a:pt x="4782224" y="5029597"/>
                </a:lnTo>
                <a:close/>
                <a:moveTo>
                  <a:pt x="4546929" y="5025558"/>
                </a:moveTo>
                <a:lnTo>
                  <a:pt x="4556840" y="5025558"/>
                </a:lnTo>
                <a:lnTo>
                  <a:pt x="4560859" y="5029597"/>
                </a:lnTo>
                <a:lnTo>
                  <a:pt x="4560859" y="5039468"/>
                </a:lnTo>
                <a:lnTo>
                  <a:pt x="4556840" y="5043507"/>
                </a:lnTo>
                <a:lnTo>
                  <a:pt x="4546929" y="5043507"/>
                </a:lnTo>
                <a:lnTo>
                  <a:pt x="4542910" y="5039468"/>
                </a:lnTo>
                <a:lnTo>
                  <a:pt x="4542910" y="5029597"/>
                </a:lnTo>
                <a:close/>
                <a:moveTo>
                  <a:pt x="4307612" y="5025558"/>
                </a:moveTo>
                <a:lnTo>
                  <a:pt x="4317523" y="5025558"/>
                </a:lnTo>
                <a:lnTo>
                  <a:pt x="4321543" y="5029597"/>
                </a:lnTo>
                <a:lnTo>
                  <a:pt x="4321543" y="5039468"/>
                </a:lnTo>
                <a:lnTo>
                  <a:pt x="4317523" y="5043507"/>
                </a:lnTo>
                <a:lnTo>
                  <a:pt x="4307612" y="5043507"/>
                </a:lnTo>
                <a:lnTo>
                  <a:pt x="4303595" y="5039468"/>
                </a:lnTo>
                <a:lnTo>
                  <a:pt x="4303595" y="5029597"/>
                </a:lnTo>
                <a:close/>
                <a:moveTo>
                  <a:pt x="4068297" y="5025558"/>
                </a:moveTo>
                <a:lnTo>
                  <a:pt x="4078210" y="5025558"/>
                </a:lnTo>
                <a:lnTo>
                  <a:pt x="4082229" y="5029597"/>
                </a:lnTo>
                <a:lnTo>
                  <a:pt x="4082229" y="5039468"/>
                </a:lnTo>
                <a:lnTo>
                  <a:pt x="4078210" y="5043507"/>
                </a:lnTo>
                <a:lnTo>
                  <a:pt x="4068297" y="5043507"/>
                </a:lnTo>
                <a:lnTo>
                  <a:pt x="4064278" y="5039468"/>
                </a:lnTo>
                <a:lnTo>
                  <a:pt x="4064278" y="5029597"/>
                </a:lnTo>
                <a:close/>
                <a:moveTo>
                  <a:pt x="3828990" y="5025558"/>
                </a:moveTo>
                <a:lnTo>
                  <a:pt x="3838899" y="5025558"/>
                </a:lnTo>
                <a:lnTo>
                  <a:pt x="3842917" y="5029597"/>
                </a:lnTo>
                <a:lnTo>
                  <a:pt x="3842917" y="5039468"/>
                </a:lnTo>
                <a:lnTo>
                  <a:pt x="3838899" y="5043507"/>
                </a:lnTo>
                <a:lnTo>
                  <a:pt x="3828990" y="5043507"/>
                </a:lnTo>
                <a:lnTo>
                  <a:pt x="3824971" y="5039468"/>
                </a:lnTo>
                <a:lnTo>
                  <a:pt x="3824971" y="5029597"/>
                </a:lnTo>
                <a:close/>
                <a:moveTo>
                  <a:pt x="3589676" y="5025558"/>
                </a:moveTo>
                <a:lnTo>
                  <a:pt x="3599585" y="5025558"/>
                </a:lnTo>
                <a:lnTo>
                  <a:pt x="3603604" y="5029597"/>
                </a:lnTo>
                <a:lnTo>
                  <a:pt x="3603604" y="5039468"/>
                </a:lnTo>
                <a:lnTo>
                  <a:pt x="3599585" y="5043507"/>
                </a:lnTo>
                <a:lnTo>
                  <a:pt x="3589676" y="5043507"/>
                </a:lnTo>
                <a:lnTo>
                  <a:pt x="3585657" y="5039468"/>
                </a:lnTo>
                <a:lnTo>
                  <a:pt x="3585657" y="5029597"/>
                </a:lnTo>
                <a:close/>
                <a:moveTo>
                  <a:pt x="3350359" y="5025558"/>
                </a:moveTo>
                <a:lnTo>
                  <a:pt x="3360268" y="5025558"/>
                </a:lnTo>
                <a:lnTo>
                  <a:pt x="3364287" y="5029597"/>
                </a:lnTo>
                <a:lnTo>
                  <a:pt x="3364287" y="5039468"/>
                </a:lnTo>
                <a:lnTo>
                  <a:pt x="3360268" y="5043507"/>
                </a:lnTo>
                <a:lnTo>
                  <a:pt x="3350359" y="5043507"/>
                </a:lnTo>
                <a:lnTo>
                  <a:pt x="3346340" y="5039468"/>
                </a:lnTo>
                <a:lnTo>
                  <a:pt x="3346340" y="5029597"/>
                </a:lnTo>
                <a:close/>
                <a:moveTo>
                  <a:pt x="3111048" y="5025558"/>
                </a:moveTo>
                <a:lnTo>
                  <a:pt x="3120959" y="5025558"/>
                </a:lnTo>
                <a:lnTo>
                  <a:pt x="3124977" y="5029597"/>
                </a:lnTo>
                <a:lnTo>
                  <a:pt x="3124977" y="5039468"/>
                </a:lnTo>
                <a:lnTo>
                  <a:pt x="3120959" y="5043507"/>
                </a:lnTo>
                <a:lnTo>
                  <a:pt x="3111048" y="5043507"/>
                </a:lnTo>
                <a:lnTo>
                  <a:pt x="3107029" y="5039468"/>
                </a:lnTo>
                <a:lnTo>
                  <a:pt x="3107029" y="5029597"/>
                </a:lnTo>
                <a:close/>
                <a:moveTo>
                  <a:pt x="2871737" y="5025558"/>
                </a:moveTo>
                <a:lnTo>
                  <a:pt x="2881646" y="5025558"/>
                </a:lnTo>
                <a:lnTo>
                  <a:pt x="2885666" y="5029597"/>
                </a:lnTo>
                <a:lnTo>
                  <a:pt x="2885666" y="5039468"/>
                </a:lnTo>
                <a:lnTo>
                  <a:pt x="2881646" y="5043507"/>
                </a:lnTo>
                <a:lnTo>
                  <a:pt x="2871737" y="5043507"/>
                </a:lnTo>
                <a:lnTo>
                  <a:pt x="2867717" y="5039468"/>
                </a:lnTo>
                <a:lnTo>
                  <a:pt x="2867717" y="5029597"/>
                </a:lnTo>
                <a:close/>
                <a:moveTo>
                  <a:pt x="2632423" y="5025558"/>
                </a:moveTo>
                <a:lnTo>
                  <a:pt x="2642334" y="5025558"/>
                </a:lnTo>
                <a:lnTo>
                  <a:pt x="2646352" y="5029597"/>
                </a:lnTo>
                <a:lnTo>
                  <a:pt x="2646352" y="5039468"/>
                </a:lnTo>
                <a:lnTo>
                  <a:pt x="2642334" y="5043507"/>
                </a:lnTo>
                <a:lnTo>
                  <a:pt x="2632423" y="5043507"/>
                </a:lnTo>
                <a:lnTo>
                  <a:pt x="2628404" y="5039468"/>
                </a:lnTo>
                <a:lnTo>
                  <a:pt x="2628404" y="5029597"/>
                </a:lnTo>
                <a:close/>
                <a:moveTo>
                  <a:pt x="2393104" y="5025558"/>
                </a:moveTo>
                <a:lnTo>
                  <a:pt x="2403015" y="5025558"/>
                </a:lnTo>
                <a:lnTo>
                  <a:pt x="2407034" y="5029597"/>
                </a:lnTo>
                <a:lnTo>
                  <a:pt x="2407034" y="5039468"/>
                </a:lnTo>
                <a:lnTo>
                  <a:pt x="2403015" y="5043507"/>
                </a:lnTo>
                <a:lnTo>
                  <a:pt x="2393104" y="5043507"/>
                </a:lnTo>
                <a:lnTo>
                  <a:pt x="2389087" y="5039468"/>
                </a:lnTo>
                <a:lnTo>
                  <a:pt x="2389087" y="5029597"/>
                </a:lnTo>
                <a:close/>
                <a:moveTo>
                  <a:pt x="721962" y="5025558"/>
                </a:moveTo>
                <a:lnTo>
                  <a:pt x="731872" y="5025558"/>
                </a:lnTo>
                <a:lnTo>
                  <a:pt x="735891" y="5029597"/>
                </a:lnTo>
                <a:lnTo>
                  <a:pt x="735891" y="5039468"/>
                </a:lnTo>
                <a:lnTo>
                  <a:pt x="731872" y="5043507"/>
                </a:lnTo>
                <a:lnTo>
                  <a:pt x="721962" y="5043507"/>
                </a:lnTo>
                <a:lnTo>
                  <a:pt x="717944" y="5039468"/>
                </a:lnTo>
                <a:lnTo>
                  <a:pt x="717944" y="5029597"/>
                </a:lnTo>
                <a:close/>
                <a:moveTo>
                  <a:pt x="482650" y="5025558"/>
                </a:moveTo>
                <a:lnTo>
                  <a:pt x="492560" y="5025558"/>
                </a:lnTo>
                <a:lnTo>
                  <a:pt x="496580" y="5029597"/>
                </a:lnTo>
                <a:lnTo>
                  <a:pt x="496580" y="5039468"/>
                </a:lnTo>
                <a:lnTo>
                  <a:pt x="492560" y="5043507"/>
                </a:lnTo>
                <a:lnTo>
                  <a:pt x="482650" y="5043507"/>
                </a:lnTo>
                <a:lnTo>
                  <a:pt x="478631" y="5039468"/>
                </a:lnTo>
                <a:lnTo>
                  <a:pt x="478631" y="5029597"/>
                </a:lnTo>
                <a:close/>
                <a:moveTo>
                  <a:pt x="243336" y="5025558"/>
                </a:moveTo>
                <a:lnTo>
                  <a:pt x="253247" y="5025558"/>
                </a:lnTo>
                <a:lnTo>
                  <a:pt x="257266" y="5029597"/>
                </a:lnTo>
                <a:lnTo>
                  <a:pt x="257266" y="5039468"/>
                </a:lnTo>
                <a:lnTo>
                  <a:pt x="253247" y="5043507"/>
                </a:lnTo>
                <a:lnTo>
                  <a:pt x="243336" y="5043507"/>
                </a:lnTo>
                <a:lnTo>
                  <a:pt x="239317" y="5039468"/>
                </a:lnTo>
                <a:lnTo>
                  <a:pt x="239317" y="5029597"/>
                </a:lnTo>
                <a:close/>
                <a:moveTo>
                  <a:pt x="4024" y="5025558"/>
                </a:moveTo>
                <a:lnTo>
                  <a:pt x="13933" y="5025558"/>
                </a:lnTo>
                <a:lnTo>
                  <a:pt x="17952" y="5029597"/>
                </a:lnTo>
                <a:lnTo>
                  <a:pt x="17952" y="5039468"/>
                </a:lnTo>
                <a:lnTo>
                  <a:pt x="13933" y="5043507"/>
                </a:lnTo>
                <a:lnTo>
                  <a:pt x="4024" y="5043507"/>
                </a:lnTo>
                <a:lnTo>
                  <a:pt x="4" y="5039468"/>
                </a:lnTo>
                <a:lnTo>
                  <a:pt x="4" y="5029597"/>
                </a:lnTo>
                <a:close/>
                <a:moveTo>
                  <a:pt x="9572438" y="4786279"/>
                </a:moveTo>
                <a:lnTo>
                  <a:pt x="9582349" y="4786279"/>
                </a:lnTo>
                <a:lnTo>
                  <a:pt x="9586368" y="4790317"/>
                </a:lnTo>
                <a:lnTo>
                  <a:pt x="9586368" y="4800188"/>
                </a:lnTo>
                <a:lnTo>
                  <a:pt x="9582349" y="4804227"/>
                </a:lnTo>
                <a:lnTo>
                  <a:pt x="9572438" y="4804227"/>
                </a:lnTo>
                <a:lnTo>
                  <a:pt x="9568419" y="4800188"/>
                </a:lnTo>
                <a:lnTo>
                  <a:pt x="9568419" y="4790317"/>
                </a:lnTo>
                <a:close/>
                <a:moveTo>
                  <a:pt x="9333125" y="4786279"/>
                </a:moveTo>
                <a:lnTo>
                  <a:pt x="9343036" y="4786279"/>
                </a:lnTo>
                <a:lnTo>
                  <a:pt x="9347055" y="4790317"/>
                </a:lnTo>
                <a:lnTo>
                  <a:pt x="9347055" y="4800188"/>
                </a:lnTo>
                <a:lnTo>
                  <a:pt x="9343036" y="4804227"/>
                </a:lnTo>
                <a:lnTo>
                  <a:pt x="9333125" y="4804227"/>
                </a:lnTo>
                <a:lnTo>
                  <a:pt x="9329106" y="4800188"/>
                </a:lnTo>
                <a:lnTo>
                  <a:pt x="9329106" y="4790317"/>
                </a:lnTo>
                <a:close/>
                <a:moveTo>
                  <a:pt x="9093811" y="4786279"/>
                </a:moveTo>
                <a:lnTo>
                  <a:pt x="9103722" y="4786279"/>
                </a:lnTo>
                <a:lnTo>
                  <a:pt x="9107741" y="4790317"/>
                </a:lnTo>
                <a:lnTo>
                  <a:pt x="9107741" y="4800188"/>
                </a:lnTo>
                <a:lnTo>
                  <a:pt x="9103722" y="4804227"/>
                </a:lnTo>
                <a:lnTo>
                  <a:pt x="9093811" y="4804227"/>
                </a:lnTo>
                <a:lnTo>
                  <a:pt x="9089792" y="4800188"/>
                </a:lnTo>
                <a:lnTo>
                  <a:pt x="9089792" y="4790317"/>
                </a:lnTo>
                <a:close/>
                <a:moveTo>
                  <a:pt x="8854496" y="4786279"/>
                </a:moveTo>
                <a:lnTo>
                  <a:pt x="8864407" y="4786279"/>
                </a:lnTo>
                <a:lnTo>
                  <a:pt x="8868426" y="4790317"/>
                </a:lnTo>
                <a:lnTo>
                  <a:pt x="8868426" y="4800188"/>
                </a:lnTo>
                <a:lnTo>
                  <a:pt x="8864407" y="4804227"/>
                </a:lnTo>
                <a:lnTo>
                  <a:pt x="8854496" y="4804227"/>
                </a:lnTo>
                <a:lnTo>
                  <a:pt x="8850477" y="4800188"/>
                </a:lnTo>
                <a:lnTo>
                  <a:pt x="8850477" y="4790317"/>
                </a:lnTo>
                <a:close/>
                <a:moveTo>
                  <a:pt x="8615184" y="4786279"/>
                </a:moveTo>
                <a:lnTo>
                  <a:pt x="8625095" y="4786279"/>
                </a:lnTo>
                <a:lnTo>
                  <a:pt x="8629114" y="4790317"/>
                </a:lnTo>
                <a:lnTo>
                  <a:pt x="8629114" y="4800188"/>
                </a:lnTo>
                <a:lnTo>
                  <a:pt x="8625095" y="4804227"/>
                </a:lnTo>
                <a:lnTo>
                  <a:pt x="8615184" y="4804227"/>
                </a:lnTo>
                <a:lnTo>
                  <a:pt x="8611165" y="4800188"/>
                </a:lnTo>
                <a:lnTo>
                  <a:pt x="8611165" y="4790317"/>
                </a:lnTo>
                <a:close/>
                <a:moveTo>
                  <a:pt x="8375869" y="4786279"/>
                </a:moveTo>
                <a:lnTo>
                  <a:pt x="8385779" y="4786279"/>
                </a:lnTo>
                <a:lnTo>
                  <a:pt x="8389799" y="4790317"/>
                </a:lnTo>
                <a:lnTo>
                  <a:pt x="8389799" y="4800188"/>
                </a:lnTo>
                <a:lnTo>
                  <a:pt x="8385779" y="4804227"/>
                </a:lnTo>
                <a:lnTo>
                  <a:pt x="8375869" y="4804227"/>
                </a:lnTo>
                <a:lnTo>
                  <a:pt x="8371850" y="4800188"/>
                </a:lnTo>
                <a:lnTo>
                  <a:pt x="8371850" y="4790317"/>
                </a:lnTo>
                <a:close/>
                <a:moveTo>
                  <a:pt x="8136553" y="4786279"/>
                </a:moveTo>
                <a:lnTo>
                  <a:pt x="8146464" y="4786279"/>
                </a:lnTo>
                <a:lnTo>
                  <a:pt x="8150483" y="4790317"/>
                </a:lnTo>
                <a:lnTo>
                  <a:pt x="8150483" y="4800188"/>
                </a:lnTo>
                <a:lnTo>
                  <a:pt x="8146464" y="4804227"/>
                </a:lnTo>
                <a:lnTo>
                  <a:pt x="8136553" y="4804227"/>
                </a:lnTo>
                <a:lnTo>
                  <a:pt x="8132534" y="4800188"/>
                </a:lnTo>
                <a:lnTo>
                  <a:pt x="8132534" y="4790317"/>
                </a:lnTo>
                <a:close/>
                <a:moveTo>
                  <a:pt x="7897241" y="4786279"/>
                </a:moveTo>
                <a:lnTo>
                  <a:pt x="7907151" y="4786279"/>
                </a:lnTo>
                <a:lnTo>
                  <a:pt x="7911170" y="4790317"/>
                </a:lnTo>
                <a:lnTo>
                  <a:pt x="7911170" y="4800188"/>
                </a:lnTo>
                <a:lnTo>
                  <a:pt x="7907151" y="4804227"/>
                </a:lnTo>
                <a:lnTo>
                  <a:pt x="7897241" y="4804227"/>
                </a:lnTo>
                <a:lnTo>
                  <a:pt x="7893222" y="4800188"/>
                </a:lnTo>
                <a:lnTo>
                  <a:pt x="7893222" y="4790317"/>
                </a:lnTo>
                <a:close/>
                <a:moveTo>
                  <a:pt x="7657926" y="4786279"/>
                </a:moveTo>
                <a:lnTo>
                  <a:pt x="7667836" y="4786279"/>
                </a:lnTo>
                <a:lnTo>
                  <a:pt x="7671855" y="4790317"/>
                </a:lnTo>
                <a:lnTo>
                  <a:pt x="7671855" y="4800188"/>
                </a:lnTo>
                <a:lnTo>
                  <a:pt x="7667836" y="4804227"/>
                </a:lnTo>
                <a:lnTo>
                  <a:pt x="7657926" y="4804227"/>
                </a:lnTo>
                <a:lnTo>
                  <a:pt x="7653906" y="4800188"/>
                </a:lnTo>
                <a:lnTo>
                  <a:pt x="7653906" y="4790317"/>
                </a:lnTo>
                <a:close/>
                <a:moveTo>
                  <a:pt x="7418611" y="4786279"/>
                </a:moveTo>
                <a:lnTo>
                  <a:pt x="7428521" y="4786279"/>
                </a:lnTo>
                <a:lnTo>
                  <a:pt x="7432540" y="4790317"/>
                </a:lnTo>
                <a:lnTo>
                  <a:pt x="7432540" y="4800188"/>
                </a:lnTo>
                <a:lnTo>
                  <a:pt x="7428521" y="4804227"/>
                </a:lnTo>
                <a:lnTo>
                  <a:pt x="7418611" y="4804227"/>
                </a:lnTo>
                <a:lnTo>
                  <a:pt x="7414592" y="4800188"/>
                </a:lnTo>
                <a:lnTo>
                  <a:pt x="7414592" y="4790317"/>
                </a:lnTo>
                <a:close/>
                <a:moveTo>
                  <a:pt x="7179298" y="4786279"/>
                </a:moveTo>
                <a:lnTo>
                  <a:pt x="7189209" y="4786279"/>
                </a:lnTo>
                <a:lnTo>
                  <a:pt x="7193228" y="4790317"/>
                </a:lnTo>
                <a:lnTo>
                  <a:pt x="7193228" y="4800188"/>
                </a:lnTo>
                <a:lnTo>
                  <a:pt x="7189209" y="4804227"/>
                </a:lnTo>
                <a:lnTo>
                  <a:pt x="7179298" y="4804227"/>
                </a:lnTo>
                <a:lnTo>
                  <a:pt x="7175279" y="4800188"/>
                </a:lnTo>
                <a:lnTo>
                  <a:pt x="7175279" y="4790317"/>
                </a:lnTo>
                <a:close/>
                <a:moveTo>
                  <a:pt x="6939983" y="4786279"/>
                </a:moveTo>
                <a:lnTo>
                  <a:pt x="6949894" y="4786279"/>
                </a:lnTo>
                <a:lnTo>
                  <a:pt x="6953913" y="4790317"/>
                </a:lnTo>
                <a:lnTo>
                  <a:pt x="6953913" y="4800188"/>
                </a:lnTo>
                <a:lnTo>
                  <a:pt x="6949894" y="4804227"/>
                </a:lnTo>
                <a:lnTo>
                  <a:pt x="6939983" y="4804227"/>
                </a:lnTo>
                <a:lnTo>
                  <a:pt x="6935964" y="4800188"/>
                </a:lnTo>
                <a:lnTo>
                  <a:pt x="6935964" y="4790317"/>
                </a:lnTo>
                <a:close/>
                <a:moveTo>
                  <a:pt x="6700670" y="4786279"/>
                </a:moveTo>
                <a:lnTo>
                  <a:pt x="6710581" y="4786279"/>
                </a:lnTo>
                <a:lnTo>
                  <a:pt x="6714600" y="4790317"/>
                </a:lnTo>
                <a:lnTo>
                  <a:pt x="6714600" y="4800188"/>
                </a:lnTo>
                <a:lnTo>
                  <a:pt x="6710581" y="4804227"/>
                </a:lnTo>
                <a:lnTo>
                  <a:pt x="6700670" y="4804227"/>
                </a:lnTo>
                <a:lnTo>
                  <a:pt x="6696651" y="4800188"/>
                </a:lnTo>
                <a:lnTo>
                  <a:pt x="6696651" y="4790317"/>
                </a:lnTo>
                <a:close/>
                <a:moveTo>
                  <a:pt x="6461356" y="4786279"/>
                </a:moveTo>
                <a:lnTo>
                  <a:pt x="6471266" y="4786279"/>
                </a:lnTo>
                <a:lnTo>
                  <a:pt x="6475285" y="4790317"/>
                </a:lnTo>
                <a:lnTo>
                  <a:pt x="6475285" y="4800188"/>
                </a:lnTo>
                <a:lnTo>
                  <a:pt x="6471266" y="4804227"/>
                </a:lnTo>
                <a:lnTo>
                  <a:pt x="6461356" y="4804227"/>
                </a:lnTo>
                <a:lnTo>
                  <a:pt x="6457337" y="4800188"/>
                </a:lnTo>
                <a:lnTo>
                  <a:pt x="6457337" y="4790317"/>
                </a:lnTo>
                <a:close/>
                <a:moveTo>
                  <a:pt x="6222042" y="4786279"/>
                </a:moveTo>
                <a:lnTo>
                  <a:pt x="6231952" y="4786279"/>
                </a:lnTo>
                <a:lnTo>
                  <a:pt x="6235971" y="4790317"/>
                </a:lnTo>
                <a:lnTo>
                  <a:pt x="6235971" y="4800188"/>
                </a:lnTo>
                <a:lnTo>
                  <a:pt x="6231952" y="4804227"/>
                </a:lnTo>
                <a:lnTo>
                  <a:pt x="6222042" y="4804227"/>
                </a:lnTo>
                <a:lnTo>
                  <a:pt x="6218023" y="4800188"/>
                </a:lnTo>
                <a:lnTo>
                  <a:pt x="6218023" y="4790317"/>
                </a:lnTo>
                <a:close/>
                <a:moveTo>
                  <a:pt x="5982729" y="4786279"/>
                </a:moveTo>
                <a:lnTo>
                  <a:pt x="5992639" y="4786279"/>
                </a:lnTo>
                <a:lnTo>
                  <a:pt x="5996658" y="4790317"/>
                </a:lnTo>
                <a:lnTo>
                  <a:pt x="5996658" y="4800188"/>
                </a:lnTo>
                <a:lnTo>
                  <a:pt x="5992639" y="4804227"/>
                </a:lnTo>
                <a:lnTo>
                  <a:pt x="5982729" y="4804227"/>
                </a:lnTo>
                <a:lnTo>
                  <a:pt x="5978710" y="4800188"/>
                </a:lnTo>
                <a:lnTo>
                  <a:pt x="5978710" y="4790317"/>
                </a:lnTo>
                <a:close/>
                <a:moveTo>
                  <a:pt x="5743412" y="4786279"/>
                </a:moveTo>
                <a:lnTo>
                  <a:pt x="5753323" y="4786279"/>
                </a:lnTo>
                <a:lnTo>
                  <a:pt x="5757342" y="4790317"/>
                </a:lnTo>
                <a:lnTo>
                  <a:pt x="5757342" y="4800188"/>
                </a:lnTo>
                <a:lnTo>
                  <a:pt x="5753323" y="4804227"/>
                </a:lnTo>
                <a:lnTo>
                  <a:pt x="5743412" y="4804227"/>
                </a:lnTo>
                <a:lnTo>
                  <a:pt x="5739393" y="4800188"/>
                </a:lnTo>
                <a:lnTo>
                  <a:pt x="5739393" y="4790317"/>
                </a:lnTo>
                <a:close/>
                <a:moveTo>
                  <a:pt x="5504099" y="4786279"/>
                </a:moveTo>
                <a:lnTo>
                  <a:pt x="5514010" y="4786279"/>
                </a:lnTo>
                <a:lnTo>
                  <a:pt x="5518029" y="4790317"/>
                </a:lnTo>
                <a:lnTo>
                  <a:pt x="5518029" y="4800188"/>
                </a:lnTo>
                <a:lnTo>
                  <a:pt x="5514010" y="4804227"/>
                </a:lnTo>
                <a:lnTo>
                  <a:pt x="5504099" y="4804227"/>
                </a:lnTo>
                <a:lnTo>
                  <a:pt x="5500080" y="4800188"/>
                </a:lnTo>
                <a:lnTo>
                  <a:pt x="5500080" y="4790317"/>
                </a:lnTo>
                <a:close/>
                <a:moveTo>
                  <a:pt x="5264784" y="4786279"/>
                </a:moveTo>
                <a:lnTo>
                  <a:pt x="5274694" y="4786279"/>
                </a:lnTo>
                <a:lnTo>
                  <a:pt x="5278713" y="4790317"/>
                </a:lnTo>
                <a:lnTo>
                  <a:pt x="5278713" y="4800188"/>
                </a:lnTo>
                <a:lnTo>
                  <a:pt x="5274694" y="4804227"/>
                </a:lnTo>
                <a:lnTo>
                  <a:pt x="5264784" y="4804227"/>
                </a:lnTo>
                <a:lnTo>
                  <a:pt x="5260765" y="4800188"/>
                </a:lnTo>
                <a:lnTo>
                  <a:pt x="5260765" y="4790317"/>
                </a:lnTo>
                <a:close/>
                <a:moveTo>
                  <a:pt x="5025470" y="4786279"/>
                </a:moveTo>
                <a:lnTo>
                  <a:pt x="5035381" y="4786279"/>
                </a:lnTo>
                <a:lnTo>
                  <a:pt x="5039400" y="4790317"/>
                </a:lnTo>
                <a:lnTo>
                  <a:pt x="5039400" y="4800188"/>
                </a:lnTo>
                <a:lnTo>
                  <a:pt x="5035381" y="4804227"/>
                </a:lnTo>
                <a:lnTo>
                  <a:pt x="5025470" y="4804227"/>
                </a:lnTo>
                <a:lnTo>
                  <a:pt x="5021451" y="4800188"/>
                </a:lnTo>
                <a:lnTo>
                  <a:pt x="5021451" y="4790317"/>
                </a:lnTo>
                <a:close/>
                <a:moveTo>
                  <a:pt x="4786241" y="4786279"/>
                </a:moveTo>
                <a:lnTo>
                  <a:pt x="4796152" y="4786279"/>
                </a:lnTo>
                <a:lnTo>
                  <a:pt x="4800171" y="4790317"/>
                </a:lnTo>
                <a:lnTo>
                  <a:pt x="4800171" y="4800188"/>
                </a:lnTo>
                <a:lnTo>
                  <a:pt x="4796152" y="4804227"/>
                </a:lnTo>
                <a:lnTo>
                  <a:pt x="4786241" y="4804227"/>
                </a:lnTo>
                <a:lnTo>
                  <a:pt x="4782224" y="4800188"/>
                </a:lnTo>
                <a:lnTo>
                  <a:pt x="4782224" y="4790317"/>
                </a:lnTo>
                <a:close/>
                <a:moveTo>
                  <a:pt x="4546929" y="4786279"/>
                </a:moveTo>
                <a:lnTo>
                  <a:pt x="4556840" y="4786279"/>
                </a:lnTo>
                <a:lnTo>
                  <a:pt x="4560859" y="4790317"/>
                </a:lnTo>
                <a:lnTo>
                  <a:pt x="4560859" y="4800188"/>
                </a:lnTo>
                <a:lnTo>
                  <a:pt x="4556840" y="4804227"/>
                </a:lnTo>
                <a:lnTo>
                  <a:pt x="4546929" y="4804227"/>
                </a:lnTo>
                <a:lnTo>
                  <a:pt x="4542910" y="4800188"/>
                </a:lnTo>
                <a:lnTo>
                  <a:pt x="4542910" y="4790317"/>
                </a:lnTo>
                <a:close/>
                <a:moveTo>
                  <a:pt x="4307612" y="4786279"/>
                </a:moveTo>
                <a:lnTo>
                  <a:pt x="4317523" y="4786279"/>
                </a:lnTo>
                <a:lnTo>
                  <a:pt x="4321543" y="4790317"/>
                </a:lnTo>
                <a:lnTo>
                  <a:pt x="4321543" y="4800188"/>
                </a:lnTo>
                <a:lnTo>
                  <a:pt x="4317523" y="4804227"/>
                </a:lnTo>
                <a:lnTo>
                  <a:pt x="4307612" y="4804227"/>
                </a:lnTo>
                <a:lnTo>
                  <a:pt x="4303595" y="4800188"/>
                </a:lnTo>
                <a:lnTo>
                  <a:pt x="4303595" y="4790317"/>
                </a:lnTo>
                <a:close/>
                <a:moveTo>
                  <a:pt x="4068297" y="4786279"/>
                </a:moveTo>
                <a:lnTo>
                  <a:pt x="4078210" y="4786279"/>
                </a:lnTo>
                <a:lnTo>
                  <a:pt x="4082229" y="4790317"/>
                </a:lnTo>
                <a:lnTo>
                  <a:pt x="4082229" y="4800188"/>
                </a:lnTo>
                <a:lnTo>
                  <a:pt x="4078210" y="4804227"/>
                </a:lnTo>
                <a:lnTo>
                  <a:pt x="4068297" y="4804227"/>
                </a:lnTo>
                <a:lnTo>
                  <a:pt x="4064278" y="4800188"/>
                </a:lnTo>
                <a:lnTo>
                  <a:pt x="4064278" y="4790317"/>
                </a:lnTo>
                <a:close/>
                <a:moveTo>
                  <a:pt x="3828990" y="4786279"/>
                </a:moveTo>
                <a:lnTo>
                  <a:pt x="3838899" y="4786279"/>
                </a:lnTo>
                <a:lnTo>
                  <a:pt x="3842917" y="4790317"/>
                </a:lnTo>
                <a:lnTo>
                  <a:pt x="3842917" y="4800188"/>
                </a:lnTo>
                <a:lnTo>
                  <a:pt x="3838899" y="4804227"/>
                </a:lnTo>
                <a:lnTo>
                  <a:pt x="3828990" y="4804227"/>
                </a:lnTo>
                <a:lnTo>
                  <a:pt x="3824971" y="4800188"/>
                </a:lnTo>
                <a:lnTo>
                  <a:pt x="3824971" y="4790317"/>
                </a:lnTo>
                <a:close/>
                <a:moveTo>
                  <a:pt x="3589676" y="4786279"/>
                </a:moveTo>
                <a:lnTo>
                  <a:pt x="3599585" y="4786279"/>
                </a:lnTo>
                <a:lnTo>
                  <a:pt x="3603604" y="4790317"/>
                </a:lnTo>
                <a:lnTo>
                  <a:pt x="3603604" y="4800188"/>
                </a:lnTo>
                <a:lnTo>
                  <a:pt x="3599585" y="4804227"/>
                </a:lnTo>
                <a:lnTo>
                  <a:pt x="3589676" y="4804227"/>
                </a:lnTo>
                <a:lnTo>
                  <a:pt x="3585657" y="4800188"/>
                </a:lnTo>
                <a:lnTo>
                  <a:pt x="3585657" y="4790317"/>
                </a:lnTo>
                <a:close/>
                <a:moveTo>
                  <a:pt x="3350359" y="4786279"/>
                </a:moveTo>
                <a:lnTo>
                  <a:pt x="3360268" y="4786279"/>
                </a:lnTo>
                <a:lnTo>
                  <a:pt x="3364287" y="4790317"/>
                </a:lnTo>
                <a:lnTo>
                  <a:pt x="3364287" y="4800188"/>
                </a:lnTo>
                <a:lnTo>
                  <a:pt x="3360268" y="4804227"/>
                </a:lnTo>
                <a:lnTo>
                  <a:pt x="3350359" y="4804227"/>
                </a:lnTo>
                <a:lnTo>
                  <a:pt x="3346340" y="4800188"/>
                </a:lnTo>
                <a:lnTo>
                  <a:pt x="3346340" y="4790317"/>
                </a:lnTo>
                <a:close/>
                <a:moveTo>
                  <a:pt x="3111048" y="4786279"/>
                </a:moveTo>
                <a:lnTo>
                  <a:pt x="3120959" y="4786279"/>
                </a:lnTo>
                <a:lnTo>
                  <a:pt x="3124977" y="4790317"/>
                </a:lnTo>
                <a:lnTo>
                  <a:pt x="3124977" y="4800188"/>
                </a:lnTo>
                <a:lnTo>
                  <a:pt x="3120959" y="4804227"/>
                </a:lnTo>
                <a:lnTo>
                  <a:pt x="3111048" y="4804227"/>
                </a:lnTo>
                <a:lnTo>
                  <a:pt x="3107029" y="4800188"/>
                </a:lnTo>
                <a:lnTo>
                  <a:pt x="3107029" y="4790317"/>
                </a:lnTo>
                <a:close/>
                <a:moveTo>
                  <a:pt x="2871737" y="4786279"/>
                </a:moveTo>
                <a:lnTo>
                  <a:pt x="2881646" y="4786279"/>
                </a:lnTo>
                <a:lnTo>
                  <a:pt x="2885666" y="4790317"/>
                </a:lnTo>
                <a:lnTo>
                  <a:pt x="2885666" y="4800188"/>
                </a:lnTo>
                <a:lnTo>
                  <a:pt x="2881646" y="4804227"/>
                </a:lnTo>
                <a:lnTo>
                  <a:pt x="2871737" y="4804227"/>
                </a:lnTo>
                <a:lnTo>
                  <a:pt x="2867717" y="4800188"/>
                </a:lnTo>
                <a:lnTo>
                  <a:pt x="2867717" y="4790317"/>
                </a:lnTo>
                <a:close/>
                <a:moveTo>
                  <a:pt x="2632423" y="4786279"/>
                </a:moveTo>
                <a:lnTo>
                  <a:pt x="2642334" y="4786279"/>
                </a:lnTo>
                <a:lnTo>
                  <a:pt x="2646352" y="4790317"/>
                </a:lnTo>
                <a:lnTo>
                  <a:pt x="2646352" y="4800188"/>
                </a:lnTo>
                <a:lnTo>
                  <a:pt x="2642334" y="4804227"/>
                </a:lnTo>
                <a:lnTo>
                  <a:pt x="2632423" y="4804227"/>
                </a:lnTo>
                <a:lnTo>
                  <a:pt x="2628404" y="4800188"/>
                </a:lnTo>
                <a:lnTo>
                  <a:pt x="2628404" y="4790317"/>
                </a:lnTo>
                <a:close/>
                <a:moveTo>
                  <a:pt x="2393104" y="4786279"/>
                </a:moveTo>
                <a:lnTo>
                  <a:pt x="2403015" y="4786279"/>
                </a:lnTo>
                <a:lnTo>
                  <a:pt x="2407034" y="4790317"/>
                </a:lnTo>
                <a:lnTo>
                  <a:pt x="2407034" y="4800188"/>
                </a:lnTo>
                <a:lnTo>
                  <a:pt x="2403015" y="4804227"/>
                </a:lnTo>
                <a:lnTo>
                  <a:pt x="2393104" y="4804227"/>
                </a:lnTo>
                <a:lnTo>
                  <a:pt x="2389087" y="4800188"/>
                </a:lnTo>
                <a:lnTo>
                  <a:pt x="2389087" y="4790317"/>
                </a:lnTo>
                <a:close/>
                <a:moveTo>
                  <a:pt x="2157819" y="4786279"/>
                </a:moveTo>
                <a:lnTo>
                  <a:pt x="2167729" y="4786279"/>
                </a:lnTo>
                <a:lnTo>
                  <a:pt x="2171748" y="4790317"/>
                </a:lnTo>
                <a:lnTo>
                  <a:pt x="2171748" y="4800188"/>
                </a:lnTo>
                <a:lnTo>
                  <a:pt x="2167729" y="4804227"/>
                </a:lnTo>
                <a:lnTo>
                  <a:pt x="2157819" y="4804227"/>
                </a:lnTo>
                <a:lnTo>
                  <a:pt x="2153800" y="4800188"/>
                </a:lnTo>
                <a:lnTo>
                  <a:pt x="2153800" y="4790317"/>
                </a:lnTo>
                <a:close/>
                <a:moveTo>
                  <a:pt x="1918510" y="4786279"/>
                </a:moveTo>
                <a:lnTo>
                  <a:pt x="1928420" y="4786279"/>
                </a:lnTo>
                <a:lnTo>
                  <a:pt x="1932440" y="4790317"/>
                </a:lnTo>
                <a:lnTo>
                  <a:pt x="1932440" y="4800188"/>
                </a:lnTo>
                <a:lnTo>
                  <a:pt x="1928420" y="4804227"/>
                </a:lnTo>
                <a:lnTo>
                  <a:pt x="1918510" y="4804227"/>
                </a:lnTo>
                <a:lnTo>
                  <a:pt x="1914492" y="4800188"/>
                </a:lnTo>
                <a:lnTo>
                  <a:pt x="1914492" y="4790317"/>
                </a:lnTo>
                <a:close/>
                <a:moveTo>
                  <a:pt x="1679205" y="4786279"/>
                </a:moveTo>
                <a:lnTo>
                  <a:pt x="1689115" y="4786279"/>
                </a:lnTo>
                <a:lnTo>
                  <a:pt x="1693134" y="4790317"/>
                </a:lnTo>
                <a:lnTo>
                  <a:pt x="1693134" y="4800188"/>
                </a:lnTo>
                <a:lnTo>
                  <a:pt x="1689115" y="4804227"/>
                </a:lnTo>
                <a:lnTo>
                  <a:pt x="1679205" y="4804227"/>
                </a:lnTo>
                <a:lnTo>
                  <a:pt x="1675187" y="4800188"/>
                </a:lnTo>
                <a:lnTo>
                  <a:pt x="1675187" y="4790317"/>
                </a:lnTo>
                <a:close/>
                <a:moveTo>
                  <a:pt x="1439890" y="4786279"/>
                </a:moveTo>
                <a:lnTo>
                  <a:pt x="1449800" y="4786279"/>
                </a:lnTo>
                <a:lnTo>
                  <a:pt x="1453818" y="4790317"/>
                </a:lnTo>
                <a:lnTo>
                  <a:pt x="1453818" y="4800188"/>
                </a:lnTo>
                <a:lnTo>
                  <a:pt x="1449800" y="4804227"/>
                </a:lnTo>
                <a:lnTo>
                  <a:pt x="1439890" y="4804227"/>
                </a:lnTo>
                <a:lnTo>
                  <a:pt x="1435870" y="4800188"/>
                </a:lnTo>
                <a:lnTo>
                  <a:pt x="1435870" y="4790317"/>
                </a:lnTo>
                <a:close/>
                <a:moveTo>
                  <a:pt x="1200574" y="4786279"/>
                </a:moveTo>
                <a:lnTo>
                  <a:pt x="1210484" y="4786279"/>
                </a:lnTo>
                <a:lnTo>
                  <a:pt x="1214503" y="4790317"/>
                </a:lnTo>
                <a:lnTo>
                  <a:pt x="1214503" y="4800188"/>
                </a:lnTo>
                <a:lnTo>
                  <a:pt x="1210484" y="4804227"/>
                </a:lnTo>
                <a:lnTo>
                  <a:pt x="1200574" y="4804227"/>
                </a:lnTo>
                <a:lnTo>
                  <a:pt x="1196555" y="4800188"/>
                </a:lnTo>
                <a:lnTo>
                  <a:pt x="1196555" y="4790317"/>
                </a:lnTo>
                <a:close/>
                <a:moveTo>
                  <a:pt x="961262" y="4786279"/>
                </a:moveTo>
                <a:lnTo>
                  <a:pt x="971172" y="4786279"/>
                </a:lnTo>
                <a:lnTo>
                  <a:pt x="975190" y="4790317"/>
                </a:lnTo>
                <a:lnTo>
                  <a:pt x="975190" y="4800188"/>
                </a:lnTo>
                <a:lnTo>
                  <a:pt x="971172" y="4804227"/>
                </a:lnTo>
                <a:lnTo>
                  <a:pt x="961262" y="4804227"/>
                </a:lnTo>
                <a:lnTo>
                  <a:pt x="957242" y="4800188"/>
                </a:lnTo>
                <a:lnTo>
                  <a:pt x="957242" y="4790317"/>
                </a:lnTo>
                <a:close/>
                <a:moveTo>
                  <a:pt x="721963" y="4786279"/>
                </a:moveTo>
                <a:lnTo>
                  <a:pt x="731873" y="4786279"/>
                </a:lnTo>
                <a:lnTo>
                  <a:pt x="735892" y="4790317"/>
                </a:lnTo>
                <a:lnTo>
                  <a:pt x="735892" y="4800188"/>
                </a:lnTo>
                <a:lnTo>
                  <a:pt x="731873" y="4804227"/>
                </a:lnTo>
                <a:lnTo>
                  <a:pt x="721963" y="4804227"/>
                </a:lnTo>
                <a:lnTo>
                  <a:pt x="717944" y="4800188"/>
                </a:lnTo>
                <a:lnTo>
                  <a:pt x="717944" y="4790317"/>
                </a:lnTo>
                <a:close/>
                <a:moveTo>
                  <a:pt x="482651" y="4786279"/>
                </a:moveTo>
                <a:lnTo>
                  <a:pt x="492561" y="4786279"/>
                </a:lnTo>
                <a:lnTo>
                  <a:pt x="496580" y="4790317"/>
                </a:lnTo>
                <a:lnTo>
                  <a:pt x="496580" y="4800188"/>
                </a:lnTo>
                <a:lnTo>
                  <a:pt x="492561" y="4804227"/>
                </a:lnTo>
                <a:lnTo>
                  <a:pt x="482651" y="4804227"/>
                </a:lnTo>
                <a:lnTo>
                  <a:pt x="478632" y="4800188"/>
                </a:lnTo>
                <a:lnTo>
                  <a:pt x="478632" y="4790317"/>
                </a:lnTo>
                <a:close/>
                <a:moveTo>
                  <a:pt x="243338" y="4786279"/>
                </a:moveTo>
                <a:lnTo>
                  <a:pt x="253247" y="4786279"/>
                </a:lnTo>
                <a:lnTo>
                  <a:pt x="257266" y="4790317"/>
                </a:lnTo>
                <a:lnTo>
                  <a:pt x="257266" y="4800188"/>
                </a:lnTo>
                <a:lnTo>
                  <a:pt x="253247" y="4804227"/>
                </a:lnTo>
                <a:lnTo>
                  <a:pt x="243338" y="4804227"/>
                </a:lnTo>
                <a:lnTo>
                  <a:pt x="239318" y="4800188"/>
                </a:lnTo>
                <a:lnTo>
                  <a:pt x="239318" y="4790317"/>
                </a:lnTo>
                <a:close/>
                <a:moveTo>
                  <a:pt x="4024" y="4786279"/>
                </a:moveTo>
                <a:lnTo>
                  <a:pt x="13934" y="4786279"/>
                </a:lnTo>
                <a:lnTo>
                  <a:pt x="17954" y="4790317"/>
                </a:lnTo>
                <a:lnTo>
                  <a:pt x="17954" y="4800188"/>
                </a:lnTo>
                <a:lnTo>
                  <a:pt x="13934" y="4804227"/>
                </a:lnTo>
                <a:lnTo>
                  <a:pt x="4024" y="4804227"/>
                </a:lnTo>
                <a:lnTo>
                  <a:pt x="5" y="4800188"/>
                </a:lnTo>
                <a:lnTo>
                  <a:pt x="5" y="4790317"/>
                </a:lnTo>
                <a:close/>
                <a:moveTo>
                  <a:pt x="2157819" y="4546999"/>
                </a:moveTo>
                <a:lnTo>
                  <a:pt x="2167729" y="4546999"/>
                </a:lnTo>
                <a:lnTo>
                  <a:pt x="2171748" y="4551038"/>
                </a:lnTo>
                <a:lnTo>
                  <a:pt x="2171748" y="4560909"/>
                </a:lnTo>
                <a:lnTo>
                  <a:pt x="2167729" y="4564948"/>
                </a:lnTo>
                <a:lnTo>
                  <a:pt x="2157819" y="4564948"/>
                </a:lnTo>
                <a:lnTo>
                  <a:pt x="2153801" y="4560909"/>
                </a:lnTo>
                <a:lnTo>
                  <a:pt x="2153801" y="4551038"/>
                </a:lnTo>
                <a:close/>
                <a:moveTo>
                  <a:pt x="1918510" y="4546999"/>
                </a:moveTo>
                <a:lnTo>
                  <a:pt x="1928421" y="4546999"/>
                </a:lnTo>
                <a:lnTo>
                  <a:pt x="1932440" y="4551038"/>
                </a:lnTo>
                <a:lnTo>
                  <a:pt x="1932440" y="4560909"/>
                </a:lnTo>
                <a:lnTo>
                  <a:pt x="1928421" y="4564948"/>
                </a:lnTo>
                <a:lnTo>
                  <a:pt x="1918510" y="4564948"/>
                </a:lnTo>
                <a:lnTo>
                  <a:pt x="1914492" y="4560909"/>
                </a:lnTo>
                <a:lnTo>
                  <a:pt x="1914492" y="4551038"/>
                </a:lnTo>
                <a:close/>
                <a:moveTo>
                  <a:pt x="1679206" y="4546999"/>
                </a:moveTo>
                <a:lnTo>
                  <a:pt x="1689116" y="4546999"/>
                </a:lnTo>
                <a:lnTo>
                  <a:pt x="1693134" y="4551038"/>
                </a:lnTo>
                <a:lnTo>
                  <a:pt x="1693134" y="4560909"/>
                </a:lnTo>
                <a:lnTo>
                  <a:pt x="1689116" y="4564948"/>
                </a:lnTo>
                <a:lnTo>
                  <a:pt x="1679206" y="4564948"/>
                </a:lnTo>
                <a:lnTo>
                  <a:pt x="1675187" y="4560909"/>
                </a:lnTo>
                <a:lnTo>
                  <a:pt x="1675187" y="4551038"/>
                </a:lnTo>
                <a:close/>
                <a:moveTo>
                  <a:pt x="1439890" y="4546999"/>
                </a:moveTo>
                <a:lnTo>
                  <a:pt x="1449800" y="4546999"/>
                </a:lnTo>
                <a:lnTo>
                  <a:pt x="1453819" y="4551038"/>
                </a:lnTo>
                <a:lnTo>
                  <a:pt x="1453819" y="4560909"/>
                </a:lnTo>
                <a:lnTo>
                  <a:pt x="1449800" y="4564948"/>
                </a:lnTo>
                <a:lnTo>
                  <a:pt x="1439890" y="4564948"/>
                </a:lnTo>
                <a:lnTo>
                  <a:pt x="1435871" y="4560909"/>
                </a:lnTo>
                <a:lnTo>
                  <a:pt x="1435871" y="4551038"/>
                </a:lnTo>
                <a:close/>
                <a:moveTo>
                  <a:pt x="1200575" y="4546999"/>
                </a:moveTo>
                <a:lnTo>
                  <a:pt x="1210485" y="4546999"/>
                </a:lnTo>
                <a:lnTo>
                  <a:pt x="1214504" y="4551038"/>
                </a:lnTo>
                <a:lnTo>
                  <a:pt x="1214504" y="4560909"/>
                </a:lnTo>
                <a:lnTo>
                  <a:pt x="1210485" y="4564948"/>
                </a:lnTo>
                <a:lnTo>
                  <a:pt x="1200575" y="4564948"/>
                </a:lnTo>
                <a:lnTo>
                  <a:pt x="1196556" y="4560909"/>
                </a:lnTo>
                <a:lnTo>
                  <a:pt x="1196556" y="4551038"/>
                </a:lnTo>
                <a:close/>
                <a:moveTo>
                  <a:pt x="961262" y="4546999"/>
                </a:moveTo>
                <a:lnTo>
                  <a:pt x="971172" y="4546999"/>
                </a:lnTo>
                <a:lnTo>
                  <a:pt x="975191" y="4551038"/>
                </a:lnTo>
                <a:lnTo>
                  <a:pt x="975191" y="4560909"/>
                </a:lnTo>
                <a:lnTo>
                  <a:pt x="971172" y="4564948"/>
                </a:lnTo>
                <a:lnTo>
                  <a:pt x="961262" y="4564948"/>
                </a:lnTo>
                <a:lnTo>
                  <a:pt x="957243" y="4560909"/>
                </a:lnTo>
                <a:lnTo>
                  <a:pt x="957243" y="4551038"/>
                </a:lnTo>
                <a:close/>
                <a:moveTo>
                  <a:pt x="9572438" y="4546948"/>
                </a:moveTo>
                <a:lnTo>
                  <a:pt x="9582349" y="4546948"/>
                </a:lnTo>
                <a:lnTo>
                  <a:pt x="9586368" y="4550987"/>
                </a:lnTo>
                <a:lnTo>
                  <a:pt x="9586368" y="4560858"/>
                </a:lnTo>
                <a:lnTo>
                  <a:pt x="9582349" y="4564897"/>
                </a:lnTo>
                <a:lnTo>
                  <a:pt x="9572438" y="4564897"/>
                </a:lnTo>
                <a:lnTo>
                  <a:pt x="9568419" y="4560858"/>
                </a:lnTo>
                <a:lnTo>
                  <a:pt x="9568419" y="4550987"/>
                </a:lnTo>
                <a:close/>
                <a:moveTo>
                  <a:pt x="9333125" y="4546948"/>
                </a:moveTo>
                <a:lnTo>
                  <a:pt x="9343036" y="4546948"/>
                </a:lnTo>
                <a:lnTo>
                  <a:pt x="9347055" y="4550987"/>
                </a:lnTo>
                <a:lnTo>
                  <a:pt x="9347055" y="4560858"/>
                </a:lnTo>
                <a:lnTo>
                  <a:pt x="9343036" y="4564897"/>
                </a:lnTo>
                <a:lnTo>
                  <a:pt x="9333125" y="4564897"/>
                </a:lnTo>
                <a:lnTo>
                  <a:pt x="9329106" y="4560858"/>
                </a:lnTo>
                <a:lnTo>
                  <a:pt x="9329106" y="4550987"/>
                </a:lnTo>
                <a:close/>
                <a:moveTo>
                  <a:pt x="9093811" y="4546948"/>
                </a:moveTo>
                <a:lnTo>
                  <a:pt x="9103722" y="4546948"/>
                </a:lnTo>
                <a:lnTo>
                  <a:pt x="9107741" y="4550987"/>
                </a:lnTo>
                <a:lnTo>
                  <a:pt x="9107741" y="4560858"/>
                </a:lnTo>
                <a:lnTo>
                  <a:pt x="9103722" y="4564897"/>
                </a:lnTo>
                <a:lnTo>
                  <a:pt x="9093811" y="4564897"/>
                </a:lnTo>
                <a:lnTo>
                  <a:pt x="9089792" y="4560858"/>
                </a:lnTo>
                <a:lnTo>
                  <a:pt x="9089792" y="4550987"/>
                </a:lnTo>
                <a:close/>
                <a:moveTo>
                  <a:pt x="8854496" y="4546948"/>
                </a:moveTo>
                <a:lnTo>
                  <a:pt x="8864407" y="4546948"/>
                </a:lnTo>
                <a:lnTo>
                  <a:pt x="8868426" y="4550987"/>
                </a:lnTo>
                <a:lnTo>
                  <a:pt x="8868426" y="4560858"/>
                </a:lnTo>
                <a:lnTo>
                  <a:pt x="8864407" y="4564897"/>
                </a:lnTo>
                <a:lnTo>
                  <a:pt x="8854496" y="4564897"/>
                </a:lnTo>
                <a:lnTo>
                  <a:pt x="8850477" y="4560858"/>
                </a:lnTo>
                <a:lnTo>
                  <a:pt x="8850477" y="4550987"/>
                </a:lnTo>
                <a:close/>
                <a:moveTo>
                  <a:pt x="8615184" y="4546948"/>
                </a:moveTo>
                <a:lnTo>
                  <a:pt x="8625095" y="4546948"/>
                </a:lnTo>
                <a:lnTo>
                  <a:pt x="8629114" y="4550987"/>
                </a:lnTo>
                <a:lnTo>
                  <a:pt x="8629114" y="4560858"/>
                </a:lnTo>
                <a:lnTo>
                  <a:pt x="8625095" y="4564897"/>
                </a:lnTo>
                <a:lnTo>
                  <a:pt x="8615184" y="4564897"/>
                </a:lnTo>
                <a:lnTo>
                  <a:pt x="8611165" y="4560858"/>
                </a:lnTo>
                <a:lnTo>
                  <a:pt x="8611165" y="4550987"/>
                </a:lnTo>
                <a:close/>
                <a:moveTo>
                  <a:pt x="8375869" y="4546948"/>
                </a:moveTo>
                <a:lnTo>
                  <a:pt x="8385779" y="4546948"/>
                </a:lnTo>
                <a:lnTo>
                  <a:pt x="8389799" y="4550987"/>
                </a:lnTo>
                <a:lnTo>
                  <a:pt x="8389799" y="4560858"/>
                </a:lnTo>
                <a:lnTo>
                  <a:pt x="8385779" y="4564897"/>
                </a:lnTo>
                <a:lnTo>
                  <a:pt x="8375869" y="4564897"/>
                </a:lnTo>
                <a:lnTo>
                  <a:pt x="8371850" y="4560858"/>
                </a:lnTo>
                <a:lnTo>
                  <a:pt x="8371850" y="4550987"/>
                </a:lnTo>
                <a:close/>
                <a:moveTo>
                  <a:pt x="8136553" y="4546948"/>
                </a:moveTo>
                <a:lnTo>
                  <a:pt x="8146464" y="4546948"/>
                </a:lnTo>
                <a:lnTo>
                  <a:pt x="8150483" y="4550987"/>
                </a:lnTo>
                <a:lnTo>
                  <a:pt x="8150483" y="4560858"/>
                </a:lnTo>
                <a:lnTo>
                  <a:pt x="8146464" y="4564897"/>
                </a:lnTo>
                <a:lnTo>
                  <a:pt x="8136553" y="4564897"/>
                </a:lnTo>
                <a:lnTo>
                  <a:pt x="8132534" y="4560858"/>
                </a:lnTo>
                <a:lnTo>
                  <a:pt x="8132534" y="4550987"/>
                </a:lnTo>
                <a:close/>
                <a:moveTo>
                  <a:pt x="7897241" y="4546948"/>
                </a:moveTo>
                <a:lnTo>
                  <a:pt x="7907151" y="4546948"/>
                </a:lnTo>
                <a:lnTo>
                  <a:pt x="7911170" y="4550987"/>
                </a:lnTo>
                <a:lnTo>
                  <a:pt x="7911170" y="4560858"/>
                </a:lnTo>
                <a:lnTo>
                  <a:pt x="7907151" y="4564897"/>
                </a:lnTo>
                <a:lnTo>
                  <a:pt x="7897241" y="4564897"/>
                </a:lnTo>
                <a:lnTo>
                  <a:pt x="7893222" y="4560858"/>
                </a:lnTo>
                <a:lnTo>
                  <a:pt x="7893222" y="4550987"/>
                </a:lnTo>
                <a:close/>
                <a:moveTo>
                  <a:pt x="7657926" y="4546948"/>
                </a:moveTo>
                <a:lnTo>
                  <a:pt x="7667836" y="4546948"/>
                </a:lnTo>
                <a:lnTo>
                  <a:pt x="7671855" y="4550987"/>
                </a:lnTo>
                <a:lnTo>
                  <a:pt x="7671855" y="4560858"/>
                </a:lnTo>
                <a:lnTo>
                  <a:pt x="7667836" y="4564897"/>
                </a:lnTo>
                <a:lnTo>
                  <a:pt x="7657926" y="4564897"/>
                </a:lnTo>
                <a:lnTo>
                  <a:pt x="7653906" y="4560858"/>
                </a:lnTo>
                <a:lnTo>
                  <a:pt x="7653906" y="4550987"/>
                </a:lnTo>
                <a:close/>
                <a:moveTo>
                  <a:pt x="7418611" y="4546948"/>
                </a:moveTo>
                <a:lnTo>
                  <a:pt x="7428521" y="4546948"/>
                </a:lnTo>
                <a:lnTo>
                  <a:pt x="7432540" y="4550987"/>
                </a:lnTo>
                <a:lnTo>
                  <a:pt x="7432540" y="4560858"/>
                </a:lnTo>
                <a:lnTo>
                  <a:pt x="7428521" y="4564897"/>
                </a:lnTo>
                <a:lnTo>
                  <a:pt x="7418611" y="4564897"/>
                </a:lnTo>
                <a:lnTo>
                  <a:pt x="7414592" y="4560858"/>
                </a:lnTo>
                <a:lnTo>
                  <a:pt x="7414592" y="4550987"/>
                </a:lnTo>
                <a:close/>
                <a:moveTo>
                  <a:pt x="7179298" y="4546948"/>
                </a:moveTo>
                <a:lnTo>
                  <a:pt x="7189209" y="4546948"/>
                </a:lnTo>
                <a:lnTo>
                  <a:pt x="7193228" y="4550987"/>
                </a:lnTo>
                <a:lnTo>
                  <a:pt x="7193228" y="4560858"/>
                </a:lnTo>
                <a:lnTo>
                  <a:pt x="7189209" y="4564897"/>
                </a:lnTo>
                <a:lnTo>
                  <a:pt x="7179298" y="4564897"/>
                </a:lnTo>
                <a:lnTo>
                  <a:pt x="7175279" y="4560858"/>
                </a:lnTo>
                <a:lnTo>
                  <a:pt x="7175279" y="4550987"/>
                </a:lnTo>
                <a:close/>
                <a:moveTo>
                  <a:pt x="6939983" y="4546948"/>
                </a:moveTo>
                <a:lnTo>
                  <a:pt x="6949894" y="4546948"/>
                </a:lnTo>
                <a:lnTo>
                  <a:pt x="6953913" y="4550987"/>
                </a:lnTo>
                <a:lnTo>
                  <a:pt x="6953913" y="4560858"/>
                </a:lnTo>
                <a:lnTo>
                  <a:pt x="6949894" y="4564897"/>
                </a:lnTo>
                <a:lnTo>
                  <a:pt x="6939983" y="4564897"/>
                </a:lnTo>
                <a:lnTo>
                  <a:pt x="6935964" y="4560858"/>
                </a:lnTo>
                <a:lnTo>
                  <a:pt x="6935964" y="4550987"/>
                </a:lnTo>
                <a:close/>
                <a:moveTo>
                  <a:pt x="6700670" y="4546948"/>
                </a:moveTo>
                <a:lnTo>
                  <a:pt x="6710581" y="4546948"/>
                </a:lnTo>
                <a:lnTo>
                  <a:pt x="6714600" y="4550987"/>
                </a:lnTo>
                <a:lnTo>
                  <a:pt x="6714600" y="4560858"/>
                </a:lnTo>
                <a:lnTo>
                  <a:pt x="6710581" y="4564897"/>
                </a:lnTo>
                <a:lnTo>
                  <a:pt x="6700670" y="4564897"/>
                </a:lnTo>
                <a:lnTo>
                  <a:pt x="6696651" y="4560858"/>
                </a:lnTo>
                <a:lnTo>
                  <a:pt x="6696651" y="4550987"/>
                </a:lnTo>
                <a:close/>
                <a:moveTo>
                  <a:pt x="6461356" y="4546948"/>
                </a:moveTo>
                <a:lnTo>
                  <a:pt x="6471266" y="4546948"/>
                </a:lnTo>
                <a:lnTo>
                  <a:pt x="6475285" y="4550987"/>
                </a:lnTo>
                <a:lnTo>
                  <a:pt x="6475285" y="4560858"/>
                </a:lnTo>
                <a:lnTo>
                  <a:pt x="6471266" y="4564897"/>
                </a:lnTo>
                <a:lnTo>
                  <a:pt x="6461356" y="4564897"/>
                </a:lnTo>
                <a:lnTo>
                  <a:pt x="6457337" y="4560858"/>
                </a:lnTo>
                <a:lnTo>
                  <a:pt x="6457337" y="4550987"/>
                </a:lnTo>
                <a:close/>
                <a:moveTo>
                  <a:pt x="6222042" y="4546948"/>
                </a:moveTo>
                <a:lnTo>
                  <a:pt x="6231952" y="4546948"/>
                </a:lnTo>
                <a:lnTo>
                  <a:pt x="6235971" y="4550987"/>
                </a:lnTo>
                <a:lnTo>
                  <a:pt x="6235971" y="4560858"/>
                </a:lnTo>
                <a:lnTo>
                  <a:pt x="6231952" y="4564897"/>
                </a:lnTo>
                <a:lnTo>
                  <a:pt x="6222042" y="4564897"/>
                </a:lnTo>
                <a:lnTo>
                  <a:pt x="6218023" y="4560858"/>
                </a:lnTo>
                <a:lnTo>
                  <a:pt x="6218023" y="4550987"/>
                </a:lnTo>
                <a:close/>
                <a:moveTo>
                  <a:pt x="5982729" y="4546948"/>
                </a:moveTo>
                <a:lnTo>
                  <a:pt x="5992639" y="4546948"/>
                </a:lnTo>
                <a:lnTo>
                  <a:pt x="5996658" y="4550987"/>
                </a:lnTo>
                <a:lnTo>
                  <a:pt x="5996658" y="4560858"/>
                </a:lnTo>
                <a:lnTo>
                  <a:pt x="5992639" y="4564897"/>
                </a:lnTo>
                <a:lnTo>
                  <a:pt x="5982729" y="4564897"/>
                </a:lnTo>
                <a:lnTo>
                  <a:pt x="5978710" y="4560858"/>
                </a:lnTo>
                <a:lnTo>
                  <a:pt x="5978710" y="4550987"/>
                </a:lnTo>
                <a:close/>
                <a:moveTo>
                  <a:pt x="5743412" y="4546948"/>
                </a:moveTo>
                <a:lnTo>
                  <a:pt x="5753323" y="4546948"/>
                </a:lnTo>
                <a:lnTo>
                  <a:pt x="5757342" y="4550987"/>
                </a:lnTo>
                <a:lnTo>
                  <a:pt x="5757342" y="4560858"/>
                </a:lnTo>
                <a:lnTo>
                  <a:pt x="5753323" y="4564897"/>
                </a:lnTo>
                <a:lnTo>
                  <a:pt x="5743412" y="4564897"/>
                </a:lnTo>
                <a:lnTo>
                  <a:pt x="5739393" y="4560858"/>
                </a:lnTo>
                <a:lnTo>
                  <a:pt x="5739393" y="4550987"/>
                </a:lnTo>
                <a:close/>
                <a:moveTo>
                  <a:pt x="5504099" y="4546948"/>
                </a:moveTo>
                <a:lnTo>
                  <a:pt x="5514010" y="4546948"/>
                </a:lnTo>
                <a:lnTo>
                  <a:pt x="5518029" y="4550987"/>
                </a:lnTo>
                <a:lnTo>
                  <a:pt x="5518029" y="4560858"/>
                </a:lnTo>
                <a:lnTo>
                  <a:pt x="5514010" y="4564897"/>
                </a:lnTo>
                <a:lnTo>
                  <a:pt x="5504099" y="4564897"/>
                </a:lnTo>
                <a:lnTo>
                  <a:pt x="5500080" y="4560858"/>
                </a:lnTo>
                <a:lnTo>
                  <a:pt x="5500080" y="4550987"/>
                </a:lnTo>
                <a:close/>
                <a:moveTo>
                  <a:pt x="5264784" y="4546948"/>
                </a:moveTo>
                <a:lnTo>
                  <a:pt x="5274694" y="4546948"/>
                </a:lnTo>
                <a:lnTo>
                  <a:pt x="5278713" y="4550987"/>
                </a:lnTo>
                <a:lnTo>
                  <a:pt x="5278713" y="4560858"/>
                </a:lnTo>
                <a:lnTo>
                  <a:pt x="5274694" y="4564897"/>
                </a:lnTo>
                <a:lnTo>
                  <a:pt x="5264784" y="4564897"/>
                </a:lnTo>
                <a:lnTo>
                  <a:pt x="5260765" y="4560858"/>
                </a:lnTo>
                <a:lnTo>
                  <a:pt x="5260765" y="4550987"/>
                </a:lnTo>
                <a:close/>
                <a:moveTo>
                  <a:pt x="5025470" y="4546948"/>
                </a:moveTo>
                <a:lnTo>
                  <a:pt x="5035381" y="4546948"/>
                </a:lnTo>
                <a:lnTo>
                  <a:pt x="5039400" y="4550987"/>
                </a:lnTo>
                <a:lnTo>
                  <a:pt x="5039400" y="4560858"/>
                </a:lnTo>
                <a:lnTo>
                  <a:pt x="5035381" y="4564897"/>
                </a:lnTo>
                <a:lnTo>
                  <a:pt x="5025470" y="4564897"/>
                </a:lnTo>
                <a:lnTo>
                  <a:pt x="5021451" y="4560858"/>
                </a:lnTo>
                <a:lnTo>
                  <a:pt x="5021451" y="4550987"/>
                </a:lnTo>
                <a:close/>
                <a:moveTo>
                  <a:pt x="4786241" y="4546948"/>
                </a:moveTo>
                <a:lnTo>
                  <a:pt x="4796152" y="4546948"/>
                </a:lnTo>
                <a:lnTo>
                  <a:pt x="4800171" y="4550987"/>
                </a:lnTo>
                <a:lnTo>
                  <a:pt x="4800171" y="4560858"/>
                </a:lnTo>
                <a:lnTo>
                  <a:pt x="4796152" y="4564897"/>
                </a:lnTo>
                <a:lnTo>
                  <a:pt x="4786241" y="4564897"/>
                </a:lnTo>
                <a:lnTo>
                  <a:pt x="4782224" y="4560858"/>
                </a:lnTo>
                <a:lnTo>
                  <a:pt x="4782224" y="4550987"/>
                </a:lnTo>
                <a:close/>
                <a:moveTo>
                  <a:pt x="4546929" y="4546948"/>
                </a:moveTo>
                <a:lnTo>
                  <a:pt x="4556840" y="4546948"/>
                </a:lnTo>
                <a:lnTo>
                  <a:pt x="4560859" y="4550987"/>
                </a:lnTo>
                <a:lnTo>
                  <a:pt x="4560859" y="4560858"/>
                </a:lnTo>
                <a:lnTo>
                  <a:pt x="4556840" y="4564897"/>
                </a:lnTo>
                <a:lnTo>
                  <a:pt x="4546929" y="4564897"/>
                </a:lnTo>
                <a:lnTo>
                  <a:pt x="4542910" y="4560858"/>
                </a:lnTo>
                <a:lnTo>
                  <a:pt x="4542910" y="4550987"/>
                </a:lnTo>
                <a:close/>
                <a:moveTo>
                  <a:pt x="4307612" y="4546948"/>
                </a:moveTo>
                <a:lnTo>
                  <a:pt x="4317523" y="4546948"/>
                </a:lnTo>
                <a:lnTo>
                  <a:pt x="4321543" y="4550987"/>
                </a:lnTo>
                <a:lnTo>
                  <a:pt x="4321543" y="4560858"/>
                </a:lnTo>
                <a:lnTo>
                  <a:pt x="4317523" y="4564897"/>
                </a:lnTo>
                <a:lnTo>
                  <a:pt x="4307612" y="4564897"/>
                </a:lnTo>
                <a:lnTo>
                  <a:pt x="4303595" y="4560858"/>
                </a:lnTo>
                <a:lnTo>
                  <a:pt x="4303595" y="4550987"/>
                </a:lnTo>
                <a:close/>
                <a:moveTo>
                  <a:pt x="4068297" y="4546948"/>
                </a:moveTo>
                <a:lnTo>
                  <a:pt x="4078210" y="4546948"/>
                </a:lnTo>
                <a:lnTo>
                  <a:pt x="4082229" y="4550987"/>
                </a:lnTo>
                <a:lnTo>
                  <a:pt x="4082229" y="4560858"/>
                </a:lnTo>
                <a:lnTo>
                  <a:pt x="4078210" y="4564897"/>
                </a:lnTo>
                <a:lnTo>
                  <a:pt x="4068297" y="4564897"/>
                </a:lnTo>
                <a:lnTo>
                  <a:pt x="4064278" y="4560858"/>
                </a:lnTo>
                <a:lnTo>
                  <a:pt x="4064278" y="4550987"/>
                </a:lnTo>
                <a:close/>
                <a:moveTo>
                  <a:pt x="3828990" y="4546948"/>
                </a:moveTo>
                <a:lnTo>
                  <a:pt x="3838899" y="4546948"/>
                </a:lnTo>
                <a:lnTo>
                  <a:pt x="3842917" y="4550987"/>
                </a:lnTo>
                <a:lnTo>
                  <a:pt x="3842917" y="4560858"/>
                </a:lnTo>
                <a:lnTo>
                  <a:pt x="3838899" y="4564897"/>
                </a:lnTo>
                <a:lnTo>
                  <a:pt x="3828990" y="4564897"/>
                </a:lnTo>
                <a:lnTo>
                  <a:pt x="3824971" y="4560858"/>
                </a:lnTo>
                <a:lnTo>
                  <a:pt x="3824971" y="4550987"/>
                </a:lnTo>
                <a:close/>
                <a:moveTo>
                  <a:pt x="3589676" y="4546948"/>
                </a:moveTo>
                <a:lnTo>
                  <a:pt x="3599585" y="4546948"/>
                </a:lnTo>
                <a:lnTo>
                  <a:pt x="3603604" y="4550987"/>
                </a:lnTo>
                <a:lnTo>
                  <a:pt x="3603604" y="4560858"/>
                </a:lnTo>
                <a:lnTo>
                  <a:pt x="3599585" y="4564897"/>
                </a:lnTo>
                <a:lnTo>
                  <a:pt x="3589676" y="4564897"/>
                </a:lnTo>
                <a:lnTo>
                  <a:pt x="3585657" y="4560858"/>
                </a:lnTo>
                <a:lnTo>
                  <a:pt x="3585657" y="4550987"/>
                </a:lnTo>
                <a:close/>
                <a:moveTo>
                  <a:pt x="3350359" y="4546948"/>
                </a:moveTo>
                <a:lnTo>
                  <a:pt x="3360268" y="4546948"/>
                </a:lnTo>
                <a:lnTo>
                  <a:pt x="3364287" y="4550987"/>
                </a:lnTo>
                <a:lnTo>
                  <a:pt x="3364287" y="4560858"/>
                </a:lnTo>
                <a:lnTo>
                  <a:pt x="3360268" y="4564897"/>
                </a:lnTo>
                <a:lnTo>
                  <a:pt x="3350359" y="4564897"/>
                </a:lnTo>
                <a:lnTo>
                  <a:pt x="3346340" y="4560858"/>
                </a:lnTo>
                <a:lnTo>
                  <a:pt x="3346340" y="4550987"/>
                </a:lnTo>
                <a:close/>
                <a:moveTo>
                  <a:pt x="3111048" y="4546948"/>
                </a:moveTo>
                <a:lnTo>
                  <a:pt x="3120959" y="4546948"/>
                </a:lnTo>
                <a:lnTo>
                  <a:pt x="3124977" y="4550987"/>
                </a:lnTo>
                <a:lnTo>
                  <a:pt x="3124977" y="4560858"/>
                </a:lnTo>
                <a:lnTo>
                  <a:pt x="3120959" y="4564897"/>
                </a:lnTo>
                <a:lnTo>
                  <a:pt x="3111048" y="4564897"/>
                </a:lnTo>
                <a:lnTo>
                  <a:pt x="3107029" y="4560858"/>
                </a:lnTo>
                <a:lnTo>
                  <a:pt x="3107029" y="4550987"/>
                </a:lnTo>
                <a:close/>
                <a:moveTo>
                  <a:pt x="2871737" y="4546948"/>
                </a:moveTo>
                <a:lnTo>
                  <a:pt x="2881646" y="4546948"/>
                </a:lnTo>
                <a:lnTo>
                  <a:pt x="2885666" y="4550987"/>
                </a:lnTo>
                <a:lnTo>
                  <a:pt x="2885666" y="4560858"/>
                </a:lnTo>
                <a:lnTo>
                  <a:pt x="2881646" y="4564897"/>
                </a:lnTo>
                <a:lnTo>
                  <a:pt x="2871737" y="4564897"/>
                </a:lnTo>
                <a:lnTo>
                  <a:pt x="2867717" y="4560858"/>
                </a:lnTo>
                <a:lnTo>
                  <a:pt x="2867717" y="4550987"/>
                </a:lnTo>
                <a:close/>
                <a:moveTo>
                  <a:pt x="2632423" y="4546948"/>
                </a:moveTo>
                <a:lnTo>
                  <a:pt x="2642334" y="4546948"/>
                </a:lnTo>
                <a:lnTo>
                  <a:pt x="2646352" y="4550987"/>
                </a:lnTo>
                <a:lnTo>
                  <a:pt x="2646352" y="4560858"/>
                </a:lnTo>
                <a:lnTo>
                  <a:pt x="2642334" y="4564897"/>
                </a:lnTo>
                <a:lnTo>
                  <a:pt x="2632423" y="4564897"/>
                </a:lnTo>
                <a:lnTo>
                  <a:pt x="2628404" y="4560858"/>
                </a:lnTo>
                <a:lnTo>
                  <a:pt x="2628404" y="4550987"/>
                </a:lnTo>
                <a:close/>
                <a:moveTo>
                  <a:pt x="2393104" y="4546948"/>
                </a:moveTo>
                <a:lnTo>
                  <a:pt x="2403015" y="4546948"/>
                </a:lnTo>
                <a:lnTo>
                  <a:pt x="2407034" y="4550987"/>
                </a:lnTo>
                <a:lnTo>
                  <a:pt x="2407034" y="4560858"/>
                </a:lnTo>
                <a:lnTo>
                  <a:pt x="2403015" y="4564897"/>
                </a:lnTo>
                <a:lnTo>
                  <a:pt x="2393104" y="4564897"/>
                </a:lnTo>
                <a:lnTo>
                  <a:pt x="2389087" y="4560858"/>
                </a:lnTo>
                <a:lnTo>
                  <a:pt x="2389087" y="4550987"/>
                </a:lnTo>
                <a:close/>
                <a:moveTo>
                  <a:pt x="721964" y="4546948"/>
                </a:moveTo>
                <a:lnTo>
                  <a:pt x="731874" y="4546948"/>
                </a:lnTo>
                <a:lnTo>
                  <a:pt x="735893" y="4550987"/>
                </a:lnTo>
                <a:lnTo>
                  <a:pt x="735893" y="4560858"/>
                </a:lnTo>
                <a:lnTo>
                  <a:pt x="731874" y="4564897"/>
                </a:lnTo>
                <a:lnTo>
                  <a:pt x="721964" y="4564897"/>
                </a:lnTo>
                <a:lnTo>
                  <a:pt x="717945" y="4560858"/>
                </a:lnTo>
                <a:lnTo>
                  <a:pt x="717945" y="4550987"/>
                </a:lnTo>
                <a:close/>
                <a:moveTo>
                  <a:pt x="482651" y="4546948"/>
                </a:moveTo>
                <a:lnTo>
                  <a:pt x="492562" y="4546948"/>
                </a:lnTo>
                <a:lnTo>
                  <a:pt x="496581" y="4550987"/>
                </a:lnTo>
                <a:lnTo>
                  <a:pt x="496581" y="4560858"/>
                </a:lnTo>
                <a:lnTo>
                  <a:pt x="492562" y="4564897"/>
                </a:lnTo>
                <a:lnTo>
                  <a:pt x="482651" y="4564897"/>
                </a:lnTo>
                <a:lnTo>
                  <a:pt x="478632" y="4560858"/>
                </a:lnTo>
                <a:lnTo>
                  <a:pt x="478632" y="4550987"/>
                </a:lnTo>
                <a:close/>
                <a:moveTo>
                  <a:pt x="243338" y="4546948"/>
                </a:moveTo>
                <a:lnTo>
                  <a:pt x="253248" y="4546948"/>
                </a:lnTo>
                <a:lnTo>
                  <a:pt x="257267" y="4550987"/>
                </a:lnTo>
                <a:lnTo>
                  <a:pt x="257267" y="4560858"/>
                </a:lnTo>
                <a:lnTo>
                  <a:pt x="253248" y="4564897"/>
                </a:lnTo>
                <a:lnTo>
                  <a:pt x="243338" y="4564897"/>
                </a:lnTo>
                <a:lnTo>
                  <a:pt x="239319" y="4560858"/>
                </a:lnTo>
                <a:lnTo>
                  <a:pt x="239319" y="4550987"/>
                </a:lnTo>
                <a:close/>
                <a:moveTo>
                  <a:pt x="4025" y="4546948"/>
                </a:moveTo>
                <a:lnTo>
                  <a:pt x="13935" y="4546948"/>
                </a:lnTo>
                <a:lnTo>
                  <a:pt x="17954" y="4550987"/>
                </a:lnTo>
                <a:lnTo>
                  <a:pt x="17954" y="4560858"/>
                </a:lnTo>
                <a:lnTo>
                  <a:pt x="13935" y="4564897"/>
                </a:lnTo>
                <a:lnTo>
                  <a:pt x="4025" y="4564897"/>
                </a:lnTo>
                <a:lnTo>
                  <a:pt x="6" y="4560858"/>
                </a:lnTo>
                <a:lnTo>
                  <a:pt x="6" y="4550987"/>
                </a:lnTo>
                <a:close/>
                <a:moveTo>
                  <a:pt x="2157819" y="4307669"/>
                </a:moveTo>
                <a:lnTo>
                  <a:pt x="2167729" y="4307669"/>
                </a:lnTo>
                <a:lnTo>
                  <a:pt x="2171749" y="4311708"/>
                </a:lnTo>
                <a:lnTo>
                  <a:pt x="2171749" y="4321579"/>
                </a:lnTo>
                <a:lnTo>
                  <a:pt x="2167729" y="4325618"/>
                </a:lnTo>
                <a:lnTo>
                  <a:pt x="2157819" y="4325618"/>
                </a:lnTo>
                <a:lnTo>
                  <a:pt x="2153801" y="4321579"/>
                </a:lnTo>
                <a:lnTo>
                  <a:pt x="2153801" y="4311708"/>
                </a:lnTo>
                <a:close/>
                <a:moveTo>
                  <a:pt x="1918511" y="4307669"/>
                </a:moveTo>
                <a:lnTo>
                  <a:pt x="1928421" y="4307669"/>
                </a:lnTo>
                <a:lnTo>
                  <a:pt x="1932440" y="4311708"/>
                </a:lnTo>
                <a:lnTo>
                  <a:pt x="1932440" y="4321579"/>
                </a:lnTo>
                <a:lnTo>
                  <a:pt x="1928421" y="4325618"/>
                </a:lnTo>
                <a:lnTo>
                  <a:pt x="1918511" y="4325618"/>
                </a:lnTo>
                <a:lnTo>
                  <a:pt x="1914492" y="4321579"/>
                </a:lnTo>
                <a:lnTo>
                  <a:pt x="1914492" y="4311708"/>
                </a:lnTo>
                <a:close/>
                <a:moveTo>
                  <a:pt x="1679206" y="4307669"/>
                </a:moveTo>
                <a:lnTo>
                  <a:pt x="1689117" y="4307669"/>
                </a:lnTo>
                <a:lnTo>
                  <a:pt x="1693136" y="4311708"/>
                </a:lnTo>
                <a:lnTo>
                  <a:pt x="1693136" y="4321579"/>
                </a:lnTo>
                <a:lnTo>
                  <a:pt x="1689117" y="4325618"/>
                </a:lnTo>
                <a:lnTo>
                  <a:pt x="1679206" y="4325618"/>
                </a:lnTo>
                <a:lnTo>
                  <a:pt x="1675188" y="4321579"/>
                </a:lnTo>
                <a:lnTo>
                  <a:pt x="1675188" y="4311708"/>
                </a:lnTo>
                <a:close/>
                <a:moveTo>
                  <a:pt x="1439891" y="4307669"/>
                </a:moveTo>
                <a:lnTo>
                  <a:pt x="1449801" y="4307669"/>
                </a:lnTo>
                <a:lnTo>
                  <a:pt x="1453819" y="4311708"/>
                </a:lnTo>
                <a:lnTo>
                  <a:pt x="1453819" y="4321579"/>
                </a:lnTo>
                <a:lnTo>
                  <a:pt x="1449801" y="4325618"/>
                </a:lnTo>
                <a:lnTo>
                  <a:pt x="1439891" y="4325618"/>
                </a:lnTo>
                <a:lnTo>
                  <a:pt x="1435871" y="4321579"/>
                </a:lnTo>
                <a:lnTo>
                  <a:pt x="1435871" y="4311708"/>
                </a:lnTo>
                <a:close/>
                <a:moveTo>
                  <a:pt x="1200575" y="4307669"/>
                </a:moveTo>
                <a:lnTo>
                  <a:pt x="1210486" y="4307669"/>
                </a:lnTo>
                <a:lnTo>
                  <a:pt x="1214505" y="4311708"/>
                </a:lnTo>
                <a:lnTo>
                  <a:pt x="1214505" y="4321579"/>
                </a:lnTo>
                <a:lnTo>
                  <a:pt x="1210486" y="4325618"/>
                </a:lnTo>
                <a:lnTo>
                  <a:pt x="1200575" y="4325618"/>
                </a:lnTo>
                <a:lnTo>
                  <a:pt x="1196556" y="4321579"/>
                </a:lnTo>
                <a:lnTo>
                  <a:pt x="1196556" y="4311708"/>
                </a:lnTo>
                <a:close/>
                <a:moveTo>
                  <a:pt x="961263" y="4307669"/>
                </a:moveTo>
                <a:lnTo>
                  <a:pt x="971173" y="4307669"/>
                </a:lnTo>
                <a:lnTo>
                  <a:pt x="975191" y="4311708"/>
                </a:lnTo>
                <a:lnTo>
                  <a:pt x="975191" y="4321579"/>
                </a:lnTo>
                <a:lnTo>
                  <a:pt x="971173" y="4325618"/>
                </a:lnTo>
                <a:lnTo>
                  <a:pt x="961263" y="4325618"/>
                </a:lnTo>
                <a:lnTo>
                  <a:pt x="957244" y="4321579"/>
                </a:lnTo>
                <a:lnTo>
                  <a:pt x="957244" y="4311708"/>
                </a:lnTo>
                <a:close/>
                <a:moveTo>
                  <a:pt x="9572438" y="4307617"/>
                </a:moveTo>
                <a:lnTo>
                  <a:pt x="9582349" y="4307617"/>
                </a:lnTo>
                <a:lnTo>
                  <a:pt x="9586368" y="4311656"/>
                </a:lnTo>
                <a:lnTo>
                  <a:pt x="9586368" y="4321527"/>
                </a:lnTo>
                <a:lnTo>
                  <a:pt x="9582349" y="4325566"/>
                </a:lnTo>
                <a:lnTo>
                  <a:pt x="9572438" y="4325566"/>
                </a:lnTo>
                <a:lnTo>
                  <a:pt x="9568419" y="4321527"/>
                </a:lnTo>
                <a:lnTo>
                  <a:pt x="9568419" y="4311656"/>
                </a:lnTo>
                <a:close/>
                <a:moveTo>
                  <a:pt x="9333125" y="4307617"/>
                </a:moveTo>
                <a:lnTo>
                  <a:pt x="9343036" y="4307617"/>
                </a:lnTo>
                <a:lnTo>
                  <a:pt x="9347055" y="4311656"/>
                </a:lnTo>
                <a:lnTo>
                  <a:pt x="9347055" y="4321527"/>
                </a:lnTo>
                <a:lnTo>
                  <a:pt x="9343036" y="4325566"/>
                </a:lnTo>
                <a:lnTo>
                  <a:pt x="9333125" y="4325566"/>
                </a:lnTo>
                <a:lnTo>
                  <a:pt x="9329106" y="4321527"/>
                </a:lnTo>
                <a:lnTo>
                  <a:pt x="9329106" y="4311656"/>
                </a:lnTo>
                <a:close/>
                <a:moveTo>
                  <a:pt x="9093811" y="4307617"/>
                </a:moveTo>
                <a:lnTo>
                  <a:pt x="9103722" y="4307617"/>
                </a:lnTo>
                <a:lnTo>
                  <a:pt x="9107741" y="4311656"/>
                </a:lnTo>
                <a:lnTo>
                  <a:pt x="9107741" y="4321527"/>
                </a:lnTo>
                <a:lnTo>
                  <a:pt x="9103722" y="4325566"/>
                </a:lnTo>
                <a:lnTo>
                  <a:pt x="9093811" y="4325566"/>
                </a:lnTo>
                <a:lnTo>
                  <a:pt x="9089792" y="4321527"/>
                </a:lnTo>
                <a:lnTo>
                  <a:pt x="9089792" y="4311656"/>
                </a:lnTo>
                <a:close/>
                <a:moveTo>
                  <a:pt x="8854496" y="4307617"/>
                </a:moveTo>
                <a:lnTo>
                  <a:pt x="8864407" y="4307617"/>
                </a:lnTo>
                <a:lnTo>
                  <a:pt x="8868426" y="4311656"/>
                </a:lnTo>
                <a:lnTo>
                  <a:pt x="8868426" y="4321527"/>
                </a:lnTo>
                <a:lnTo>
                  <a:pt x="8864407" y="4325566"/>
                </a:lnTo>
                <a:lnTo>
                  <a:pt x="8854496" y="4325566"/>
                </a:lnTo>
                <a:lnTo>
                  <a:pt x="8850477" y="4321527"/>
                </a:lnTo>
                <a:lnTo>
                  <a:pt x="8850477" y="4311656"/>
                </a:lnTo>
                <a:close/>
                <a:moveTo>
                  <a:pt x="8615184" y="4307617"/>
                </a:moveTo>
                <a:lnTo>
                  <a:pt x="8625095" y="4307617"/>
                </a:lnTo>
                <a:lnTo>
                  <a:pt x="8629114" y="4311656"/>
                </a:lnTo>
                <a:lnTo>
                  <a:pt x="8629114" y="4321527"/>
                </a:lnTo>
                <a:lnTo>
                  <a:pt x="8625095" y="4325566"/>
                </a:lnTo>
                <a:lnTo>
                  <a:pt x="8615184" y="4325566"/>
                </a:lnTo>
                <a:lnTo>
                  <a:pt x="8611165" y="4321527"/>
                </a:lnTo>
                <a:lnTo>
                  <a:pt x="8611165" y="4311656"/>
                </a:lnTo>
                <a:close/>
                <a:moveTo>
                  <a:pt x="8375869" y="4307617"/>
                </a:moveTo>
                <a:lnTo>
                  <a:pt x="8385779" y="4307617"/>
                </a:lnTo>
                <a:lnTo>
                  <a:pt x="8389799" y="4311656"/>
                </a:lnTo>
                <a:lnTo>
                  <a:pt x="8389799" y="4321527"/>
                </a:lnTo>
                <a:lnTo>
                  <a:pt x="8385779" y="4325566"/>
                </a:lnTo>
                <a:lnTo>
                  <a:pt x="8375869" y="4325566"/>
                </a:lnTo>
                <a:lnTo>
                  <a:pt x="8371850" y="4321527"/>
                </a:lnTo>
                <a:lnTo>
                  <a:pt x="8371850" y="4311656"/>
                </a:lnTo>
                <a:close/>
                <a:moveTo>
                  <a:pt x="8136553" y="4307617"/>
                </a:moveTo>
                <a:lnTo>
                  <a:pt x="8146464" y="4307617"/>
                </a:lnTo>
                <a:lnTo>
                  <a:pt x="8150483" y="4311656"/>
                </a:lnTo>
                <a:lnTo>
                  <a:pt x="8150483" y="4321527"/>
                </a:lnTo>
                <a:lnTo>
                  <a:pt x="8146464" y="4325566"/>
                </a:lnTo>
                <a:lnTo>
                  <a:pt x="8136553" y="4325566"/>
                </a:lnTo>
                <a:lnTo>
                  <a:pt x="8132534" y="4321527"/>
                </a:lnTo>
                <a:lnTo>
                  <a:pt x="8132534" y="4311656"/>
                </a:lnTo>
                <a:close/>
                <a:moveTo>
                  <a:pt x="7897241" y="4307617"/>
                </a:moveTo>
                <a:lnTo>
                  <a:pt x="7907151" y="4307617"/>
                </a:lnTo>
                <a:lnTo>
                  <a:pt x="7911170" y="4311656"/>
                </a:lnTo>
                <a:lnTo>
                  <a:pt x="7911170" y="4321527"/>
                </a:lnTo>
                <a:lnTo>
                  <a:pt x="7907151" y="4325566"/>
                </a:lnTo>
                <a:lnTo>
                  <a:pt x="7897241" y="4325566"/>
                </a:lnTo>
                <a:lnTo>
                  <a:pt x="7893222" y="4321527"/>
                </a:lnTo>
                <a:lnTo>
                  <a:pt x="7893222" y="4311656"/>
                </a:lnTo>
                <a:close/>
                <a:moveTo>
                  <a:pt x="7657926" y="4307617"/>
                </a:moveTo>
                <a:lnTo>
                  <a:pt x="7667836" y="4307617"/>
                </a:lnTo>
                <a:lnTo>
                  <a:pt x="7671855" y="4311656"/>
                </a:lnTo>
                <a:lnTo>
                  <a:pt x="7671855" y="4321527"/>
                </a:lnTo>
                <a:lnTo>
                  <a:pt x="7667836" y="4325566"/>
                </a:lnTo>
                <a:lnTo>
                  <a:pt x="7657926" y="4325566"/>
                </a:lnTo>
                <a:lnTo>
                  <a:pt x="7653906" y="4321527"/>
                </a:lnTo>
                <a:lnTo>
                  <a:pt x="7653906" y="4311656"/>
                </a:lnTo>
                <a:close/>
                <a:moveTo>
                  <a:pt x="7418611" y="4307617"/>
                </a:moveTo>
                <a:lnTo>
                  <a:pt x="7428521" y="4307617"/>
                </a:lnTo>
                <a:lnTo>
                  <a:pt x="7432540" y="4311656"/>
                </a:lnTo>
                <a:lnTo>
                  <a:pt x="7432540" y="4321527"/>
                </a:lnTo>
                <a:lnTo>
                  <a:pt x="7428521" y="4325566"/>
                </a:lnTo>
                <a:lnTo>
                  <a:pt x="7418611" y="4325566"/>
                </a:lnTo>
                <a:lnTo>
                  <a:pt x="7414592" y="4321527"/>
                </a:lnTo>
                <a:lnTo>
                  <a:pt x="7414592" y="4311656"/>
                </a:lnTo>
                <a:close/>
                <a:moveTo>
                  <a:pt x="7179298" y="4307617"/>
                </a:moveTo>
                <a:lnTo>
                  <a:pt x="7189209" y="4307617"/>
                </a:lnTo>
                <a:lnTo>
                  <a:pt x="7193228" y="4311656"/>
                </a:lnTo>
                <a:lnTo>
                  <a:pt x="7193228" y="4321527"/>
                </a:lnTo>
                <a:lnTo>
                  <a:pt x="7189209" y="4325566"/>
                </a:lnTo>
                <a:lnTo>
                  <a:pt x="7179298" y="4325566"/>
                </a:lnTo>
                <a:lnTo>
                  <a:pt x="7175279" y="4321527"/>
                </a:lnTo>
                <a:lnTo>
                  <a:pt x="7175279" y="4311656"/>
                </a:lnTo>
                <a:close/>
                <a:moveTo>
                  <a:pt x="6939983" y="4307617"/>
                </a:moveTo>
                <a:lnTo>
                  <a:pt x="6949894" y="4307617"/>
                </a:lnTo>
                <a:lnTo>
                  <a:pt x="6953913" y="4311656"/>
                </a:lnTo>
                <a:lnTo>
                  <a:pt x="6953913" y="4321527"/>
                </a:lnTo>
                <a:lnTo>
                  <a:pt x="6949894" y="4325566"/>
                </a:lnTo>
                <a:lnTo>
                  <a:pt x="6939983" y="4325566"/>
                </a:lnTo>
                <a:lnTo>
                  <a:pt x="6935964" y="4321527"/>
                </a:lnTo>
                <a:lnTo>
                  <a:pt x="6935964" y="4311656"/>
                </a:lnTo>
                <a:close/>
                <a:moveTo>
                  <a:pt x="6700670" y="4307617"/>
                </a:moveTo>
                <a:lnTo>
                  <a:pt x="6710581" y="4307617"/>
                </a:lnTo>
                <a:lnTo>
                  <a:pt x="6714600" y="4311656"/>
                </a:lnTo>
                <a:lnTo>
                  <a:pt x="6714600" y="4321527"/>
                </a:lnTo>
                <a:lnTo>
                  <a:pt x="6710581" y="4325566"/>
                </a:lnTo>
                <a:lnTo>
                  <a:pt x="6700670" y="4325566"/>
                </a:lnTo>
                <a:lnTo>
                  <a:pt x="6696651" y="4321527"/>
                </a:lnTo>
                <a:lnTo>
                  <a:pt x="6696651" y="4311656"/>
                </a:lnTo>
                <a:close/>
                <a:moveTo>
                  <a:pt x="6461356" y="4307617"/>
                </a:moveTo>
                <a:lnTo>
                  <a:pt x="6471266" y="4307617"/>
                </a:lnTo>
                <a:lnTo>
                  <a:pt x="6475285" y="4311656"/>
                </a:lnTo>
                <a:lnTo>
                  <a:pt x="6475285" y="4321527"/>
                </a:lnTo>
                <a:lnTo>
                  <a:pt x="6471266" y="4325566"/>
                </a:lnTo>
                <a:lnTo>
                  <a:pt x="6461356" y="4325566"/>
                </a:lnTo>
                <a:lnTo>
                  <a:pt x="6457337" y="4321527"/>
                </a:lnTo>
                <a:lnTo>
                  <a:pt x="6457337" y="4311656"/>
                </a:lnTo>
                <a:close/>
                <a:moveTo>
                  <a:pt x="6222042" y="4307617"/>
                </a:moveTo>
                <a:lnTo>
                  <a:pt x="6231952" y="4307617"/>
                </a:lnTo>
                <a:lnTo>
                  <a:pt x="6235971" y="4311656"/>
                </a:lnTo>
                <a:lnTo>
                  <a:pt x="6235971" y="4321527"/>
                </a:lnTo>
                <a:lnTo>
                  <a:pt x="6231952" y="4325566"/>
                </a:lnTo>
                <a:lnTo>
                  <a:pt x="6222042" y="4325566"/>
                </a:lnTo>
                <a:lnTo>
                  <a:pt x="6218023" y="4321527"/>
                </a:lnTo>
                <a:lnTo>
                  <a:pt x="6218023" y="4311656"/>
                </a:lnTo>
                <a:close/>
                <a:moveTo>
                  <a:pt x="5982729" y="4307617"/>
                </a:moveTo>
                <a:lnTo>
                  <a:pt x="5992639" y="4307617"/>
                </a:lnTo>
                <a:lnTo>
                  <a:pt x="5996658" y="4311656"/>
                </a:lnTo>
                <a:lnTo>
                  <a:pt x="5996658" y="4321527"/>
                </a:lnTo>
                <a:lnTo>
                  <a:pt x="5992639" y="4325566"/>
                </a:lnTo>
                <a:lnTo>
                  <a:pt x="5982729" y="4325566"/>
                </a:lnTo>
                <a:lnTo>
                  <a:pt x="5978710" y="4321527"/>
                </a:lnTo>
                <a:lnTo>
                  <a:pt x="5978710" y="4311656"/>
                </a:lnTo>
                <a:close/>
                <a:moveTo>
                  <a:pt x="5743412" y="4307617"/>
                </a:moveTo>
                <a:lnTo>
                  <a:pt x="5753323" y="4307617"/>
                </a:lnTo>
                <a:lnTo>
                  <a:pt x="5757342" y="4311656"/>
                </a:lnTo>
                <a:lnTo>
                  <a:pt x="5757342" y="4321527"/>
                </a:lnTo>
                <a:lnTo>
                  <a:pt x="5753323" y="4325566"/>
                </a:lnTo>
                <a:lnTo>
                  <a:pt x="5743412" y="4325566"/>
                </a:lnTo>
                <a:lnTo>
                  <a:pt x="5739393" y="4321527"/>
                </a:lnTo>
                <a:lnTo>
                  <a:pt x="5739393" y="4311656"/>
                </a:lnTo>
                <a:close/>
                <a:moveTo>
                  <a:pt x="5504099" y="4307617"/>
                </a:moveTo>
                <a:lnTo>
                  <a:pt x="5514010" y="4307617"/>
                </a:lnTo>
                <a:lnTo>
                  <a:pt x="5518029" y="4311656"/>
                </a:lnTo>
                <a:lnTo>
                  <a:pt x="5518029" y="4321527"/>
                </a:lnTo>
                <a:lnTo>
                  <a:pt x="5514010" y="4325566"/>
                </a:lnTo>
                <a:lnTo>
                  <a:pt x="5504099" y="4325566"/>
                </a:lnTo>
                <a:lnTo>
                  <a:pt x="5500080" y="4321527"/>
                </a:lnTo>
                <a:lnTo>
                  <a:pt x="5500080" y="4311656"/>
                </a:lnTo>
                <a:close/>
                <a:moveTo>
                  <a:pt x="5264784" y="4307617"/>
                </a:moveTo>
                <a:lnTo>
                  <a:pt x="5274694" y="4307617"/>
                </a:lnTo>
                <a:lnTo>
                  <a:pt x="5278713" y="4311656"/>
                </a:lnTo>
                <a:lnTo>
                  <a:pt x="5278713" y="4321527"/>
                </a:lnTo>
                <a:lnTo>
                  <a:pt x="5274694" y="4325566"/>
                </a:lnTo>
                <a:lnTo>
                  <a:pt x="5264784" y="4325566"/>
                </a:lnTo>
                <a:lnTo>
                  <a:pt x="5260765" y="4321527"/>
                </a:lnTo>
                <a:lnTo>
                  <a:pt x="5260765" y="4311656"/>
                </a:lnTo>
                <a:close/>
                <a:moveTo>
                  <a:pt x="5025470" y="4307617"/>
                </a:moveTo>
                <a:lnTo>
                  <a:pt x="5035381" y="4307617"/>
                </a:lnTo>
                <a:lnTo>
                  <a:pt x="5039400" y="4311656"/>
                </a:lnTo>
                <a:lnTo>
                  <a:pt x="5039400" y="4321527"/>
                </a:lnTo>
                <a:lnTo>
                  <a:pt x="5035381" y="4325566"/>
                </a:lnTo>
                <a:lnTo>
                  <a:pt x="5025470" y="4325566"/>
                </a:lnTo>
                <a:lnTo>
                  <a:pt x="5021451" y="4321527"/>
                </a:lnTo>
                <a:lnTo>
                  <a:pt x="5021451" y="4311656"/>
                </a:lnTo>
                <a:close/>
                <a:moveTo>
                  <a:pt x="4786241" y="4307617"/>
                </a:moveTo>
                <a:lnTo>
                  <a:pt x="4796152" y="4307617"/>
                </a:lnTo>
                <a:lnTo>
                  <a:pt x="4800171" y="4311656"/>
                </a:lnTo>
                <a:lnTo>
                  <a:pt x="4800171" y="4321527"/>
                </a:lnTo>
                <a:lnTo>
                  <a:pt x="4796152" y="4325566"/>
                </a:lnTo>
                <a:lnTo>
                  <a:pt x="4786241" y="4325566"/>
                </a:lnTo>
                <a:lnTo>
                  <a:pt x="4782224" y="4321527"/>
                </a:lnTo>
                <a:lnTo>
                  <a:pt x="4782224" y="4311656"/>
                </a:lnTo>
                <a:close/>
                <a:moveTo>
                  <a:pt x="4546929" y="4307617"/>
                </a:moveTo>
                <a:lnTo>
                  <a:pt x="4556840" y="4307617"/>
                </a:lnTo>
                <a:lnTo>
                  <a:pt x="4560859" y="4311656"/>
                </a:lnTo>
                <a:lnTo>
                  <a:pt x="4560859" y="4321527"/>
                </a:lnTo>
                <a:lnTo>
                  <a:pt x="4556840" y="4325566"/>
                </a:lnTo>
                <a:lnTo>
                  <a:pt x="4546929" y="4325566"/>
                </a:lnTo>
                <a:lnTo>
                  <a:pt x="4542910" y="4321527"/>
                </a:lnTo>
                <a:lnTo>
                  <a:pt x="4542910" y="4311656"/>
                </a:lnTo>
                <a:close/>
                <a:moveTo>
                  <a:pt x="4307612" y="4307617"/>
                </a:moveTo>
                <a:lnTo>
                  <a:pt x="4317523" y="4307617"/>
                </a:lnTo>
                <a:lnTo>
                  <a:pt x="4321543" y="4311656"/>
                </a:lnTo>
                <a:lnTo>
                  <a:pt x="4321543" y="4321527"/>
                </a:lnTo>
                <a:lnTo>
                  <a:pt x="4317523" y="4325566"/>
                </a:lnTo>
                <a:lnTo>
                  <a:pt x="4307612" y="4325566"/>
                </a:lnTo>
                <a:lnTo>
                  <a:pt x="4303595" y="4321527"/>
                </a:lnTo>
                <a:lnTo>
                  <a:pt x="4303595" y="4311656"/>
                </a:lnTo>
                <a:close/>
                <a:moveTo>
                  <a:pt x="4068297" y="4307617"/>
                </a:moveTo>
                <a:lnTo>
                  <a:pt x="4078210" y="4307617"/>
                </a:lnTo>
                <a:lnTo>
                  <a:pt x="4082229" y="4311656"/>
                </a:lnTo>
                <a:lnTo>
                  <a:pt x="4082229" y="4321527"/>
                </a:lnTo>
                <a:lnTo>
                  <a:pt x="4078210" y="4325566"/>
                </a:lnTo>
                <a:lnTo>
                  <a:pt x="4068297" y="4325566"/>
                </a:lnTo>
                <a:lnTo>
                  <a:pt x="4064278" y="4321527"/>
                </a:lnTo>
                <a:lnTo>
                  <a:pt x="4064278" y="4311656"/>
                </a:lnTo>
                <a:close/>
                <a:moveTo>
                  <a:pt x="3828990" y="4307617"/>
                </a:moveTo>
                <a:lnTo>
                  <a:pt x="3838899" y="4307617"/>
                </a:lnTo>
                <a:lnTo>
                  <a:pt x="3842917" y="4311656"/>
                </a:lnTo>
                <a:lnTo>
                  <a:pt x="3842917" y="4321527"/>
                </a:lnTo>
                <a:lnTo>
                  <a:pt x="3838899" y="4325566"/>
                </a:lnTo>
                <a:lnTo>
                  <a:pt x="3828990" y="4325566"/>
                </a:lnTo>
                <a:lnTo>
                  <a:pt x="3824971" y="4321527"/>
                </a:lnTo>
                <a:lnTo>
                  <a:pt x="3824971" y="4311656"/>
                </a:lnTo>
                <a:close/>
                <a:moveTo>
                  <a:pt x="3589676" y="4307617"/>
                </a:moveTo>
                <a:lnTo>
                  <a:pt x="3599585" y="4307617"/>
                </a:lnTo>
                <a:lnTo>
                  <a:pt x="3603604" y="4311656"/>
                </a:lnTo>
                <a:lnTo>
                  <a:pt x="3603604" y="4321527"/>
                </a:lnTo>
                <a:lnTo>
                  <a:pt x="3599585" y="4325566"/>
                </a:lnTo>
                <a:lnTo>
                  <a:pt x="3589676" y="4325566"/>
                </a:lnTo>
                <a:lnTo>
                  <a:pt x="3585657" y="4321527"/>
                </a:lnTo>
                <a:lnTo>
                  <a:pt x="3585657" y="4311656"/>
                </a:lnTo>
                <a:close/>
                <a:moveTo>
                  <a:pt x="3350359" y="4307617"/>
                </a:moveTo>
                <a:lnTo>
                  <a:pt x="3360268" y="4307617"/>
                </a:lnTo>
                <a:lnTo>
                  <a:pt x="3364287" y="4311656"/>
                </a:lnTo>
                <a:lnTo>
                  <a:pt x="3364287" y="4321527"/>
                </a:lnTo>
                <a:lnTo>
                  <a:pt x="3360268" y="4325566"/>
                </a:lnTo>
                <a:lnTo>
                  <a:pt x="3350359" y="4325566"/>
                </a:lnTo>
                <a:lnTo>
                  <a:pt x="3346340" y="4321527"/>
                </a:lnTo>
                <a:lnTo>
                  <a:pt x="3346340" y="4311656"/>
                </a:lnTo>
                <a:close/>
                <a:moveTo>
                  <a:pt x="3111048" y="4307617"/>
                </a:moveTo>
                <a:lnTo>
                  <a:pt x="3120959" y="4307617"/>
                </a:lnTo>
                <a:lnTo>
                  <a:pt x="3124977" y="4311656"/>
                </a:lnTo>
                <a:lnTo>
                  <a:pt x="3124977" y="4321527"/>
                </a:lnTo>
                <a:lnTo>
                  <a:pt x="3120959" y="4325566"/>
                </a:lnTo>
                <a:lnTo>
                  <a:pt x="3111048" y="4325566"/>
                </a:lnTo>
                <a:lnTo>
                  <a:pt x="3107029" y="4321527"/>
                </a:lnTo>
                <a:lnTo>
                  <a:pt x="3107029" y="4311656"/>
                </a:lnTo>
                <a:close/>
                <a:moveTo>
                  <a:pt x="2871737" y="4307617"/>
                </a:moveTo>
                <a:lnTo>
                  <a:pt x="2881646" y="4307617"/>
                </a:lnTo>
                <a:lnTo>
                  <a:pt x="2885666" y="4311656"/>
                </a:lnTo>
                <a:lnTo>
                  <a:pt x="2885666" y="4321527"/>
                </a:lnTo>
                <a:lnTo>
                  <a:pt x="2881646" y="4325566"/>
                </a:lnTo>
                <a:lnTo>
                  <a:pt x="2871737" y="4325566"/>
                </a:lnTo>
                <a:lnTo>
                  <a:pt x="2867717" y="4321527"/>
                </a:lnTo>
                <a:lnTo>
                  <a:pt x="2867717" y="4311656"/>
                </a:lnTo>
                <a:close/>
                <a:moveTo>
                  <a:pt x="2632423" y="4307617"/>
                </a:moveTo>
                <a:lnTo>
                  <a:pt x="2642334" y="4307617"/>
                </a:lnTo>
                <a:lnTo>
                  <a:pt x="2646352" y="4311656"/>
                </a:lnTo>
                <a:lnTo>
                  <a:pt x="2646352" y="4321527"/>
                </a:lnTo>
                <a:lnTo>
                  <a:pt x="2642334" y="4325566"/>
                </a:lnTo>
                <a:lnTo>
                  <a:pt x="2632423" y="4325566"/>
                </a:lnTo>
                <a:lnTo>
                  <a:pt x="2628404" y="4321527"/>
                </a:lnTo>
                <a:lnTo>
                  <a:pt x="2628404" y="4311656"/>
                </a:lnTo>
                <a:close/>
                <a:moveTo>
                  <a:pt x="2393104" y="4307617"/>
                </a:moveTo>
                <a:lnTo>
                  <a:pt x="2403015" y="4307617"/>
                </a:lnTo>
                <a:lnTo>
                  <a:pt x="2407034" y="4311656"/>
                </a:lnTo>
                <a:lnTo>
                  <a:pt x="2407034" y="4321527"/>
                </a:lnTo>
                <a:lnTo>
                  <a:pt x="2403015" y="4325566"/>
                </a:lnTo>
                <a:lnTo>
                  <a:pt x="2393104" y="4325566"/>
                </a:lnTo>
                <a:lnTo>
                  <a:pt x="2389087" y="4321527"/>
                </a:lnTo>
                <a:lnTo>
                  <a:pt x="2389087" y="4311656"/>
                </a:lnTo>
                <a:close/>
                <a:moveTo>
                  <a:pt x="721965" y="4307617"/>
                </a:moveTo>
                <a:lnTo>
                  <a:pt x="731874" y="4307617"/>
                </a:lnTo>
                <a:lnTo>
                  <a:pt x="735893" y="4311656"/>
                </a:lnTo>
                <a:lnTo>
                  <a:pt x="735893" y="4321527"/>
                </a:lnTo>
                <a:lnTo>
                  <a:pt x="731874" y="4325566"/>
                </a:lnTo>
                <a:lnTo>
                  <a:pt x="721965" y="4325566"/>
                </a:lnTo>
                <a:lnTo>
                  <a:pt x="717945" y="4321527"/>
                </a:lnTo>
                <a:lnTo>
                  <a:pt x="717945" y="4311656"/>
                </a:lnTo>
                <a:close/>
                <a:moveTo>
                  <a:pt x="482652" y="4307617"/>
                </a:moveTo>
                <a:lnTo>
                  <a:pt x="492562" y="4307617"/>
                </a:lnTo>
                <a:lnTo>
                  <a:pt x="496581" y="4311656"/>
                </a:lnTo>
                <a:lnTo>
                  <a:pt x="496581" y="4321527"/>
                </a:lnTo>
                <a:lnTo>
                  <a:pt x="492562" y="4325566"/>
                </a:lnTo>
                <a:lnTo>
                  <a:pt x="482652" y="4325566"/>
                </a:lnTo>
                <a:lnTo>
                  <a:pt x="478633" y="4321527"/>
                </a:lnTo>
                <a:lnTo>
                  <a:pt x="478633" y="4311656"/>
                </a:lnTo>
                <a:close/>
                <a:moveTo>
                  <a:pt x="243339" y="4307617"/>
                </a:moveTo>
                <a:lnTo>
                  <a:pt x="253249" y="4307617"/>
                </a:lnTo>
                <a:lnTo>
                  <a:pt x="257268" y="4311656"/>
                </a:lnTo>
                <a:lnTo>
                  <a:pt x="257268" y="4321527"/>
                </a:lnTo>
                <a:lnTo>
                  <a:pt x="253249" y="4325566"/>
                </a:lnTo>
                <a:lnTo>
                  <a:pt x="243339" y="4325566"/>
                </a:lnTo>
                <a:lnTo>
                  <a:pt x="239320" y="4321527"/>
                </a:lnTo>
                <a:lnTo>
                  <a:pt x="239320" y="4311656"/>
                </a:lnTo>
                <a:close/>
                <a:moveTo>
                  <a:pt x="4025" y="4307617"/>
                </a:moveTo>
                <a:lnTo>
                  <a:pt x="13936" y="4307617"/>
                </a:lnTo>
                <a:lnTo>
                  <a:pt x="17955" y="4311656"/>
                </a:lnTo>
                <a:lnTo>
                  <a:pt x="17955" y="4321527"/>
                </a:lnTo>
                <a:lnTo>
                  <a:pt x="13936" y="4325566"/>
                </a:lnTo>
                <a:lnTo>
                  <a:pt x="4025" y="4325566"/>
                </a:lnTo>
                <a:lnTo>
                  <a:pt x="7" y="4321527"/>
                </a:lnTo>
                <a:lnTo>
                  <a:pt x="7" y="4311656"/>
                </a:lnTo>
                <a:close/>
                <a:moveTo>
                  <a:pt x="9572438" y="4068339"/>
                </a:moveTo>
                <a:lnTo>
                  <a:pt x="9582349" y="4068339"/>
                </a:lnTo>
                <a:lnTo>
                  <a:pt x="9586368" y="4072377"/>
                </a:lnTo>
                <a:lnTo>
                  <a:pt x="9586368" y="4082248"/>
                </a:lnTo>
                <a:lnTo>
                  <a:pt x="9582349" y="4086287"/>
                </a:lnTo>
                <a:lnTo>
                  <a:pt x="9572438" y="4086287"/>
                </a:lnTo>
                <a:lnTo>
                  <a:pt x="9568419" y="4082248"/>
                </a:lnTo>
                <a:lnTo>
                  <a:pt x="9568419" y="4072377"/>
                </a:lnTo>
                <a:close/>
                <a:moveTo>
                  <a:pt x="9333125" y="4068339"/>
                </a:moveTo>
                <a:lnTo>
                  <a:pt x="9343036" y="4068339"/>
                </a:lnTo>
                <a:lnTo>
                  <a:pt x="9347055" y="4072377"/>
                </a:lnTo>
                <a:lnTo>
                  <a:pt x="9347055" y="4082248"/>
                </a:lnTo>
                <a:lnTo>
                  <a:pt x="9343036" y="4086287"/>
                </a:lnTo>
                <a:lnTo>
                  <a:pt x="9333125" y="4086287"/>
                </a:lnTo>
                <a:lnTo>
                  <a:pt x="9329106" y="4082248"/>
                </a:lnTo>
                <a:lnTo>
                  <a:pt x="9329106" y="4072377"/>
                </a:lnTo>
                <a:close/>
                <a:moveTo>
                  <a:pt x="9093811" y="4068339"/>
                </a:moveTo>
                <a:lnTo>
                  <a:pt x="9103722" y="4068339"/>
                </a:lnTo>
                <a:lnTo>
                  <a:pt x="9107741" y="4072377"/>
                </a:lnTo>
                <a:lnTo>
                  <a:pt x="9107741" y="4082248"/>
                </a:lnTo>
                <a:lnTo>
                  <a:pt x="9103722" y="4086287"/>
                </a:lnTo>
                <a:lnTo>
                  <a:pt x="9093811" y="4086287"/>
                </a:lnTo>
                <a:lnTo>
                  <a:pt x="9089792" y="4082248"/>
                </a:lnTo>
                <a:lnTo>
                  <a:pt x="9089792" y="4072377"/>
                </a:lnTo>
                <a:close/>
                <a:moveTo>
                  <a:pt x="8854496" y="4068339"/>
                </a:moveTo>
                <a:lnTo>
                  <a:pt x="8864407" y="4068339"/>
                </a:lnTo>
                <a:lnTo>
                  <a:pt x="8868426" y="4072377"/>
                </a:lnTo>
                <a:lnTo>
                  <a:pt x="8868426" y="4082248"/>
                </a:lnTo>
                <a:lnTo>
                  <a:pt x="8864407" y="4086287"/>
                </a:lnTo>
                <a:lnTo>
                  <a:pt x="8854496" y="4086287"/>
                </a:lnTo>
                <a:lnTo>
                  <a:pt x="8850477" y="4082248"/>
                </a:lnTo>
                <a:lnTo>
                  <a:pt x="8850477" y="4072377"/>
                </a:lnTo>
                <a:close/>
                <a:moveTo>
                  <a:pt x="8615184" y="4068339"/>
                </a:moveTo>
                <a:lnTo>
                  <a:pt x="8625095" y="4068339"/>
                </a:lnTo>
                <a:lnTo>
                  <a:pt x="8629114" y="4072377"/>
                </a:lnTo>
                <a:lnTo>
                  <a:pt x="8629114" y="4082248"/>
                </a:lnTo>
                <a:lnTo>
                  <a:pt x="8625095" y="4086287"/>
                </a:lnTo>
                <a:lnTo>
                  <a:pt x="8615184" y="4086287"/>
                </a:lnTo>
                <a:lnTo>
                  <a:pt x="8611165" y="4082248"/>
                </a:lnTo>
                <a:lnTo>
                  <a:pt x="8611165" y="4072377"/>
                </a:lnTo>
                <a:close/>
                <a:moveTo>
                  <a:pt x="8375869" y="4068339"/>
                </a:moveTo>
                <a:lnTo>
                  <a:pt x="8385779" y="4068339"/>
                </a:lnTo>
                <a:lnTo>
                  <a:pt x="8389799" y="4072377"/>
                </a:lnTo>
                <a:lnTo>
                  <a:pt x="8389799" y="4082248"/>
                </a:lnTo>
                <a:lnTo>
                  <a:pt x="8385779" y="4086287"/>
                </a:lnTo>
                <a:lnTo>
                  <a:pt x="8375869" y="4086287"/>
                </a:lnTo>
                <a:lnTo>
                  <a:pt x="8371850" y="4082248"/>
                </a:lnTo>
                <a:lnTo>
                  <a:pt x="8371850" y="4072377"/>
                </a:lnTo>
                <a:close/>
                <a:moveTo>
                  <a:pt x="8136553" y="4068339"/>
                </a:moveTo>
                <a:lnTo>
                  <a:pt x="8146464" y="4068339"/>
                </a:lnTo>
                <a:lnTo>
                  <a:pt x="8150483" y="4072377"/>
                </a:lnTo>
                <a:lnTo>
                  <a:pt x="8150483" y="4082248"/>
                </a:lnTo>
                <a:lnTo>
                  <a:pt x="8146464" y="4086287"/>
                </a:lnTo>
                <a:lnTo>
                  <a:pt x="8136553" y="4086287"/>
                </a:lnTo>
                <a:lnTo>
                  <a:pt x="8132534" y="4082248"/>
                </a:lnTo>
                <a:lnTo>
                  <a:pt x="8132534" y="4072377"/>
                </a:lnTo>
                <a:close/>
                <a:moveTo>
                  <a:pt x="7897241" y="4068339"/>
                </a:moveTo>
                <a:lnTo>
                  <a:pt x="7907151" y="4068339"/>
                </a:lnTo>
                <a:lnTo>
                  <a:pt x="7911170" y="4072377"/>
                </a:lnTo>
                <a:lnTo>
                  <a:pt x="7911170" y="4082248"/>
                </a:lnTo>
                <a:lnTo>
                  <a:pt x="7907151" y="4086287"/>
                </a:lnTo>
                <a:lnTo>
                  <a:pt x="7897241" y="4086287"/>
                </a:lnTo>
                <a:lnTo>
                  <a:pt x="7893222" y="4082248"/>
                </a:lnTo>
                <a:lnTo>
                  <a:pt x="7893222" y="4072377"/>
                </a:lnTo>
                <a:close/>
                <a:moveTo>
                  <a:pt x="7657926" y="4068339"/>
                </a:moveTo>
                <a:lnTo>
                  <a:pt x="7667836" y="4068339"/>
                </a:lnTo>
                <a:lnTo>
                  <a:pt x="7671855" y="4072377"/>
                </a:lnTo>
                <a:lnTo>
                  <a:pt x="7671855" y="4082248"/>
                </a:lnTo>
                <a:lnTo>
                  <a:pt x="7667836" y="4086287"/>
                </a:lnTo>
                <a:lnTo>
                  <a:pt x="7657926" y="4086287"/>
                </a:lnTo>
                <a:lnTo>
                  <a:pt x="7653906" y="4082248"/>
                </a:lnTo>
                <a:lnTo>
                  <a:pt x="7653906" y="4072377"/>
                </a:lnTo>
                <a:close/>
                <a:moveTo>
                  <a:pt x="7418611" y="4068339"/>
                </a:moveTo>
                <a:lnTo>
                  <a:pt x="7428521" y="4068339"/>
                </a:lnTo>
                <a:lnTo>
                  <a:pt x="7432540" y="4072377"/>
                </a:lnTo>
                <a:lnTo>
                  <a:pt x="7432540" y="4082248"/>
                </a:lnTo>
                <a:lnTo>
                  <a:pt x="7428521" y="4086287"/>
                </a:lnTo>
                <a:lnTo>
                  <a:pt x="7418611" y="4086287"/>
                </a:lnTo>
                <a:lnTo>
                  <a:pt x="7414592" y="4082248"/>
                </a:lnTo>
                <a:lnTo>
                  <a:pt x="7414592" y="4072377"/>
                </a:lnTo>
                <a:close/>
                <a:moveTo>
                  <a:pt x="7179298" y="4068339"/>
                </a:moveTo>
                <a:lnTo>
                  <a:pt x="7189209" y="4068339"/>
                </a:lnTo>
                <a:lnTo>
                  <a:pt x="7193228" y="4072377"/>
                </a:lnTo>
                <a:lnTo>
                  <a:pt x="7193228" y="4082248"/>
                </a:lnTo>
                <a:lnTo>
                  <a:pt x="7189209" y="4086287"/>
                </a:lnTo>
                <a:lnTo>
                  <a:pt x="7179298" y="4086287"/>
                </a:lnTo>
                <a:lnTo>
                  <a:pt x="7175279" y="4082248"/>
                </a:lnTo>
                <a:lnTo>
                  <a:pt x="7175279" y="4072377"/>
                </a:lnTo>
                <a:close/>
                <a:moveTo>
                  <a:pt x="6939983" y="4068339"/>
                </a:moveTo>
                <a:lnTo>
                  <a:pt x="6949894" y="4068339"/>
                </a:lnTo>
                <a:lnTo>
                  <a:pt x="6953913" y="4072377"/>
                </a:lnTo>
                <a:lnTo>
                  <a:pt x="6953913" y="4082248"/>
                </a:lnTo>
                <a:lnTo>
                  <a:pt x="6949894" y="4086287"/>
                </a:lnTo>
                <a:lnTo>
                  <a:pt x="6939983" y="4086287"/>
                </a:lnTo>
                <a:lnTo>
                  <a:pt x="6935964" y="4082248"/>
                </a:lnTo>
                <a:lnTo>
                  <a:pt x="6935964" y="4072377"/>
                </a:lnTo>
                <a:close/>
                <a:moveTo>
                  <a:pt x="6700670" y="4068339"/>
                </a:moveTo>
                <a:lnTo>
                  <a:pt x="6710581" y="4068339"/>
                </a:lnTo>
                <a:lnTo>
                  <a:pt x="6714600" y="4072377"/>
                </a:lnTo>
                <a:lnTo>
                  <a:pt x="6714600" y="4082248"/>
                </a:lnTo>
                <a:lnTo>
                  <a:pt x="6710581" y="4086287"/>
                </a:lnTo>
                <a:lnTo>
                  <a:pt x="6700670" y="4086287"/>
                </a:lnTo>
                <a:lnTo>
                  <a:pt x="6696651" y="4082248"/>
                </a:lnTo>
                <a:lnTo>
                  <a:pt x="6696651" y="4072377"/>
                </a:lnTo>
                <a:close/>
                <a:moveTo>
                  <a:pt x="6461356" y="4068339"/>
                </a:moveTo>
                <a:lnTo>
                  <a:pt x="6471266" y="4068339"/>
                </a:lnTo>
                <a:lnTo>
                  <a:pt x="6475285" y="4072377"/>
                </a:lnTo>
                <a:lnTo>
                  <a:pt x="6475285" y="4082248"/>
                </a:lnTo>
                <a:lnTo>
                  <a:pt x="6471266" y="4086287"/>
                </a:lnTo>
                <a:lnTo>
                  <a:pt x="6461356" y="4086287"/>
                </a:lnTo>
                <a:lnTo>
                  <a:pt x="6457337" y="4082248"/>
                </a:lnTo>
                <a:lnTo>
                  <a:pt x="6457337" y="4072377"/>
                </a:lnTo>
                <a:close/>
                <a:moveTo>
                  <a:pt x="6222042" y="4068339"/>
                </a:moveTo>
                <a:lnTo>
                  <a:pt x="6231952" y="4068339"/>
                </a:lnTo>
                <a:lnTo>
                  <a:pt x="6235971" y="4072377"/>
                </a:lnTo>
                <a:lnTo>
                  <a:pt x="6235971" y="4082248"/>
                </a:lnTo>
                <a:lnTo>
                  <a:pt x="6231952" y="4086287"/>
                </a:lnTo>
                <a:lnTo>
                  <a:pt x="6222042" y="4086287"/>
                </a:lnTo>
                <a:lnTo>
                  <a:pt x="6218023" y="4082248"/>
                </a:lnTo>
                <a:lnTo>
                  <a:pt x="6218023" y="4072377"/>
                </a:lnTo>
                <a:close/>
                <a:moveTo>
                  <a:pt x="5982729" y="4068339"/>
                </a:moveTo>
                <a:lnTo>
                  <a:pt x="5992639" y="4068339"/>
                </a:lnTo>
                <a:lnTo>
                  <a:pt x="5996658" y="4072377"/>
                </a:lnTo>
                <a:lnTo>
                  <a:pt x="5996658" y="4082248"/>
                </a:lnTo>
                <a:lnTo>
                  <a:pt x="5992639" y="4086287"/>
                </a:lnTo>
                <a:lnTo>
                  <a:pt x="5982729" y="4086287"/>
                </a:lnTo>
                <a:lnTo>
                  <a:pt x="5978710" y="4082248"/>
                </a:lnTo>
                <a:lnTo>
                  <a:pt x="5978710" y="4072377"/>
                </a:lnTo>
                <a:close/>
                <a:moveTo>
                  <a:pt x="5743412" y="4068339"/>
                </a:moveTo>
                <a:lnTo>
                  <a:pt x="5753323" y="4068339"/>
                </a:lnTo>
                <a:lnTo>
                  <a:pt x="5757342" y="4072377"/>
                </a:lnTo>
                <a:lnTo>
                  <a:pt x="5757342" y="4082248"/>
                </a:lnTo>
                <a:lnTo>
                  <a:pt x="5753323" y="4086287"/>
                </a:lnTo>
                <a:lnTo>
                  <a:pt x="5743412" y="4086287"/>
                </a:lnTo>
                <a:lnTo>
                  <a:pt x="5739393" y="4082248"/>
                </a:lnTo>
                <a:lnTo>
                  <a:pt x="5739393" y="4072377"/>
                </a:lnTo>
                <a:close/>
                <a:moveTo>
                  <a:pt x="5504099" y="4068339"/>
                </a:moveTo>
                <a:lnTo>
                  <a:pt x="5514010" y="4068339"/>
                </a:lnTo>
                <a:lnTo>
                  <a:pt x="5518029" y="4072377"/>
                </a:lnTo>
                <a:lnTo>
                  <a:pt x="5518029" y="4082248"/>
                </a:lnTo>
                <a:lnTo>
                  <a:pt x="5514010" y="4086287"/>
                </a:lnTo>
                <a:lnTo>
                  <a:pt x="5504099" y="4086287"/>
                </a:lnTo>
                <a:lnTo>
                  <a:pt x="5500080" y="4082248"/>
                </a:lnTo>
                <a:lnTo>
                  <a:pt x="5500080" y="4072377"/>
                </a:lnTo>
                <a:close/>
                <a:moveTo>
                  <a:pt x="5264784" y="4068339"/>
                </a:moveTo>
                <a:lnTo>
                  <a:pt x="5274694" y="4068339"/>
                </a:lnTo>
                <a:lnTo>
                  <a:pt x="5278713" y="4072377"/>
                </a:lnTo>
                <a:lnTo>
                  <a:pt x="5278713" y="4082248"/>
                </a:lnTo>
                <a:lnTo>
                  <a:pt x="5274694" y="4086287"/>
                </a:lnTo>
                <a:lnTo>
                  <a:pt x="5264784" y="4086287"/>
                </a:lnTo>
                <a:lnTo>
                  <a:pt x="5260765" y="4082248"/>
                </a:lnTo>
                <a:lnTo>
                  <a:pt x="5260765" y="4072377"/>
                </a:lnTo>
                <a:close/>
                <a:moveTo>
                  <a:pt x="5025470" y="4068339"/>
                </a:moveTo>
                <a:lnTo>
                  <a:pt x="5035381" y="4068339"/>
                </a:lnTo>
                <a:lnTo>
                  <a:pt x="5039400" y="4072377"/>
                </a:lnTo>
                <a:lnTo>
                  <a:pt x="5039400" y="4082248"/>
                </a:lnTo>
                <a:lnTo>
                  <a:pt x="5035381" y="4086287"/>
                </a:lnTo>
                <a:lnTo>
                  <a:pt x="5025470" y="4086287"/>
                </a:lnTo>
                <a:lnTo>
                  <a:pt x="5021451" y="4082248"/>
                </a:lnTo>
                <a:lnTo>
                  <a:pt x="5021451" y="4072377"/>
                </a:lnTo>
                <a:close/>
                <a:moveTo>
                  <a:pt x="4786241" y="4068339"/>
                </a:moveTo>
                <a:lnTo>
                  <a:pt x="4796152" y="4068339"/>
                </a:lnTo>
                <a:lnTo>
                  <a:pt x="4800171" y="4072377"/>
                </a:lnTo>
                <a:lnTo>
                  <a:pt x="4800171" y="4082248"/>
                </a:lnTo>
                <a:lnTo>
                  <a:pt x="4796152" y="4086287"/>
                </a:lnTo>
                <a:lnTo>
                  <a:pt x="4786241" y="4086287"/>
                </a:lnTo>
                <a:lnTo>
                  <a:pt x="4782224" y="4082248"/>
                </a:lnTo>
                <a:lnTo>
                  <a:pt x="4782224" y="4072377"/>
                </a:lnTo>
                <a:close/>
                <a:moveTo>
                  <a:pt x="4546929" y="4068339"/>
                </a:moveTo>
                <a:lnTo>
                  <a:pt x="4556840" y="4068339"/>
                </a:lnTo>
                <a:lnTo>
                  <a:pt x="4560859" y="4072377"/>
                </a:lnTo>
                <a:lnTo>
                  <a:pt x="4560859" y="4082248"/>
                </a:lnTo>
                <a:lnTo>
                  <a:pt x="4556840" y="4086287"/>
                </a:lnTo>
                <a:lnTo>
                  <a:pt x="4546929" y="4086287"/>
                </a:lnTo>
                <a:lnTo>
                  <a:pt x="4542910" y="4082248"/>
                </a:lnTo>
                <a:lnTo>
                  <a:pt x="4542910" y="4072377"/>
                </a:lnTo>
                <a:close/>
                <a:moveTo>
                  <a:pt x="4307612" y="4068339"/>
                </a:moveTo>
                <a:lnTo>
                  <a:pt x="4317523" y="4068339"/>
                </a:lnTo>
                <a:lnTo>
                  <a:pt x="4321543" y="4072377"/>
                </a:lnTo>
                <a:lnTo>
                  <a:pt x="4321543" y="4082248"/>
                </a:lnTo>
                <a:lnTo>
                  <a:pt x="4317523" y="4086287"/>
                </a:lnTo>
                <a:lnTo>
                  <a:pt x="4307612" y="4086287"/>
                </a:lnTo>
                <a:lnTo>
                  <a:pt x="4303595" y="4082248"/>
                </a:lnTo>
                <a:lnTo>
                  <a:pt x="4303595" y="4072377"/>
                </a:lnTo>
                <a:close/>
                <a:moveTo>
                  <a:pt x="4068297" y="4068339"/>
                </a:moveTo>
                <a:lnTo>
                  <a:pt x="4078210" y="4068339"/>
                </a:lnTo>
                <a:lnTo>
                  <a:pt x="4082229" y="4072377"/>
                </a:lnTo>
                <a:lnTo>
                  <a:pt x="4082229" y="4082248"/>
                </a:lnTo>
                <a:lnTo>
                  <a:pt x="4078210" y="4086287"/>
                </a:lnTo>
                <a:lnTo>
                  <a:pt x="4068297" y="4086287"/>
                </a:lnTo>
                <a:lnTo>
                  <a:pt x="4064278" y="4082248"/>
                </a:lnTo>
                <a:lnTo>
                  <a:pt x="4064278" y="4072377"/>
                </a:lnTo>
                <a:close/>
                <a:moveTo>
                  <a:pt x="3828990" y="4068339"/>
                </a:moveTo>
                <a:lnTo>
                  <a:pt x="3838899" y="4068339"/>
                </a:lnTo>
                <a:lnTo>
                  <a:pt x="3842917" y="4072377"/>
                </a:lnTo>
                <a:lnTo>
                  <a:pt x="3842917" y="4082248"/>
                </a:lnTo>
                <a:lnTo>
                  <a:pt x="3838899" y="4086287"/>
                </a:lnTo>
                <a:lnTo>
                  <a:pt x="3828990" y="4086287"/>
                </a:lnTo>
                <a:lnTo>
                  <a:pt x="3824971" y="4082248"/>
                </a:lnTo>
                <a:lnTo>
                  <a:pt x="3824971" y="4072377"/>
                </a:lnTo>
                <a:close/>
                <a:moveTo>
                  <a:pt x="3589676" y="4068339"/>
                </a:moveTo>
                <a:lnTo>
                  <a:pt x="3599585" y="4068339"/>
                </a:lnTo>
                <a:lnTo>
                  <a:pt x="3603604" y="4072377"/>
                </a:lnTo>
                <a:lnTo>
                  <a:pt x="3603604" y="4082248"/>
                </a:lnTo>
                <a:lnTo>
                  <a:pt x="3599585" y="4086287"/>
                </a:lnTo>
                <a:lnTo>
                  <a:pt x="3589676" y="4086287"/>
                </a:lnTo>
                <a:lnTo>
                  <a:pt x="3585657" y="4082248"/>
                </a:lnTo>
                <a:lnTo>
                  <a:pt x="3585657" y="4072377"/>
                </a:lnTo>
                <a:close/>
                <a:moveTo>
                  <a:pt x="3350359" y="4068339"/>
                </a:moveTo>
                <a:lnTo>
                  <a:pt x="3360268" y="4068339"/>
                </a:lnTo>
                <a:lnTo>
                  <a:pt x="3364287" y="4072377"/>
                </a:lnTo>
                <a:lnTo>
                  <a:pt x="3364287" y="4082248"/>
                </a:lnTo>
                <a:lnTo>
                  <a:pt x="3360268" y="4086287"/>
                </a:lnTo>
                <a:lnTo>
                  <a:pt x="3350359" y="4086287"/>
                </a:lnTo>
                <a:lnTo>
                  <a:pt x="3346340" y="4082248"/>
                </a:lnTo>
                <a:lnTo>
                  <a:pt x="3346340" y="4072377"/>
                </a:lnTo>
                <a:close/>
                <a:moveTo>
                  <a:pt x="3111048" y="4068339"/>
                </a:moveTo>
                <a:lnTo>
                  <a:pt x="3120959" y="4068339"/>
                </a:lnTo>
                <a:lnTo>
                  <a:pt x="3124977" y="4072377"/>
                </a:lnTo>
                <a:lnTo>
                  <a:pt x="3124977" y="4082248"/>
                </a:lnTo>
                <a:lnTo>
                  <a:pt x="3120959" y="4086287"/>
                </a:lnTo>
                <a:lnTo>
                  <a:pt x="3111048" y="4086287"/>
                </a:lnTo>
                <a:lnTo>
                  <a:pt x="3107029" y="4082248"/>
                </a:lnTo>
                <a:lnTo>
                  <a:pt x="3107029" y="4072377"/>
                </a:lnTo>
                <a:close/>
                <a:moveTo>
                  <a:pt x="2871737" y="4068339"/>
                </a:moveTo>
                <a:lnTo>
                  <a:pt x="2881646" y="4068339"/>
                </a:lnTo>
                <a:lnTo>
                  <a:pt x="2885666" y="4072377"/>
                </a:lnTo>
                <a:lnTo>
                  <a:pt x="2885666" y="4082248"/>
                </a:lnTo>
                <a:lnTo>
                  <a:pt x="2881646" y="4086287"/>
                </a:lnTo>
                <a:lnTo>
                  <a:pt x="2871737" y="4086287"/>
                </a:lnTo>
                <a:lnTo>
                  <a:pt x="2867717" y="4082248"/>
                </a:lnTo>
                <a:lnTo>
                  <a:pt x="2867717" y="4072377"/>
                </a:lnTo>
                <a:close/>
                <a:moveTo>
                  <a:pt x="2632423" y="4068339"/>
                </a:moveTo>
                <a:lnTo>
                  <a:pt x="2642334" y="4068339"/>
                </a:lnTo>
                <a:lnTo>
                  <a:pt x="2646352" y="4072377"/>
                </a:lnTo>
                <a:lnTo>
                  <a:pt x="2646352" y="4082248"/>
                </a:lnTo>
                <a:lnTo>
                  <a:pt x="2642334" y="4086287"/>
                </a:lnTo>
                <a:lnTo>
                  <a:pt x="2632423" y="4086287"/>
                </a:lnTo>
                <a:lnTo>
                  <a:pt x="2628404" y="4082248"/>
                </a:lnTo>
                <a:lnTo>
                  <a:pt x="2628404" y="4072377"/>
                </a:lnTo>
                <a:close/>
                <a:moveTo>
                  <a:pt x="2393104" y="4068339"/>
                </a:moveTo>
                <a:lnTo>
                  <a:pt x="2403015" y="4068339"/>
                </a:lnTo>
                <a:lnTo>
                  <a:pt x="2407034" y="4072377"/>
                </a:lnTo>
                <a:lnTo>
                  <a:pt x="2407034" y="4082248"/>
                </a:lnTo>
                <a:lnTo>
                  <a:pt x="2403015" y="4086287"/>
                </a:lnTo>
                <a:lnTo>
                  <a:pt x="2393104" y="4086287"/>
                </a:lnTo>
                <a:lnTo>
                  <a:pt x="2389087" y="4082248"/>
                </a:lnTo>
                <a:lnTo>
                  <a:pt x="2389087" y="4072377"/>
                </a:lnTo>
                <a:close/>
                <a:moveTo>
                  <a:pt x="2157819" y="4068339"/>
                </a:moveTo>
                <a:lnTo>
                  <a:pt x="2167729" y="4068339"/>
                </a:lnTo>
                <a:lnTo>
                  <a:pt x="2171749" y="4072377"/>
                </a:lnTo>
                <a:lnTo>
                  <a:pt x="2171749" y="4082248"/>
                </a:lnTo>
                <a:lnTo>
                  <a:pt x="2167729" y="4086287"/>
                </a:lnTo>
                <a:lnTo>
                  <a:pt x="2157819" y="4086287"/>
                </a:lnTo>
                <a:lnTo>
                  <a:pt x="2153801" y="4082248"/>
                </a:lnTo>
                <a:lnTo>
                  <a:pt x="2153801" y="4072377"/>
                </a:lnTo>
                <a:close/>
                <a:moveTo>
                  <a:pt x="1918511" y="4068339"/>
                </a:moveTo>
                <a:lnTo>
                  <a:pt x="1928421" y="4068339"/>
                </a:lnTo>
                <a:lnTo>
                  <a:pt x="1932440" y="4072377"/>
                </a:lnTo>
                <a:lnTo>
                  <a:pt x="1932440" y="4082248"/>
                </a:lnTo>
                <a:lnTo>
                  <a:pt x="1928421" y="4086287"/>
                </a:lnTo>
                <a:lnTo>
                  <a:pt x="1918511" y="4086287"/>
                </a:lnTo>
                <a:lnTo>
                  <a:pt x="1914492" y="4082248"/>
                </a:lnTo>
                <a:lnTo>
                  <a:pt x="1914492" y="4072377"/>
                </a:lnTo>
                <a:close/>
                <a:moveTo>
                  <a:pt x="1679207" y="4068339"/>
                </a:moveTo>
                <a:lnTo>
                  <a:pt x="1689117" y="4068339"/>
                </a:lnTo>
                <a:lnTo>
                  <a:pt x="1693137" y="4072377"/>
                </a:lnTo>
                <a:lnTo>
                  <a:pt x="1693137" y="4082248"/>
                </a:lnTo>
                <a:lnTo>
                  <a:pt x="1689117" y="4086287"/>
                </a:lnTo>
                <a:lnTo>
                  <a:pt x="1679207" y="4086287"/>
                </a:lnTo>
                <a:lnTo>
                  <a:pt x="1675189" y="4082248"/>
                </a:lnTo>
                <a:lnTo>
                  <a:pt x="1675189" y="4072377"/>
                </a:lnTo>
                <a:close/>
                <a:moveTo>
                  <a:pt x="1439891" y="4068339"/>
                </a:moveTo>
                <a:lnTo>
                  <a:pt x="1449802" y="4068339"/>
                </a:lnTo>
                <a:lnTo>
                  <a:pt x="1453820" y="4072377"/>
                </a:lnTo>
                <a:lnTo>
                  <a:pt x="1453820" y="4082248"/>
                </a:lnTo>
                <a:lnTo>
                  <a:pt x="1449802" y="4086287"/>
                </a:lnTo>
                <a:lnTo>
                  <a:pt x="1439891" y="4086287"/>
                </a:lnTo>
                <a:lnTo>
                  <a:pt x="1435873" y="4082248"/>
                </a:lnTo>
                <a:lnTo>
                  <a:pt x="1435873" y="4072377"/>
                </a:lnTo>
                <a:close/>
                <a:moveTo>
                  <a:pt x="1200576" y="4068339"/>
                </a:moveTo>
                <a:lnTo>
                  <a:pt x="1210486" y="4068339"/>
                </a:lnTo>
                <a:lnTo>
                  <a:pt x="1214505" y="4072377"/>
                </a:lnTo>
                <a:lnTo>
                  <a:pt x="1214505" y="4082248"/>
                </a:lnTo>
                <a:lnTo>
                  <a:pt x="1210486" y="4086287"/>
                </a:lnTo>
                <a:lnTo>
                  <a:pt x="1200576" y="4086287"/>
                </a:lnTo>
                <a:lnTo>
                  <a:pt x="1196558" y="4082248"/>
                </a:lnTo>
                <a:lnTo>
                  <a:pt x="1196558" y="4072377"/>
                </a:lnTo>
                <a:close/>
                <a:moveTo>
                  <a:pt x="961263" y="4068339"/>
                </a:moveTo>
                <a:lnTo>
                  <a:pt x="971174" y="4068339"/>
                </a:lnTo>
                <a:lnTo>
                  <a:pt x="975192" y="4072377"/>
                </a:lnTo>
                <a:lnTo>
                  <a:pt x="975192" y="4082248"/>
                </a:lnTo>
                <a:lnTo>
                  <a:pt x="971174" y="4086287"/>
                </a:lnTo>
                <a:lnTo>
                  <a:pt x="961263" y="4086287"/>
                </a:lnTo>
                <a:lnTo>
                  <a:pt x="957244" y="4082248"/>
                </a:lnTo>
                <a:lnTo>
                  <a:pt x="957244" y="4072377"/>
                </a:lnTo>
                <a:close/>
                <a:moveTo>
                  <a:pt x="721965" y="4068339"/>
                </a:moveTo>
                <a:lnTo>
                  <a:pt x="731876" y="4068339"/>
                </a:lnTo>
                <a:lnTo>
                  <a:pt x="735894" y="4072377"/>
                </a:lnTo>
                <a:lnTo>
                  <a:pt x="735894" y="4082248"/>
                </a:lnTo>
                <a:lnTo>
                  <a:pt x="731876" y="4086287"/>
                </a:lnTo>
                <a:lnTo>
                  <a:pt x="721965" y="4086287"/>
                </a:lnTo>
                <a:lnTo>
                  <a:pt x="717946" y="4082248"/>
                </a:lnTo>
                <a:lnTo>
                  <a:pt x="717946" y="4072377"/>
                </a:lnTo>
                <a:close/>
                <a:moveTo>
                  <a:pt x="482653" y="4068339"/>
                </a:moveTo>
                <a:lnTo>
                  <a:pt x="492563" y="4068339"/>
                </a:lnTo>
                <a:lnTo>
                  <a:pt x="496583" y="4072377"/>
                </a:lnTo>
                <a:lnTo>
                  <a:pt x="496583" y="4082248"/>
                </a:lnTo>
                <a:lnTo>
                  <a:pt x="492563" y="4086287"/>
                </a:lnTo>
                <a:lnTo>
                  <a:pt x="482653" y="4086287"/>
                </a:lnTo>
                <a:lnTo>
                  <a:pt x="478634" y="4082248"/>
                </a:lnTo>
                <a:lnTo>
                  <a:pt x="478634" y="4072377"/>
                </a:lnTo>
                <a:close/>
                <a:moveTo>
                  <a:pt x="243339" y="4068339"/>
                </a:moveTo>
                <a:lnTo>
                  <a:pt x="253250" y="4068339"/>
                </a:lnTo>
                <a:lnTo>
                  <a:pt x="257269" y="4072377"/>
                </a:lnTo>
                <a:lnTo>
                  <a:pt x="257269" y="4082248"/>
                </a:lnTo>
                <a:lnTo>
                  <a:pt x="253250" y="4086287"/>
                </a:lnTo>
                <a:lnTo>
                  <a:pt x="243339" y="4086287"/>
                </a:lnTo>
                <a:lnTo>
                  <a:pt x="239320" y="4082248"/>
                </a:lnTo>
                <a:lnTo>
                  <a:pt x="239320" y="4072377"/>
                </a:lnTo>
                <a:close/>
                <a:moveTo>
                  <a:pt x="4026" y="4068339"/>
                </a:moveTo>
                <a:lnTo>
                  <a:pt x="13936" y="4068339"/>
                </a:lnTo>
                <a:lnTo>
                  <a:pt x="17956" y="4072377"/>
                </a:lnTo>
                <a:lnTo>
                  <a:pt x="17956" y="4082248"/>
                </a:lnTo>
                <a:lnTo>
                  <a:pt x="13936" y="4086287"/>
                </a:lnTo>
                <a:lnTo>
                  <a:pt x="4026" y="4086287"/>
                </a:lnTo>
                <a:lnTo>
                  <a:pt x="7" y="4082248"/>
                </a:lnTo>
                <a:lnTo>
                  <a:pt x="7" y="4072377"/>
                </a:lnTo>
                <a:close/>
                <a:moveTo>
                  <a:pt x="2157820" y="3829058"/>
                </a:moveTo>
                <a:lnTo>
                  <a:pt x="2167731" y="3829058"/>
                </a:lnTo>
                <a:lnTo>
                  <a:pt x="2171749" y="3833097"/>
                </a:lnTo>
                <a:lnTo>
                  <a:pt x="2171749" y="3842968"/>
                </a:lnTo>
                <a:lnTo>
                  <a:pt x="2167731" y="3847007"/>
                </a:lnTo>
                <a:lnTo>
                  <a:pt x="2157820" y="3847007"/>
                </a:lnTo>
                <a:lnTo>
                  <a:pt x="2153801" y="3842968"/>
                </a:lnTo>
                <a:lnTo>
                  <a:pt x="2153801" y="3833097"/>
                </a:lnTo>
                <a:close/>
                <a:moveTo>
                  <a:pt x="1918511" y="3829058"/>
                </a:moveTo>
                <a:lnTo>
                  <a:pt x="1928421" y="3829058"/>
                </a:lnTo>
                <a:lnTo>
                  <a:pt x="1932440" y="3833097"/>
                </a:lnTo>
                <a:lnTo>
                  <a:pt x="1932440" y="3842968"/>
                </a:lnTo>
                <a:lnTo>
                  <a:pt x="1928421" y="3847007"/>
                </a:lnTo>
                <a:lnTo>
                  <a:pt x="1918511" y="3847007"/>
                </a:lnTo>
                <a:lnTo>
                  <a:pt x="1914493" y="3842968"/>
                </a:lnTo>
                <a:lnTo>
                  <a:pt x="1914493" y="3833097"/>
                </a:lnTo>
                <a:close/>
                <a:moveTo>
                  <a:pt x="1679209" y="3829058"/>
                </a:moveTo>
                <a:lnTo>
                  <a:pt x="1689118" y="3829058"/>
                </a:lnTo>
                <a:lnTo>
                  <a:pt x="1693137" y="3833097"/>
                </a:lnTo>
                <a:lnTo>
                  <a:pt x="1693137" y="3842968"/>
                </a:lnTo>
                <a:lnTo>
                  <a:pt x="1689118" y="3847007"/>
                </a:lnTo>
                <a:lnTo>
                  <a:pt x="1679209" y="3847007"/>
                </a:lnTo>
                <a:lnTo>
                  <a:pt x="1675189" y="3842968"/>
                </a:lnTo>
                <a:lnTo>
                  <a:pt x="1675189" y="3833097"/>
                </a:lnTo>
                <a:close/>
                <a:moveTo>
                  <a:pt x="1439892" y="3829058"/>
                </a:moveTo>
                <a:lnTo>
                  <a:pt x="1449802" y="3829058"/>
                </a:lnTo>
                <a:lnTo>
                  <a:pt x="1453820" y="3833097"/>
                </a:lnTo>
                <a:lnTo>
                  <a:pt x="1453820" y="3842968"/>
                </a:lnTo>
                <a:lnTo>
                  <a:pt x="1449802" y="3847007"/>
                </a:lnTo>
                <a:lnTo>
                  <a:pt x="1439892" y="3847007"/>
                </a:lnTo>
                <a:lnTo>
                  <a:pt x="1435874" y="3842968"/>
                </a:lnTo>
                <a:lnTo>
                  <a:pt x="1435874" y="3833097"/>
                </a:lnTo>
                <a:close/>
                <a:moveTo>
                  <a:pt x="1200577" y="3829058"/>
                </a:moveTo>
                <a:lnTo>
                  <a:pt x="1210487" y="3829058"/>
                </a:lnTo>
                <a:lnTo>
                  <a:pt x="1214506" y="3833097"/>
                </a:lnTo>
                <a:lnTo>
                  <a:pt x="1214506" y="3842968"/>
                </a:lnTo>
                <a:lnTo>
                  <a:pt x="1210487" y="3847007"/>
                </a:lnTo>
                <a:lnTo>
                  <a:pt x="1200577" y="3847007"/>
                </a:lnTo>
                <a:lnTo>
                  <a:pt x="1196558" y="3842968"/>
                </a:lnTo>
                <a:lnTo>
                  <a:pt x="1196558" y="3833097"/>
                </a:lnTo>
                <a:close/>
                <a:moveTo>
                  <a:pt x="961264" y="3829058"/>
                </a:moveTo>
                <a:lnTo>
                  <a:pt x="971174" y="3829058"/>
                </a:lnTo>
                <a:lnTo>
                  <a:pt x="975193" y="3833097"/>
                </a:lnTo>
                <a:lnTo>
                  <a:pt x="975193" y="3842968"/>
                </a:lnTo>
                <a:lnTo>
                  <a:pt x="971174" y="3847007"/>
                </a:lnTo>
                <a:lnTo>
                  <a:pt x="961264" y="3847007"/>
                </a:lnTo>
                <a:lnTo>
                  <a:pt x="957245" y="3842968"/>
                </a:lnTo>
                <a:lnTo>
                  <a:pt x="957245" y="3833097"/>
                </a:lnTo>
                <a:close/>
                <a:moveTo>
                  <a:pt x="9572438" y="3829008"/>
                </a:moveTo>
                <a:lnTo>
                  <a:pt x="9582349" y="3829008"/>
                </a:lnTo>
                <a:lnTo>
                  <a:pt x="9586368" y="3833046"/>
                </a:lnTo>
                <a:lnTo>
                  <a:pt x="9586368" y="3842917"/>
                </a:lnTo>
                <a:lnTo>
                  <a:pt x="9582349" y="3846956"/>
                </a:lnTo>
                <a:lnTo>
                  <a:pt x="9572438" y="3846956"/>
                </a:lnTo>
                <a:lnTo>
                  <a:pt x="9568419" y="3842917"/>
                </a:lnTo>
                <a:lnTo>
                  <a:pt x="9568419" y="3833046"/>
                </a:lnTo>
                <a:close/>
                <a:moveTo>
                  <a:pt x="9333125" y="3829008"/>
                </a:moveTo>
                <a:lnTo>
                  <a:pt x="9343036" y="3829008"/>
                </a:lnTo>
                <a:lnTo>
                  <a:pt x="9347055" y="3833046"/>
                </a:lnTo>
                <a:lnTo>
                  <a:pt x="9347055" y="3842917"/>
                </a:lnTo>
                <a:lnTo>
                  <a:pt x="9343036" y="3846956"/>
                </a:lnTo>
                <a:lnTo>
                  <a:pt x="9333125" y="3846956"/>
                </a:lnTo>
                <a:lnTo>
                  <a:pt x="9329106" y="3842917"/>
                </a:lnTo>
                <a:lnTo>
                  <a:pt x="9329106" y="3833046"/>
                </a:lnTo>
                <a:close/>
                <a:moveTo>
                  <a:pt x="9093811" y="3829008"/>
                </a:moveTo>
                <a:lnTo>
                  <a:pt x="9103722" y="3829008"/>
                </a:lnTo>
                <a:lnTo>
                  <a:pt x="9107741" y="3833046"/>
                </a:lnTo>
                <a:lnTo>
                  <a:pt x="9107741" y="3842917"/>
                </a:lnTo>
                <a:lnTo>
                  <a:pt x="9103722" y="3846956"/>
                </a:lnTo>
                <a:lnTo>
                  <a:pt x="9093811" y="3846956"/>
                </a:lnTo>
                <a:lnTo>
                  <a:pt x="9089792" y="3842917"/>
                </a:lnTo>
                <a:lnTo>
                  <a:pt x="9089792" y="3833046"/>
                </a:lnTo>
                <a:close/>
                <a:moveTo>
                  <a:pt x="8854496" y="3829008"/>
                </a:moveTo>
                <a:lnTo>
                  <a:pt x="8864407" y="3829008"/>
                </a:lnTo>
                <a:lnTo>
                  <a:pt x="8868426" y="3833046"/>
                </a:lnTo>
                <a:lnTo>
                  <a:pt x="8868426" y="3842917"/>
                </a:lnTo>
                <a:lnTo>
                  <a:pt x="8864407" y="3846956"/>
                </a:lnTo>
                <a:lnTo>
                  <a:pt x="8854496" y="3846956"/>
                </a:lnTo>
                <a:lnTo>
                  <a:pt x="8850477" y="3842917"/>
                </a:lnTo>
                <a:lnTo>
                  <a:pt x="8850477" y="3833046"/>
                </a:lnTo>
                <a:close/>
                <a:moveTo>
                  <a:pt x="8615184" y="3829008"/>
                </a:moveTo>
                <a:lnTo>
                  <a:pt x="8625095" y="3829008"/>
                </a:lnTo>
                <a:lnTo>
                  <a:pt x="8629114" y="3833046"/>
                </a:lnTo>
                <a:lnTo>
                  <a:pt x="8629114" y="3842917"/>
                </a:lnTo>
                <a:lnTo>
                  <a:pt x="8625095" y="3846956"/>
                </a:lnTo>
                <a:lnTo>
                  <a:pt x="8615184" y="3846956"/>
                </a:lnTo>
                <a:lnTo>
                  <a:pt x="8611165" y="3842917"/>
                </a:lnTo>
                <a:lnTo>
                  <a:pt x="8611165" y="3833046"/>
                </a:lnTo>
                <a:close/>
                <a:moveTo>
                  <a:pt x="8375869" y="3829008"/>
                </a:moveTo>
                <a:lnTo>
                  <a:pt x="8385779" y="3829008"/>
                </a:lnTo>
                <a:lnTo>
                  <a:pt x="8389799" y="3833046"/>
                </a:lnTo>
                <a:lnTo>
                  <a:pt x="8389799" y="3842917"/>
                </a:lnTo>
                <a:lnTo>
                  <a:pt x="8385779" y="3846956"/>
                </a:lnTo>
                <a:lnTo>
                  <a:pt x="8375869" y="3846956"/>
                </a:lnTo>
                <a:lnTo>
                  <a:pt x="8371850" y="3842917"/>
                </a:lnTo>
                <a:lnTo>
                  <a:pt x="8371850" y="3833046"/>
                </a:lnTo>
                <a:close/>
                <a:moveTo>
                  <a:pt x="8136553" y="3829008"/>
                </a:moveTo>
                <a:lnTo>
                  <a:pt x="8146464" y="3829008"/>
                </a:lnTo>
                <a:lnTo>
                  <a:pt x="8150483" y="3833046"/>
                </a:lnTo>
                <a:lnTo>
                  <a:pt x="8150483" y="3842917"/>
                </a:lnTo>
                <a:lnTo>
                  <a:pt x="8146464" y="3846956"/>
                </a:lnTo>
                <a:lnTo>
                  <a:pt x="8136553" y="3846956"/>
                </a:lnTo>
                <a:lnTo>
                  <a:pt x="8132534" y="3842917"/>
                </a:lnTo>
                <a:lnTo>
                  <a:pt x="8132534" y="3833046"/>
                </a:lnTo>
                <a:close/>
                <a:moveTo>
                  <a:pt x="7897241" y="3829008"/>
                </a:moveTo>
                <a:lnTo>
                  <a:pt x="7907151" y="3829008"/>
                </a:lnTo>
                <a:lnTo>
                  <a:pt x="7911170" y="3833046"/>
                </a:lnTo>
                <a:lnTo>
                  <a:pt x="7911170" y="3842917"/>
                </a:lnTo>
                <a:lnTo>
                  <a:pt x="7907151" y="3846956"/>
                </a:lnTo>
                <a:lnTo>
                  <a:pt x="7897241" y="3846956"/>
                </a:lnTo>
                <a:lnTo>
                  <a:pt x="7893222" y="3842917"/>
                </a:lnTo>
                <a:lnTo>
                  <a:pt x="7893222" y="3833046"/>
                </a:lnTo>
                <a:close/>
                <a:moveTo>
                  <a:pt x="7657926" y="3829008"/>
                </a:moveTo>
                <a:lnTo>
                  <a:pt x="7667836" y="3829008"/>
                </a:lnTo>
                <a:lnTo>
                  <a:pt x="7671855" y="3833046"/>
                </a:lnTo>
                <a:lnTo>
                  <a:pt x="7671855" y="3842917"/>
                </a:lnTo>
                <a:lnTo>
                  <a:pt x="7667836" y="3846956"/>
                </a:lnTo>
                <a:lnTo>
                  <a:pt x="7657926" y="3846956"/>
                </a:lnTo>
                <a:lnTo>
                  <a:pt x="7653906" y="3842917"/>
                </a:lnTo>
                <a:lnTo>
                  <a:pt x="7653906" y="3833046"/>
                </a:lnTo>
                <a:close/>
                <a:moveTo>
                  <a:pt x="7418611" y="3829008"/>
                </a:moveTo>
                <a:lnTo>
                  <a:pt x="7428521" y="3829008"/>
                </a:lnTo>
                <a:lnTo>
                  <a:pt x="7432540" y="3833046"/>
                </a:lnTo>
                <a:lnTo>
                  <a:pt x="7432540" y="3842917"/>
                </a:lnTo>
                <a:lnTo>
                  <a:pt x="7428521" y="3846956"/>
                </a:lnTo>
                <a:lnTo>
                  <a:pt x="7418611" y="3846956"/>
                </a:lnTo>
                <a:lnTo>
                  <a:pt x="7414592" y="3842917"/>
                </a:lnTo>
                <a:lnTo>
                  <a:pt x="7414592" y="3833046"/>
                </a:lnTo>
                <a:close/>
                <a:moveTo>
                  <a:pt x="7179298" y="3829008"/>
                </a:moveTo>
                <a:lnTo>
                  <a:pt x="7189209" y="3829008"/>
                </a:lnTo>
                <a:lnTo>
                  <a:pt x="7193228" y="3833046"/>
                </a:lnTo>
                <a:lnTo>
                  <a:pt x="7193228" y="3842917"/>
                </a:lnTo>
                <a:lnTo>
                  <a:pt x="7189209" y="3846956"/>
                </a:lnTo>
                <a:lnTo>
                  <a:pt x="7179298" y="3846956"/>
                </a:lnTo>
                <a:lnTo>
                  <a:pt x="7175279" y="3842917"/>
                </a:lnTo>
                <a:lnTo>
                  <a:pt x="7175279" y="3833046"/>
                </a:lnTo>
                <a:close/>
                <a:moveTo>
                  <a:pt x="6939983" y="3829008"/>
                </a:moveTo>
                <a:lnTo>
                  <a:pt x="6949894" y="3829008"/>
                </a:lnTo>
                <a:lnTo>
                  <a:pt x="6953913" y="3833046"/>
                </a:lnTo>
                <a:lnTo>
                  <a:pt x="6953913" y="3842917"/>
                </a:lnTo>
                <a:lnTo>
                  <a:pt x="6949894" y="3846956"/>
                </a:lnTo>
                <a:lnTo>
                  <a:pt x="6939983" y="3846956"/>
                </a:lnTo>
                <a:lnTo>
                  <a:pt x="6935964" y="3842917"/>
                </a:lnTo>
                <a:lnTo>
                  <a:pt x="6935964" y="3833046"/>
                </a:lnTo>
                <a:close/>
                <a:moveTo>
                  <a:pt x="6700670" y="3829008"/>
                </a:moveTo>
                <a:lnTo>
                  <a:pt x="6710581" y="3829008"/>
                </a:lnTo>
                <a:lnTo>
                  <a:pt x="6714600" y="3833046"/>
                </a:lnTo>
                <a:lnTo>
                  <a:pt x="6714600" y="3842917"/>
                </a:lnTo>
                <a:lnTo>
                  <a:pt x="6710581" y="3846956"/>
                </a:lnTo>
                <a:lnTo>
                  <a:pt x="6700670" y="3846956"/>
                </a:lnTo>
                <a:lnTo>
                  <a:pt x="6696651" y="3842917"/>
                </a:lnTo>
                <a:lnTo>
                  <a:pt x="6696651" y="3833046"/>
                </a:lnTo>
                <a:close/>
                <a:moveTo>
                  <a:pt x="6461356" y="3829008"/>
                </a:moveTo>
                <a:lnTo>
                  <a:pt x="6471266" y="3829008"/>
                </a:lnTo>
                <a:lnTo>
                  <a:pt x="6475285" y="3833046"/>
                </a:lnTo>
                <a:lnTo>
                  <a:pt x="6475285" y="3842917"/>
                </a:lnTo>
                <a:lnTo>
                  <a:pt x="6471266" y="3846956"/>
                </a:lnTo>
                <a:lnTo>
                  <a:pt x="6461356" y="3846956"/>
                </a:lnTo>
                <a:lnTo>
                  <a:pt x="6457337" y="3842917"/>
                </a:lnTo>
                <a:lnTo>
                  <a:pt x="6457337" y="3833046"/>
                </a:lnTo>
                <a:close/>
                <a:moveTo>
                  <a:pt x="6222042" y="3829008"/>
                </a:moveTo>
                <a:lnTo>
                  <a:pt x="6231952" y="3829008"/>
                </a:lnTo>
                <a:lnTo>
                  <a:pt x="6235971" y="3833046"/>
                </a:lnTo>
                <a:lnTo>
                  <a:pt x="6235971" y="3842917"/>
                </a:lnTo>
                <a:lnTo>
                  <a:pt x="6231952" y="3846956"/>
                </a:lnTo>
                <a:lnTo>
                  <a:pt x="6222042" y="3846956"/>
                </a:lnTo>
                <a:lnTo>
                  <a:pt x="6218023" y="3842917"/>
                </a:lnTo>
                <a:lnTo>
                  <a:pt x="6218023" y="3833046"/>
                </a:lnTo>
                <a:close/>
                <a:moveTo>
                  <a:pt x="5982729" y="3829008"/>
                </a:moveTo>
                <a:lnTo>
                  <a:pt x="5992639" y="3829008"/>
                </a:lnTo>
                <a:lnTo>
                  <a:pt x="5996658" y="3833046"/>
                </a:lnTo>
                <a:lnTo>
                  <a:pt x="5996658" y="3842917"/>
                </a:lnTo>
                <a:lnTo>
                  <a:pt x="5992639" y="3846956"/>
                </a:lnTo>
                <a:lnTo>
                  <a:pt x="5982729" y="3846956"/>
                </a:lnTo>
                <a:lnTo>
                  <a:pt x="5978710" y="3842917"/>
                </a:lnTo>
                <a:lnTo>
                  <a:pt x="5978710" y="3833046"/>
                </a:lnTo>
                <a:close/>
                <a:moveTo>
                  <a:pt x="5743412" y="3829008"/>
                </a:moveTo>
                <a:lnTo>
                  <a:pt x="5753323" y="3829008"/>
                </a:lnTo>
                <a:lnTo>
                  <a:pt x="5757342" y="3833046"/>
                </a:lnTo>
                <a:lnTo>
                  <a:pt x="5757342" y="3842917"/>
                </a:lnTo>
                <a:lnTo>
                  <a:pt x="5753323" y="3846956"/>
                </a:lnTo>
                <a:lnTo>
                  <a:pt x="5743412" y="3846956"/>
                </a:lnTo>
                <a:lnTo>
                  <a:pt x="5739393" y="3842917"/>
                </a:lnTo>
                <a:lnTo>
                  <a:pt x="5739393" y="3833046"/>
                </a:lnTo>
                <a:close/>
                <a:moveTo>
                  <a:pt x="5504099" y="3829008"/>
                </a:moveTo>
                <a:lnTo>
                  <a:pt x="5514010" y="3829008"/>
                </a:lnTo>
                <a:lnTo>
                  <a:pt x="5518029" y="3833046"/>
                </a:lnTo>
                <a:lnTo>
                  <a:pt x="5518029" y="3842917"/>
                </a:lnTo>
                <a:lnTo>
                  <a:pt x="5514010" y="3846956"/>
                </a:lnTo>
                <a:lnTo>
                  <a:pt x="5504099" y="3846956"/>
                </a:lnTo>
                <a:lnTo>
                  <a:pt x="5500080" y="3842917"/>
                </a:lnTo>
                <a:lnTo>
                  <a:pt x="5500080" y="3833046"/>
                </a:lnTo>
                <a:close/>
                <a:moveTo>
                  <a:pt x="5264784" y="3829008"/>
                </a:moveTo>
                <a:lnTo>
                  <a:pt x="5274694" y="3829008"/>
                </a:lnTo>
                <a:lnTo>
                  <a:pt x="5278713" y="3833046"/>
                </a:lnTo>
                <a:lnTo>
                  <a:pt x="5278713" y="3842917"/>
                </a:lnTo>
                <a:lnTo>
                  <a:pt x="5274694" y="3846956"/>
                </a:lnTo>
                <a:lnTo>
                  <a:pt x="5264784" y="3846956"/>
                </a:lnTo>
                <a:lnTo>
                  <a:pt x="5260765" y="3842917"/>
                </a:lnTo>
                <a:lnTo>
                  <a:pt x="5260765" y="3833046"/>
                </a:lnTo>
                <a:close/>
                <a:moveTo>
                  <a:pt x="5025470" y="3829008"/>
                </a:moveTo>
                <a:lnTo>
                  <a:pt x="5035381" y="3829008"/>
                </a:lnTo>
                <a:lnTo>
                  <a:pt x="5039400" y="3833046"/>
                </a:lnTo>
                <a:lnTo>
                  <a:pt x="5039400" y="3842917"/>
                </a:lnTo>
                <a:lnTo>
                  <a:pt x="5035381" y="3846956"/>
                </a:lnTo>
                <a:lnTo>
                  <a:pt x="5025470" y="3846956"/>
                </a:lnTo>
                <a:lnTo>
                  <a:pt x="5021451" y="3842917"/>
                </a:lnTo>
                <a:lnTo>
                  <a:pt x="5021451" y="3833046"/>
                </a:lnTo>
                <a:close/>
                <a:moveTo>
                  <a:pt x="4786241" y="3829008"/>
                </a:moveTo>
                <a:lnTo>
                  <a:pt x="4796152" y="3829008"/>
                </a:lnTo>
                <a:lnTo>
                  <a:pt x="4800171" y="3833046"/>
                </a:lnTo>
                <a:lnTo>
                  <a:pt x="4800171" y="3842917"/>
                </a:lnTo>
                <a:lnTo>
                  <a:pt x="4796152" y="3846956"/>
                </a:lnTo>
                <a:lnTo>
                  <a:pt x="4786241" y="3846956"/>
                </a:lnTo>
                <a:lnTo>
                  <a:pt x="4782224" y="3842917"/>
                </a:lnTo>
                <a:lnTo>
                  <a:pt x="4782224" y="3833046"/>
                </a:lnTo>
                <a:close/>
                <a:moveTo>
                  <a:pt x="4546929" y="3829008"/>
                </a:moveTo>
                <a:lnTo>
                  <a:pt x="4556840" y="3829008"/>
                </a:lnTo>
                <a:lnTo>
                  <a:pt x="4560859" y="3833046"/>
                </a:lnTo>
                <a:lnTo>
                  <a:pt x="4560859" y="3842917"/>
                </a:lnTo>
                <a:lnTo>
                  <a:pt x="4556840" y="3846956"/>
                </a:lnTo>
                <a:lnTo>
                  <a:pt x="4546929" y="3846956"/>
                </a:lnTo>
                <a:lnTo>
                  <a:pt x="4542910" y="3842917"/>
                </a:lnTo>
                <a:lnTo>
                  <a:pt x="4542910" y="3833046"/>
                </a:lnTo>
                <a:close/>
                <a:moveTo>
                  <a:pt x="4307612" y="3829008"/>
                </a:moveTo>
                <a:lnTo>
                  <a:pt x="4317523" y="3829008"/>
                </a:lnTo>
                <a:lnTo>
                  <a:pt x="4321543" y="3833046"/>
                </a:lnTo>
                <a:lnTo>
                  <a:pt x="4321543" y="3842917"/>
                </a:lnTo>
                <a:lnTo>
                  <a:pt x="4317523" y="3846956"/>
                </a:lnTo>
                <a:lnTo>
                  <a:pt x="4307612" y="3846956"/>
                </a:lnTo>
                <a:lnTo>
                  <a:pt x="4303595" y="3842917"/>
                </a:lnTo>
                <a:lnTo>
                  <a:pt x="4303595" y="3833046"/>
                </a:lnTo>
                <a:close/>
                <a:moveTo>
                  <a:pt x="4068297" y="3829008"/>
                </a:moveTo>
                <a:lnTo>
                  <a:pt x="4078210" y="3829008"/>
                </a:lnTo>
                <a:lnTo>
                  <a:pt x="4082229" y="3833046"/>
                </a:lnTo>
                <a:lnTo>
                  <a:pt x="4082229" y="3842917"/>
                </a:lnTo>
                <a:lnTo>
                  <a:pt x="4078210" y="3846956"/>
                </a:lnTo>
                <a:lnTo>
                  <a:pt x="4068297" y="3846956"/>
                </a:lnTo>
                <a:lnTo>
                  <a:pt x="4064278" y="3842917"/>
                </a:lnTo>
                <a:lnTo>
                  <a:pt x="4064278" y="3833046"/>
                </a:lnTo>
                <a:close/>
                <a:moveTo>
                  <a:pt x="3828990" y="3829008"/>
                </a:moveTo>
                <a:lnTo>
                  <a:pt x="3838899" y="3829008"/>
                </a:lnTo>
                <a:lnTo>
                  <a:pt x="3842917" y="3833046"/>
                </a:lnTo>
                <a:lnTo>
                  <a:pt x="3842917" y="3842917"/>
                </a:lnTo>
                <a:lnTo>
                  <a:pt x="3838899" y="3846956"/>
                </a:lnTo>
                <a:lnTo>
                  <a:pt x="3828990" y="3846956"/>
                </a:lnTo>
                <a:lnTo>
                  <a:pt x="3824971" y="3842917"/>
                </a:lnTo>
                <a:lnTo>
                  <a:pt x="3824971" y="3833046"/>
                </a:lnTo>
                <a:close/>
                <a:moveTo>
                  <a:pt x="3589676" y="3829008"/>
                </a:moveTo>
                <a:lnTo>
                  <a:pt x="3599585" y="3829008"/>
                </a:lnTo>
                <a:lnTo>
                  <a:pt x="3603604" y="3833046"/>
                </a:lnTo>
                <a:lnTo>
                  <a:pt x="3603604" y="3842917"/>
                </a:lnTo>
                <a:lnTo>
                  <a:pt x="3599585" y="3846956"/>
                </a:lnTo>
                <a:lnTo>
                  <a:pt x="3589676" y="3846956"/>
                </a:lnTo>
                <a:lnTo>
                  <a:pt x="3585657" y="3842917"/>
                </a:lnTo>
                <a:lnTo>
                  <a:pt x="3585657" y="3833046"/>
                </a:lnTo>
                <a:close/>
                <a:moveTo>
                  <a:pt x="3350359" y="3829008"/>
                </a:moveTo>
                <a:lnTo>
                  <a:pt x="3360268" y="3829008"/>
                </a:lnTo>
                <a:lnTo>
                  <a:pt x="3364287" y="3833046"/>
                </a:lnTo>
                <a:lnTo>
                  <a:pt x="3364287" y="3842917"/>
                </a:lnTo>
                <a:lnTo>
                  <a:pt x="3360268" y="3846956"/>
                </a:lnTo>
                <a:lnTo>
                  <a:pt x="3350359" y="3846956"/>
                </a:lnTo>
                <a:lnTo>
                  <a:pt x="3346340" y="3842917"/>
                </a:lnTo>
                <a:lnTo>
                  <a:pt x="3346340" y="3833046"/>
                </a:lnTo>
                <a:close/>
                <a:moveTo>
                  <a:pt x="3111048" y="3829008"/>
                </a:moveTo>
                <a:lnTo>
                  <a:pt x="3120959" y="3829008"/>
                </a:lnTo>
                <a:lnTo>
                  <a:pt x="3124977" y="3833046"/>
                </a:lnTo>
                <a:lnTo>
                  <a:pt x="3124977" y="3842917"/>
                </a:lnTo>
                <a:lnTo>
                  <a:pt x="3120959" y="3846956"/>
                </a:lnTo>
                <a:lnTo>
                  <a:pt x="3111048" y="3846956"/>
                </a:lnTo>
                <a:lnTo>
                  <a:pt x="3107029" y="3842917"/>
                </a:lnTo>
                <a:lnTo>
                  <a:pt x="3107029" y="3833046"/>
                </a:lnTo>
                <a:close/>
                <a:moveTo>
                  <a:pt x="2871737" y="3829008"/>
                </a:moveTo>
                <a:lnTo>
                  <a:pt x="2881646" y="3829008"/>
                </a:lnTo>
                <a:lnTo>
                  <a:pt x="2885666" y="3833046"/>
                </a:lnTo>
                <a:lnTo>
                  <a:pt x="2885666" y="3842917"/>
                </a:lnTo>
                <a:lnTo>
                  <a:pt x="2881646" y="3846956"/>
                </a:lnTo>
                <a:lnTo>
                  <a:pt x="2871737" y="3846956"/>
                </a:lnTo>
                <a:lnTo>
                  <a:pt x="2867717" y="3842917"/>
                </a:lnTo>
                <a:lnTo>
                  <a:pt x="2867717" y="3833046"/>
                </a:lnTo>
                <a:close/>
                <a:moveTo>
                  <a:pt x="2632423" y="3829008"/>
                </a:moveTo>
                <a:lnTo>
                  <a:pt x="2642334" y="3829008"/>
                </a:lnTo>
                <a:lnTo>
                  <a:pt x="2646352" y="3833046"/>
                </a:lnTo>
                <a:lnTo>
                  <a:pt x="2646352" y="3842917"/>
                </a:lnTo>
                <a:lnTo>
                  <a:pt x="2642334" y="3846956"/>
                </a:lnTo>
                <a:lnTo>
                  <a:pt x="2632423" y="3846956"/>
                </a:lnTo>
                <a:lnTo>
                  <a:pt x="2628404" y="3842917"/>
                </a:lnTo>
                <a:lnTo>
                  <a:pt x="2628404" y="3833046"/>
                </a:lnTo>
                <a:close/>
                <a:moveTo>
                  <a:pt x="2393104" y="3829008"/>
                </a:moveTo>
                <a:lnTo>
                  <a:pt x="2403015" y="3829008"/>
                </a:lnTo>
                <a:lnTo>
                  <a:pt x="2407034" y="3833046"/>
                </a:lnTo>
                <a:lnTo>
                  <a:pt x="2407034" y="3842917"/>
                </a:lnTo>
                <a:lnTo>
                  <a:pt x="2403015" y="3846956"/>
                </a:lnTo>
                <a:lnTo>
                  <a:pt x="2393104" y="3846956"/>
                </a:lnTo>
                <a:lnTo>
                  <a:pt x="2389087" y="3842917"/>
                </a:lnTo>
                <a:lnTo>
                  <a:pt x="2389087" y="3833046"/>
                </a:lnTo>
                <a:close/>
                <a:moveTo>
                  <a:pt x="721966" y="3829008"/>
                </a:moveTo>
                <a:lnTo>
                  <a:pt x="731876" y="3829008"/>
                </a:lnTo>
                <a:lnTo>
                  <a:pt x="735895" y="3833046"/>
                </a:lnTo>
                <a:lnTo>
                  <a:pt x="735895" y="3842917"/>
                </a:lnTo>
                <a:lnTo>
                  <a:pt x="731876" y="3846956"/>
                </a:lnTo>
                <a:lnTo>
                  <a:pt x="721966" y="3846956"/>
                </a:lnTo>
                <a:lnTo>
                  <a:pt x="717947" y="3842917"/>
                </a:lnTo>
                <a:lnTo>
                  <a:pt x="717947" y="3833046"/>
                </a:lnTo>
                <a:close/>
                <a:moveTo>
                  <a:pt x="482654" y="3829008"/>
                </a:moveTo>
                <a:lnTo>
                  <a:pt x="492564" y="3829008"/>
                </a:lnTo>
                <a:lnTo>
                  <a:pt x="496583" y="3833046"/>
                </a:lnTo>
                <a:lnTo>
                  <a:pt x="496583" y="3842917"/>
                </a:lnTo>
                <a:lnTo>
                  <a:pt x="492564" y="3846956"/>
                </a:lnTo>
                <a:lnTo>
                  <a:pt x="482654" y="3846956"/>
                </a:lnTo>
                <a:lnTo>
                  <a:pt x="478635" y="3842917"/>
                </a:lnTo>
                <a:lnTo>
                  <a:pt x="478635" y="3833046"/>
                </a:lnTo>
                <a:close/>
                <a:moveTo>
                  <a:pt x="243340" y="3829008"/>
                </a:moveTo>
                <a:lnTo>
                  <a:pt x="253250" y="3829008"/>
                </a:lnTo>
                <a:lnTo>
                  <a:pt x="257269" y="3833046"/>
                </a:lnTo>
                <a:lnTo>
                  <a:pt x="257269" y="3842917"/>
                </a:lnTo>
                <a:lnTo>
                  <a:pt x="253250" y="3846956"/>
                </a:lnTo>
                <a:lnTo>
                  <a:pt x="243340" y="3846956"/>
                </a:lnTo>
                <a:lnTo>
                  <a:pt x="239321" y="3842917"/>
                </a:lnTo>
                <a:lnTo>
                  <a:pt x="239321" y="3833046"/>
                </a:lnTo>
                <a:close/>
                <a:moveTo>
                  <a:pt x="4027" y="3829008"/>
                </a:moveTo>
                <a:lnTo>
                  <a:pt x="13937" y="3829008"/>
                </a:lnTo>
                <a:lnTo>
                  <a:pt x="17956" y="3833046"/>
                </a:lnTo>
                <a:lnTo>
                  <a:pt x="17956" y="3842917"/>
                </a:lnTo>
                <a:lnTo>
                  <a:pt x="13937" y="3846956"/>
                </a:lnTo>
                <a:lnTo>
                  <a:pt x="4027" y="3846956"/>
                </a:lnTo>
                <a:lnTo>
                  <a:pt x="8" y="3842917"/>
                </a:lnTo>
                <a:lnTo>
                  <a:pt x="8" y="3833046"/>
                </a:lnTo>
                <a:close/>
                <a:moveTo>
                  <a:pt x="2157820" y="3589728"/>
                </a:moveTo>
                <a:lnTo>
                  <a:pt x="2167731" y="3589728"/>
                </a:lnTo>
                <a:lnTo>
                  <a:pt x="2171749" y="3593767"/>
                </a:lnTo>
                <a:lnTo>
                  <a:pt x="2171749" y="3603637"/>
                </a:lnTo>
                <a:lnTo>
                  <a:pt x="2167731" y="3607676"/>
                </a:lnTo>
                <a:lnTo>
                  <a:pt x="2157820" y="3607676"/>
                </a:lnTo>
                <a:lnTo>
                  <a:pt x="2153801" y="3603637"/>
                </a:lnTo>
                <a:lnTo>
                  <a:pt x="2153801" y="3593767"/>
                </a:lnTo>
                <a:close/>
                <a:moveTo>
                  <a:pt x="1918511" y="3589728"/>
                </a:moveTo>
                <a:lnTo>
                  <a:pt x="1928421" y="3589728"/>
                </a:lnTo>
                <a:lnTo>
                  <a:pt x="1932441" y="3593767"/>
                </a:lnTo>
                <a:lnTo>
                  <a:pt x="1932441" y="3603637"/>
                </a:lnTo>
                <a:lnTo>
                  <a:pt x="1928421" y="3607676"/>
                </a:lnTo>
                <a:lnTo>
                  <a:pt x="1918511" y="3607676"/>
                </a:lnTo>
                <a:lnTo>
                  <a:pt x="1914493" y="3603637"/>
                </a:lnTo>
                <a:lnTo>
                  <a:pt x="1914493" y="3593767"/>
                </a:lnTo>
                <a:close/>
                <a:moveTo>
                  <a:pt x="1679209" y="3589728"/>
                </a:moveTo>
                <a:lnTo>
                  <a:pt x="1689118" y="3589728"/>
                </a:lnTo>
                <a:lnTo>
                  <a:pt x="1693138" y="3593767"/>
                </a:lnTo>
                <a:lnTo>
                  <a:pt x="1693138" y="3603637"/>
                </a:lnTo>
                <a:lnTo>
                  <a:pt x="1689118" y="3607676"/>
                </a:lnTo>
                <a:lnTo>
                  <a:pt x="1679209" y="3607676"/>
                </a:lnTo>
                <a:lnTo>
                  <a:pt x="1675190" y="3603637"/>
                </a:lnTo>
                <a:lnTo>
                  <a:pt x="1675190" y="3593767"/>
                </a:lnTo>
                <a:close/>
                <a:moveTo>
                  <a:pt x="1439892" y="3589728"/>
                </a:moveTo>
                <a:lnTo>
                  <a:pt x="1449803" y="3589728"/>
                </a:lnTo>
                <a:lnTo>
                  <a:pt x="1453822" y="3593767"/>
                </a:lnTo>
                <a:lnTo>
                  <a:pt x="1453822" y="3603637"/>
                </a:lnTo>
                <a:lnTo>
                  <a:pt x="1449803" y="3607676"/>
                </a:lnTo>
                <a:lnTo>
                  <a:pt x="1439892" y="3607676"/>
                </a:lnTo>
                <a:lnTo>
                  <a:pt x="1435874" y="3603637"/>
                </a:lnTo>
                <a:lnTo>
                  <a:pt x="1435874" y="3593767"/>
                </a:lnTo>
                <a:close/>
                <a:moveTo>
                  <a:pt x="1200577" y="3589728"/>
                </a:moveTo>
                <a:lnTo>
                  <a:pt x="1210488" y="3589728"/>
                </a:lnTo>
                <a:lnTo>
                  <a:pt x="1214506" y="3593767"/>
                </a:lnTo>
                <a:lnTo>
                  <a:pt x="1214506" y="3603637"/>
                </a:lnTo>
                <a:lnTo>
                  <a:pt x="1210488" y="3607676"/>
                </a:lnTo>
                <a:lnTo>
                  <a:pt x="1200577" y="3607676"/>
                </a:lnTo>
                <a:lnTo>
                  <a:pt x="1196559" y="3603637"/>
                </a:lnTo>
                <a:lnTo>
                  <a:pt x="1196559" y="3593767"/>
                </a:lnTo>
                <a:close/>
                <a:moveTo>
                  <a:pt x="961265" y="3589728"/>
                </a:moveTo>
                <a:lnTo>
                  <a:pt x="971175" y="3589728"/>
                </a:lnTo>
                <a:lnTo>
                  <a:pt x="975193" y="3593767"/>
                </a:lnTo>
                <a:lnTo>
                  <a:pt x="975193" y="3603637"/>
                </a:lnTo>
                <a:lnTo>
                  <a:pt x="971175" y="3607676"/>
                </a:lnTo>
                <a:lnTo>
                  <a:pt x="961265" y="3607676"/>
                </a:lnTo>
                <a:lnTo>
                  <a:pt x="957246" y="3603637"/>
                </a:lnTo>
                <a:lnTo>
                  <a:pt x="957246" y="3593767"/>
                </a:lnTo>
                <a:close/>
                <a:moveTo>
                  <a:pt x="9572438" y="3589677"/>
                </a:moveTo>
                <a:lnTo>
                  <a:pt x="9582349" y="3589677"/>
                </a:lnTo>
                <a:lnTo>
                  <a:pt x="9586368" y="3593716"/>
                </a:lnTo>
                <a:lnTo>
                  <a:pt x="9586368" y="3603586"/>
                </a:lnTo>
                <a:lnTo>
                  <a:pt x="9582349" y="3607625"/>
                </a:lnTo>
                <a:lnTo>
                  <a:pt x="9572438" y="3607625"/>
                </a:lnTo>
                <a:lnTo>
                  <a:pt x="9568419" y="3603586"/>
                </a:lnTo>
                <a:lnTo>
                  <a:pt x="9568419" y="3593716"/>
                </a:lnTo>
                <a:close/>
                <a:moveTo>
                  <a:pt x="9333125" y="3589677"/>
                </a:moveTo>
                <a:lnTo>
                  <a:pt x="9343036" y="3589677"/>
                </a:lnTo>
                <a:lnTo>
                  <a:pt x="9347055" y="3593716"/>
                </a:lnTo>
                <a:lnTo>
                  <a:pt x="9347055" y="3603586"/>
                </a:lnTo>
                <a:lnTo>
                  <a:pt x="9343036" y="3607625"/>
                </a:lnTo>
                <a:lnTo>
                  <a:pt x="9333125" y="3607625"/>
                </a:lnTo>
                <a:lnTo>
                  <a:pt x="9329106" y="3603586"/>
                </a:lnTo>
                <a:lnTo>
                  <a:pt x="9329106" y="3593716"/>
                </a:lnTo>
                <a:close/>
                <a:moveTo>
                  <a:pt x="9093811" y="3589677"/>
                </a:moveTo>
                <a:lnTo>
                  <a:pt x="9103722" y="3589677"/>
                </a:lnTo>
                <a:lnTo>
                  <a:pt x="9107741" y="3593716"/>
                </a:lnTo>
                <a:lnTo>
                  <a:pt x="9107741" y="3603586"/>
                </a:lnTo>
                <a:lnTo>
                  <a:pt x="9103722" y="3607625"/>
                </a:lnTo>
                <a:lnTo>
                  <a:pt x="9093811" y="3607625"/>
                </a:lnTo>
                <a:lnTo>
                  <a:pt x="9089792" y="3603586"/>
                </a:lnTo>
                <a:lnTo>
                  <a:pt x="9089792" y="3593716"/>
                </a:lnTo>
                <a:close/>
                <a:moveTo>
                  <a:pt x="8854496" y="3589677"/>
                </a:moveTo>
                <a:lnTo>
                  <a:pt x="8864407" y="3589677"/>
                </a:lnTo>
                <a:lnTo>
                  <a:pt x="8868426" y="3593716"/>
                </a:lnTo>
                <a:lnTo>
                  <a:pt x="8868426" y="3603586"/>
                </a:lnTo>
                <a:lnTo>
                  <a:pt x="8864407" y="3607625"/>
                </a:lnTo>
                <a:lnTo>
                  <a:pt x="8854496" y="3607625"/>
                </a:lnTo>
                <a:lnTo>
                  <a:pt x="8850477" y="3603586"/>
                </a:lnTo>
                <a:lnTo>
                  <a:pt x="8850477" y="3593716"/>
                </a:lnTo>
                <a:close/>
                <a:moveTo>
                  <a:pt x="8615184" y="3589677"/>
                </a:moveTo>
                <a:lnTo>
                  <a:pt x="8625095" y="3589677"/>
                </a:lnTo>
                <a:lnTo>
                  <a:pt x="8629114" y="3593716"/>
                </a:lnTo>
                <a:lnTo>
                  <a:pt x="8629114" y="3603586"/>
                </a:lnTo>
                <a:lnTo>
                  <a:pt x="8625095" y="3607625"/>
                </a:lnTo>
                <a:lnTo>
                  <a:pt x="8615184" y="3607625"/>
                </a:lnTo>
                <a:lnTo>
                  <a:pt x="8611165" y="3603586"/>
                </a:lnTo>
                <a:lnTo>
                  <a:pt x="8611165" y="3593716"/>
                </a:lnTo>
                <a:close/>
                <a:moveTo>
                  <a:pt x="8375869" y="3589677"/>
                </a:moveTo>
                <a:lnTo>
                  <a:pt x="8385779" y="3589677"/>
                </a:lnTo>
                <a:lnTo>
                  <a:pt x="8389799" y="3593716"/>
                </a:lnTo>
                <a:lnTo>
                  <a:pt x="8389799" y="3603586"/>
                </a:lnTo>
                <a:lnTo>
                  <a:pt x="8385779" y="3607625"/>
                </a:lnTo>
                <a:lnTo>
                  <a:pt x="8375869" y="3607625"/>
                </a:lnTo>
                <a:lnTo>
                  <a:pt x="8371850" y="3603586"/>
                </a:lnTo>
                <a:lnTo>
                  <a:pt x="8371850" y="3593716"/>
                </a:lnTo>
                <a:close/>
                <a:moveTo>
                  <a:pt x="8136553" y="3589677"/>
                </a:moveTo>
                <a:lnTo>
                  <a:pt x="8146464" y="3589677"/>
                </a:lnTo>
                <a:lnTo>
                  <a:pt x="8150483" y="3593716"/>
                </a:lnTo>
                <a:lnTo>
                  <a:pt x="8150483" y="3603586"/>
                </a:lnTo>
                <a:lnTo>
                  <a:pt x="8146464" y="3607625"/>
                </a:lnTo>
                <a:lnTo>
                  <a:pt x="8136553" y="3607625"/>
                </a:lnTo>
                <a:lnTo>
                  <a:pt x="8132534" y="3603586"/>
                </a:lnTo>
                <a:lnTo>
                  <a:pt x="8132534" y="3593716"/>
                </a:lnTo>
                <a:close/>
                <a:moveTo>
                  <a:pt x="7897241" y="3589677"/>
                </a:moveTo>
                <a:lnTo>
                  <a:pt x="7907151" y="3589677"/>
                </a:lnTo>
                <a:lnTo>
                  <a:pt x="7911170" y="3593716"/>
                </a:lnTo>
                <a:lnTo>
                  <a:pt x="7911170" y="3603586"/>
                </a:lnTo>
                <a:lnTo>
                  <a:pt x="7907151" y="3607625"/>
                </a:lnTo>
                <a:lnTo>
                  <a:pt x="7897241" y="3607625"/>
                </a:lnTo>
                <a:lnTo>
                  <a:pt x="7893222" y="3603586"/>
                </a:lnTo>
                <a:lnTo>
                  <a:pt x="7893222" y="3593716"/>
                </a:lnTo>
                <a:close/>
                <a:moveTo>
                  <a:pt x="7657926" y="3589677"/>
                </a:moveTo>
                <a:lnTo>
                  <a:pt x="7667836" y="3589677"/>
                </a:lnTo>
                <a:lnTo>
                  <a:pt x="7671855" y="3593716"/>
                </a:lnTo>
                <a:lnTo>
                  <a:pt x="7671855" y="3603586"/>
                </a:lnTo>
                <a:lnTo>
                  <a:pt x="7667836" y="3607625"/>
                </a:lnTo>
                <a:lnTo>
                  <a:pt x="7657926" y="3607625"/>
                </a:lnTo>
                <a:lnTo>
                  <a:pt x="7653906" y="3603586"/>
                </a:lnTo>
                <a:lnTo>
                  <a:pt x="7653906" y="3593716"/>
                </a:lnTo>
                <a:close/>
                <a:moveTo>
                  <a:pt x="7418611" y="3589677"/>
                </a:moveTo>
                <a:lnTo>
                  <a:pt x="7428521" y="3589677"/>
                </a:lnTo>
                <a:lnTo>
                  <a:pt x="7432540" y="3593716"/>
                </a:lnTo>
                <a:lnTo>
                  <a:pt x="7432540" y="3603586"/>
                </a:lnTo>
                <a:lnTo>
                  <a:pt x="7428521" y="3607625"/>
                </a:lnTo>
                <a:lnTo>
                  <a:pt x="7418611" y="3607625"/>
                </a:lnTo>
                <a:lnTo>
                  <a:pt x="7414592" y="3603586"/>
                </a:lnTo>
                <a:lnTo>
                  <a:pt x="7414592" y="3593716"/>
                </a:lnTo>
                <a:close/>
                <a:moveTo>
                  <a:pt x="7179298" y="3589677"/>
                </a:moveTo>
                <a:lnTo>
                  <a:pt x="7189209" y="3589677"/>
                </a:lnTo>
                <a:lnTo>
                  <a:pt x="7193228" y="3593716"/>
                </a:lnTo>
                <a:lnTo>
                  <a:pt x="7193228" y="3603586"/>
                </a:lnTo>
                <a:lnTo>
                  <a:pt x="7189209" y="3607625"/>
                </a:lnTo>
                <a:lnTo>
                  <a:pt x="7179298" y="3607625"/>
                </a:lnTo>
                <a:lnTo>
                  <a:pt x="7175279" y="3603586"/>
                </a:lnTo>
                <a:lnTo>
                  <a:pt x="7175279" y="3593716"/>
                </a:lnTo>
                <a:close/>
                <a:moveTo>
                  <a:pt x="6939983" y="3589677"/>
                </a:moveTo>
                <a:lnTo>
                  <a:pt x="6949894" y="3589677"/>
                </a:lnTo>
                <a:lnTo>
                  <a:pt x="6953913" y="3593716"/>
                </a:lnTo>
                <a:lnTo>
                  <a:pt x="6953913" y="3603586"/>
                </a:lnTo>
                <a:lnTo>
                  <a:pt x="6949894" y="3607625"/>
                </a:lnTo>
                <a:lnTo>
                  <a:pt x="6939983" y="3607625"/>
                </a:lnTo>
                <a:lnTo>
                  <a:pt x="6935964" y="3603586"/>
                </a:lnTo>
                <a:lnTo>
                  <a:pt x="6935964" y="3593716"/>
                </a:lnTo>
                <a:close/>
                <a:moveTo>
                  <a:pt x="6700670" y="3589677"/>
                </a:moveTo>
                <a:lnTo>
                  <a:pt x="6710581" y="3589677"/>
                </a:lnTo>
                <a:lnTo>
                  <a:pt x="6714600" y="3593716"/>
                </a:lnTo>
                <a:lnTo>
                  <a:pt x="6714600" y="3603586"/>
                </a:lnTo>
                <a:lnTo>
                  <a:pt x="6710581" y="3607625"/>
                </a:lnTo>
                <a:lnTo>
                  <a:pt x="6700670" y="3607625"/>
                </a:lnTo>
                <a:lnTo>
                  <a:pt x="6696651" y="3603586"/>
                </a:lnTo>
                <a:lnTo>
                  <a:pt x="6696651" y="3593716"/>
                </a:lnTo>
                <a:close/>
                <a:moveTo>
                  <a:pt x="6461356" y="3589677"/>
                </a:moveTo>
                <a:lnTo>
                  <a:pt x="6471266" y="3589677"/>
                </a:lnTo>
                <a:lnTo>
                  <a:pt x="6475285" y="3593716"/>
                </a:lnTo>
                <a:lnTo>
                  <a:pt x="6475285" y="3603586"/>
                </a:lnTo>
                <a:lnTo>
                  <a:pt x="6471266" y="3607625"/>
                </a:lnTo>
                <a:lnTo>
                  <a:pt x="6461356" y="3607625"/>
                </a:lnTo>
                <a:lnTo>
                  <a:pt x="6457337" y="3603586"/>
                </a:lnTo>
                <a:lnTo>
                  <a:pt x="6457337" y="3593716"/>
                </a:lnTo>
                <a:close/>
                <a:moveTo>
                  <a:pt x="6222042" y="3589677"/>
                </a:moveTo>
                <a:lnTo>
                  <a:pt x="6231952" y="3589677"/>
                </a:lnTo>
                <a:lnTo>
                  <a:pt x="6235971" y="3593716"/>
                </a:lnTo>
                <a:lnTo>
                  <a:pt x="6235971" y="3603586"/>
                </a:lnTo>
                <a:lnTo>
                  <a:pt x="6231952" y="3607625"/>
                </a:lnTo>
                <a:lnTo>
                  <a:pt x="6222042" y="3607625"/>
                </a:lnTo>
                <a:lnTo>
                  <a:pt x="6218023" y="3603586"/>
                </a:lnTo>
                <a:lnTo>
                  <a:pt x="6218023" y="3593716"/>
                </a:lnTo>
                <a:close/>
                <a:moveTo>
                  <a:pt x="5982729" y="3589677"/>
                </a:moveTo>
                <a:lnTo>
                  <a:pt x="5992639" y="3589677"/>
                </a:lnTo>
                <a:lnTo>
                  <a:pt x="5996658" y="3593716"/>
                </a:lnTo>
                <a:lnTo>
                  <a:pt x="5996658" y="3603586"/>
                </a:lnTo>
                <a:lnTo>
                  <a:pt x="5992639" y="3607625"/>
                </a:lnTo>
                <a:lnTo>
                  <a:pt x="5982729" y="3607625"/>
                </a:lnTo>
                <a:lnTo>
                  <a:pt x="5978710" y="3603586"/>
                </a:lnTo>
                <a:lnTo>
                  <a:pt x="5978710" y="3593716"/>
                </a:lnTo>
                <a:close/>
                <a:moveTo>
                  <a:pt x="5743412" y="3589677"/>
                </a:moveTo>
                <a:lnTo>
                  <a:pt x="5753323" y="3589677"/>
                </a:lnTo>
                <a:lnTo>
                  <a:pt x="5757342" y="3593716"/>
                </a:lnTo>
                <a:lnTo>
                  <a:pt x="5757342" y="3603586"/>
                </a:lnTo>
                <a:lnTo>
                  <a:pt x="5753323" y="3607625"/>
                </a:lnTo>
                <a:lnTo>
                  <a:pt x="5743412" y="3607625"/>
                </a:lnTo>
                <a:lnTo>
                  <a:pt x="5739393" y="3603586"/>
                </a:lnTo>
                <a:lnTo>
                  <a:pt x="5739393" y="3593716"/>
                </a:lnTo>
                <a:close/>
                <a:moveTo>
                  <a:pt x="5504099" y="3589677"/>
                </a:moveTo>
                <a:lnTo>
                  <a:pt x="5514010" y="3589677"/>
                </a:lnTo>
                <a:lnTo>
                  <a:pt x="5518029" y="3593716"/>
                </a:lnTo>
                <a:lnTo>
                  <a:pt x="5518029" y="3603586"/>
                </a:lnTo>
                <a:lnTo>
                  <a:pt x="5514010" y="3607625"/>
                </a:lnTo>
                <a:lnTo>
                  <a:pt x="5504099" y="3607625"/>
                </a:lnTo>
                <a:lnTo>
                  <a:pt x="5500080" y="3603586"/>
                </a:lnTo>
                <a:lnTo>
                  <a:pt x="5500080" y="3593716"/>
                </a:lnTo>
                <a:close/>
                <a:moveTo>
                  <a:pt x="5264784" y="3589677"/>
                </a:moveTo>
                <a:lnTo>
                  <a:pt x="5274694" y="3589677"/>
                </a:lnTo>
                <a:lnTo>
                  <a:pt x="5278713" y="3593716"/>
                </a:lnTo>
                <a:lnTo>
                  <a:pt x="5278713" y="3603586"/>
                </a:lnTo>
                <a:lnTo>
                  <a:pt x="5274694" y="3607625"/>
                </a:lnTo>
                <a:lnTo>
                  <a:pt x="5264784" y="3607625"/>
                </a:lnTo>
                <a:lnTo>
                  <a:pt x="5260765" y="3603586"/>
                </a:lnTo>
                <a:lnTo>
                  <a:pt x="5260765" y="3593716"/>
                </a:lnTo>
                <a:close/>
                <a:moveTo>
                  <a:pt x="5025470" y="3589677"/>
                </a:moveTo>
                <a:lnTo>
                  <a:pt x="5035381" y="3589677"/>
                </a:lnTo>
                <a:lnTo>
                  <a:pt x="5039400" y="3593716"/>
                </a:lnTo>
                <a:lnTo>
                  <a:pt x="5039400" y="3603586"/>
                </a:lnTo>
                <a:lnTo>
                  <a:pt x="5035381" y="3607625"/>
                </a:lnTo>
                <a:lnTo>
                  <a:pt x="5025470" y="3607625"/>
                </a:lnTo>
                <a:lnTo>
                  <a:pt x="5021451" y="3603586"/>
                </a:lnTo>
                <a:lnTo>
                  <a:pt x="5021451" y="3593716"/>
                </a:lnTo>
                <a:close/>
                <a:moveTo>
                  <a:pt x="4786241" y="3589677"/>
                </a:moveTo>
                <a:lnTo>
                  <a:pt x="4796152" y="3589677"/>
                </a:lnTo>
                <a:lnTo>
                  <a:pt x="4800171" y="3593716"/>
                </a:lnTo>
                <a:lnTo>
                  <a:pt x="4800171" y="3603586"/>
                </a:lnTo>
                <a:lnTo>
                  <a:pt x="4796152" y="3607625"/>
                </a:lnTo>
                <a:lnTo>
                  <a:pt x="4786241" y="3607625"/>
                </a:lnTo>
                <a:lnTo>
                  <a:pt x="4782224" y="3603586"/>
                </a:lnTo>
                <a:lnTo>
                  <a:pt x="4782224" y="3593716"/>
                </a:lnTo>
                <a:close/>
                <a:moveTo>
                  <a:pt x="4546929" y="3589677"/>
                </a:moveTo>
                <a:lnTo>
                  <a:pt x="4556840" y="3589677"/>
                </a:lnTo>
                <a:lnTo>
                  <a:pt x="4560859" y="3593716"/>
                </a:lnTo>
                <a:lnTo>
                  <a:pt x="4560859" y="3603586"/>
                </a:lnTo>
                <a:lnTo>
                  <a:pt x="4556840" y="3607625"/>
                </a:lnTo>
                <a:lnTo>
                  <a:pt x="4546929" y="3607625"/>
                </a:lnTo>
                <a:lnTo>
                  <a:pt x="4542910" y="3603586"/>
                </a:lnTo>
                <a:lnTo>
                  <a:pt x="4542910" y="3593716"/>
                </a:lnTo>
                <a:close/>
                <a:moveTo>
                  <a:pt x="4307612" y="3589677"/>
                </a:moveTo>
                <a:lnTo>
                  <a:pt x="4317523" y="3589677"/>
                </a:lnTo>
                <a:lnTo>
                  <a:pt x="4321543" y="3593716"/>
                </a:lnTo>
                <a:lnTo>
                  <a:pt x="4321543" y="3603586"/>
                </a:lnTo>
                <a:lnTo>
                  <a:pt x="4317523" y="3607625"/>
                </a:lnTo>
                <a:lnTo>
                  <a:pt x="4307612" y="3607625"/>
                </a:lnTo>
                <a:lnTo>
                  <a:pt x="4303595" y="3603586"/>
                </a:lnTo>
                <a:lnTo>
                  <a:pt x="4303595" y="3593716"/>
                </a:lnTo>
                <a:close/>
                <a:moveTo>
                  <a:pt x="4068297" y="3589677"/>
                </a:moveTo>
                <a:lnTo>
                  <a:pt x="4078210" y="3589677"/>
                </a:lnTo>
                <a:lnTo>
                  <a:pt x="4082229" y="3593716"/>
                </a:lnTo>
                <a:lnTo>
                  <a:pt x="4082229" y="3603586"/>
                </a:lnTo>
                <a:lnTo>
                  <a:pt x="4078210" y="3607625"/>
                </a:lnTo>
                <a:lnTo>
                  <a:pt x="4068297" y="3607625"/>
                </a:lnTo>
                <a:lnTo>
                  <a:pt x="4064278" y="3603586"/>
                </a:lnTo>
                <a:lnTo>
                  <a:pt x="4064278" y="3593716"/>
                </a:lnTo>
                <a:close/>
                <a:moveTo>
                  <a:pt x="3828990" y="3589677"/>
                </a:moveTo>
                <a:lnTo>
                  <a:pt x="3838899" y="3589677"/>
                </a:lnTo>
                <a:lnTo>
                  <a:pt x="3842917" y="3593716"/>
                </a:lnTo>
                <a:lnTo>
                  <a:pt x="3842917" y="3603586"/>
                </a:lnTo>
                <a:lnTo>
                  <a:pt x="3838899" y="3607625"/>
                </a:lnTo>
                <a:lnTo>
                  <a:pt x="3828990" y="3607625"/>
                </a:lnTo>
                <a:lnTo>
                  <a:pt x="3824971" y="3603586"/>
                </a:lnTo>
                <a:lnTo>
                  <a:pt x="3824971" y="3593716"/>
                </a:lnTo>
                <a:close/>
                <a:moveTo>
                  <a:pt x="3589676" y="3589677"/>
                </a:moveTo>
                <a:lnTo>
                  <a:pt x="3599585" y="3589677"/>
                </a:lnTo>
                <a:lnTo>
                  <a:pt x="3603604" y="3593716"/>
                </a:lnTo>
                <a:lnTo>
                  <a:pt x="3603604" y="3603586"/>
                </a:lnTo>
                <a:lnTo>
                  <a:pt x="3599585" y="3607625"/>
                </a:lnTo>
                <a:lnTo>
                  <a:pt x="3589676" y="3607625"/>
                </a:lnTo>
                <a:lnTo>
                  <a:pt x="3585657" y="3603586"/>
                </a:lnTo>
                <a:lnTo>
                  <a:pt x="3585657" y="3593716"/>
                </a:lnTo>
                <a:close/>
                <a:moveTo>
                  <a:pt x="3350359" y="3589677"/>
                </a:moveTo>
                <a:lnTo>
                  <a:pt x="3360268" y="3589677"/>
                </a:lnTo>
                <a:lnTo>
                  <a:pt x="3364287" y="3593716"/>
                </a:lnTo>
                <a:lnTo>
                  <a:pt x="3364287" y="3603586"/>
                </a:lnTo>
                <a:lnTo>
                  <a:pt x="3360268" y="3607625"/>
                </a:lnTo>
                <a:lnTo>
                  <a:pt x="3350359" y="3607625"/>
                </a:lnTo>
                <a:lnTo>
                  <a:pt x="3346340" y="3603586"/>
                </a:lnTo>
                <a:lnTo>
                  <a:pt x="3346340" y="3593716"/>
                </a:lnTo>
                <a:close/>
                <a:moveTo>
                  <a:pt x="3111048" y="3589677"/>
                </a:moveTo>
                <a:lnTo>
                  <a:pt x="3120959" y="3589677"/>
                </a:lnTo>
                <a:lnTo>
                  <a:pt x="3124977" y="3593716"/>
                </a:lnTo>
                <a:lnTo>
                  <a:pt x="3124977" y="3603586"/>
                </a:lnTo>
                <a:lnTo>
                  <a:pt x="3120959" y="3607625"/>
                </a:lnTo>
                <a:lnTo>
                  <a:pt x="3111048" y="3607625"/>
                </a:lnTo>
                <a:lnTo>
                  <a:pt x="3107029" y="3603586"/>
                </a:lnTo>
                <a:lnTo>
                  <a:pt x="3107029" y="3593716"/>
                </a:lnTo>
                <a:close/>
                <a:moveTo>
                  <a:pt x="2871737" y="3589677"/>
                </a:moveTo>
                <a:lnTo>
                  <a:pt x="2881646" y="3589677"/>
                </a:lnTo>
                <a:lnTo>
                  <a:pt x="2885666" y="3593716"/>
                </a:lnTo>
                <a:lnTo>
                  <a:pt x="2885666" y="3603586"/>
                </a:lnTo>
                <a:lnTo>
                  <a:pt x="2881646" y="3607625"/>
                </a:lnTo>
                <a:lnTo>
                  <a:pt x="2871737" y="3607625"/>
                </a:lnTo>
                <a:lnTo>
                  <a:pt x="2867717" y="3603586"/>
                </a:lnTo>
                <a:lnTo>
                  <a:pt x="2867717" y="3593716"/>
                </a:lnTo>
                <a:close/>
                <a:moveTo>
                  <a:pt x="2632423" y="3589677"/>
                </a:moveTo>
                <a:lnTo>
                  <a:pt x="2642334" y="3589677"/>
                </a:lnTo>
                <a:lnTo>
                  <a:pt x="2646352" y="3593716"/>
                </a:lnTo>
                <a:lnTo>
                  <a:pt x="2646352" y="3603586"/>
                </a:lnTo>
                <a:lnTo>
                  <a:pt x="2642334" y="3607625"/>
                </a:lnTo>
                <a:lnTo>
                  <a:pt x="2632423" y="3607625"/>
                </a:lnTo>
                <a:lnTo>
                  <a:pt x="2628404" y="3603586"/>
                </a:lnTo>
                <a:lnTo>
                  <a:pt x="2628404" y="3593716"/>
                </a:lnTo>
                <a:close/>
                <a:moveTo>
                  <a:pt x="2393104" y="3589677"/>
                </a:moveTo>
                <a:lnTo>
                  <a:pt x="2403015" y="3589677"/>
                </a:lnTo>
                <a:lnTo>
                  <a:pt x="2407034" y="3593716"/>
                </a:lnTo>
                <a:lnTo>
                  <a:pt x="2407034" y="3603586"/>
                </a:lnTo>
                <a:lnTo>
                  <a:pt x="2403015" y="3607625"/>
                </a:lnTo>
                <a:lnTo>
                  <a:pt x="2393104" y="3607625"/>
                </a:lnTo>
                <a:lnTo>
                  <a:pt x="2389087" y="3603586"/>
                </a:lnTo>
                <a:lnTo>
                  <a:pt x="2389087" y="3593716"/>
                </a:lnTo>
                <a:close/>
                <a:moveTo>
                  <a:pt x="721966" y="3589677"/>
                </a:moveTo>
                <a:lnTo>
                  <a:pt x="731877" y="3589677"/>
                </a:lnTo>
                <a:lnTo>
                  <a:pt x="735896" y="3593716"/>
                </a:lnTo>
                <a:lnTo>
                  <a:pt x="735896" y="3603586"/>
                </a:lnTo>
                <a:lnTo>
                  <a:pt x="731877" y="3607625"/>
                </a:lnTo>
                <a:lnTo>
                  <a:pt x="721966" y="3607625"/>
                </a:lnTo>
                <a:lnTo>
                  <a:pt x="717948" y="3603586"/>
                </a:lnTo>
                <a:lnTo>
                  <a:pt x="717948" y="3593716"/>
                </a:lnTo>
                <a:close/>
                <a:moveTo>
                  <a:pt x="482654" y="3589677"/>
                </a:moveTo>
                <a:lnTo>
                  <a:pt x="492565" y="3589677"/>
                </a:lnTo>
                <a:lnTo>
                  <a:pt x="496584" y="3593716"/>
                </a:lnTo>
                <a:lnTo>
                  <a:pt x="496584" y="3603586"/>
                </a:lnTo>
                <a:lnTo>
                  <a:pt x="492565" y="3607625"/>
                </a:lnTo>
                <a:lnTo>
                  <a:pt x="482654" y="3607625"/>
                </a:lnTo>
                <a:lnTo>
                  <a:pt x="478635" y="3603586"/>
                </a:lnTo>
                <a:lnTo>
                  <a:pt x="478635" y="3593716"/>
                </a:lnTo>
                <a:close/>
                <a:moveTo>
                  <a:pt x="243341" y="3589677"/>
                </a:moveTo>
                <a:lnTo>
                  <a:pt x="253251" y="3589677"/>
                </a:lnTo>
                <a:lnTo>
                  <a:pt x="257270" y="3593716"/>
                </a:lnTo>
                <a:lnTo>
                  <a:pt x="257270" y="3603586"/>
                </a:lnTo>
                <a:lnTo>
                  <a:pt x="253251" y="3607625"/>
                </a:lnTo>
                <a:lnTo>
                  <a:pt x="243341" y="3607625"/>
                </a:lnTo>
                <a:lnTo>
                  <a:pt x="239321" y="3603586"/>
                </a:lnTo>
                <a:lnTo>
                  <a:pt x="239321" y="3593716"/>
                </a:lnTo>
                <a:close/>
                <a:moveTo>
                  <a:pt x="4027" y="3589677"/>
                </a:moveTo>
                <a:lnTo>
                  <a:pt x="13938" y="3589677"/>
                </a:lnTo>
                <a:lnTo>
                  <a:pt x="17957" y="3593716"/>
                </a:lnTo>
                <a:lnTo>
                  <a:pt x="17957" y="3603586"/>
                </a:lnTo>
                <a:lnTo>
                  <a:pt x="13938" y="3607625"/>
                </a:lnTo>
                <a:lnTo>
                  <a:pt x="4027" y="3607625"/>
                </a:lnTo>
                <a:lnTo>
                  <a:pt x="8" y="3603586"/>
                </a:lnTo>
                <a:lnTo>
                  <a:pt x="8" y="3593716"/>
                </a:lnTo>
                <a:close/>
                <a:moveTo>
                  <a:pt x="9572438" y="3350398"/>
                </a:moveTo>
                <a:lnTo>
                  <a:pt x="9582349" y="3350398"/>
                </a:lnTo>
                <a:lnTo>
                  <a:pt x="9586368" y="3354436"/>
                </a:lnTo>
                <a:lnTo>
                  <a:pt x="9586368" y="3364306"/>
                </a:lnTo>
                <a:lnTo>
                  <a:pt x="9582349" y="3368345"/>
                </a:lnTo>
                <a:lnTo>
                  <a:pt x="9572438" y="3368345"/>
                </a:lnTo>
                <a:lnTo>
                  <a:pt x="9568419" y="3364306"/>
                </a:lnTo>
                <a:lnTo>
                  <a:pt x="9568419" y="3354436"/>
                </a:lnTo>
                <a:close/>
                <a:moveTo>
                  <a:pt x="9333125" y="3350398"/>
                </a:moveTo>
                <a:lnTo>
                  <a:pt x="9343036" y="3350398"/>
                </a:lnTo>
                <a:lnTo>
                  <a:pt x="9347055" y="3354436"/>
                </a:lnTo>
                <a:lnTo>
                  <a:pt x="9347055" y="3364306"/>
                </a:lnTo>
                <a:lnTo>
                  <a:pt x="9343036" y="3368345"/>
                </a:lnTo>
                <a:lnTo>
                  <a:pt x="9333125" y="3368345"/>
                </a:lnTo>
                <a:lnTo>
                  <a:pt x="9329106" y="3364306"/>
                </a:lnTo>
                <a:lnTo>
                  <a:pt x="9329106" y="3354436"/>
                </a:lnTo>
                <a:close/>
                <a:moveTo>
                  <a:pt x="9093811" y="3350398"/>
                </a:moveTo>
                <a:lnTo>
                  <a:pt x="9103722" y="3350398"/>
                </a:lnTo>
                <a:lnTo>
                  <a:pt x="9107741" y="3354436"/>
                </a:lnTo>
                <a:lnTo>
                  <a:pt x="9107741" y="3364306"/>
                </a:lnTo>
                <a:lnTo>
                  <a:pt x="9103722" y="3368345"/>
                </a:lnTo>
                <a:lnTo>
                  <a:pt x="9093811" y="3368345"/>
                </a:lnTo>
                <a:lnTo>
                  <a:pt x="9089792" y="3364306"/>
                </a:lnTo>
                <a:lnTo>
                  <a:pt x="9089792" y="3354436"/>
                </a:lnTo>
                <a:close/>
                <a:moveTo>
                  <a:pt x="8854496" y="3350398"/>
                </a:moveTo>
                <a:lnTo>
                  <a:pt x="8864407" y="3350398"/>
                </a:lnTo>
                <a:lnTo>
                  <a:pt x="8868426" y="3354436"/>
                </a:lnTo>
                <a:lnTo>
                  <a:pt x="8868426" y="3364306"/>
                </a:lnTo>
                <a:lnTo>
                  <a:pt x="8864407" y="3368345"/>
                </a:lnTo>
                <a:lnTo>
                  <a:pt x="8854496" y="3368345"/>
                </a:lnTo>
                <a:lnTo>
                  <a:pt x="8850477" y="3364306"/>
                </a:lnTo>
                <a:lnTo>
                  <a:pt x="8850477" y="3354436"/>
                </a:lnTo>
                <a:close/>
                <a:moveTo>
                  <a:pt x="8615184" y="3350398"/>
                </a:moveTo>
                <a:lnTo>
                  <a:pt x="8625095" y="3350398"/>
                </a:lnTo>
                <a:lnTo>
                  <a:pt x="8629114" y="3354436"/>
                </a:lnTo>
                <a:lnTo>
                  <a:pt x="8629114" y="3364306"/>
                </a:lnTo>
                <a:lnTo>
                  <a:pt x="8625095" y="3368345"/>
                </a:lnTo>
                <a:lnTo>
                  <a:pt x="8615184" y="3368345"/>
                </a:lnTo>
                <a:lnTo>
                  <a:pt x="8611165" y="3364306"/>
                </a:lnTo>
                <a:lnTo>
                  <a:pt x="8611165" y="3354436"/>
                </a:lnTo>
                <a:close/>
                <a:moveTo>
                  <a:pt x="8375869" y="3350398"/>
                </a:moveTo>
                <a:lnTo>
                  <a:pt x="8385779" y="3350398"/>
                </a:lnTo>
                <a:lnTo>
                  <a:pt x="8389799" y="3354436"/>
                </a:lnTo>
                <a:lnTo>
                  <a:pt x="8389799" y="3364306"/>
                </a:lnTo>
                <a:lnTo>
                  <a:pt x="8385779" y="3368345"/>
                </a:lnTo>
                <a:lnTo>
                  <a:pt x="8375869" y="3368345"/>
                </a:lnTo>
                <a:lnTo>
                  <a:pt x="8371850" y="3364306"/>
                </a:lnTo>
                <a:lnTo>
                  <a:pt x="8371850" y="3354436"/>
                </a:lnTo>
                <a:close/>
                <a:moveTo>
                  <a:pt x="8136553" y="3350398"/>
                </a:moveTo>
                <a:lnTo>
                  <a:pt x="8146464" y="3350398"/>
                </a:lnTo>
                <a:lnTo>
                  <a:pt x="8150483" y="3354436"/>
                </a:lnTo>
                <a:lnTo>
                  <a:pt x="8150483" y="3364306"/>
                </a:lnTo>
                <a:lnTo>
                  <a:pt x="8146464" y="3368345"/>
                </a:lnTo>
                <a:lnTo>
                  <a:pt x="8136553" y="3368345"/>
                </a:lnTo>
                <a:lnTo>
                  <a:pt x="8132534" y="3364306"/>
                </a:lnTo>
                <a:lnTo>
                  <a:pt x="8132534" y="3354436"/>
                </a:lnTo>
                <a:close/>
                <a:moveTo>
                  <a:pt x="7897241" y="3350398"/>
                </a:moveTo>
                <a:lnTo>
                  <a:pt x="7907151" y="3350398"/>
                </a:lnTo>
                <a:lnTo>
                  <a:pt x="7911170" y="3354436"/>
                </a:lnTo>
                <a:lnTo>
                  <a:pt x="7911170" y="3364306"/>
                </a:lnTo>
                <a:lnTo>
                  <a:pt x="7907151" y="3368345"/>
                </a:lnTo>
                <a:lnTo>
                  <a:pt x="7897241" y="3368345"/>
                </a:lnTo>
                <a:lnTo>
                  <a:pt x="7893222" y="3364306"/>
                </a:lnTo>
                <a:lnTo>
                  <a:pt x="7893222" y="3354436"/>
                </a:lnTo>
                <a:close/>
                <a:moveTo>
                  <a:pt x="7657926" y="3350398"/>
                </a:moveTo>
                <a:lnTo>
                  <a:pt x="7667836" y="3350398"/>
                </a:lnTo>
                <a:lnTo>
                  <a:pt x="7671855" y="3354436"/>
                </a:lnTo>
                <a:lnTo>
                  <a:pt x="7671855" y="3364306"/>
                </a:lnTo>
                <a:lnTo>
                  <a:pt x="7667836" y="3368345"/>
                </a:lnTo>
                <a:lnTo>
                  <a:pt x="7657926" y="3368345"/>
                </a:lnTo>
                <a:lnTo>
                  <a:pt x="7653906" y="3364306"/>
                </a:lnTo>
                <a:lnTo>
                  <a:pt x="7653906" y="3354436"/>
                </a:lnTo>
                <a:close/>
                <a:moveTo>
                  <a:pt x="7418611" y="3350398"/>
                </a:moveTo>
                <a:lnTo>
                  <a:pt x="7428521" y="3350398"/>
                </a:lnTo>
                <a:lnTo>
                  <a:pt x="7432540" y="3354436"/>
                </a:lnTo>
                <a:lnTo>
                  <a:pt x="7432540" y="3364306"/>
                </a:lnTo>
                <a:lnTo>
                  <a:pt x="7428521" y="3368345"/>
                </a:lnTo>
                <a:lnTo>
                  <a:pt x="7418611" y="3368345"/>
                </a:lnTo>
                <a:lnTo>
                  <a:pt x="7414592" y="3364306"/>
                </a:lnTo>
                <a:lnTo>
                  <a:pt x="7414592" y="3354436"/>
                </a:lnTo>
                <a:close/>
                <a:moveTo>
                  <a:pt x="7179298" y="3350398"/>
                </a:moveTo>
                <a:lnTo>
                  <a:pt x="7189209" y="3350398"/>
                </a:lnTo>
                <a:lnTo>
                  <a:pt x="7193228" y="3354436"/>
                </a:lnTo>
                <a:lnTo>
                  <a:pt x="7193228" y="3364306"/>
                </a:lnTo>
                <a:lnTo>
                  <a:pt x="7189209" y="3368345"/>
                </a:lnTo>
                <a:lnTo>
                  <a:pt x="7179298" y="3368345"/>
                </a:lnTo>
                <a:lnTo>
                  <a:pt x="7175279" y="3364306"/>
                </a:lnTo>
                <a:lnTo>
                  <a:pt x="7175279" y="3354436"/>
                </a:lnTo>
                <a:close/>
                <a:moveTo>
                  <a:pt x="6939983" y="3350398"/>
                </a:moveTo>
                <a:lnTo>
                  <a:pt x="6949894" y="3350398"/>
                </a:lnTo>
                <a:lnTo>
                  <a:pt x="6953913" y="3354436"/>
                </a:lnTo>
                <a:lnTo>
                  <a:pt x="6953913" y="3364306"/>
                </a:lnTo>
                <a:lnTo>
                  <a:pt x="6949894" y="3368345"/>
                </a:lnTo>
                <a:lnTo>
                  <a:pt x="6939983" y="3368345"/>
                </a:lnTo>
                <a:lnTo>
                  <a:pt x="6935964" y="3364306"/>
                </a:lnTo>
                <a:lnTo>
                  <a:pt x="6935964" y="3354436"/>
                </a:lnTo>
                <a:close/>
                <a:moveTo>
                  <a:pt x="6700670" y="3350398"/>
                </a:moveTo>
                <a:lnTo>
                  <a:pt x="6710581" y="3350398"/>
                </a:lnTo>
                <a:lnTo>
                  <a:pt x="6714600" y="3354436"/>
                </a:lnTo>
                <a:lnTo>
                  <a:pt x="6714600" y="3364306"/>
                </a:lnTo>
                <a:lnTo>
                  <a:pt x="6710581" y="3368345"/>
                </a:lnTo>
                <a:lnTo>
                  <a:pt x="6700670" y="3368345"/>
                </a:lnTo>
                <a:lnTo>
                  <a:pt x="6696651" y="3364306"/>
                </a:lnTo>
                <a:lnTo>
                  <a:pt x="6696651" y="3354436"/>
                </a:lnTo>
                <a:close/>
                <a:moveTo>
                  <a:pt x="6461356" y="3350398"/>
                </a:moveTo>
                <a:lnTo>
                  <a:pt x="6471266" y="3350398"/>
                </a:lnTo>
                <a:lnTo>
                  <a:pt x="6475285" y="3354436"/>
                </a:lnTo>
                <a:lnTo>
                  <a:pt x="6475285" y="3364306"/>
                </a:lnTo>
                <a:lnTo>
                  <a:pt x="6471266" y="3368345"/>
                </a:lnTo>
                <a:lnTo>
                  <a:pt x="6461356" y="3368345"/>
                </a:lnTo>
                <a:lnTo>
                  <a:pt x="6457337" y="3364306"/>
                </a:lnTo>
                <a:lnTo>
                  <a:pt x="6457337" y="3354436"/>
                </a:lnTo>
                <a:close/>
                <a:moveTo>
                  <a:pt x="6222042" y="3350398"/>
                </a:moveTo>
                <a:lnTo>
                  <a:pt x="6231952" y="3350398"/>
                </a:lnTo>
                <a:lnTo>
                  <a:pt x="6235971" y="3354436"/>
                </a:lnTo>
                <a:lnTo>
                  <a:pt x="6235971" y="3364306"/>
                </a:lnTo>
                <a:lnTo>
                  <a:pt x="6231952" y="3368345"/>
                </a:lnTo>
                <a:lnTo>
                  <a:pt x="6222042" y="3368345"/>
                </a:lnTo>
                <a:lnTo>
                  <a:pt x="6218023" y="3364306"/>
                </a:lnTo>
                <a:lnTo>
                  <a:pt x="6218023" y="3354436"/>
                </a:lnTo>
                <a:close/>
                <a:moveTo>
                  <a:pt x="5982729" y="3350398"/>
                </a:moveTo>
                <a:lnTo>
                  <a:pt x="5992639" y="3350398"/>
                </a:lnTo>
                <a:lnTo>
                  <a:pt x="5996658" y="3354436"/>
                </a:lnTo>
                <a:lnTo>
                  <a:pt x="5996658" y="3364306"/>
                </a:lnTo>
                <a:lnTo>
                  <a:pt x="5992639" y="3368345"/>
                </a:lnTo>
                <a:lnTo>
                  <a:pt x="5982729" y="3368345"/>
                </a:lnTo>
                <a:lnTo>
                  <a:pt x="5978710" y="3364306"/>
                </a:lnTo>
                <a:lnTo>
                  <a:pt x="5978710" y="3354436"/>
                </a:lnTo>
                <a:close/>
                <a:moveTo>
                  <a:pt x="5743412" y="3350398"/>
                </a:moveTo>
                <a:lnTo>
                  <a:pt x="5753323" y="3350398"/>
                </a:lnTo>
                <a:lnTo>
                  <a:pt x="5757342" y="3354436"/>
                </a:lnTo>
                <a:lnTo>
                  <a:pt x="5757342" y="3364306"/>
                </a:lnTo>
                <a:lnTo>
                  <a:pt x="5753323" y="3368345"/>
                </a:lnTo>
                <a:lnTo>
                  <a:pt x="5743412" y="3368345"/>
                </a:lnTo>
                <a:lnTo>
                  <a:pt x="5739393" y="3364306"/>
                </a:lnTo>
                <a:lnTo>
                  <a:pt x="5739393" y="3354436"/>
                </a:lnTo>
                <a:close/>
                <a:moveTo>
                  <a:pt x="5504099" y="3350398"/>
                </a:moveTo>
                <a:lnTo>
                  <a:pt x="5514010" y="3350398"/>
                </a:lnTo>
                <a:lnTo>
                  <a:pt x="5518029" y="3354436"/>
                </a:lnTo>
                <a:lnTo>
                  <a:pt x="5518029" y="3364306"/>
                </a:lnTo>
                <a:lnTo>
                  <a:pt x="5514010" y="3368345"/>
                </a:lnTo>
                <a:lnTo>
                  <a:pt x="5504099" y="3368345"/>
                </a:lnTo>
                <a:lnTo>
                  <a:pt x="5500080" y="3364306"/>
                </a:lnTo>
                <a:lnTo>
                  <a:pt x="5500080" y="3354436"/>
                </a:lnTo>
                <a:close/>
                <a:moveTo>
                  <a:pt x="5264784" y="3350398"/>
                </a:moveTo>
                <a:lnTo>
                  <a:pt x="5274694" y="3350398"/>
                </a:lnTo>
                <a:lnTo>
                  <a:pt x="5278713" y="3354436"/>
                </a:lnTo>
                <a:lnTo>
                  <a:pt x="5278713" y="3364306"/>
                </a:lnTo>
                <a:lnTo>
                  <a:pt x="5274694" y="3368345"/>
                </a:lnTo>
                <a:lnTo>
                  <a:pt x="5264784" y="3368345"/>
                </a:lnTo>
                <a:lnTo>
                  <a:pt x="5260765" y="3364306"/>
                </a:lnTo>
                <a:lnTo>
                  <a:pt x="5260765" y="3354436"/>
                </a:lnTo>
                <a:close/>
                <a:moveTo>
                  <a:pt x="5025470" y="3350398"/>
                </a:moveTo>
                <a:lnTo>
                  <a:pt x="5035381" y="3350398"/>
                </a:lnTo>
                <a:lnTo>
                  <a:pt x="5039400" y="3354436"/>
                </a:lnTo>
                <a:lnTo>
                  <a:pt x="5039400" y="3364306"/>
                </a:lnTo>
                <a:lnTo>
                  <a:pt x="5035381" y="3368345"/>
                </a:lnTo>
                <a:lnTo>
                  <a:pt x="5025470" y="3368345"/>
                </a:lnTo>
                <a:lnTo>
                  <a:pt x="5021451" y="3364306"/>
                </a:lnTo>
                <a:lnTo>
                  <a:pt x="5021451" y="3354436"/>
                </a:lnTo>
                <a:close/>
                <a:moveTo>
                  <a:pt x="4786241" y="3350398"/>
                </a:moveTo>
                <a:lnTo>
                  <a:pt x="4796152" y="3350398"/>
                </a:lnTo>
                <a:lnTo>
                  <a:pt x="4800171" y="3354436"/>
                </a:lnTo>
                <a:lnTo>
                  <a:pt x="4800171" y="3364306"/>
                </a:lnTo>
                <a:lnTo>
                  <a:pt x="4796152" y="3368345"/>
                </a:lnTo>
                <a:lnTo>
                  <a:pt x="4786241" y="3368345"/>
                </a:lnTo>
                <a:lnTo>
                  <a:pt x="4782224" y="3364306"/>
                </a:lnTo>
                <a:lnTo>
                  <a:pt x="4782224" y="3354436"/>
                </a:lnTo>
                <a:close/>
                <a:moveTo>
                  <a:pt x="4546929" y="3350398"/>
                </a:moveTo>
                <a:lnTo>
                  <a:pt x="4556840" y="3350398"/>
                </a:lnTo>
                <a:lnTo>
                  <a:pt x="4560859" y="3354436"/>
                </a:lnTo>
                <a:lnTo>
                  <a:pt x="4560859" y="3364306"/>
                </a:lnTo>
                <a:lnTo>
                  <a:pt x="4556840" y="3368345"/>
                </a:lnTo>
                <a:lnTo>
                  <a:pt x="4546929" y="3368345"/>
                </a:lnTo>
                <a:lnTo>
                  <a:pt x="4542910" y="3364306"/>
                </a:lnTo>
                <a:lnTo>
                  <a:pt x="4542910" y="3354436"/>
                </a:lnTo>
                <a:close/>
                <a:moveTo>
                  <a:pt x="4307612" y="3350398"/>
                </a:moveTo>
                <a:lnTo>
                  <a:pt x="4317523" y="3350398"/>
                </a:lnTo>
                <a:lnTo>
                  <a:pt x="4321543" y="3354436"/>
                </a:lnTo>
                <a:lnTo>
                  <a:pt x="4321543" y="3364306"/>
                </a:lnTo>
                <a:lnTo>
                  <a:pt x="4317523" y="3368345"/>
                </a:lnTo>
                <a:lnTo>
                  <a:pt x="4307612" y="3368345"/>
                </a:lnTo>
                <a:lnTo>
                  <a:pt x="4303595" y="3364306"/>
                </a:lnTo>
                <a:lnTo>
                  <a:pt x="4303595" y="3354436"/>
                </a:lnTo>
                <a:close/>
                <a:moveTo>
                  <a:pt x="4068297" y="3350398"/>
                </a:moveTo>
                <a:lnTo>
                  <a:pt x="4078210" y="3350398"/>
                </a:lnTo>
                <a:lnTo>
                  <a:pt x="4082229" y="3354436"/>
                </a:lnTo>
                <a:lnTo>
                  <a:pt x="4082229" y="3364306"/>
                </a:lnTo>
                <a:lnTo>
                  <a:pt x="4078210" y="3368345"/>
                </a:lnTo>
                <a:lnTo>
                  <a:pt x="4068297" y="3368345"/>
                </a:lnTo>
                <a:lnTo>
                  <a:pt x="4064278" y="3364306"/>
                </a:lnTo>
                <a:lnTo>
                  <a:pt x="4064278" y="3354436"/>
                </a:lnTo>
                <a:close/>
                <a:moveTo>
                  <a:pt x="3828990" y="3350398"/>
                </a:moveTo>
                <a:lnTo>
                  <a:pt x="3838899" y="3350398"/>
                </a:lnTo>
                <a:lnTo>
                  <a:pt x="3842917" y="3354436"/>
                </a:lnTo>
                <a:lnTo>
                  <a:pt x="3842917" y="3364306"/>
                </a:lnTo>
                <a:lnTo>
                  <a:pt x="3838899" y="3368345"/>
                </a:lnTo>
                <a:lnTo>
                  <a:pt x="3828990" y="3368345"/>
                </a:lnTo>
                <a:lnTo>
                  <a:pt x="3824971" y="3364306"/>
                </a:lnTo>
                <a:lnTo>
                  <a:pt x="3824971" y="3354436"/>
                </a:lnTo>
                <a:close/>
                <a:moveTo>
                  <a:pt x="3589676" y="3350398"/>
                </a:moveTo>
                <a:lnTo>
                  <a:pt x="3599585" y="3350398"/>
                </a:lnTo>
                <a:lnTo>
                  <a:pt x="3603604" y="3354436"/>
                </a:lnTo>
                <a:lnTo>
                  <a:pt x="3603604" y="3364306"/>
                </a:lnTo>
                <a:lnTo>
                  <a:pt x="3599585" y="3368345"/>
                </a:lnTo>
                <a:lnTo>
                  <a:pt x="3589676" y="3368345"/>
                </a:lnTo>
                <a:lnTo>
                  <a:pt x="3585657" y="3364306"/>
                </a:lnTo>
                <a:lnTo>
                  <a:pt x="3585657" y="3354436"/>
                </a:lnTo>
                <a:close/>
                <a:moveTo>
                  <a:pt x="3350359" y="3350398"/>
                </a:moveTo>
                <a:lnTo>
                  <a:pt x="3360268" y="3350398"/>
                </a:lnTo>
                <a:lnTo>
                  <a:pt x="3364287" y="3354436"/>
                </a:lnTo>
                <a:lnTo>
                  <a:pt x="3364287" y="3364306"/>
                </a:lnTo>
                <a:lnTo>
                  <a:pt x="3360268" y="3368345"/>
                </a:lnTo>
                <a:lnTo>
                  <a:pt x="3350359" y="3368345"/>
                </a:lnTo>
                <a:lnTo>
                  <a:pt x="3346340" y="3364306"/>
                </a:lnTo>
                <a:lnTo>
                  <a:pt x="3346340" y="3354436"/>
                </a:lnTo>
                <a:close/>
                <a:moveTo>
                  <a:pt x="3111048" y="3350398"/>
                </a:moveTo>
                <a:lnTo>
                  <a:pt x="3120959" y="3350398"/>
                </a:lnTo>
                <a:lnTo>
                  <a:pt x="3124977" y="3354436"/>
                </a:lnTo>
                <a:lnTo>
                  <a:pt x="3124977" y="3364306"/>
                </a:lnTo>
                <a:lnTo>
                  <a:pt x="3120959" y="3368345"/>
                </a:lnTo>
                <a:lnTo>
                  <a:pt x="3111048" y="3368345"/>
                </a:lnTo>
                <a:lnTo>
                  <a:pt x="3107029" y="3364306"/>
                </a:lnTo>
                <a:lnTo>
                  <a:pt x="3107029" y="3354436"/>
                </a:lnTo>
                <a:close/>
                <a:moveTo>
                  <a:pt x="2871737" y="3350398"/>
                </a:moveTo>
                <a:lnTo>
                  <a:pt x="2881646" y="3350398"/>
                </a:lnTo>
                <a:lnTo>
                  <a:pt x="2885666" y="3354436"/>
                </a:lnTo>
                <a:lnTo>
                  <a:pt x="2885666" y="3364306"/>
                </a:lnTo>
                <a:lnTo>
                  <a:pt x="2881646" y="3368345"/>
                </a:lnTo>
                <a:lnTo>
                  <a:pt x="2871737" y="3368345"/>
                </a:lnTo>
                <a:lnTo>
                  <a:pt x="2867717" y="3364306"/>
                </a:lnTo>
                <a:lnTo>
                  <a:pt x="2867717" y="3354436"/>
                </a:lnTo>
                <a:close/>
                <a:moveTo>
                  <a:pt x="2632423" y="3350398"/>
                </a:moveTo>
                <a:lnTo>
                  <a:pt x="2642334" y="3350398"/>
                </a:lnTo>
                <a:lnTo>
                  <a:pt x="2646352" y="3354436"/>
                </a:lnTo>
                <a:lnTo>
                  <a:pt x="2646352" y="3364306"/>
                </a:lnTo>
                <a:lnTo>
                  <a:pt x="2642334" y="3368345"/>
                </a:lnTo>
                <a:lnTo>
                  <a:pt x="2632423" y="3368345"/>
                </a:lnTo>
                <a:lnTo>
                  <a:pt x="2628404" y="3364306"/>
                </a:lnTo>
                <a:lnTo>
                  <a:pt x="2628404" y="3354436"/>
                </a:lnTo>
                <a:close/>
                <a:moveTo>
                  <a:pt x="2393104" y="3350398"/>
                </a:moveTo>
                <a:lnTo>
                  <a:pt x="2403015" y="3350398"/>
                </a:lnTo>
                <a:lnTo>
                  <a:pt x="2407034" y="3354436"/>
                </a:lnTo>
                <a:lnTo>
                  <a:pt x="2407034" y="3364306"/>
                </a:lnTo>
                <a:lnTo>
                  <a:pt x="2403015" y="3368345"/>
                </a:lnTo>
                <a:lnTo>
                  <a:pt x="2393104" y="3368345"/>
                </a:lnTo>
                <a:lnTo>
                  <a:pt x="2389087" y="3364306"/>
                </a:lnTo>
                <a:lnTo>
                  <a:pt x="2389087" y="3354436"/>
                </a:lnTo>
                <a:close/>
                <a:moveTo>
                  <a:pt x="2157820" y="3350398"/>
                </a:moveTo>
                <a:lnTo>
                  <a:pt x="2167731" y="3350398"/>
                </a:lnTo>
                <a:lnTo>
                  <a:pt x="2171749" y="3354436"/>
                </a:lnTo>
                <a:lnTo>
                  <a:pt x="2171749" y="3364306"/>
                </a:lnTo>
                <a:lnTo>
                  <a:pt x="2167731" y="3368345"/>
                </a:lnTo>
                <a:lnTo>
                  <a:pt x="2157820" y="3368345"/>
                </a:lnTo>
                <a:lnTo>
                  <a:pt x="2153802" y="3364306"/>
                </a:lnTo>
                <a:lnTo>
                  <a:pt x="2153802" y="3354436"/>
                </a:lnTo>
                <a:close/>
                <a:moveTo>
                  <a:pt x="1918511" y="3350398"/>
                </a:moveTo>
                <a:lnTo>
                  <a:pt x="1928422" y="3350398"/>
                </a:lnTo>
                <a:lnTo>
                  <a:pt x="1932441" y="3354436"/>
                </a:lnTo>
                <a:lnTo>
                  <a:pt x="1932441" y="3364306"/>
                </a:lnTo>
                <a:lnTo>
                  <a:pt x="1928422" y="3368345"/>
                </a:lnTo>
                <a:lnTo>
                  <a:pt x="1918511" y="3368345"/>
                </a:lnTo>
                <a:lnTo>
                  <a:pt x="1914493" y="3364306"/>
                </a:lnTo>
                <a:lnTo>
                  <a:pt x="1914493" y="3354436"/>
                </a:lnTo>
                <a:close/>
                <a:moveTo>
                  <a:pt x="1679210" y="3350398"/>
                </a:moveTo>
                <a:lnTo>
                  <a:pt x="1689120" y="3350398"/>
                </a:lnTo>
                <a:lnTo>
                  <a:pt x="1693138" y="3354436"/>
                </a:lnTo>
                <a:lnTo>
                  <a:pt x="1693138" y="3364306"/>
                </a:lnTo>
                <a:lnTo>
                  <a:pt x="1689120" y="3368345"/>
                </a:lnTo>
                <a:lnTo>
                  <a:pt x="1679210" y="3368345"/>
                </a:lnTo>
                <a:lnTo>
                  <a:pt x="1675191" y="3364306"/>
                </a:lnTo>
                <a:lnTo>
                  <a:pt x="1675191" y="3354436"/>
                </a:lnTo>
                <a:close/>
                <a:moveTo>
                  <a:pt x="1439893" y="3350398"/>
                </a:moveTo>
                <a:lnTo>
                  <a:pt x="1449803" y="3350398"/>
                </a:lnTo>
                <a:lnTo>
                  <a:pt x="1453823" y="3354436"/>
                </a:lnTo>
                <a:lnTo>
                  <a:pt x="1453823" y="3364306"/>
                </a:lnTo>
                <a:lnTo>
                  <a:pt x="1449803" y="3368345"/>
                </a:lnTo>
                <a:lnTo>
                  <a:pt x="1439893" y="3368345"/>
                </a:lnTo>
                <a:lnTo>
                  <a:pt x="1435875" y="3364306"/>
                </a:lnTo>
                <a:lnTo>
                  <a:pt x="1435875" y="3354436"/>
                </a:lnTo>
                <a:close/>
                <a:moveTo>
                  <a:pt x="1200578" y="3350398"/>
                </a:moveTo>
                <a:lnTo>
                  <a:pt x="1210488" y="3350398"/>
                </a:lnTo>
                <a:lnTo>
                  <a:pt x="1214507" y="3354436"/>
                </a:lnTo>
                <a:lnTo>
                  <a:pt x="1214507" y="3364306"/>
                </a:lnTo>
                <a:lnTo>
                  <a:pt x="1210488" y="3368345"/>
                </a:lnTo>
                <a:lnTo>
                  <a:pt x="1200578" y="3368345"/>
                </a:lnTo>
                <a:lnTo>
                  <a:pt x="1196559" y="3364306"/>
                </a:lnTo>
                <a:lnTo>
                  <a:pt x="1196559" y="3354436"/>
                </a:lnTo>
                <a:close/>
                <a:moveTo>
                  <a:pt x="961265" y="3350398"/>
                </a:moveTo>
                <a:lnTo>
                  <a:pt x="971176" y="3350398"/>
                </a:lnTo>
                <a:lnTo>
                  <a:pt x="975194" y="3354436"/>
                </a:lnTo>
                <a:lnTo>
                  <a:pt x="975194" y="3364306"/>
                </a:lnTo>
                <a:lnTo>
                  <a:pt x="971176" y="3368345"/>
                </a:lnTo>
                <a:lnTo>
                  <a:pt x="961265" y="3368345"/>
                </a:lnTo>
                <a:lnTo>
                  <a:pt x="957246" y="3364306"/>
                </a:lnTo>
                <a:lnTo>
                  <a:pt x="957246" y="3354436"/>
                </a:lnTo>
                <a:close/>
                <a:moveTo>
                  <a:pt x="721967" y="3350398"/>
                </a:moveTo>
                <a:lnTo>
                  <a:pt x="731877" y="3350398"/>
                </a:lnTo>
                <a:lnTo>
                  <a:pt x="735896" y="3354436"/>
                </a:lnTo>
                <a:lnTo>
                  <a:pt x="735896" y="3364306"/>
                </a:lnTo>
                <a:lnTo>
                  <a:pt x="731877" y="3368345"/>
                </a:lnTo>
                <a:lnTo>
                  <a:pt x="721967" y="3368345"/>
                </a:lnTo>
                <a:lnTo>
                  <a:pt x="717949" y="3364306"/>
                </a:lnTo>
                <a:lnTo>
                  <a:pt x="717949" y="3354436"/>
                </a:lnTo>
                <a:close/>
                <a:moveTo>
                  <a:pt x="482655" y="3350398"/>
                </a:moveTo>
                <a:lnTo>
                  <a:pt x="492565" y="3350398"/>
                </a:lnTo>
                <a:lnTo>
                  <a:pt x="496584" y="3354436"/>
                </a:lnTo>
                <a:lnTo>
                  <a:pt x="496584" y="3364306"/>
                </a:lnTo>
                <a:lnTo>
                  <a:pt x="492565" y="3368345"/>
                </a:lnTo>
                <a:lnTo>
                  <a:pt x="482655" y="3368345"/>
                </a:lnTo>
                <a:lnTo>
                  <a:pt x="478636" y="3364306"/>
                </a:lnTo>
                <a:lnTo>
                  <a:pt x="478636" y="3354436"/>
                </a:lnTo>
                <a:close/>
                <a:moveTo>
                  <a:pt x="243341" y="3350398"/>
                </a:moveTo>
                <a:lnTo>
                  <a:pt x="253252" y="3350398"/>
                </a:lnTo>
                <a:lnTo>
                  <a:pt x="257271" y="3354436"/>
                </a:lnTo>
                <a:lnTo>
                  <a:pt x="257271" y="3364306"/>
                </a:lnTo>
                <a:lnTo>
                  <a:pt x="253252" y="3368345"/>
                </a:lnTo>
                <a:lnTo>
                  <a:pt x="243341" y="3368345"/>
                </a:lnTo>
                <a:lnTo>
                  <a:pt x="239322" y="3364306"/>
                </a:lnTo>
                <a:lnTo>
                  <a:pt x="239322" y="3354436"/>
                </a:lnTo>
                <a:close/>
                <a:moveTo>
                  <a:pt x="4029" y="3350398"/>
                </a:moveTo>
                <a:lnTo>
                  <a:pt x="13938" y="3350398"/>
                </a:lnTo>
                <a:lnTo>
                  <a:pt x="17957" y="3354436"/>
                </a:lnTo>
                <a:lnTo>
                  <a:pt x="17957" y="3364306"/>
                </a:lnTo>
                <a:lnTo>
                  <a:pt x="13938" y="3368345"/>
                </a:lnTo>
                <a:lnTo>
                  <a:pt x="4029" y="3368345"/>
                </a:lnTo>
                <a:lnTo>
                  <a:pt x="9" y="3364306"/>
                </a:lnTo>
                <a:lnTo>
                  <a:pt x="9" y="3354436"/>
                </a:lnTo>
                <a:close/>
                <a:moveTo>
                  <a:pt x="2157820" y="3111118"/>
                </a:moveTo>
                <a:lnTo>
                  <a:pt x="2167731" y="3111118"/>
                </a:lnTo>
                <a:lnTo>
                  <a:pt x="2171750" y="3115157"/>
                </a:lnTo>
                <a:lnTo>
                  <a:pt x="2171750" y="3125027"/>
                </a:lnTo>
                <a:lnTo>
                  <a:pt x="2167731" y="3129066"/>
                </a:lnTo>
                <a:lnTo>
                  <a:pt x="2157820" y="3129066"/>
                </a:lnTo>
                <a:lnTo>
                  <a:pt x="2153802" y="3125027"/>
                </a:lnTo>
                <a:lnTo>
                  <a:pt x="2153802" y="3115157"/>
                </a:lnTo>
                <a:close/>
                <a:moveTo>
                  <a:pt x="1918513" y="3111118"/>
                </a:moveTo>
                <a:lnTo>
                  <a:pt x="1928422" y="3111118"/>
                </a:lnTo>
                <a:lnTo>
                  <a:pt x="1932441" y="3115157"/>
                </a:lnTo>
                <a:lnTo>
                  <a:pt x="1932441" y="3125027"/>
                </a:lnTo>
                <a:lnTo>
                  <a:pt x="1928422" y="3129066"/>
                </a:lnTo>
                <a:lnTo>
                  <a:pt x="1918513" y="3129066"/>
                </a:lnTo>
                <a:lnTo>
                  <a:pt x="1914493" y="3125027"/>
                </a:lnTo>
                <a:lnTo>
                  <a:pt x="1914493" y="3115157"/>
                </a:lnTo>
                <a:close/>
                <a:moveTo>
                  <a:pt x="1679211" y="3111118"/>
                </a:moveTo>
                <a:lnTo>
                  <a:pt x="1689121" y="3111118"/>
                </a:lnTo>
                <a:lnTo>
                  <a:pt x="1693139" y="3115157"/>
                </a:lnTo>
                <a:lnTo>
                  <a:pt x="1693139" y="3125027"/>
                </a:lnTo>
                <a:lnTo>
                  <a:pt x="1689121" y="3129066"/>
                </a:lnTo>
                <a:lnTo>
                  <a:pt x="1679211" y="3129066"/>
                </a:lnTo>
                <a:lnTo>
                  <a:pt x="1675191" y="3125027"/>
                </a:lnTo>
                <a:lnTo>
                  <a:pt x="1675191" y="3115157"/>
                </a:lnTo>
                <a:close/>
                <a:moveTo>
                  <a:pt x="1439895" y="3111118"/>
                </a:moveTo>
                <a:lnTo>
                  <a:pt x="1449805" y="3111118"/>
                </a:lnTo>
                <a:lnTo>
                  <a:pt x="1453823" y="3115157"/>
                </a:lnTo>
                <a:lnTo>
                  <a:pt x="1453823" y="3125027"/>
                </a:lnTo>
                <a:lnTo>
                  <a:pt x="1449805" y="3129066"/>
                </a:lnTo>
                <a:lnTo>
                  <a:pt x="1439895" y="3129066"/>
                </a:lnTo>
                <a:lnTo>
                  <a:pt x="1435875" y="3125027"/>
                </a:lnTo>
                <a:lnTo>
                  <a:pt x="1435875" y="3115157"/>
                </a:lnTo>
                <a:close/>
                <a:moveTo>
                  <a:pt x="1200578" y="3111118"/>
                </a:moveTo>
                <a:lnTo>
                  <a:pt x="1210489" y="3111118"/>
                </a:lnTo>
                <a:lnTo>
                  <a:pt x="1214507" y="3115157"/>
                </a:lnTo>
                <a:lnTo>
                  <a:pt x="1214507" y="3125027"/>
                </a:lnTo>
                <a:lnTo>
                  <a:pt x="1210489" y="3129066"/>
                </a:lnTo>
                <a:lnTo>
                  <a:pt x="1200578" y="3129066"/>
                </a:lnTo>
                <a:lnTo>
                  <a:pt x="1196560" y="3125027"/>
                </a:lnTo>
                <a:lnTo>
                  <a:pt x="1196560" y="3115157"/>
                </a:lnTo>
                <a:close/>
                <a:moveTo>
                  <a:pt x="961266" y="3111118"/>
                </a:moveTo>
                <a:lnTo>
                  <a:pt x="971176" y="3111118"/>
                </a:lnTo>
                <a:lnTo>
                  <a:pt x="975195" y="3115157"/>
                </a:lnTo>
                <a:lnTo>
                  <a:pt x="975195" y="3125027"/>
                </a:lnTo>
                <a:lnTo>
                  <a:pt x="971176" y="3129066"/>
                </a:lnTo>
                <a:lnTo>
                  <a:pt x="961266" y="3129066"/>
                </a:lnTo>
                <a:lnTo>
                  <a:pt x="957247" y="3125027"/>
                </a:lnTo>
                <a:lnTo>
                  <a:pt x="957247" y="3115157"/>
                </a:lnTo>
                <a:close/>
                <a:moveTo>
                  <a:pt x="9572438" y="3111067"/>
                </a:moveTo>
                <a:lnTo>
                  <a:pt x="9582349" y="3111067"/>
                </a:lnTo>
                <a:lnTo>
                  <a:pt x="9586368" y="3115105"/>
                </a:lnTo>
                <a:lnTo>
                  <a:pt x="9586368" y="3124976"/>
                </a:lnTo>
                <a:lnTo>
                  <a:pt x="9582349" y="3129015"/>
                </a:lnTo>
                <a:lnTo>
                  <a:pt x="9572438" y="3129015"/>
                </a:lnTo>
                <a:lnTo>
                  <a:pt x="9568419" y="3124976"/>
                </a:lnTo>
                <a:lnTo>
                  <a:pt x="9568419" y="3115105"/>
                </a:lnTo>
                <a:close/>
                <a:moveTo>
                  <a:pt x="9333125" y="3111067"/>
                </a:moveTo>
                <a:lnTo>
                  <a:pt x="9343036" y="3111067"/>
                </a:lnTo>
                <a:lnTo>
                  <a:pt x="9347055" y="3115105"/>
                </a:lnTo>
                <a:lnTo>
                  <a:pt x="9347055" y="3124976"/>
                </a:lnTo>
                <a:lnTo>
                  <a:pt x="9343036" y="3129015"/>
                </a:lnTo>
                <a:lnTo>
                  <a:pt x="9333125" y="3129015"/>
                </a:lnTo>
                <a:lnTo>
                  <a:pt x="9329106" y="3124976"/>
                </a:lnTo>
                <a:lnTo>
                  <a:pt x="9329106" y="3115105"/>
                </a:lnTo>
                <a:close/>
                <a:moveTo>
                  <a:pt x="9093811" y="3111067"/>
                </a:moveTo>
                <a:lnTo>
                  <a:pt x="9103722" y="3111067"/>
                </a:lnTo>
                <a:lnTo>
                  <a:pt x="9107741" y="3115105"/>
                </a:lnTo>
                <a:lnTo>
                  <a:pt x="9107741" y="3124976"/>
                </a:lnTo>
                <a:lnTo>
                  <a:pt x="9103722" y="3129015"/>
                </a:lnTo>
                <a:lnTo>
                  <a:pt x="9093811" y="3129015"/>
                </a:lnTo>
                <a:lnTo>
                  <a:pt x="9089792" y="3124976"/>
                </a:lnTo>
                <a:lnTo>
                  <a:pt x="9089792" y="3115105"/>
                </a:lnTo>
                <a:close/>
                <a:moveTo>
                  <a:pt x="8854496" y="3111067"/>
                </a:moveTo>
                <a:lnTo>
                  <a:pt x="8864407" y="3111067"/>
                </a:lnTo>
                <a:lnTo>
                  <a:pt x="8868426" y="3115105"/>
                </a:lnTo>
                <a:lnTo>
                  <a:pt x="8868426" y="3124976"/>
                </a:lnTo>
                <a:lnTo>
                  <a:pt x="8864407" y="3129015"/>
                </a:lnTo>
                <a:lnTo>
                  <a:pt x="8854496" y="3129015"/>
                </a:lnTo>
                <a:lnTo>
                  <a:pt x="8850477" y="3124976"/>
                </a:lnTo>
                <a:lnTo>
                  <a:pt x="8850477" y="3115105"/>
                </a:lnTo>
                <a:close/>
                <a:moveTo>
                  <a:pt x="8615184" y="3111067"/>
                </a:moveTo>
                <a:lnTo>
                  <a:pt x="8625095" y="3111067"/>
                </a:lnTo>
                <a:lnTo>
                  <a:pt x="8629114" y="3115105"/>
                </a:lnTo>
                <a:lnTo>
                  <a:pt x="8629114" y="3124976"/>
                </a:lnTo>
                <a:lnTo>
                  <a:pt x="8625095" y="3129015"/>
                </a:lnTo>
                <a:lnTo>
                  <a:pt x="8615184" y="3129015"/>
                </a:lnTo>
                <a:lnTo>
                  <a:pt x="8611165" y="3124976"/>
                </a:lnTo>
                <a:lnTo>
                  <a:pt x="8611165" y="3115105"/>
                </a:lnTo>
                <a:close/>
                <a:moveTo>
                  <a:pt x="8375869" y="3111067"/>
                </a:moveTo>
                <a:lnTo>
                  <a:pt x="8385779" y="3111067"/>
                </a:lnTo>
                <a:lnTo>
                  <a:pt x="8389799" y="3115105"/>
                </a:lnTo>
                <a:lnTo>
                  <a:pt x="8389799" y="3124976"/>
                </a:lnTo>
                <a:lnTo>
                  <a:pt x="8385779" y="3129015"/>
                </a:lnTo>
                <a:lnTo>
                  <a:pt x="8375869" y="3129015"/>
                </a:lnTo>
                <a:lnTo>
                  <a:pt x="8371850" y="3124976"/>
                </a:lnTo>
                <a:lnTo>
                  <a:pt x="8371850" y="3115105"/>
                </a:lnTo>
                <a:close/>
                <a:moveTo>
                  <a:pt x="8136553" y="3111067"/>
                </a:moveTo>
                <a:lnTo>
                  <a:pt x="8146464" y="3111067"/>
                </a:lnTo>
                <a:lnTo>
                  <a:pt x="8150483" y="3115105"/>
                </a:lnTo>
                <a:lnTo>
                  <a:pt x="8150483" y="3124976"/>
                </a:lnTo>
                <a:lnTo>
                  <a:pt x="8146464" y="3129015"/>
                </a:lnTo>
                <a:lnTo>
                  <a:pt x="8136553" y="3129015"/>
                </a:lnTo>
                <a:lnTo>
                  <a:pt x="8132534" y="3124976"/>
                </a:lnTo>
                <a:lnTo>
                  <a:pt x="8132534" y="3115105"/>
                </a:lnTo>
                <a:close/>
                <a:moveTo>
                  <a:pt x="7897241" y="3111067"/>
                </a:moveTo>
                <a:lnTo>
                  <a:pt x="7907151" y="3111067"/>
                </a:lnTo>
                <a:lnTo>
                  <a:pt x="7911170" y="3115105"/>
                </a:lnTo>
                <a:lnTo>
                  <a:pt x="7911170" y="3124976"/>
                </a:lnTo>
                <a:lnTo>
                  <a:pt x="7907151" y="3129015"/>
                </a:lnTo>
                <a:lnTo>
                  <a:pt x="7897241" y="3129015"/>
                </a:lnTo>
                <a:lnTo>
                  <a:pt x="7893222" y="3124976"/>
                </a:lnTo>
                <a:lnTo>
                  <a:pt x="7893222" y="3115105"/>
                </a:lnTo>
                <a:close/>
                <a:moveTo>
                  <a:pt x="7657926" y="3111067"/>
                </a:moveTo>
                <a:lnTo>
                  <a:pt x="7667836" y="3111067"/>
                </a:lnTo>
                <a:lnTo>
                  <a:pt x="7671855" y="3115105"/>
                </a:lnTo>
                <a:lnTo>
                  <a:pt x="7671855" y="3124976"/>
                </a:lnTo>
                <a:lnTo>
                  <a:pt x="7667836" y="3129015"/>
                </a:lnTo>
                <a:lnTo>
                  <a:pt x="7657926" y="3129015"/>
                </a:lnTo>
                <a:lnTo>
                  <a:pt x="7653906" y="3124976"/>
                </a:lnTo>
                <a:lnTo>
                  <a:pt x="7653906" y="3115105"/>
                </a:lnTo>
                <a:close/>
                <a:moveTo>
                  <a:pt x="7418611" y="3111067"/>
                </a:moveTo>
                <a:lnTo>
                  <a:pt x="7428521" y="3111067"/>
                </a:lnTo>
                <a:lnTo>
                  <a:pt x="7432540" y="3115105"/>
                </a:lnTo>
                <a:lnTo>
                  <a:pt x="7432540" y="3124976"/>
                </a:lnTo>
                <a:lnTo>
                  <a:pt x="7428521" y="3129015"/>
                </a:lnTo>
                <a:lnTo>
                  <a:pt x="7418611" y="3129015"/>
                </a:lnTo>
                <a:lnTo>
                  <a:pt x="7414592" y="3124976"/>
                </a:lnTo>
                <a:lnTo>
                  <a:pt x="7414592" y="3115105"/>
                </a:lnTo>
                <a:close/>
                <a:moveTo>
                  <a:pt x="7179298" y="3111067"/>
                </a:moveTo>
                <a:lnTo>
                  <a:pt x="7189209" y="3111067"/>
                </a:lnTo>
                <a:lnTo>
                  <a:pt x="7193228" y="3115105"/>
                </a:lnTo>
                <a:lnTo>
                  <a:pt x="7193228" y="3124976"/>
                </a:lnTo>
                <a:lnTo>
                  <a:pt x="7189209" y="3129015"/>
                </a:lnTo>
                <a:lnTo>
                  <a:pt x="7179298" y="3129015"/>
                </a:lnTo>
                <a:lnTo>
                  <a:pt x="7175279" y="3124976"/>
                </a:lnTo>
                <a:lnTo>
                  <a:pt x="7175279" y="3115105"/>
                </a:lnTo>
                <a:close/>
                <a:moveTo>
                  <a:pt x="6939983" y="3111067"/>
                </a:moveTo>
                <a:lnTo>
                  <a:pt x="6949894" y="3111067"/>
                </a:lnTo>
                <a:lnTo>
                  <a:pt x="6953913" y="3115105"/>
                </a:lnTo>
                <a:lnTo>
                  <a:pt x="6953913" y="3124976"/>
                </a:lnTo>
                <a:lnTo>
                  <a:pt x="6949894" y="3129015"/>
                </a:lnTo>
                <a:lnTo>
                  <a:pt x="6939983" y="3129015"/>
                </a:lnTo>
                <a:lnTo>
                  <a:pt x="6935964" y="3124976"/>
                </a:lnTo>
                <a:lnTo>
                  <a:pt x="6935964" y="3115105"/>
                </a:lnTo>
                <a:close/>
                <a:moveTo>
                  <a:pt x="6700670" y="3111067"/>
                </a:moveTo>
                <a:lnTo>
                  <a:pt x="6710581" y="3111067"/>
                </a:lnTo>
                <a:lnTo>
                  <a:pt x="6714600" y="3115105"/>
                </a:lnTo>
                <a:lnTo>
                  <a:pt x="6714600" y="3124976"/>
                </a:lnTo>
                <a:lnTo>
                  <a:pt x="6710581" y="3129015"/>
                </a:lnTo>
                <a:lnTo>
                  <a:pt x="6700670" y="3129015"/>
                </a:lnTo>
                <a:lnTo>
                  <a:pt x="6696651" y="3124976"/>
                </a:lnTo>
                <a:lnTo>
                  <a:pt x="6696651" y="3115105"/>
                </a:lnTo>
                <a:close/>
                <a:moveTo>
                  <a:pt x="6461356" y="3111067"/>
                </a:moveTo>
                <a:lnTo>
                  <a:pt x="6471266" y="3111067"/>
                </a:lnTo>
                <a:lnTo>
                  <a:pt x="6475285" y="3115105"/>
                </a:lnTo>
                <a:lnTo>
                  <a:pt x="6475285" y="3124976"/>
                </a:lnTo>
                <a:lnTo>
                  <a:pt x="6471266" y="3129015"/>
                </a:lnTo>
                <a:lnTo>
                  <a:pt x="6461356" y="3129015"/>
                </a:lnTo>
                <a:lnTo>
                  <a:pt x="6457337" y="3124976"/>
                </a:lnTo>
                <a:lnTo>
                  <a:pt x="6457337" y="3115105"/>
                </a:lnTo>
                <a:close/>
                <a:moveTo>
                  <a:pt x="6222042" y="3111067"/>
                </a:moveTo>
                <a:lnTo>
                  <a:pt x="6231952" y="3111067"/>
                </a:lnTo>
                <a:lnTo>
                  <a:pt x="6235971" y="3115105"/>
                </a:lnTo>
                <a:lnTo>
                  <a:pt x="6235971" y="3124976"/>
                </a:lnTo>
                <a:lnTo>
                  <a:pt x="6231952" y="3129015"/>
                </a:lnTo>
                <a:lnTo>
                  <a:pt x="6222042" y="3129015"/>
                </a:lnTo>
                <a:lnTo>
                  <a:pt x="6218023" y="3124976"/>
                </a:lnTo>
                <a:lnTo>
                  <a:pt x="6218023" y="3115105"/>
                </a:lnTo>
                <a:close/>
                <a:moveTo>
                  <a:pt x="5982729" y="3111067"/>
                </a:moveTo>
                <a:lnTo>
                  <a:pt x="5992639" y="3111067"/>
                </a:lnTo>
                <a:lnTo>
                  <a:pt x="5996658" y="3115105"/>
                </a:lnTo>
                <a:lnTo>
                  <a:pt x="5996658" y="3124976"/>
                </a:lnTo>
                <a:lnTo>
                  <a:pt x="5992639" y="3129015"/>
                </a:lnTo>
                <a:lnTo>
                  <a:pt x="5982729" y="3129015"/>
                </a:lnTo>
                <a:lnTo>
                  <a:pt x="5978710" y="3124976"/>
                </a:lnTo>
                <a:lnTo>
                  <a:pt x="5978710" y="3115105"/>
                </a:lnTo>
                <a:close/>
                <a:moveTo>
                  <a:pt x="5743412" y="3111067"/>
                </a:moveTo>
                <a:lnTo>
                  <a:pt x="5753323" y="3111067"/>
                </a:lnTo>
                <a:lnTo>
                  <a:pt x="5757342" y="3115105"/>
                </a:lnTo>
                <a:lnTo>
                  <a:pt x="5757342" y="3124976"/>
                </a:lnTo>
                <a:lnTo>
                  <a:pt x="5753323" y="3129015"/>
                </a:lnTo>
                <a:lnTo>
                  <a:pt x="5743412" y="3129015"/>
                </a:lnTo>
                <a:lnTo>
                  <a:pt x="5739393" y="3124976"/>
                </a:lnTo>
                <a:lnTo>
                  <a:pt x="5739393" y="3115105"/>
                </a:lnTo>
                <a:close/>
                <a:moveTo>
                  <a:pt x="5504099" y="3111067"/>
                </a:moveTo>
                <a:lnTo>
                  <a:pt x="5514010" y="3111067"/>
                </a:lnTo>
                <a:lnTo>
                  <a:pt x="5518029" y="3115105"/>
                </a:lnTo>
                <a:lnTo>
                  <a:pt x="5518029" y="3124976"/>
                </a:lnTo>
                <a:lnTo>
                  <a:pt x="5514010" y="3129015"/>
                </a:lnTo>
                <a:lnTo>
                  <a:pt x="5504099" y="3129015"/>
                </a:lnTo>
                <a:lnTo>
                  <a:pt x="5500080" y="3124976"/>
                </a:lnTo>
                <a:lnTo>
                  <a:pt x="5500080" y="3115105"/>
                </a:lnTo>
                <a:close/>
                <a:moveTo>
                  <a:pt x="5264784" y="3111067"/>
                </a:moveTo>
                <a:lnTo>
                  <a:pt x="5274694" y="3111067"/>
                </a:lnTo>
                <a:lnTo>
                  <a:pt x="5278713" y="3115105"/>
                </a:lnTo>
                <a:lnTo>
                  <a:pt x="5278713" y="3124976"/>
                </a:lnTo>
                <a:lnTo>
                  <a:pt x="5274694" y="3129015"/>
                </a:lnTo>
                <a:lnTo>
                  <a:pt x="5264784" y="3129015"/>
                </a:lnTo>
                <a:lnTo>
                  <a:pt x="5260765" y="3124976"/>
                </a:lnTo>
                <a:lnTo>
                  <a:pt x="5260765" y="3115105"/>
                </a:lnTo>
                <a:close/>
                <a:moveTo>
                  <a:pt x="5025470" y="3111067"/>
                </a:moveTo>
                <a:lnTo>
                  <a:pt x="5035381" y="3111067"/>
                </a:lnTo>
                <a:lnTo>
                  <a:pt x="5039400" y="3115105"/>
                </a:lnTo>
                <a:lnTo>
                  <a:pt x="5039400" y="3124976"/>
                </a:lnTo>
                <a:lnTo>
                  <a:pt x="5035381" y="3129015"/>
                </a:lnTo>
                <a:lnTo>
                  <a:pt x="5025470" y="3129015"/>
                </a:lnTo>
                <a:lnTo>
                  <a:pt x="5021451" y="3124976"/>
                </a:lnTo>
                <a:lnTo>
                  <a:pt x="5021451" y="3115105"/>
                </a:lnTo>
                <a:close/>
                <a:moveTo>
                  <a:pt x="4786241" y="3111067"/>
                </a:moveTo>
                <a:lnTo>
                  <a:pt x="4796152" y="3111067"/>
                </a:lnTo>
                <a:lnTo>
                  <a:pt x="4800171" y="3115105"/>
                </a:lnTo>
                <a:lnTo>
                  <a:pt x="4800171" y="3124976"/>
                </a:lnTo>
                <a:lnTo>
                  <a:pt x="4796152" y="3129015"/>
                </a:lnTo>
                <a:lnTo>
                  <a:pt x="4786241" y="3129015"/>
                </a:lnTo>
                <a:lnTo>
                  <a:pt x="4782224" y="3124976"/>
                </a:lnTo>
                <a:lnTo>
                  <a:pt x="4782224" y="3115105"/>
                </a:lnTo>
                <a:close/>
                <a:moveTo>
                  <a:pt x="4546929" y="3111067"/>
                </a:moveTo>
                <a:lnTo>
                  <a:pt x="4556840" y="3111067"/>
                </a:lnTo>
                <a:lnTo>
                  <a:pt x="4560859" y="3115105"/>
                </a:lnTo>
                <a:lnTo>
                  <a:pt x="4560859" y="3124976"/>
                </a:lnTo>
                <a:lnTo>
                  <a:pt x="4556840" y="3129015"/>
                </a:lnTo>
                <a:lnTo>
                  <a:pt x="4546929" y="3129015"/>
                </a:lnTo>
                <a:lnTo>
                  <a:pt x="4542910" y="3124976"/>
                </a:lnTo>
                <a:lnTo>
                  <a:pt x="4542910" y="3115105"/>
                </a:lnTo>
                <a:close/>
                <a:moveTo>
                  <a:pt x="4307612" y="3111067"/>
                </a:moveTo>
                <a:lnTo>
                  <a:pt x="4317523" y="3111067"/>
                </a:lnTo>
                <a:lnTo>
                  <a:pt x="4321543" y="3115105"/>
                </a:lnTo>
                <a:lnTo>
                  <a:pt x="4321543" y="3124976"/>
                </a:lnTo>
                <a:lnTo>
                  <a:pt x="4317523" y="3129015"/>
                </a:lnTo>
                <a:lnTo>
                  <a:pt x="4307612" y="3129015"/>
                </a:lnTo>
                <a:lnTo>
                  <a:pt x="4303595" y="3124976"/>
                </a:lnTo>
                <a:lnTo>
                  <a:pt x="4303595" y="3115105"/>
                </a:lnTo>
                <a:close/>
                <a:moveTo>
                  <a:pt x="4068297" y="3111067"/>
                </a:moveTo>
                <a:lnTo>
                  <a:pt x="4078210" y="3111067"/>
                </a:lnTo>
                <a:lnTo>
                  <a:pt x="4082229" y="3115105"/>
                </a:lnTo>
                <a:lnTo>
                  <a:pt x="4082229" y="3124976"/>
                </a:lnTo>
                <a:lnTo>
                  <a:pt x="4078210" y="3129015"/>
                </a:lnTo>
                <a:lnTo>
                  <a:pt x="4068297" y="3129015"/>
                </a:lnTo>
                <a:lnTo>
                  <a:pt x="4064278" y="3124976"/>
                </a:lnTo>
                <a:lnTo>
                  <a:pt x="4064278" y="3115105"/>
                </a:lnTo>
                <a:close/>
                <a:moveTo>
                  <a:pt x="3828990" y="3111067"/>
                </a:moveTo>
                <a:lnTo>
                  <a:pt x="3838899" y="3111067"/>
                </a:lnTo>
                <a:lnTo>
                  <a:pt x="3842917" y="3115105"/>
                </a:lnTo>
                <a:lnTo>
                  <a:pt x="3842917" y="3124976"/>
                </a:lnTo>
                <a:lnTo>
                  <a:pt x="3838899" y="3129015"/>
                </a:lnTo>
                <a:lnTo>
                  <a:pt x="3828990" y="3129015"/>
                </a:lnTo>
                <a:lnTo>
                  <a:pt x="3824971" y="3124976"/>
                </a:lnTo>
                <a:lnTo>
                  <a:pt x="3824971" y="3115105"/>
                </a:lnTo>
                <a:close/>
                <a:moveTo>
                  <a:pt x="3589676" y="3111067"/>
                </a:moveTo>
                <a:lnTo>
                  <a:pt x="3599585" y="3111067"/>
                </a:lnTo>
                <a:lnTo>
                  <a:pt x="3603604" y="3115105"/>
                </a:lnTo>
                <a:lnTo>
                  <a:pt x="3603604" y="3124976"/>
                </a:lnTo>
                <a:lnTo>
                  <a:pt x="3599585" y="3129015"/>
                </a:lnTo>
                <a:lnTo>
                  <a:pt x="3589676" y="3129015"/>
                </a:lnTo>
                <a:lnTo>
                  <a:pt x="3585657" y="3124976"/>
                </a:lnTo>
                <a:lnTo>
                  <a:pt x="3585657" y="3115105"/>
                </a:lnTo>
                <a:close/>
                <a:moveTo>
                  <a:pt x="3350359" y="3111067"/>
                </a:moveTo>
                <a:lnTo>
                  <a:pt x="3360268" y="3111067"/>
                </a:lnTo>
                <a:lnTo>
                  <a:pt x="3364287" y="3115105"/>
                </a:lnTo>
                <a:lnTo>
                  <a:pt x="3364287" y="3124976"/>
                </a:lnTo>
                <a:lnTo>
                  <a:pt x="3360268" y="3129015"/>
                </a:lnTo>
                <a:lnTo>
                  <a:pt x="3350359" y="3129015"/>
                </a:lnTo>
                <a:lnTo>
                  <a:pt x="3346340" y="3124976"/>
                </a:lnTo>
                <a:lnTo>
                  <a:pt x="3346340" y="3115105"/>
                </a:lnTo>
                <a:close/>
                <a:moveTo>
                  <a:pt x="3111048" y="3111067"/>
                </a:moveTo>
                <a:lnTo>
                  <a:pt x="3120959" y="3111067"/>
                </a:lnTo>
                <a:lnTo>
                  <a:pt x="3124977" y="3115105"/>
                </a:lnTo>
                <a:lnTo>
                  <a:pt x="3124977" y="3124976"/>
                </a:lnTo>
                <a:lnTo>
                  <a:pt x="3120959" y="3129015"/>
                </a:lnTo>
                <a:lnTo>
                  <a:pt x="3111048" y="3129015"/>
                </a:lnTo>
                <a:lnTo>
                  <a:pt x="3107029" y="3124976"/>
                </a:lnTo>
                <a:lnTo>
                  <a:pt x="3107029" y="3115105"/>
                </a:lnTo>
                <a:close/>
                <a:moveTo>
                  <a:pt x="2871737" y="3111067"/>
                </a:moveTo>
                <a:lnTo>
                  <a:pt x="2881646" y="3111067"/>
                </a:lnTo>
                <a:lnTo>
                  <a:pt x="2885666" y="3115105"/>
                </a:lnTo>
                <a:lnTo>
                  <a:pt x="2885666" y="3124976"/>
                </a:lnTo>
                <a:lnTo>
                  <a:pt x="2881646" y="3129015"/>
                </a:lnTo>
                <a:lnTo>
                  <a:pt x="2871737" y="3129015"/>
                </a:lnTo>
                <a:lnTo>
                  <a:pt x="2867717" y="3124976"/>
                </a:lnTo>
                <a:lnTo>
                  <a:pt x="2867717" y="3115105"/>
                </a:lnTo>
                <a:close/>
                <a:moveTo>
                  <a:pt x="2632423" y="3111067"/>
                </a:moveTo>
                <a:lnTo>
                  <a:pt x="2642334" y="3111067"/>
                </a:lnTo>
                <a:lnTo>
                  <a:pt x="2646352" y="3115105"/>
                </a:lnTo>
                <a:lnTo>
                  <a:pt x="2646352" y="3124976"/>
                </a:lnTo>
                <a:lnTo>
                  <a:pt x="2642334" y="3129015"/>
                </a:lnTo>
                <a:lnTo>
                  <a:pt x="2632423" y="3129015"/>
                </a:lnTo>
                <a:lnTo>
                  <a:pt x="2628404" y="3124976"/>
                </a:lnTo>
                <a:lnTo>
                  <a:pt x="2628404" y="3115105"/>
                </a:lnTo>
                <a:close/>
                <a:moveTo>
                  <a:pt x="2393104" y="3111067"/>
                </a:moveTo>
                <a:lnTo>
                  <a:pt x="2403015" y="3111067"/>
                </a:lnTo>
                <a:lnTo>
                  <a:pt x="2407034" y="3115105"/>
                </a:lnTo>
                <a:lnTo>
                  <a:pt x="2407034" y="3124976"/>
                </a:lnTo>
                <a:lnTo>
                  <a:pt x="2403015" y="3129015"/>
                </a:lnTo>
                <a:lnTo>
                  <a:pt x="2393104" y="3129015"/>
                </a:lnTo>
                <a:lnTo>
                  <a:pt x="2389087" y="3124976"/>
                </a:lnTo>
                <a:lnTo>
                  <a:pt x="2389087" y="3115105"/>
                </a:lnTo>
                <a:close/>
                <a:moveTo>
                  <a:pt x="721968" y="3111067"/>
                </a:moveTo>
                <a:lnTo>
                  <a:pt x="731878" y="3111067"/>
                </a:lnTo>
                <a:lnTo>
                  <a:pt x="735897" y="3115105"/>
                </a:lnTo>
                <a:lnTo>
                  <a:pt x="735897" y="3124976"/>
                </a:lnTo>
                <a:lnTo>
                  <a:pt x="731878" y="3129015"/>
                </a:lnTo>
                <a:lnTo>
                  <a:pt x="721968" y="3129015"/>
                </a:lnTo>
                <a:lnTo>
                  <a:pt x="717949" y="3124976"/>
                </a:lnTo>
                <a:lnTo>
                  <a:pt x="717949" y="3115105"/>
                </a:lnTo>
                <a:close/>
                <a:moveTo>
                  <a:pt x="482656" y="3111067"/>
                </a:moveTo>
                <a:lnTo>
                  <a:pt x="492566" y="3111067"/>
                </a:lnTo>
                <a:lnTo>
                  <a:pt x="496585" y="3115105"/>
                </a:lnTo>
                <a:lnTo>
                  <a:pt x="496585" y="3124976"/>
                </a:lnTo>
                <a:lnTo>
                  <a:pt x="492566" y="3129015"/>
                </a:lnTo>
                <a:lnTo>
                  <a:pt x="482656" y="3129015"/>
                </a:lnTo>
                <a:lnTo>
                  <a:pt x="478637" y="3124976"/>
                </a:lnTo>
                <a:lnTo>
                  <a:pt x="478637" y="3115105"/>
                </a:lnTo>
                <a:close/>
                <a:moveTo>
                  <a:pt x="243342" y="3111067"/>
                </a:moveTo>
                <a:lnTo>
                  <a:pt x="253252" y="3111067"/>
                </a:lnTo>
                <a:lnTo>
                  <a:pt x="257271" y="3115105"/>
                </a:lnTo>
                <a:lnTo>
                  <a:pt x="257271" y="3124976"/>
                </a:lnTo>
                <a:lnTo>
                  <a:pt x="253252" y="3129015"/>
                </a:lnTo>
                <a:lnTo>
                  <a:pt x="243342" y="3129015"/>
                </a:lnTo>
                <a:lnTo>
                  <a:pt x="239323" y="3124976"/>
                </a:lnTo>
                <a:lnTo>
                  <a:pt x="239323" y="3115105"/>
                </a:lnTo>
                <a:close/>
                <a:moveTo>
                  <a:pt x="4029" y="3111067"/>
                </a:moveTo>
                <a:lnTo>
                  <a:pt x="13939" y="3111067"/>
                </a:lnTo>
                <a:lnTo>
                  <a:pt x="17959" y="3115105"/>
                </a:lnTo>
                <a:lnTo>
                  <a:pt x="17959" y="3124976"/>
                </a:lnTo>
                <a:lnTo>
                  <a:pt x="13939" y="3129015"/>
                </a:lnTo>
                <a:lnTo>
                  <a:pt x="4029" y="3129015"/>
                </a:lnTo>
                <a:lnTo>
                  <a:pt x="10" y="3124976"/>
                </a:lnTo>
                <a:lnTo>
                  <a:pt x="10" y="3115105"/>
                </a:lnTo>
                <a:close/>
                <a:moveTo>
                  <a:pt x="2157820" y="2871788"/>
                </a:moveTo>
                <a:lnTo>
                  <a:pt x="2167732" y="2871788"/>
                </a:lnTo>
                <a:lnTo>
                  <a:pt x="2171750" y="2875826"/>
                </a:lnTo>
                <a:lnTo>
                  <a:pt x="2171750" y="2885696"/>
                </a:lnTo>
                <a:lnTo>
                  <a:pt x="2167732" y="2889735"/>
                </a:lnTo>
                <a:lnTo>
                  <a:pt x="2157820" y="2889735"/>
                </a:lnTo>
                <a:lnTo>
                  <a:pt x="2153802" y="2885696"/>
                </a:lnTo>
                <a:lnTo>
                  <a:pt x="2153802" y="2875826"/>
                </a:lnTo>
                <a:close/>
                <a:moveTo>
                  <a:pt x="1918513" y="2871788"/>
                </a:moveTo>
                <a:lnTo>
                  <a:pt x="1928422" y="2871788"/>
                </a:lnTo>
                <a:lnTo>
                  <a:pt x="1932441" y="2875826"/>
                </a:lnTo>
                <a:lnTo>
                  <a:pt x="1932441" y="2885696"/>
                </a:lnTo>
                <a:lnTo>
                  <a:pt x="1928422" y="2889735"/>
                </a:lnTo>
                <a:lnTo>
                  <a:pt x="1918513" y="2889735"/>
                </a:lnTo>
                <a:lnTo>
                  <a:pt x="1914493" y="2885696"/>
                </a:lnTo>
                <a:lnTo>
                  <a:pt x="1914493" y="2875826"/>
                </a:lnTo>
                <a:close/>
                <a:moveTo>
                  <a:pt x="1679211" y="2871788"/>
                </a:moveTo>
                <a:lnTo>
                  <a:pt x="1689121" y="2871788"/>
                </a:lnTo>
                <a:lnTo>
                  <a:pt x="1693141" y="2875826"/>
                </a:lnTo>
                <a:lnTo>
                  <a:pt x="1693141" y="2885696"/>
                </a:lnTo>
                <a:lnTo>
                  <a:pt x="1689121" y="2889735"/>
                </a:lnTo>
                <a:lnTo>
                  <a:pt x="1679211" y="2889735"/>
                </a:lnTo>
                <a:lnTo>
                  <a:pt x="1675193" y="2885696"/>
                </a:lnTo>
                <a:lnTo>
                  <a:pt x="1675193" y="2875826"/>
                </a:lnTo>
                <a:close/>
                <a:moveTo>
                  <a:pt x="1439895" y="2871788"/>
                </a:moveTo>
                <a:lnTo>
                  <a:pt x="1449805" y="2871788"/>
                </a:lnTo>
                <a:lnTo>
                  <a:pt x="1453824" y="2875826"/>
                </a:lnTo>
                <a:lnTo>
                  <a:pt x="1453824" y="2885696"/>
                </a:lnTo>
                <a:lnTo>
                  <a:pt x="1449805" y="2889735"/>
                </a:lnTo>
                <a:lnTo>
                  <a:pt x="1439895" y="2889735"/>
                </a:lnTo>
                <a:lnTo>
                  <a:pt x="1435876" y="2885696"/>
                </a:lnTo>
                <a:lnTo>
                  <a:pt x="1435876" y="2875826"/>
                </a:lnTo>
                <a:close/>
                <a:moveTo>
                  <a:pt x="1200579" y="2871788"/>
                </a:moveTo>
                <a:lnTo>
                  <a:pt x="1210489" y="2871788"/>
                </a:lnTo>
                <a:lnTo>
                  <a:pt x="1214509" y="2875826"/>
                </a:lnTo>
                <a:lnTo>
                  <a:pt x="1214509" y="2885696"/>
                </a:lnTo>
                <a:lnTo>
                  <a:pt x="1210489" y="2889735"/>
                </a:lnTo>
                <a:lnTo>
                  <a:pt x="1200579" y="2889735"/>
                </a:lnTo>
                <a:lnTo>
                  <a:pt x="1196560" y="2885696"/>
                </a:lnTo>
                <a:lnTo>
                  <a:pt x="1196560" y="2875826"/>
                </a:lnTo>
                <a:close/>
                <a:moveTo>
                  <a:pt x="961267" y="2871788"/>
                </a:moveTo>
                <a:lnTo>
                  <a:pt x="971177" y="2871788"/>
                </a:lnTo>
                <a:lnTo>
                  <a:pt x="975195" y="2875826"/>
                </a:lnTo>
                <a:lnTo>
                  <a:pt x="975195" y="2885696"/>
                </a:lnTo>
                <a:lnTo>
                  <a:pt x="971177" y="2889735"/>
                </a:lnTo>
                <a:lnTo>
                  <a:pt x="961267" y="2889735"/>
                </a:lnTo>
                <a:lnTo>
                  <a:pt x="957247" y="2885696"/>
                </a:lnTo>
                <a:lnTo>
                  <a:pt x="957247" y="2875826"/>
                </a:lnTo>
                <a:close/>
                <a:moveTo>
                  <a:pt x="9572438" y="2871736"/>
                </a:moveTo>
                <a:lnTo>
                  <a:pt x="9582349" y="2871736"/>
                </a:lnTo>
                <a:lnTo>
                  <a:pt x="9586368" y="2875775"/>
                </a:lnTo>
                <a:lnTo>
                  <a:pt x="9586368" y="2885645"/>
                </a:lnTo>
                <a:lnTo>
                  <a:pt x="9582349" y="2889684"/>
                </a:lnTo>
                <a:lnTo>
                  <a:pt x="9572438" y="2889684"/>
                </a:lnTo>
                <a:lnTo>
                  <a:pt x="9568419" y="2885645"/>
                </a:lnTo>
                <a:lnTo>
                  <a:pt x="9568419" y="2875775"/>
                </a:lnTo>
                <a:close/>
                <a:moveTo>
                  <a:pt x="9333125" y="2871736"/>
                </a:moveTo>
                <a:lnTo>
                  <a:pt x="9343036" y="2871736"/>
                </a:lnTo>
                <a:lnTo>
                  <a:pt x="9347055" y="2875775"/>
                </a:lnTo>
                <a:lnTo>
                  <a:pt x="9347055" y="2885645"/>
                </a:lnTo>
                <a:lnTo>
                  <a:pt x="9343036" y="2889684"/>
                </a:lnTo>
                <a:lnTo>
                  <a:pt x="9333125" y="2889684"/>
                </a:lnTo>
                <a:lnTo>
                  <a:pt x="9329106" y="2885645"/>
                </a:lnTo>
                <a:lnTo>
                  <a:pt x="9329106" y="2875775"/>
                </a:lnTo>
                <a:close/>
                <a:moveTo>
                  <a:pt x="9093811" y="2871736"/>
                </a:moveTo>
                <a:lnTo>
                  <a:pt x="9103722" y="2871736"/>
                </a:lnTo>
                <a:lnTo>
                  <a:pt x="9107741" y="2875775"/>
                </a:lnTo>
                <a:lnTo>
                  <a:pt x="9107741" y="2885645"/>
                </a:lnTo>
                <a:lnTo>
                  <a:pt x="9103722" y="2889684"/>
                </a:lnTo>
                <a:lnTo>
                  <a:pt x="9093811" y="2889684"/>
                </a:lnTo>
                <a:lnTo>
                  <a:pt x="9089792" y="2885645"/>
                </a:lnTo>
                <a:lnTo>
                  <a:pt x="9089792" y="2875775"/>
                </a:lnTo>
                <a:close/>
                <a:moveTo>
                  <a:pt x="8854496" y="2871736"/>
                </a:moveTo>
                <a:lnTo>
                  <a:pt x="8864407" y="2871736"/>
                </a:lnTo>
                <a:lnTo>
                  <a:pt x="8868426" y="2875775"/>
                </a:lnTo>
                <a:lnTo>
                  <a:pt x="8868426" y="2885645"/>
                </a:lnTo>
                <a:lnTo>
                  <a:pt x="8864407" y="2889684"/>
                </a:lnTo>
                <a:lnTo>
                  <a:pt x="8854496" y="2889684"/>
                </a:lnTo>
                <a:lnTo>
                  <a:pt x="8850477" y="2885645"/>
                </a:lnTo>
                <a:lnTo>
                  <a:pt x="8850477" y="2875775"/>
                </a:lnTo>
                <a:close/>
                <a:moveTo>
                  <a:pt x="8615184" y="2871736"/>
                </a:moveTo>
                <a:lnTo>
                  <a:pt x="8625095" y="2871736"/>
                </a:lnTo>
                <a:lnTo>
                  <a:pt x="8629114" y="2875775"/>
                </a:lnTo>
                <a:lnTo>
                  <a:pt x="8629114" y="2885645"/>
                </a:lnTo>
                <a:lnTo>
                  <a:pt x="8625095" y="2889684"/>
                </a:lnTo>
                <a:lnTo>
                  <a:pt x="8615184" y="2889684"/>
                </a:lnTo>
                <a:lnTo>
                  <a:pt x="8611165" y="2885645"/>
                </a:lnTo>
                <a:lnTo>
                  <a:pt x="8611165" y="2875775"/>
                </a:lnTo>
                <a:close/>
                <a:moveTo>
                  <a:pt x="8375869" y="2871736"/>
                </a:moveTo>
                <a:lnTo>
                  <a:pt x="8385779" y="2871736"/>
                </a:lnTo>
                <a:lnTo>
                  <a:pt x="8389799" y="2875775"/>
                </a:lnTo>
                <a:lnTo>
                  <a:pt x="8389799" y="2885645"/>
                </a:lnTo>
                <a:lnTo>
                  <a:pt x="8385779" y="2889684"/>
                </a:lnTo>
                <a:lnTo>
                  <a:pt x="8375869" y="2889684"/>
                </a:lnTo>
                <a:lnTo>
                  <a:pt x="8371850" y="2885645"/>
                </a:lnTo>
                <a:lnTo>
                  <a:pt x="8371850" y="2875775"/>
                </a:lnTo>
                <a:close/>
                <a:moveTo>
                  <a:pt x="8136553" y="2871736"/>
                </a:moveTo>
                <a:lnTo>
                  <a:pt x="8146464" y="2871736"/>
                </a:lnTo>
                <a:lnTo>
                  <a:pt x="8150483" y="2875775"/>
                </a:lnTo>
                <a:lnTo>
                  <a:pt x="8150483" y="2885645"/>
                </a:lnTo>
                <a:lnTo>
                  <a:pt x="8146464" y="2889684"/>
                </a:lnTo>
                <a:lnTo>
                  <a:pt x="8136553" y="2889684"/>
                </a:lnTo>
                <a:lnTo>
                  <a:pt x="8132534" y="2885645"/>
                </a:lnTo>
                <a:lnTo>
                  <a:pt x="8132534" y="2875775"/>
                </a:lnTo>
                <a:close/>
                <a:moveTo>
                  <a:pt x="7897241" y="2871736"/>
                </a:moveTo>
                <a:lnTo>
                  <a:pt x="7907151" y="2871736"/>
                </a:lnTo>
                <a:lnTo>
                  <a:pt x="7911170" y="2875775"/>
                </a:lnTo>
                <a:lnTo>
                  <a:pt x="7911170" y="2885645"/>
                </a:lnTo>
                <a:lnTo>
                  <a:pt x="7907151" y="2889684"/>
                </a:lnTo>
                <a:lnTo>
                  <a:pt x="7897241" y="2889684"/>
                </a:lnTo>
                <a:lnTo>
                  <a:pt x="7893222" y="2885645"/>
                </a:lnTo>
                <a:lnTo>
                  <a:pt x="7893222" y="2875775"/>
                </a:lnTo>
                <a:close/>
                <a:moveTo>
                  <a:pt x="7657926" y="2871736"/>
                </a:moveTo>
                <a:lnTo>
                  <a:pt x="7667836" y="2871736"/>
                </a:lnTo>
                <a:lnTo>
                  <a:pt x="7671855" y="2875775"/>
                </a:lnTo>
                <a:lnTo>
                  <a:pt x="7671855" y="2885645"/>
                </a:lnTo>
                <a:lnTo>
                  <a:pt x="7667836" y="2889684"/>
                </a:lnTo>
                <a:lnTo>
                  <a:pt x="7657926" y="2889684"/>
                </a:lnTo>
                <a:lnTo>
                  <a:pt x="7653906" y="2885645"/>
                </a:lnTo>
                <a:lnTo>
                  <a:pt x="7653906" y="2875775"/>
                </a:lnTo>
                <a:close/>
                <a:moveTo>
                  <a:pt x="7418611" y="2871736"/>
                </a:moveTo>
                <a:lnTo>
                  <a:pt x="7428521" y="2871736"/>
                </a:lnTo>
                <a:lnTo>
                  <a:pt x="7432540" y="2875775"/>
                </a:lnTo>
                <a:lnTo>
                  <a:pt x="7432540" y="2885645"/>
                </a:lnTo>
                <a:lnTo>
                  <a:pt x="7428521" y="2889684"/>
                </a:lnTo>
                <a:lnTo>
                  <a:pt x="7418611" y="2889684"/>
                </a:lnTo>
                <a:lnTo>
                  <a:pt x="7414592" y="2885645"/>
                </a:lnTo>
                <a:lnTo>
                  <a:pt x="7414592" y="2875775"/>
                </a:lnTo>
                <a:close/>
                <a:moveTo>
                  <a:pt x="7179298" y="2871736"/>
                </a:moveTo>
                <a:lnTo>
                  <a:pt x="7189209" y="2871736"/>
                </a:lnTo>
                <a:lnTo>
                  <a:pt x="7193228" y="2875775"/>
                </a:lnTo>
                <a:lnTo>
                  <a:pt x="7193228" y="2885645"/>
                </a:lnTo>
                <a:lnTo>
                  <a:pt x="7189209" y="2889684"/>
                </a:lnTo>
                <a:lnTo>
                  <a:pt x="7179298" y="2889684"/>
                </a:lnTo>
                <a:lnTo>
                  <a:pt x="7175279" y="2885645"/>
                </a:lnTo>
                <a:lnTo>
                  <a:pt x="7175279" y="2875775"/>
                </a:lnTo>
                <a:close/>
                <a:moveTo>
                  <a:pt x="6939983" y="2871736"/>
                </a:moveTo>
                <a:lnTo>
                  <a:pt x="6949894" y="2871736"/>
                </a:lnTo>
                <a:lnTo>
                  <a:pt x="6953913" y="2875775"/>
                </a:lnTo>
                <a:lnTo>
                  <a:pt x="6953913" y="2885645"/>
                </a:lnTo>
                <a:lnTo>
                  <a:pt x="6949894" y="2889684"/>
                </a:lnTo>
                <a:lnTo>
                  <a:pt x="6939983" y="2889684"/>
                </a:lnTo>
                <a:lnTo>
                  <a:pt x="6935964" y="2885645"/>
                </a:lnTo>
                <a:lnTo>
                  <a:pt x="6935964" y="2875775"/>
                </a:lnTo>
                <a:close/>
                <a:moveTo>
                  <a:pt x="6700670" y="2871736"/>
                </a:moveTo>
                <a:lnTo>
                  <a:pt x="6710581" y="2871736"/>
                </a:lnTo>
                <a:lnTo>
                  <a:pt x="6714600" y="2875775"/>
                </a:lnTo>
                <a:lnTo>
                  <a:pt x="6714600" y="2885645"/>
                </a:lnTo>
                <a:lnTo>
                  <a:pt x="6710581" y="2889684"/>
                </a:lnTo>
                <a:lnTo>
                  <a:pt x="6700670" y="2889684"/>
                </a:lnTo>
                <a:lnTo>
                  <a:pt x="6696651" y="2885645"/>
                </a:lnTo>
                <a:lnTo>
                  <a:pt x="6696651" y="2875775"/>
                </a:lnTo>
                <a:close/>
                <a:moveTo>
                  <a:pt x="6461356" y="2871736"/>
                </a:moveTo>
                <a:lnTo>
                  <a:pt x="6471266" y="2871736"/>
                </a:lnTo>
                <a:lnTo>
                  <a:pt x="6475285" y="2875775"/>
                </a:lnTo>
                <a:lnTo>
                  <a:pt x="6475285" y="2885645"/>
                </a:lnTo>
                <a:lnTo>
                  <a:pt x="6471266" y="2889684"/>
                </a:lnTo>
                <a:lnTo>
                  <a:pt x="6461356" y="2889684"/>
                </a:lnTo>
                <a:lnTo>
                  <a:pt x="6457337" y="2885645"/>
                </a:lnTo>
                <a:lnTo>
                  <a:pt x="6457337" y="2875775"/>
                </a:lnTo>
                <a:close/>
                <a:moveTo>
                  <a:pt x="6222042" y="2871736"/>
                </a:moveTo>
                <a:lnTo>
                  <a:pt x="6231952" y="2871736"/>
                </a:lnTo>
                <a:lnTo>
                  <a:pt x="6235971" y="2875775"/>
                </a:lnTo>
                <a:lnTo>
                  <a:pt x="6235971" y="2885645"/>
                </a:lnTo>
                <a:lnTo>
                  <a:pt x="6231952" y="2889684"/>
                </a:lnTo>
                <a:lnTo>
                  <a:pt x="6222042" y="2889684"/>
                </a:lnTo>
                <a:lnTo>
                  <a:pt x="6218023" y="2885645"/>
                </a:lnTo>
                <a:lnTo>
                  <a:pt x="6218023" y="2875775"/>
                </a:lnTo>
                <a:close/>
                <a:moveTo>
                  <a:pt x="5982729" y="2871736"/>
                </a:moveTo>
                <a:lnTo>
                  <a:pt x="5992639" y="2871736"/>
                </a:lnTo>
                <a:lnTo>
                  <a:pt x="5996658" y="2875775"/>
                </a:lnTo>
                <a:lnTo>
                  <a:pt x="5996658" y="2885645"/>
                </a:lnTo>
                <a:lnTo>
                  <a:pt x="5992639" y="2889684"/>
                </a:lnTo>
                <a:lnTo>
                  <a:pt x="5982729" y="2889684"/>
                </a:lnTo>
                <a:lnTo>
                  <a:pt x="5978710" y="2885645"/>
                </a:lnTo>
                <a:lnTo>
                  <a:pt x="5978710" y="2875775"/>
                </a:lnTo>
                <a:close/>
                <a:moveTo>
                  <a:pt x="5743412" y="2871736"/>
                </a:moveTo>
                <a:lnTo>
                  <a:pt x="5753323" y="2871736"/>
                </a:lnTo>
                <a:lnTo>
                  <a:pt x="5757342" y="2875775"/>
                </a:lnTo>
                <a:lnTo>
                  <a:pt x="5757342" y="2885645"/>
                </a:lnTo>
                <a:lnTo>
                  <a:pt x="5753323" y="2889684"/>
                </a:lnTo>
                <a:lnTo>
                  <a:pt x="5743412" y="2889684"/>
                </a:lnTo>
                <a:lnTo>
                  <a:pt x="5739393" y="2885645"/>
                </a:lnTo>
                <a:lnTo>
                  <a:pt x="5739393" y="2875775"/>
                </a:lnTo>
                <a:close/>
                <a:moveTo>
                  <a:pt x="5504099" y="2871736"/>
                </a:moveTo>
                <a:lnTo>
                  <a:pt x="5514010" y="2871736"/>
                </a:lnTo>
                <a:lnTo>
                  <a:pt x="5518029" y="2875775"/>
                </a:lnTo>
                <a:lnTo>
                  <a:pt x="5518029" y="2885645"/>
                </a:lnTo>
                <a:lnTo>
                  <a:pt x="5514010" y="2889684"/>
                </a:lnTo>
                <a:lnTo>
                  <a:pt x="5504099" y="2889684"/>
                </a:lnTo>
                <a:lnTo>
                  <a:pt x="5500080" y="2885645"/>
                </a:lnTo>
                <a:lnTo>
                  <a:pt x="5500080" y="2875775"/>
                </a:lnTo>
                <a:close/>
                <a:moveTo>
                  <a:pt x="5264784" y="2871736"/>
                </a:moveTo>
                <a:lnTo>
                  <a:pt x="5274694" y="2871736"/>
                </a:lnTo>
                <a:lnTo>
                  <a:pt x="5278713" y="2875775"/>
                </a:lnTo>
                <a:lnTo>
                  <a:pt x="5278713" y="2885645"/>
                </a:lnTo>
                <a:lnTo>
                  <a:pt x="5274694" y="2889684"/>
                </a:lnTo>
                <a:lnTo>
                  <a:pt x="5264784" y="2889684"/>
                </a:lnTo>
                <a:lnTo>
                  <a:pt x="5260765" y="2885645"/>
                </a:lnTo>
                <a:lnTo>
                  <a:pt x="5260765" y="2875775"/>
                </a:lnTo>
                <a:close/>
                <a:moveTo>
                  <a:pt x="5025470" y="2871736"/>
                </a:moveTo>
                <a:lnTo>
                  <a:pt x="5035381" y="2871736"/>
                </a:lnTo>
                <a:lnTo>
                  <a:pt x="5039400" y="2875775"/>
                </a:lnTo>
                <a:lnTo>
                  <a:pt x="5039400" y="2885645"/>
                </a:lnTo>
                <a:lnTo>
                  <a:pt x="5035381" y="2889684"/>
                </a:lnTo>
                <a:lnTo>
                  <a:pt x="5025470" y="2889684"/>
                </a:lnTo>
                <a:lnTo>
                  <a:pt x="5021451" y="2885645"/>
                </a:lnTo>
                <a:lnTo>
                  <a:pt x="5021451" y="2875775"/>
                </a:lnTo>
                <a:close/>
                <a:moveTo>
                  <a:pt x="4786241" y="2871736"/>
                </a:moveTo>
                <a:lnTo>
                  <a:pt x="4796152" y="2871736"/>
                </a:lnTo>
                <a:lnTo>
                  <a:pt x="4800171" y="2875775"/>
                </a:lnTo>
                <a:lnTo>
                  <a:pt x="4800171" y="2885645"/>
                </a:lnTo>
                <a:lnTo>
                  <a:pt x="4796152" y="2889684"/>
                </a:lnTo>
                <a:lnTo>
                  <a:pt x="4786241" y="2889684"/>
                </a:lnTo>
                <a:lnTo>
                  <a:pt x="4782224" y="2885645"/>
                </a:lnTo>
                <a:lnTo>
                  <a:pt x="4782224" y="2875775"/>
                </a:lnTo>
                <a:close/>
                <a:moveTo>
                  <a:pt x="4546929" y="2871736"/>
                </a:moveTo>
                <a:lnTo>
                  <a:pt x="4556840" y="2871736"/>
                </a:lnTo>
                <a:lnTo>
                  <a:pt x="4560859" y="2875775"/>
                </a:lnTo>
                <a:lnTo>
                  <a:pt x="4560859" y="2885645"/>
                </a:lnTo>
                <a:lnTo>
                  <a:pt x="4556840" y="2889684"/>
                </a:lnTo>
                <a:lnTo>
                  <a:pt x="4546929" y="2889684"/>
                </a:lnTo>
                <a:lnTo>
                  <a:pt x="4542910" y="2885645"/>
                </a:lnTo>
                <a:lnTo>
                  <a:pt x="4542910" y="2875775"/>
                </a:lnTo>
                <a:close/>
                <a:moveTo>
                  <a:pt x="4307612" y="2871736"/>
                </a:moveTo>
                <a:lnTo>
                  <a:pt x="4317523" y="2871736"/>
                </a:lnTo>
                <a:lnTo>
                  <a:pt x="4321543" y="2875775"/>
                </a:lnTo>
                <a:lnTo>
                  <a:pt x="4321543" y="2885645"/>
                </a:lnTo>
                <a:lnTo>
                  <a:pt x="4317523" y="2889684"/>
                </a:lnTo>
                <a:lnTo>
                  <a:pt x="4307612" y="2889684"/>
                </a:lnTo>
                <a:lnTo>
                  <a:pt x="4303595" y="2885645"/>
                </a:lnTo>
                <a:lnTo>
                  <a:pt x="4303595" y="2875775"/>
                </a:lnTo>
                <a:close/>
                <a:moveTo>
                  <a:pt x="4068297" y="2871736"/>
                </a:moveTo>
                <a:lnTo>
                  <a:pt x="4078210" y="2871736"/>
                </a:lnTo>
                <a:lnTo>
                  <a:pt x="4082229" y="2875775"/>
                </a:lnTo>
                <a:lnTo>
                  <a:pt x="4082229" y="2885645"/>
                </a:lnTo>
                <a:lnTo>
                  <a:pt x="4078210" y="2889684"/>
                </a:lnTo>
                <a:lnTo>
                  <a:pt x="4068297" y="2889684"/>
                </a:lnTo>
                <a:lnTo>
                  <a:pt x="4064278" y="2885645"/>
                </a:lnTo>
                <a:lnTo>
                  <a:pt x="4064278" y="2875775"/>
                </a:lnTo>
                <a:close/>
                <a:moveTo>
                  <a:pt x="3828990" y="2871736"/>
                </a:moveTo>
                <a:lnTo>
                  <a:pt x="3838899" y="2871736"/>
                </a:lnTo>
                <a:lnTo>
                  <a:pt x="3842917" y="2875775"/>
                </a:lnTo>
                <a:lnTo>
                  <a:pt x="3842917" y="2885645"/>
                </a:lnTo>
                <a:lnTo>
                  <a:pt x="3838899" y="2889684"/>
                </a:lnTo>
                <a:lnTo>
                  <a:pt x="3828990" y="2889684"/>
                </a:lnTo>
                <a:lnTo>
                  <a:pt x="3824971" y="2885645"/>
                </a:lnTo>
                <a:lnTo>
                  <a:pt x="3824971" y="2875775"/>
                </a:lnTo>
                <a:close/>
                <a:moveTo>
                  <a:pt x="3589676" y="2871736"/>
                </a:moveTo>
                <a:lnTo>
                  <a:pt x="3599585" y="2871736"/>
                </a:lnTo>
                <a:lnTo>
                  <a:pt x="3603604" y="2875775"/>
                </a:lnTo>
                <a:lnTo>
                  <a:pt x="3603604" y="2885645"/>
                </a:lnTo>
                <a:lnTo>
                  <a:pt x="3599585" y="2889684"/>
                </a:lnTo>
                <a:lnTo>
                  <a:pt x="3589676" y="2889684"/>
                </a:lnTo>
                <a:lnTo>
                  <a:pt x="3585657" y="2885645"/>
                </a:lnTo>
                <a:lnTo>
                  <a:pt x="3585657" y="2875775"/>
                </a:lnTo>
                <a:close/>
                <a:moveTo>
                  <a:pt x="3350359" y="2871736"/>
                </a:moveTo>
                <a:lnTo>
                  <a:pt x="3360268" y="2871736"/>
                </a:lnTo>
                <a:lnTo>
                  <a:pt x="3364287" y="2875775"/>
                </a:lnTo>
                <a:lnTo>
                  <a:pt x="3364287" y="2885645"/>
                </a:lnTo>
                <a:lnTo>
                  <a:pt x="3360268" y="2889684"/>
                </a:lnTo>
                <a:lnTo>
                  <a:pt x="3350359" y="2889684"/>
                </a:lnTo>
                <a:lnTo>
                  <a:pt x="3346340" y="2885645"/>
                </a:lnTo>
                <a:lnTo>
                  <a:pt x="3346340" y="2875775"/>
                </a:lnTo>
                <a:close/>
                <a:moveTo>
                  <a:pt x="3111048" y="2871736"/>
                </a:moveTo>
                <a:lnTo>
                  <a:pt x="3120959" y="2871736"/>
                </a:lnTo>
                <a:lnTo>
                  <a:pt x="3124977" y="2875775"/>
                </a:lnTo>
                <a:lnTo>
                  <a:pt x="3124977" y="2885645"/>
                </a:lnTo>
                <a:lnTo>
                  <a:pt x="3120959" y="2889684"/>
                </a:lnTo>
                <a:lnTo>
                  <a:pt x="3111048" y="2889684"/>
                </a:lnTo>
                <a:lnTo>
                  <a:pt x="3107029" y="2885645"/>
                </a:lnTo>
                <a:lnTo>
                  <a:pt x="3107029" y="2875775"/>
                </a:lnTo>
                <a:close/>
                <a:moveTo>
                  <a:pt x="2871737" y="2871736"/>
                </a:moveTo>
                <a:lnTo>
                  <a:pt x="2881646" y="2871736"/>
                </a:lnTo>
                <a:lnTo>
                  <a:pt x="2885666" y="2875775"/>
                </a:lnTo>
                <a:lnTo>
                  <a:pt x="2885666" y="2885645"/>
                </a:lnTo>
                <a:lnTo>
                  <a:pt x="2881646" y="2889684"/>
                </a:lnTo>
                <a:lnTo>
                  <a:pt x="2871737" y="2889684"/>
                </a:lnTo>
                <a:lnTo>
                  <a:pt x="2867717" y="2885645"/>
                </a:lnTo>
                <a:lnTo>
                  <a:pt x="2867717" y="2875775"/>
                </a:lnTo>
                <a:close/>
                <a:moveTo>
                  <a:pt x="2632423" y="2871736"/>
                </a:moveTo>
                <a:lnTo>
                  <a:pt x="2642334" y="2871736"/>
                </a:lnTo>
                <a:lnTo>
                  <a:pt x="2646352" y="2875775"/>
                </a:lnTo>
                <a:lnTo>
                  <a:pt x="2646352" y="2885645"/>
                </a:lnTo>
                <a:lnTo>
                  <a:pt x="2642334" y="2889684"/>
                </a:lnTo>
                <a:lnTo>
                  <a:pt x="2632423" y="2889684"/>
                </a:lnTo>
                <a:lnTo>
                  <a:pt x="2628404" y="2885645"/>
                </a:lnTo>
                <a:lnTo>
                  <a:pt x="2628404" y="2875775"/>
                </a:lnTo>
                <a:close/>
                <a:moveTo>
                  <a:pt x="2393104" y="2871736"/>
                </a:moveTo>
                <a:lnTo>
                  <a:pt x="2403015" y="2871736"/>
                </a:lnTo>
                <a:lnTo>
                  <a:pt x="2407034" y="2875775"/>
                </a:lnTo>
                <a:lnTo>
                  <a:pt x="2407034" y="2885645"/>
                </a:lnTo>
                <a:lnTo>
                  <a:pt x="2403015" y="2889684"/>
                </a:lnTo>
                <a:lnTo>
                  <a:pt x="2393104" y="2889684"/>
                </a:lnTo>
                <a:lnTo>
                  <a:pt x="2389087" y="2885645"/>
                </a:lnTo>
                <a:lnTo>
                  <a:pt x="2389087" y="2875775"/>
                </a:lnTo>
                <a:close/>
                <a:moveTo>
                  <a:pt x="721969" y="2871736"/>
                </a:moveTo>
                <a:lnTo>
                  <a:pt x="731879" y="2871736"/>
                </a:lnTo>
                <a:lnTo>
                  <a:pt x="735898" y="2875775"/>
                </a:lnTo>
                <a:lnTo>
                  <a:pt x="735898" y="2885645"/>
                </a:lnTo>
                <a:lnTo>
                  <a:pt x="731879" y="2889684"/>
                </a:lnTo>
                <a:lnTo>
                  <a:pt x="721969" y="2889684"/>
                </a:lnTo>
                <a:lnTo>
                  <a:pt x="717950" y="2885645"/>
                </a:lnTo>
                <a:lnTo>
                  <a:pt x="717950" y="2875775"/>
                </a:lnTo>
                <a:close/>
                <a:moveTo>
                  <a:pt x="482656" y="2871736"/>
                </a:moveTo>
                <a:lnTo>
                  <a:pt x="492567" y="2871736"/>
                </a:lnTo>
                <a:lnTo>
                  <a:pt x="496586" y="2875775"/>
                </a:lnTo>
                <a:lnTo>
                  <a:pt x="496586" y="2885645"/>
                </a:lnTo>
                <a:lnTo>
                  <a:pt x="492567" y="2889684"/>
                </a:lnTo>
                <a:lnTo>
                  <a:pt x="482656" y="2889684"/>
                </a:lnTo>
                <a:lnTo>
                  <a:pt x="478637" y="2885645"/>
                </a:lnTo>
                <a:lnTo>
                  <a:pt x="478637" y="2875775"/>
                </a:lnTo>
                <a:close/>
                <a:moveTo>
                  <a:pt x="243343" y="2871736"/>
                </a:moveTo>
                <a:lnTo>
                  <a:pt x="253253" y="2871736"/>
                </a:lnTo>
                <a:lnTo>
                  <a:pt x="257272" y="2875775"/>
                </a:lnTo>
                <a:lnTo>
                  <a:pt x="257272" y="2885645"/>
                </a:lnTo>
                <a:lnTo>
                  <a:pt x="253253" y="2889684"/>
                </a:lnTo>
                <a:lnTo>
                  <a:pt x="243343" y="2889684"/>
                </a:lnTo>
                <a:lnTo>
                  <a:pt x="239324" y="2885645"/>
                </a:lnTo>
                <a:lnTo>
                  <a:pt x="239324" y="2875775"/>
                </a:lnTo>
                <a:close/>
                <a:moveTo>
                  <a:pt x="4030" y="2871736"/>
                </a:moveTo>
                <a:lnTo>
                  <a:pt x="13940" y="2871736"/>
                </a:lnTo>
                <a:lnTo>
                  <a:pt x="17959" y="2875775"/>
                </a:lnTo>
                <a:lnTo>
                  <a:pt x="17959" y="2885645"/>
                </a:lnTo>
                <a:lnTo>
                  <a:pt x="13940" y="2889684"/>
                </a:lnTo>
                <a:lnTo>
                  <a:pt x="4030" y="2889684"/>
                </a:lnTo>
                <a:lnTo>
                  <a:pt x="11" y="2885645"/>
                </a:lnTo>
                <a:lnTo>
                  <a:pt x="11" y="2875775"/>
                </a:lnTo>
                <a:close/>
                <a:moveTo>
                  <a:pt x="9572438" y="2632457"/>
                </a:moveTo>
                <a:lnTo>
                  <a:pt x="9582349" y="2632457"/>
                </a:lnTo>
                <a:lnTo>
                  <a:pt x="9586368" y="2636496"/>
                </a:lnTo>
                <a:lnTo>
                  <a:pt x="9586368" y="2646366"/>
                </a:lnTo>
                <a:lnTo>
                  <a:pt x="9582349" y="2650405"/>
                </a:lnTo>
                <a:lnTo>
                  <a:pt x="9572438" y="2650405"/>
                </a:lnTo>
                <a:lnTo>
                  <a:pt x="9568419" y="2646366"/>
                </a:lnTo>
                <a:lnTo>
                  <a:pt x="9568419" y="2636496"/>
                </a:lnTo>
                <a:close/>
                <a:moveTo>
                  <a:pt x="9333125" y="2632457"/>
                </a:moveTo>
                <a:lnTo>
                  <a:pt x="9343036" y="2632457"/>
                </a:lnTo>
                <a:lnTo>
                  <a:pt x="9347055" y="2636496"/>
                </a:lnTo>
                <a:lnTo>
                  <a:pt x="9347055" y="2646366"/>
                </a:lnTo>
                <a:lnTo>
                  <a:pt x="9343036" y="2650405"/>
                </a:lnTo>
                <a:lnTo>
                  <a:pt x="9333125" y="2650405"/>
                </a:lnTo>
                <a:lnTo>
                  <a:pt x="9329106" y="2646366"/>
                </a:lnTo>
                <a:lnTo>
                  <a:pt x="9329106" y="2636496"/>
                </a:lnTo>
                <a:close/>
                <a:moveTo>
                  <a:pt x="9093811" y="2632457"/>
                </a:moveTo>
                <a:lnTo>
                  <a:pt x="9103722" y="2632457"/>
                </a:lnTo>
                <a:lnTo>
                  <a:pt x="9107741" y="2636496"/>
                </a:lnTo>
                <a:lnTo>
                  <a:pt x="9107741" y="2646366"/>
                </a:lnTo>
                <a:lnTo>
                  <a:pt x="9103722" y="2650405"/>
                </a:lnTo>
                <a:lnTo>
                  <a:pt x="9093811" y="2650405"/>
                </a:lnTo>
                <a:lnTo>
                  <a:pt x="9089792" y="2646366"/>
                </a:lnTo>
                <a:lnTo>
                  <a:pt x="9089792" y="2636496"/>
                </a:lnTo>
                <a:close/>
                <a:moveTo>
                  <a:pt x="8854496" y="2632457"/>
                </a:moveTo>
                <a:lnTo>
                  <a:pt x="8864407" y="2632457"/>
                </a:lnTo>
                <a:lnTo>
                  <a:pt x="8868426" y="2636496"/>
                </a:lnTo>
                <a:lnTo>
                  <a:pt x="8868426" y="2646366"/>
                </a:lnTo>
                <a:lnTo>
                  <a:pt x="8864407" y="2650405"/>
                </a:lnTo>
                <a:lnTo>
                  <a:pt x="8854496" y="2650405"/>
                </a:lnTo>
                <a:lnTo>
                  <a:pt x="8850477" y="2646366"/>
                </a:lnTo>
                <a:lnTo>
                  <a:pt x="8850477" y="2636496"/>
                </a:lnTo>
                <a:close/>
                <a:moveTo>
                  <a:pt x="8615184" y="2632457"/>
                </a:moveTo>
                <a:lnTo>
                  <a:pt x="8625095" y="2632457"/>
                </a:lnTo>
                <a:lnTo>
                  <a:pt x="8629114" y="2636496"/>
                </a:lnTo>
                <a:lnTo>
                  <a:pt x="8629114" y="2646366"/>
                </a:lnTo>
                <a:lnTo>
                  <a:pt x="8625095" y="2650405"/>
                </a:lnTo>
                <a:lnTo>
                  <a:pt x="8615184" y="2650405"/>
                </a:lnTo>
                <a:lnTo>
                  <a:pt x="8611165" y="2646366"/>
                </a:lnTo>
                <a:lnTo>
                  <a:pt x="8611165" y="2636496"/>
                </a:lnTo>
                <a:close/>
                <a:moveTo>
                  <a:pt x="8375869" y="2632457"/>
                </a:moveTo>
                <a:lnTo>
                  <a:pt x="8385779" y="2632457"/>
                </a:lnTo>
                <a:lnTo>
                  <a:pt x="8389799" y="2636496"/>
                </a:lnTo>
                <a:lnTo>
                  <a:pt x="8389799" y="2646366"/>
                </a:lnTo>
                <a:lnTo>
                  <a:pt x="8385779" y="2650405"/>
                </a:lnTo>
                <a:lnTo>
                  <a:pt x="8375869" y="2650405"/>
                </a:lnTo>
                <a:lnTo>
                  <a:pt x="8371850" y="2646366"/>
                </a:lnTo>
                <a:lnTo>
                  <a:pt x="8371850" y="2636496"/>
                </a:lnTo>
                <a:close/>
                <a:moveTo>
                  <a:pt x="8136553" y="2632457"/>
                </a:moveTo>
                <a:lnTo>
                  <a:pt x="8146464" y="2632457"/>
                </a:lnTo>
                <a:lnTo>
                  <a:pt x="8150483" y="2636496"/>
                </a:lnTo>
                <a:lnTo>
                  <a:pt x="8150483" y="2646366"/>
                </a:lnTo>
                <a:lnTo>
                  <a:pt x="8146464" y="2650405"/>
                </a:lnTo>
                <a:lnTo>
                  <a:pt x="8136553" y="2650405"/>
                </a:lnTo>
                <a:lnTo>
                  <a:pt x="8132534" y="2646366"/>
                </a:lnTo>
                <a:lnTo>
                  <a:pt x="8132534" y="2636496"/>
                </a:lnTo>
                <a:close/>
                <a:moveTo>
                  <a:pt x="7897241" y="2632457"/>
                </a:moveTo>
                <a:lnTo>
                  <a:pt x="7907151" y="2632457"/>
                </a:lnTo>
                <a:lnTo>
                  <a:pt x="7911170" y="2636496"/>
                </a:lnTo>
                <a:lnTo>
                  <a:pt x="7911170" y="2646366"/>
                </a:lnTo>
                <a:lnTo>
                  <a:pt x="7907151" y="2650405"/>
                </a:lnTo>
                <a:lnTo>
                  <a:pt x="7897241" y="2650405"/>
                </a:lnTo>
                <a:lnTo>
                  <a:pt x="7893222" y="2646366"/>
                </a:lnTo>
                <a:lnTo>
                  <a:pt x="7893222" y="2636496"/>
                </a:lnTo>
                <a:close/>
                <a:moveTo>
                  <a:pt x="7657926" y="2632457"/>
                </a:moveTo>
                <a:lnTo>
                  <a:pt x="7667836" y="2632457"/>
                </a:lnTo>
                <a:lnTo>
                  <a:pt x="7671855" y="2636496"/>
                </a:lnTo>
                <a:lnTo>
                  <a:pt x="7671855" y="2646366"/>
                </a:lnTo>
                <a:lnTo>
                  <a:pt x="7667836" y="2650405"/>
                </a:lnTo>
                <a:lnTo>
                  <a:pt x="7657926" y="2650405"/>
                </a:lnTo>
                <a:lnTo>
                  <a:pt x="7653906" y="2646366"/>
                </a:lnTo>
                <a:lnTo>
                  <a:pt x="7653906" y="2636496"/>
                </a:lnTo>
                <a:close/>
                <a:moveTo>
                  <a:pt x="7418611" y="2632457"/>
                </a:moveTo>
                <a:lnTo>
                  <a:pt x="7428521" y="2632457"/>
                </a:lnTo>
                <a:lnTo>
                  <a:pt x="7432540" y="2636496"/>
                </a:lnTo>
                <a:lnTo>
                  <a:pt x="7432540" y="2646366"/>
                </a:lnTo>
                <a:lnTo>
                  <a:pt x="7428521" y="2650405"/>
                </a:lnTo>
                <a:lnTo>
                  <a:pt x="7418611" y="2650405"/>
                </a:lnTo>
                <a:lnTo>
                  <a:pt x="7414592" y="2646366"/>
                </a:lnTo>
                <a:lnTo>
                  <a:pt x="7414592" y="2636496"/>
                </a:lnTo>
                <a:close/>
                <a:moveTo>
                  <a:pt x="7179298" y="2632457"/>
                </a:moveTo>
                <a:lnTo>
                  <a:pt x="7189209" y="2632457"/>
                </a:lnTo>
                <a:lnTo>
                  <a:pt x="7193228" y="2636496"/>
                </a:lnTo>
                <a:lnTo>
                  <a:pt x="7193228" y="2646366"/>
                </a:lnTo>
                <a:lnTo>
                  <a:pt x="7189209" y="2650405"/>
                </a:lnTo>
                <a:lnTo>
                  <a:pt x="7179298" y="2650405"/>
                </a:lnTo>
                <a:lnTo>
                  <a:pt x="7175279" y="2646366"/>
                </a:lnTo>
                <a:lnTo>
                  <a:pt x="7175279" y="2636496"/>
                </a:lnTo>
                <a:close/>
                <a:moveTo>
                  <a:pt x="6939983" y="2632457"/>
                </a:moveTo>
                <a:lnTo>
                  <a:pt x="6949894" y="2632457"/>
                </a:lnTo>
                <a:lnTo>
                  <a:pt x="6953913" y="2636496"/>
                </a:lnTo>
                <a:lnTo>
                  <a:pt x="6953913" y="2646366"/>
                </a:lnTo>
                <a:lnTo>
                  <a:pt x="6949894" y="2650405"/>
                </a:lnTo>
                <a:lnTo>
                  <a:pt x="6939983" y="2650405"/>
                </a:lnTo>
                <a:lnTo>
                  <a:pt x="6935964" y="2646366"/>
                </a:lnTo>
                <a:lnTo>
                  <a:pt x="6935964" y="2636496"/>
                </a:lnTo>
                <a:close/>
                <a:moveTo>
                  <a:pt x="6700670" y="2632457"/>
                </a:moveTo>
                <a:lnTo>
                  <a:pt x="6710581" y="2632457"/>
                </a:lnTo>
                <a:lnTo>
                  <a:pt x="6714600" y="2636496"/>
                </a:lnTo>
                <a:lnTo>
                  <a:pt x="6714600" y="2646366"/>
                </a:lnTo>
                <a:lnTo>
                  <a:pt x="6710581" y="2650405"/>
                </a:lnTo>
                <a:lnTo>
                  <a:pt x="6700670" y="2650405"/>
                </a:lnTo>
                <a:lnTo>
                  <a:pt x="6696651" y="2646366"/>
                </a:lnTo>
                <a:lnTo>
                  <a:pt x="6696651" y="2636496"/>
                </a:lnTo>
                <a:close/>
                <a:moveTo>
                  <a:pt x="6461356" y="2632457"/>
                </a:moveTo>
                <a:lnTo>
                  <a:pt x="6471266" y="2632457"/>
                </a:lnTo>
                <a:lnTo>
                  <a:pt x="6475285" y="2636496"/>
                </a:lnTo>
                <a:lnTo>
                  <a:pt x="6475285" y="2646366"/>
                </a:lnTo>
                <a:lnTo>
                  <a:pt x="6471266" y="2650405"/>
                </a:lnTo>
                <a:lnTo>
                  <a:pt x="6461356" y="2650405"/>
                </a:lnTo>
                <a:lnTo>
                  <a:pt x="6457337" y="2646366"/>
                </a:lnTo>
                <a:lnTo>
                  <a:pt x="6457337" y="2636496"/>
                </a:lnTo>
                <a:close/>
                <a:moveTo>
                  <a:pt x="6222042" y="2632457"/>
                </a:moveTo>
                <a:lnTo>
                  <a:pt x="6231952" y="2632457"/>
                </a:lnTo>
                <a:lnTo>
                  <a:pt x="6235971" y="2636496"/>
                </a:lnTo>
                <a:lnTo>
                  <a:pt x="6235971" y="2646366"/>
                </a:lnTo>
                <a:lnTo>
                  <a:pt x="6231952" y="2650405"/>
                </a:lnTo>
                <a:lnTo>
                  <a:pt x="6222042" y="2650405"/>
                </a:lnTo>
                <a:lnTo>
                  <a:pt x="6218023" y="2646366"/>
                </a:lnTo>
                <a:lnTo>
                  <a:pt x="6218023" y="2636496"/>
                </a:lnTo>
                <a:close/>
                <a:moveTo>
                  <a:pt x="5982729" y="2632457"/>
                </a:moveTo>
                <a:lnTo>
                  <a:pt x="5992639" y="2632457"/>
                </a:lnTo>
                <a:lnTo>
                  <a:pt x="5996658" y="2636496"/>
                </a:lnTo>
                <a:lnTo>
                  <a:pt x="5996658" y="2646366"/>
                </a:lnTo>
                <a:lnTo>
                  <a:pt x="5992639" y="2650405"/>
                </a:lnTo>
                <a:lnTo>
                  <a:pt x="5982729" y="2650405"/>
                </a:lnTo>
                <a:lnTo>
                  <a:pt x="5978710" y="2646366"/>
                </a:lnTo>
                <a:lnTo>
                  <a:pt x="5978710" y="2636496"/>
                </a:lnTo>
                <a:close/>
                <a:moveTo>
                  <a:pt x="5743412" y="2632457"/>
                </a:moveTo>
                <a:lnTo>
                  <a:pt x="5753323" y="2632457"/>
                </a:lnTo>
                <a:lnTo>
                  <a:pt x="5757342" y="2636496"/>
                </a:lnTo>
                <a:lnTo>
                  <a:pt x="5757342" y="2646366"/>
                </a:lnTo>
                <a:lnTo>
                  <a:pt x="5753323" y="2650405"/>
                </a:lnTo>
                <a:lnTo>
                  <a:pt x="5743412" y="2650405"/>
                </a:lnTo>
                <a:lnTo>
                  <a:pt x="5739393" y="2646366"/>
                </a:lnTo>
                <a:lnTo>
                  <a:pt x="5739393" y="2636496"/>
                </a:lnTo>
                <a:close/>
                <a:moveTo>
                  <a:pt x="5504099" y="2632457"/>
                </a:moveTo>
                <a:lnTo>
                  <a:pt x="5514010" y="2632457"/>
                </a:lnTo>
                <a:lnTo>
                  <a:pt x="5518029" y="2636496"/>
                </a:lnTo>
                <a:lnTo>
                  <a:pt x="5518029" y="2646366"/>
                </a:lnTo>
                <a:lnTo>
                  <a:pt x="5514010" y="2650405"/>
                </a:lnTo>
                <a:lnTo>
                  <a:pt x="5504099" y="2650405"/>
                </a:lnTo>
                <a:lnTo>
                  <a:pt x="5500080" y="2646366"/>
                </a:lnTo>
                <a:lnTo>
                  <a:pt x="5500080" y="2636496"/>
                </a:lnTo>
                <a:close/>
                <a:moveTo>
                  <a:pt x="5264784" y="2632457"/>
                </a:moveTo>
                <a:lnTo>
                  <a:pt x="5274694" y="2632457"/>
                </a:lnTo>
                <a:lnTo>
                  <a:pt x="5278713" y="2636496"/>
                </a:lnTo>
                <a:lnTo>
                  <a:pt x="5278713" y="2646366"/>
                </a:lnTo>
                <a:lnTo>
                  <a:pt x="5274694" y="2650405"/>
                </a:lnTo>
                <a:lnTo>
                  <a:pt x="5264784" y="2650405"/>
                </a:lnTo>
                <a:lnTo>
                  <a:pt x="5260765" y="2646366"/>
                </a:lnTo>
                <a:lnTo>
                  <a:pt x="5260765" y="2636496"/>
                </a:lnTo>
                <a:close/>
                <a:moveTo>
                  <a:pt x="5025470" y="2632457"/>
                </a:moveTo>
                <a:lnTo>
                  <a:pt x="5035381" y="2632457"/>
                </a:lnTo>
                <a:lnTo>
                  <a:pt x="5039400" y="2636496"/>
                </a:lnTo>
                <a:lnTo>
                  <a:pt x="5039400" y="2646366"/>
                </a:lnTo>
                <a:lnTo>
                  <a:pt x="5035381" y="2650405"/>
                </a:lnTo>
                <a:lnTo>
                  <a:pt x="5025470" y="2650405"/>
                </a:lnTo>
                <a:lnTo>
                  <a:pt x="5021451" y="2646366"/>
                </a:lnTo>
                <a:lnTo>
                  <a:pt x="5021451" y="2636496"/>
                </a:lnTo>
                <a:close/>
                <a:moveTo>
                  <a:pt x="4786241" y="2632457"/>
                </a:moveTo>
                <a:lnTo>
                  <a:pt x="4796152" y="2632457"/>
                </a:lnTo>
                <a:lnTo>
                  <a:pt x="4800171" y="2636496"/>
                </a:lnTo>
                <a:lnTo>
                  <a:pt x="4800171" y="2646366"/>
                </a:lnTo>
                <a:lnTo>
                  <a:pt x="4796152" y="2650405"/>
                </a:lnTo>
                <a:lnTo>
                  <a:pt x="4786241" y="2650405"/>
                </a:lnTo>
                <a:lnTo>
                  <a:pt x="4782224" y="2646366"/>
                </a:lnTo>
                <a:lnTo>
                  <a:pt x="4782224" y="2636496"/>
                </a:lnTo>
                <a:close/>
                <a:moveTo>
                  <a:pt x="4546929" y="2632457"/>
                </a:moveTo>
                <a:lnTo>
                  <a:pt x="4556840" y="2632457"/>
                </a:lnTo>
                <a:lnTo>
                  <a:pt x="4560859" y="2636496"/>
                </a:lnTo>
                <a:lnTo>
                  <a:pt x="4560859" y="2646366"/>
                </a:lnTo>
                <a:lnTo>
                  <a:pt x="4556840" y="2650405"/>
                </a:lnTo>
                <a:lnTo>
                  <a:pt x="4546929" y="2650405"/>
                </a:lnTo>
                <a:lnTo>
                  <a:pt x="4542910" y="2646366"/>
                </a:lnTo>
                <a:lnTo>
                  <a:pt x="4542910" y="2636496"/>
                </a:lnTo>
                <a:close/>
                <a:moveTo>
                  <a:pt x="4307612" y="2632457"/>
                </a:moveTo>
                <a:lnTo>
                  <a:pt x="4317523" y="2632457"/>
                </a:lnTo>
                <a:lnTo>
                  <a:pt x="4321543" y="2636496"/>
                </a:lnTo>
                <a:lnTo>
                  <a:pt x="4321543" y="2646366"/>
                </a:lnTo>
                <a:lnTo>
                  <a:pt x="4317523" y="2650405"/>
                </a:lnTo>
                <a:lnTo>
                  <a:pt x="4307612" y="2650405"/>
                </a:lnTo>
                <a:lnTo>
                  <a:pt x="4303595" y="2646366"/>
                </a:lnTo>
                <a:lnTo>
                  <a:pt x="4303595" y="2636496"/>
                </a:lnTo>
                <a:close/>
                <a:moveTo>
                  <a:pt x="4068297" y="2632457"/>
                </a:moveTo>
                <a:lnTo>
                  <a:pt x="4078210" y="2632457"/>
                </a:lnTo>
                <a:lnTo>
                  <a:pt x="4082229" y="2636496"/>
                </a:lnTo>
                <a:lnTo>
                  <a:pt x="4082229" y="2646366"/>
                </a:lnTo>
                <a:lnTo>
                  <a:pt x="4078210" y="2650405"/>
                </a:lnTo>
                <a:lnTo>
                  <a:pt x="4068297" y="2650405"/>
                </a:lnTo>
                <a:lnTo>
                  <a:pt x="4064278" y="2646366"/>
                </a:lnTo>
                <a:lnTo>
                  <a:pt x="4064278" y="2636496"/>
                </a:lnTo>
                <a:close/>
                <a:moveTo>
                  <a:pt x="3828990" y="2632457"/>
                </a:moveTo>
                <a:lnTo>
                  <a:pt x="3838899" y="2632457"/>
                </a:lnTo>
                <a:lnTo>
                  <a:pt x="3842917" y="2636496"/>
                </a:lnTo>
                <a:lnTo>
                  <a:pt x="3842917" y="2646366"/>
                </a:lnTo>
                <a:lnTo>
                  <a:pt x="3838899" y="2650405"/>
                </a:lnTo>
                <a:lnTo>
                  <a:pt x="3828990" y="2650405"/>
                </a:lnTo>
                <a:lnTo>
                  <a:pt x="3824971" y="2646366"/>
                </a:lnTo>
                <a:lnTo>
                  <a:pt x="3824971" y="2636496"/>
                </a:lnTo>
                <a:close/>
                <a:moveTo>
                  <a:pt x="3589676" y="2632457"/>
                </a:moveTo>
                <a:lnTo>
                  <a:pt x="3599585" y="2632457"/>
                </a:lnTo>
                <a:lnTo>
                  <a:pt x="3603604" y="2636496"/>
                </a:lnTo>
                <a:lnTo>
                  <a:pt x="3603604" y="2646366"/>
                </a:lnTo>
                <a:lnTo>
                  <a:pt x="3599585" y="2650405"/>
                </a:lnTo>
                <a:lnTo>
                  <a:pt x="3589676" y="2650405"/>
                </a:lnTo>
                <a:lnTo>
                  <a:pt x="3585657" y="2646366"/>
                </a:lnTo>
                <a:lnTo>
                  <a:pt x="3585657" y="2636496"/>
                </a:lnTo>
                <a:close/>
                <a:moveTo>
                  <a:pt x="3350359" y="2632457"/>
                </a:moveTo>
                <a:lnTo>
                  <a:pt x="3360268" y="2632457"/>
                </a:lnTo>
                <a:lnTo>
                  <a:pt x="3364287" y="2636496"/>
                </a:lnTo>
                <a:lnTo>
                  <a:pt x="3364287" y="2646366"/>
                </a:lnTo>
                <a:lnTo>
                  <a:pt x="3360268" y="2650405"/>
                </a:lnTo>
                <a:lnTo>
                  <a:pt x="3350359" y="2650405"/>
                </a:lnTo>
                <a:lnTo>
                  <a:pt x="3346340" y="2646366"/>
                </a:lnTo>
                <a:lnTo>
                  <a:pt x="3346340" y="2636496"/>
                </a:lnTo>
                <a:close/>
                <a:moveTo>
                  <a:pt x="3111048" y="2632457"/>
                </a:moveTo>
                <a:lnTo>
                  <a:pt x="3120959" y="2632457"/>
                </a:lnTo>
                <a:lnTo>
                  <a:pt x="3124977" y="2636496"/>
                </a:lnTo>
                <a:lnTo>
                  <a:pt x="3124977" y="2646366"/>
                </a:lnTo>
                <a:lnTo>
                  <a:pt x="3120959" y="2650405"/>
                </a:lnTo>
                <a:lnTo>
                  <a:pt x="3111048" y="2650405"/>
                </a:lnTo>
                <a:lnTo>
                  <a:pt x="3107029" y="2646366"/>
                </a:lnTo>
                <a:lnTo>
                  <a:pt x="3107029" y="2636496"/>
                </a:lnTo>
                <a:close/>
                <a:moveTo>
                  <a:pt x="2871737" y="2632457"/>
                </a:moveTo>
                <a:lnTo>
                  <a:pt x="2881646" y="2632457"/>
                </a:lnTo>
                <a:lnTo>
                  <a:pt x="2885666" y="2636496"/>
                </a:lnTo>
                <a:lnTo>
                  <a:pt x="2885666" y="2646366"/>
                </a:lnTo>
                <a:lnTo>
                  <a:pt x="2881646" y="2650405"/>
                </a:lnTo>
                <a:lnTo>
                  <a:pt x="2871737" y="2650405"/>
                </a:lnTo>
                <a:lnTo>
                  <a:pt x="2867717" y="2646366"/>
                </a:lnTo>
                <a:lnTo>
                  <a:pt x="2867717" y="2636496"/>
                </a:lnTo>
                <a:close/>
                <a:moveTo>
                  <a:pt x="2632423" y="2632457"/>
                </a:moveTo>
                <a:lnTo>
                  <a:pt x="2642334" y="2632457"/>
                </a:lnTo>
                <a:lnTo>
                  <a:pt x="2646352" y="2636496"/>
                </a:lnTo>
                <a:lnTo>
                  <a:pt x="2646352" y="2646366"/>
                </a:lnTo>
                <a:lnTo>
                  <a:pt x="2642334" y="2650405"/>
                </a:lnTo>
                <a:lnTo>
                  <a:pt x="2632423" y="2650405"/>
                </a:lnTo>
                <a:lnTo>
                  <a:pt x="2628404" y="2646366"/>
                </a:lnTo>
                <a:lnTo>
                  <a:pt x="2628404" y="2636496"/>
                </a:lnTo>
                <a:close/>
                <a:moveTo>
                  <a:pt x="2393104" y="2632457"/>
                </a:moveTo>
                <a:lnTo>
                  <a:pt x="2403015" y="2632457"/>
                </a:lnTo>
                <a:lnTo>
                  <a:pt x="2407034" y="2636496"/>
                </a:lnTo>
                <a:lnTo>
                  <a:pt x="2407034" y="2646366"/>
                </a:lnTo>
                <a:lnTo>
                  <a:pt x="2403015" y="2650405"/>
                </a:lnTo>
                <a:lnTo>
                  <a:pt x="2393104" y="2650405"/>
                </a:lnTo>
                <a:lnTo>
                  <a:pt x="2389087" y="2646366"/>
                </a:lnTo>
                <a:lnTo>
                  <a:pt x="2389087" y="2636496"/>
                </a:lnTo>
                <a:close/>
                <a:moveTo>
                  <a:pt x="2157821" y="2632457"/>
                </a:moveTo>
                <a:lnTo>
                  <a:pt x="2167732" y="2632457"/>
                </a:lnTo>
                <a:lnTo>
                  <a:pt x="2171750" y="2636496"/>
                </a:lnTo>
                <a:lnTo>
                  <a:pt x="2171750" y="2646366"/>
                </a:lnTo>
                <a:lnTo>
                  <a:pt x="2167732" y="2650405"/>
                </a:lnTo>
                <a:lnTo>
                  <a:pt x="2157821" y="2650405"/>
                </a:lnTo>
                <a:lnTo>
                  <a:pt x="2153802" y="2646366"/>
                </a:lnTo>
                <a:lnTo>
                  <a:pt x="2153802" y="2636496"/>
                </a:lnTo>
                <a:close/>
                <a:moveTo>
                  <a:pt x="1918513" y="2632457"/>
                </a:moveTo>
                <a:lnTo>
                  <a:pt x="1928422" y="2632457"/>
                </a:lnTo>
                <a:lnTo>
                  <a:pt x="1932441" y="2636496"/>
                </a:lnTo>
                <a:lnTo>
                  <a:pt x="1932441" y="2646366"/>
                </a:lnTo>
                <a:lnTo>
                  <a:pt x="1928422" y="2650405"/>
                </a:lnTo>
                <a:lnTo>
                  <a:pt x="1918513" y="2650405"/>
                </a:lnTo>
                <a:lnTo>
                  <a:pt x="1914494" y="2646366"/>
                </a:lnTo>
                <a:lnTo>
                  <a:pt x="1914494" y="2636496"/>
                </a:lnTo>
                <a:close/>
                <a:moveTo>
                  <a:pt x="1679212" y="2632457"/>
                </a:moveTo>
                <a:lnTo>
                  <a:pt x="1689122" y="2632457"/>
                </a:lnTo>
                <a:lnTo>
                  <a:pt x="1693141" y="2636496"/>
                </a:lnTo>
                <a:lnTo>
                  <a:pt x="1693141" y="2646366"/>
                </a:lnTo>
                <a:lnTo>
                  <a:pt x="1689122" y="2650405"/>
                </a:lnTo>
                <a:lnTo>
                  <a:pt x="1679212" y="2650405"/>
                </a:lnTo>
                <a:lnTo>
                  <a:pt x="1675193" y="2646366"/>
                </a:lnTo>
                <a:lnTo>
                  <a:pt x="1675193" y="2636496"/>
                </a:lnTo>
                <a:close/>
                <a:moveTo>
                  <a:pt x="1439896" y="2632457"/>
                </a:moveTo>
                <a:lnTo>
                  <a:pt x="1449806" y="2632457"/>
                </a:lnTo>
                <a:lnTo>
                  <a:pt x="1453824" y="2636496"/>
                </a:lnTo>
                <a:lnTo>
                  <a:pt x="1453824" y="2646366"/>
                </a:lnTo>
                <a:lnTo>
                  <a:pt x="1449806" y="2650405"/>
                </a:lnTo>
                <a:lnTo>
                  <a:pt x="1439896" y="2650405"/>
                </a:lnTo>
                <a:lnTo>
                  <a:pt x="1435876" y="2646366"/>
                </a:lnTo>
                <a:lnTo>
                  <a:pt x="1435876" y="2636496"/>
                </a:lnTo>
                <a:close/>
                <a:moveTo>
                  <a:pt x="1200580" y="2632457"/>
                </a:moveTo>
                <a:lnTo>
                  <a:pt x="1210490" y="2632457"/>
                </a:lnTo>
                <a:lnTo>
                  <a:pt x="1214509" y="2636496"/>
                </a:lnTo>
                <a:lnTo>
                  <a:pt x="1214509" y="2646366"/>
                </a:lnTo>
                <a:lnTo>
                  <a:pt x="1210490" y="2650405"/>
                </a:lnTo>
                <a:lnTo>
                  <a:pt x="1200580" y="2650405"/>
                </a:lnTo>
                <a:lnTo>
                  <a:pt x="1196561" y="2646366"/>
                </a:lnTo>
                <a:lnTo>
                  <a:pt x="1196561" y="2636496"/>
                </a:lnTo>
                <a:close/>
                <a:moveTo>
                  <a:pt x="961267" y="2632457"/>
                </a:moveTo>
                <a:lnTo>
                  <a:pt x="971178" y="2632457"/>
                </a:lnTo>
                <a:lnTo>
                  <a:pt x="975196" y="2636496"/>
                </a:lnTo>
                <a:lnTo>
                  <a:pt x="975196" y="2646366"/>
                </a:lnTo>
                <a:lnTo>
                  <a:pt x="971178" y="2650405"/>
                </a:lnTo>
                <a:lnTo>
                  <a:pt x="961267" y="2650405"/>
                </a:lnTo>
                <a:lnTo>
                  <a:pt x="957249" y="2646366"/>
                </a:lnTo>
                <a:lnTo>
                  <a:pt x="957249" y="2636496"/>
                </a:lnTo>
                <a:close/>
                <a:moveTo>
                  <a:pt x="721970" y="2632457"/>
                </a:moveTo>
                <a:lnTo>
                  <a:pt x="731879" y="2632457"/>
                </a:lnTo>
                <a:lnTo>
                  <a:pt x="735898" y="2636496"/>
                </a:lnTo>
                <a:lnTo>
                  <a:pt x="735898" y="2646366"/>
                </a:lnTo>
                <a:lnTo>
                  <a:pt x="731879" y="2650405"/>
                </a:lnTo>
                <a:lnTo>
                  <a:pt x="721970" y="2650405"/>
                </a:lnTo>
                <a:lnTo>
                  <a:pt x="717951" y="2646366"/>
                </a:lnTo>
                <a:lnTo>
                  <a:pt x="717951" y="2636496"/>
                </a:lnTo>
                <a:close/>
                <a:moveTo>
                  <a:pt x="482657" y="2632457"/>
                </a:moveTo>
                <a:lnTo>
                  <a:pt x="492567" y="2632457"/>
                </a:lnTo>
                <a:lnTo>
                  <a:pt x="496586" y="2636496"/>
                </a:lnTo>
                <a:lnTo>
                  <a:pt x="496586" y="2646366"/>
                </a:lnTo>
                <a:lnTo>
                  <a:pt x="492567" y="2650405"/>
                </a:lnTo>
                <a:lnTo>
                  <a:pt x="482657" y="2650405"/>
                </a:lnTo>
                <a:lnTo>
                  <a:pt x="478638" y="2646366"/>
                </a:lnTo>
                <a:lnTo>
                  <a:pt x="478638" y="2636496"/>
                </a:lnTo>
                <a:close/>
                <a:moveTo>
                  <a:pt x="243344" y="2632457"/>
                </a:moveTo>
                <a:lnTo>
                  <a:pt x="253254" y="2632457"/>
                </a:lnTo>
                <a:lnTo>
                  <a:pt x="257273" y="2636496"/>
                </a:lnTo>
                <a:lnTo>
                  <a:pt x="257273" y="2646366"/>
                </a:lnTo>
                <a:lnTo>
                  <a:pt x="253254" y="2650405"/>
                </a:lnTo>
                <a:lnTo>
                  <a:pt x="243344" y="2650405"/>
                </a:lnTo>
                <a:lnTo>
                  <a:pt x="239325" y="2646366"/>
                </a:lnTo>
                <a:lnTo>
                  <a:pt x="239325" y="2636496"/>
                </a:lnTo>
                <a:close/>
                <a:moveTo>
                  <a:pt x="4030" y="2632457"/>
                </a:moveTo>
                <a:lnTo>
                  <a:pt x="13941" y="2632457"/>
                </a:lnTo>
                <a:lnTo>
                  <a:pt x="17960" y="2636496"/>
                </a:lnTo>
                <a:lnTo>
                  <a:pt x="17960" y="2646366"/>
                </a:lnTo>
                <a:lnTo>
                  <a:pt x="13941" y="2650405"/>
                </a:lnTo>
                <a:lnTo>
                  <a:pt x="4030" y="2650405"/>
                </a:lnTo>
                <a:lnTo>
                  <a:pt x="11" y="2646366"/>
                </a:lnTo>
                <a:lnTo>
                  <a:pt x="11" y="2636496"/>
                </a:lnTo>
                <a:close/>
                <a:moveTo>
                  <a:pt x="2157821" y="2393178"/>
                </a:moveTo>
                <a:lnTo>
                  <a:pt x="2167732" y="2393178"/>
                </a:lnTo>
                <a:lnTo>
                  <a:pt x="2171750" y="2397216"/>
                </a:lnTo>
                <a:lnTo>
                  <a:pt x="2171750" y="2407087"/>
                </a:lnTo>
                <a:lnTo>
                  <a:pt x="2167732" y="2411126"/>
                </a:lnTo>
                <a:lnTo>
                  <a:pt x="2157821" y="2411126"/>
                </a:lnTo>
                <a:lnTo>
                  <a:pt x="2153802" y="2407087"/>
                </a:lnTo>
                <a:lnTo>
                  <a:pt x="2153802" y="2397216"/>
                </a:lnTo>
                <a:close/>
                <a:moveTo>
                  <a:pt x="1918513" y="2393178"/>
                </a:moveTo>
                <a:lnTo>
                  <a:pt x="1928422" y="2393178"/>
                </a:lnTo>
                <a:lnTo>
                  <a:pt x="1932443" y="2397216"/>
                </a:lnTo>
                <a:lnTo>
                  <a:pt x="1932443" y="2407087"/>
                </a:lnTo>
                <a:lnTo>
                  <a:pt x="1928422" y="2411126"/>
                </a:lnTo>
                <a:lnTo>
                  <a:pt x="1918513" y="2411126"/>
                </a:lnTo>
                <a:lnTo>
                  <a:pt x="1914494" y="2407087"/>
                </a:lnTo>
                <a:lnTo>
                  <a:pt x="1914494" y="2397216"/>
                </a:lnTo>
                <a:close/>
                <a:moveTo>
                  <a:pt x="1679212" y="2393178"/>
                </a:moveTo>
                <a:lnTo>
                  <a:pt x="1689123" y="2393178"/>
                </a:lnTo>
                <a:lnTo>
                  <a:pt x="1693142" y="2397216"/>
                </a:lnTo>
                <a:lnTo>
                  <a:pt x="1693142" y="2407087"/>
                </a:lnTo>
                <a:lnTo>
                  <a:pt x="1689123" y="2411126"/>
                </a:lnTo>
                <a:lnTo>
                  <a:pt x="1679212" y="2411126"/>
                </a:lnTo>
                <a:lnTo>
                  <a:pt x="1675194" y="2407087"/>
                </a:lnTo>
                <a:lnTo>
                  <a:pt x="1675194" y="2397216"/>
                </a:lnTo>
                <a:close/>
                <a:moveTo>
                  <a:pt x="1439896" y="2393178"/>
                </a:moveTo>
                <a:lnTo>
                  <a:pt x="1449806" y="2393178"/>
                </a:lnTo>
                <a:lnTo>
                  <a:pt x="1453826" y="2397216"/>
                </a:lnTo>
                <a:lnTo>
                  <a:pt x="1453826" y="2407087"/>
                </a:lnTo>
                <a:lnTo>
                  <a:pt x="1449806" y="2411126"/>
                </a:lnTo>
                <a:lnTo>
                  <a:pt x="1439896" y="2411126"/>
                </a:lnTo>
                <a:lnTo>
                  <a:pt x="1435878" y="2407087"/>
                </a:lnTo>
                <a:lnTo>
                  <a:pt x="1435878" y="2397216"/>
                </a:lnTo>
                <a:close/>
                <a:moveTo>
                  <a:pt x="1200580" y="2393178"/>
                </a:moveTo>
                <a:lnTo>
                  <a:pt x="1210491" y="2393178"/>
                </a:lnTo>
                <a:lnTo>
                  <a:pt x="1214510" y="2397216"/>
                </a:lnTo>
                <a:lnTo>
                  <a:pt x="1214510" y="2407087"/>
                </a:lnTo>
                <a:lnTo>
                  <a:pt x="1210491" y="2411126"/>
                </a:lnTo>
                <a:lnTo>
                  <a:pt x="1200580" y="2411126"/>
                </a:lnTo>
                <a:lnTo>
                  <a:pt x="1196562" y="2407087"/>
                </a:lnTo>
                <a:lnTo>
                  <a:pt x="1196562" y="2397216"/>
                </a:lnTo>
                <a:close/>
                <a:moveTo>
                  <a:pt x="961268" y="2393178"/>
                </a:moveTo>
                <a:lnTo>
                  <a:pt x="971178" y="2393178"/>
                </a:lnTo>
                <a:lnTo>
                  <a:pt x="975196" y="2397216"/>
                </a:lnTo>
                <a:lnTo>
                  <a:pt x="975196" y="2407087"/>
                </a:lnTo>
                <a:lnTo>
                  <a:pt x="971178" y="2411126"/>
                </a:lnTo>
                <a:lnTo>
                  <a:pt x="961268" y="2411126"/>
                </a:lnTo>
                <a:lnTo>
                  <a:pt x="957249" y="2407087"/>
                </a:lnTo>
                <a:lnTo>
                  <a:pt x="957249" y="2397216"/>
                </a:lnTo>
                <a:close/>
                <a:moveTo>
                  <a:pt x="9572438" y="2393127"/>
                </a:moveTo>
                <a:lnTo>
                  <a:pt x="9582349" y="2393127"/>
                </a:lnTo>
                <a:lnTo>
                  <a:pt x="9586368" y="2397165"/>
                </a:lnTo>
                <a:lnTo>
                  <a:pt x="9586368" y="2407036"/>
                </a:lnTo>
                <a:lnTo>
                  <a:pt x="9582349" y="2411074"/>
                </a:lnTo>
                <a:lnTo>
                  <a:pt x="9572438" y="2411074"/>
                </a:lnTo>
                <a:lnTo>
                  <a:pt x="9568419" y="2407036"/>
                </a:lnTo>
                <a:lnTo>
                  <a:pt x="9568419" y="2397165"/>
                </a:lnTo>
                <a:close/>
                <a:moveTo>
                  <a:pt x="9333125" y="2393127"/>
                </a:moveTo>
                <a:lnTo>
                  <a:pt x="9343036" y="2393127"/>
                </a:lnTo>
                <a:lnTo>
                  <a:pt x="9347055" y="2397165"/>
                </a:lnTo>
                <a:lnTo>
                  <a:pt x="9347055" y="2407036"/>
                </a:lnTo>
                <a:lnTo>
                  <a:pt x="9343036" y="2411074"/>
                </a:lnTo>
                <a:lnTo>
                  <a:pt x="9333125" y="2411074"/>
                </a:lnTo>
                <a:lnTo>
                  <a:pt x="9329106" y="2407036"/>
                </a:lnTo>
                <a:lnTo>
                  <a:pt x="9329106" y="2397165"/>
                </a:lnTo>
                <a:close/>
                <a:moveTo>
                  <a:pt x="9093811" y="2393127"/>
                </a:moveTo>
                <a:lnTo>
                  <a:pt x="9103722" y="2393127"/>
                </a:lnTo>
                <a:lnTo>
                  <a:pt x="9107741" y="2397165"/>
                </a:lnTo>
                <a:lnTo>
                  <a:pt x="9107741" y="2407036"/>
                </a:lnTo>
                <a:lnTo>
                  <a:pt x="9103722" y="2411074"/>
                </a:lnTo>
                <a:lnTo>
                  <a:pt x="9093811" y="2411074"/>
                </a:lnTo>
                <a:lnTo>
                  <a:pt x="9089792" y="2407036"/>
                </a:lnTo>
                <a:lnTo>
                  <a:pt x="9089792" y="2397165"/>
                </a:lnTo>
                <a:close/>
                <a:moveTo>
                  <a:pt x="8854496" y="2393127"/>
                </a:moveTo>
                <a:lnTo>
                  <a:pt x="8864407" y="2393127"/>
                </a:lnTo>
                <a:lnTo>
                  <a:pt x="8868426" y="2397165"/>
                </a:lnTo>
                <a:lnTo>
                  <a:pt x="8868426" y="2407036"/>
                </a:lnTo>
                <a:lnTo>
                  <a:pt x="8864407" y="2411074"/>
                </a:lnTo>
                <a:lnTo>
                  <a:pt x="8854496" y="2411074"/>
                </a:lnTo>
                <a:lnTo>
                  <a:pt x="8850477" y="2407036"/>
                </a:lnTo>
                <a:lnTo>
                  <a:pt x="8850477" y="2397165"/>
                </a:lnTo>
                <a:close/>
                <a:moveTo>
                  <a:pt x="8615184" y="2393127"/>
                </a:moveTo>
                <a:lnTo>
                  <a:pt x="8625095" y="2393127"/>
                </a:lnTo>
                <a:lnTo>
                  <a:pt x="8629114" y="2397165"/>
                </a:lnTo>
                <a:lnTo>
                  <a:pt x="8629114" y="2407036"/>
                </a:lnTo>
                <a:lnTo>
                  <a:pt x="8625095" y="2411074"/>
                </a:lnTo>
                <a:lnTo>
                  <a:pt x="8615184" y="2411074"/>
                </a:lnTo>
                <a:lnTo>
                  <a:pt x="8611165" y="2407036"/>
                </a:lnTo>
                <a:lnTo>
                  <a:pt x="8611165" y="2397165"/>
                </a:lnTo>
                <a:close/>
                <a:moveTo>
                  <a:pt x="8375869" y="2393127"/>
                </a:moveTo>
                <a:lnTo>
                  <a:pt x="8385779" y="2393127"/>
                </a:lnTo>
                <a:lnTo>
                  <a:pt x="8389799" y="2397165"/>
                </a:lnTo>
                <a:lnTo>
                  <a:pt x="8389799" y="2407036"/>
                </a:lnTo>
                <a:lnTo>
                  <a:pt x="8385779" y="2411074"/>
                </a:lnTo>
                <a:lnTo>
                  <a:pt x="8375869" y="2411074"/>
                </a:lnTo>
                <a:lnTo>
                  <a:pt x="8371850" y="2407036"/>
                </a:lnTo>
                <a:lnTo>
                  <a:pt x="8371850" y="2397165"/>
                </a:lnTo>
                <a:close/>
                <a:moveTo>
                  <a:pt x="8136553" y="2393127"/>
                </a:moveTo>
                <a:lnTo>
                  <a:pt x="8146464" y="2393127"/>
                </a:lnTo>
                <a:lnTo>
                  <a:pt x="8150483" y="2397165"/>
                </a:lnTo>
                <a:lnTo>
                  <a:pt x="8150483" y="2407036"/>
                </a:lnTo>
                <a:lnTo>
                  <a:pt x="8146464" y="2411074"/>
                </a:lnTo>
                <a:lnTo>
                  <a:pt x="8136553" y="2411074"/>
                </a:lnTo>
                <a:lnTo>
                  <a:pt x="8132534" y="2407036"/>
                </a:lnTo>
                <a:lnTo>
                  <a:pt x="8132534" y="2397165"/>
                </a:lnTo>
                <a:close/>
                <a:moveTo>
                  <a:pt x="7897241" y="2393127"/>
                </a:moveTo>
                <a:lnTo>
                  <a:pt x="7907151" y="2393127"/>
                </a:lnTo>
                <a:lnTo>
                  <a:pt x="7911170" y="2397165"/>
                </a:lnTo>
                <a:lnTo>
                  <a:pt x="7911170" y="2407036"/>
                </a:lnTo>
                <a:lnTo>
                  <a:pt x="7907151" y="2411074"/>
                </a:lnTo>
                <a:lnTo>
                  <a:pt x="7897241" y="2411074"/>
                </a:lnTo>
                <a:lnTo>
                  <a:pt x="7893222" y="2407036"/>
                </a:lnTo>
                <a:lnTo>
                  <a:pt x="7893222" y="2397165"/>
                </a:lnTo>
                <a:close/>
                <a:moveTo>
                  <a:pt x="7657926" y="2393127"/>
                </a:moveTo>
                <a:lnTo>
                  <a:pt x="7667836" y="2393127"/>
                </a:lnTo>
                <a:lnTo>
                  <a:pt x="7671855" y="2397165"/>
                </a:lnTo>
                <a:lnTo>
                  <a:pt x="7671855" y="2407036"/>
                </a:lnTo>
                <a:lnTo>
                  <a:pt x="7667836" y="2411074"/>
                </a:lnTo>
                <a:lnTo>
                  <a:pt x="7657926" y="2411074"/>
                </a:lnTo>
                <a:lnTo>
                  <a:pt x="7653906" y="2407036"/>
                </a:lnTo>
                <a:lnTo>
                  <a:pt x="7653906" y="2397165"/>
                </a:lnTo>
                <a:close/>
                <a:moveTo>
                  <a:pt x="7418611" y="2393127"/>
                </a:moveTo>
                <a:lnTo>
                  <a:pt x="7428521" y="2393127"/>
                </a:lnTo>
                <a:lnTo>
                  <a:pt x="7432540" y="2397165"/>
                </a:lnTo>
                <a:lnTo>
                  <a:pt x="7432540" y="2407036"/>
                </a:lnTo>
                <a:lnTo>
                  <a:pt x="7428521" y="2411074"/>
                </a:lnTo>
                <a:lnTo>
                  <a:pt x="7418611" y="2411074"/>
                </a:lnTo>
                <a:lnTo>
                  <a:pt x="7414592" y="2407036"/>
                </a:lnTo>
                <a:lnTo>
                  <a:pt x="7414592" y="2397165"/>
                </a:lnTo>
                <a:close/>
                <a:moveTo>
                  <a:pt x="7179298" y="2393127"/>
                </a:moveTo>
                <a:lnTo>
                  <a:pt x="7189209" y="2393127"/>
                </a:lnTo>
                <a:lnTo>
                  <a:pt x="7193228" y="2397165"/>
                </a:lnTo>
                <a:lnTo>
                  <a:pt x="7193228" y="2407036"/>
                </a:lnTo>
                <a:lnTo>
                  <a:pt x="7189209" y="2411074"/>
                </a:lnTo>
                <a:lnTo>
                  <a:pt x="7179298" y="2411074"/>
                </a:lnTo>
                <a:lnTo>
                  <a:pt x="7175279" y="2407036"/>
                </a:lnTo>
                <a:lnTo>
                  <a:pt x="7175279" y="2397165"/>
                </a:lnTo>
                <a:close/>
                <a:moveTo>
                  <a:pt x="6939983" y="2393127"/>
                </a:moveTo>
                <a:lnTo>
                  <a:pt x="6949894" y="2393127"/>
                </a:lnTo>
                <a:lnTo>
                  <a:pt x="6953913" y="2397165"/>
                </a:lnTo>
                <a:lnTo>
                  <a:pt x="6953913" y="2407036"/>
                </a:lnTo>
                <a:lnTo>
                  <a:pt x="6949894" y="2411074"/>
                </a:lnTo>
                <a:lnTo>
                  <a:pt x="6939983" y="2411074"/>
                </a:lnTo>
                <a:lnTo>
                  <a:pt x="6935964" y="2407036"/>
                </a:lnTo>
                <a:lnTo>
                  <a:pt x="6935964" y="2397165"/>
                </a:lnTo>
                <a:close/>
                <a:moveTo>
                  <a:pt x="6700670" y="2393127"/>
                </a:moveTo>
                <a:lnTo>
                  <a:pt x="6710581" y="2393127"/>
                </a:lnTo>
                <a:lnTo>
                  <a:pt x="6714600" y="2397165"/>
                </a:lnTo>
                <a:lnTo>
                  <a:pt x="6714600" y="2407036"/>
                </a:lnTo>
                <a:lnTo>
                  <a:pt x="6710581" y="2411074"/>
                </a:lnTo>
                <a:lnTo>
                  <a:pt x="6700670" y="2411074"/>
                </a:lnTo>
                <a:lnTo>
                  <a:pt x="6696651" y="2407036"/>
                </a:lnTo>
                <a:lnTo>
                  <a:pt x="6696651" y="2397165"/>
                </a:lnTo>
                <a:close/>
                <a:moveTo>
                  <a:pt x="6461356" y="2393127"/>
                </a:moveTo>
                <a:lnTo>
                  <a:pt x="6471266" y="2393127"/>
                </a:lnTo>
                <a:lnTo>
                  <a:pt x="6475285" y="2397165"/>
                </a:lnTo>
                <a:lnTo>
                  <a:pt x="6475285" y="2407036"/>
                </a:lnTo>
                <a:lnTo>
                  <a:pt x="6471266" y="2411074"/>
                </a:lnTo>
                <a:lnTo>
                  <a:pt x="6461356" y="2411074"/>
                </a:lnTo>
                <a:lnTo>
                  <a:pt x="6457337" y="2407036"/>
                </a:lnTo>
                <a:lnTo>
                  <a:pt x="6457337" y="2397165"/>
                </a:lnTo>
                <a:close/>
                <a:moveTo>
                  <a:pt x="6222042" y="2393127"/>
                </a:moveTo>
                <a:lnTo>
                  <a:pt x="6231952" y="2393127"/>
                </a:lnTo>
                <a:lnTo>
                  <a:pt x="6235971" y="2397165"/>
                </a:lnTo>
                <a:lnTo>
                  <a:pt x="6235971" y="2407036"/>
                </a:lnTo>
                <a:lnTo>
                  <a:pt x="6231952" y="2411074"/>
                </a:lnTo>
                <a:lnTo>
                  <a:pt x="6222042" y="2411074"/>
                </a:lnTo>
                <a:lnTo>
                  <a:pt x="6218023" y="2407036"/>
                </a:lnTo>
                <a:lnTo>
                  <a:pt x="6218023" y="2397165"/>
                </a:lnTo>
                <a:close/>
                <a:moveTo>
                  <a:pt x="5982729" y="2393127"/>
                </a:moveTo>
                <a:lnTo>
                  <a:pt x="5992639" y="2393127"/>
                </a:lnTo>
                <a:lnTo>
                  <a:pt x="5996658" y="2397165"/>
                </a:lnTo>
                <a:lnTo>
                  <a:pt x="5996658" y="2407036"/>
                </a:lnTo>
                <a:lnTo>
                  <a:pt x="5992639" y="2411074"/>
                </a:lnTo>
                <a:lnTo>
                  <a:pt x="5982729" y="2411074"/>
                </a:lnTo>
                <a:lnTo>
                  <a:pt x="5978710" y="2407036"/>
                </a:lnTo>
                <a:lnTo>
                  <a:pt x="5978710" y="2397165"/>
                </a:lnTo>
                <a:close/>
                <a:moveTo>
                  <a:pt x="5743412" y="2393127"/>
                </a:moveTo>
                <a:lnTo>
                  <a:pt x="5753323" y="2393127"/>
                </a:lnTo>
                <a:lnTo>
                  <a:pt x="5757342" y="2397165"/>
                </a:lnTo>
                <a:lnTo>
                  <a:pt x="5757342" y="2407036"/>
                </a:lnTo>
                <a:lnTo>
                  <a:pt x="5753323" y="2411074"/>
                </a:lnTo>
                <a:lnTo>
                  <a:pt x="5743412" y="2411074"/>
                </a:lnTo>
                <a:lnTo>
                  <a:pt x="5739393" y="2407036"/>
                </a:lnTo>
                <a:lnTo>
                  <a:pt x="5739393" y="2397165"/>
                </a:lnTo>
                <a:close/>
                <a:moveTo>
                  <a:pt x="5504099" y="2393127"/>
                </a:moveTo>
                <a:lnTo>
                  <a:pt x="5514010" y="2393127"/>
                </a:lnTo>
                <a:lnTo>
                  <a:pt x="5518029" y="2397165"/>
                </a:lnTo>
                <a:lnTo>
                  <a:pt x="5518029" y="2407036"/>
                </a:lnTo>
                <a:lnTo>
                  <a:pt x="5514010" y="2411074"/>
                </a:lnTo>
                <a:lnTo>
                  <a:pt x="5504099" y="2411074"/>
                </a:lnTo>
                <a:lnTo>
                  <a:pt x="5500080" y="2407036"/>
                </a:lnTo>
                <a:lnTo>
                  <a:pt x="5500080" y="2397165"/>
                </a:lnTo>
                <a:close/>
                <a:moveTo>
                  <a:pt x="5264784" y="2393127"/>
                </a:moveTo>
                <a:lnTo>
                  <a:pt x="5274694" y="2393127"/>
                </a:lnTo>
                <a:lnTo>
                  <a:pt x="5278713" y="2397165"/>
                </a:lnTo>
                <a:lnTo>
                  <a:pt x="5278713" y="2407036"/>
                </a:lnTo>
                <a:lnTo>
                  <a:pt x="5274694" y="2411074"/>
                </a:lnTo>
                <a:lnTo>
                  <a:pt x="5264784" y="2411074"/>
                </a:lnTo>
                <a:lnTo>
                  <a:pt x="5260765" y="2407036"/>
                </a:lnTo>
                <a:lnTo>
                  <a:pt x="5260765" y="2397165"/>
                </a:lnTo>
                <a:close/>
                <a:moveTo>
                  <a:pt x="5025470" y="2393127"/>
                </a:moveTo>
                <a:lnTo>
                  <a:pt x="5035381" y="2393127"/>
                </a:lnTo>
                <a:lnTo>
                  <a:pt x="5039400" y="2397165"/>
                </a:lnTo>
                <a:lnTo>
                  <a:pt x="5039400" y="2407036"/>
                </a:lnTo>
                <a:lnTo>
                  <a:pt x="5035381" y="2411074"/>
                </a:lnTo>
                <a:lnTo>
                  <a:pt x="5025470" y="2411074"/>
                </a:lnTo>
                <a:lnTo>
                  <a:pt x="5021451" y="2407036"/>
                </a:lnTo>
                <a:lnTo>
                  <a:pt x="5021451" y="2397165"/>
                </a:lnTo>
                <a:close/>
                <a:moveTo>
                  <a:pt x="4786241" y="2393127"/>
                </a:moveTo>
                <a:lnTo>
                  <a:pt x="4796152" y="2393127"/>
                </a:lnTo>
                <a:lnTo>
                  <a:pt x="4800171" y="2397165"/>
                </a:lnTo>
                <a:lnTo>
                  <a:pt x="4800171" y="2407036"/>
                </a:lnTo>
                <a:lnTo>
                  <a:pt x="4796152" y="2411074"/>
                </a:lnTo>
                <a:lnTo>
                  <a:pt x="4786241" y="2411074"/>
                </a:lnTo>
                <a:lnTo>
                  <a:pt x="4782224" y="2407036"/>
                </a:lnTo>
                <a:lnTo>
                  <a:pt x="4782224" y="2397165"/>
                </a:lnTo>
                <a:close/>
                <a:moveTo>
                  <a:pt x="4546929" y="2393127"/>
                </a:moveTo>
                <a:lnTo>
                  <a:pt x="4556840" y="2393127"/>
                </a:lnTo>
                <a:lnTo>
                  <a:pt x="4560859" y="2397165"/>
                </a:lnTo>
                <a:lnTo>
                  <a:pt x="4560859" y="2407036"/>
                </a:lnTo>
                <a:lnTo>
                  <a:pt x="4556840" y="2411074"/>
                </a:lnTo>
                <a:lnTo>
                  <a:pt x="4546929" y="2411074"/>
                </a:lnTo>
                <a:lnTo>
                  <a:pt x="4542910" y="2407036"/>
                </a:lnTo>
                <a:lnTo>
                  <a:pt x="4542910" y="2397165"/>
                </a:lnTo>
                <a:close/>
                <a:moveTo>
                  <a:pt x="4307612" y="2393127"/>
                </a:moveTo>
                <a:lnTo>
                  <a:pt x="4317523" y="2393127"/>
                </a:lnTo>
                <a:lnTo>
                  <a:pt x="4321543" y="2397165"/>
                </a:lnTo>
                <a:lnTo>
                  <a:pt x="4321543" y="2407036"/>
                </a:lnTo>
                <a:lnTo>
                  <a:pt x="4317523" y="2411074"/>
                </a:lnTo>
                <a:lnTo>
                  <a:pt x="4307612" y="2411074"/>
                </a:lnTo>
                <a:lnTo>
                  <a:pt x="4303595" y="2407036"/>
                </a:lnTo>
                <a:lnTo>
                  <a:pt x="4303595" y="2397165"/>
                </a:lnTo>
                <a:close/>
                <a:moveTo>
                  <a:pt x="4068297" y="2393127"/>
                </a:moveTo>
                <a:lnTo>
                  <a:pt x="4078210" y="2393127"/>
                </a:lnTo>
                <a:lnTo>
                  <a:pt x="4082229" y="2397165"/>
                </a:lnTo>
                <a:lnTo>
                  <a:pt x="4082229" y="2407036"/>
                </a:lnTo>
                <a:lnTo>
                  <a:pt x="4078210" y="2411074"/>
                </a:lnTo>
                <a:lnTo>
                  <a:pt x="4068297" y="2411074"/>
                </a:lnTo>
                <a:lnTo>
                  <a:pt x="4064278" y="2407036"/>
                </a:lnTo>
                <a:lnTo>
                  <a:pt x="4064278" y="2397165"/>
                </a:lnTo>
                <a:close/>
                <a:moveTo>
                  <a:pt x="3828990" y="2393127"/>
                </a:moveTo>
                <a:lnTo>
                  <a:pt x="3838899" y="2393127"/>
                </a:lnTo>
                <a:lnTo>
                  <a:pt x="3842917" y="2397165"/>
                </a:lnTo>
                <a:lnTo>
                  <a:pt x="3842917" y="2407036"/>
                </a:lnTo>
                <a:lnTo>
                  <a:pt x="3838899" y="2411074"/>
                </a:lnTo>
                <a:lnTo>
                  <a:pt x="3828990" y="2411074"/>
                </a:lnTo>
                <a:lnTo>
                  <a:pt x="3824971" y="2407036"/>
                </a:lnTo>
                <a:lnTo>
                  <a:pt x="3824971" y="2397165"/>
                </a:lnTo>
                <a:close/>
                <a:moveTo>
                  <a:pt x="3589676" y="2393127"/>
                </a:moveTo>
                <a:lnTo>
                  <a:pt x="3599585" y="2393127"/>
                </a:lnTo>
                <a:lnTo>
                  <a:pt x="3603604" y="2397165"/>
                </a:lnTo>
                <a:lnTo>
                  <a:pt x="3603604" y="2407036"/>
                </a:lnTo>
                <a:lnTo>
                  <a:pt x="3599585" y="2411074"/>
                </a:lnTo>
                <a:lnTo>
                  <a:pt x="3589676" y="2411074"/>
                </a:lnTo>
                <a:lnTo>
                  <a:pt x="3585657" y="2407036"/>
                </a:lnTo>
                <a:lnTo>
                  <a:pt x="3585657" y="2397165"/>
                </a:lnTo>
                <a:close/>
                <a:moveTo>
                  <a:pt x="3350359" y="2393127"/>
                </a:moveTo>
                <a:lnTo>
                  <a:pt x="3360268" y="2393127"/>
                </a:lnTo>
                <a:lnTo>
                  <a:pt x="3364287" y="2397165"/>
                </a:lnTo>
                <a:lnTo>
                  <a:pt x="3364287" y="2407036"/>
                </a:lnTo>
                <a:lnTo>
                  <a:pt x="3360268" y="2411074"/>
                </a:lnTo>
                <a:lnTo>
                  <a:pt x="3350359" y="2411074"/>
                </a:lnTo>
                <a:lnTo>
                  <a:pt x="3346340" y="2407036"/>
                </a:lnTo>
                <a:lnTo>
                  <a:pt x="3346340" y="2397165"/>
                </a:lnTo>
                <a:close/>
                <a:moveTo>
                  <a:pt x="3111048" y="2393127"/>
                </a:moveTo>
                <a:lnTo>
                  <a:pt x="3120959" y="2393127"/>
                </a:lnTo>
                <a:lnTo>
                  <a:pt x="3124977" y="2397165"/>
                </a:lnTo>
                <a:lnTo>
                  <a:pt x="3124977" y="2407036"/>
                </a:lnTo>
                <a:lnTo>
                  <a:pt x="3120959" y="2411074"/>
                </a:lnTo>
                <a:lnTo>
                  <a:pt x="3111048" y="2411074"/>
                </a:lnTo>
                <a:lnTo>
                  <a:pt x="3107029" y="2407036"/>
                </a:lnTo>
                <a:lnTo>
                  <a:pt x="3107029" y="2397165"/>
                </a:lnTo>
                <a:close/>
                <a:moveTo>
                  <a:pt x="2871737" y="2393127"/>
                </a:moveTo>
                <a:lnTo>
                  <a:pt x="2881646" y="2393127"/>
                </a:lnTo>
                <a:lnTo>
                  <a:pt x="2885666" y="2397165"/>
                </a:lnTo>
                <a:lnTo>
                  <a:pt x="2885666" y="2407036"/>
                </a:lnTo>
                <a:lnTo>
                  <a:pt x="2881646" y="2411074"/>
                </a:lnTo>
                <a:lnTo>
                  <a:pt x="2871737" y="2411074"/>
                </a:lnTo>
                <a:lnTo>
                  <a:pt x="2867717" y="2407036"/>
                </a:lnTo>
                <a:lnTo>
                  <a:pt x="2867717" y="2397165"/>
                </a:lnTo>
                <a:close/>
                <a:moveTo>
                  <a:pt x="2632423" y="2393127"/>
                </a:moveTo>
                <a:lnTo>
                  <a:pt x="2642334" y="2393127"/>
                </a:lnTo>
                <a:lnTo>
                  <a:pt x="2646352" y="2397165"/>
                </a:lnTo>
                <a:lnTo>
                  <a:pt x="2646352" y="2407036"/>
                </a:lnTo>
                <a:lnTo>
                  <a:pt x="2642334" y="2411074"/>
                </a:lnTo>
                <a:lnTo>
                  <a:pt x="2632423" y="2411074"/>
                </a:lnTo>
                <a:lnTo>
                  <a:pt x="2628404" y="2407036"/>
                </a:lnTo>
                <a:lnTo>
                  <a:pt x="2628404" y="2397165"/>
                </a:lnTo>
                <a:close/>
                <a:moveTo>
                  <a:pt x="2393104" y="2393127"/>
                </a:moveTo>
                <a:lnTo>
                  <a:pt x="2403015" y="2393127"/>
                </a:lnTo>
                <a:lnTo>
                  <a:pt x="2407034" y="2397165"/>
                </a:lnTo>
                <a:lnTo>
                  <a:pt x="2407034" y="2407036"/>
                </a:lnTo>
                <a:lnTo>
                  <a:pt x="2403015" y="2411074"/>
                </a:lnTo>
                <a:lnTo>
                  <a:pt x="2393104" y="2411074"/>
                </a:lnTo>
                <a:lnTo>
                  <a:pt x="2389087" y="2407036"/>
                </a:lnTo>
                <a:lnTo>
                  <a:pt x="2389087" y="2397165"/>
                </a:lnTo>
                <a:close/>
                <a:moveTo>
                  <a:pt x="721970" y="2393127"/>
                </a:moveTo>
                <a:lnTo>
                  <a:pt x="731881" y="2393127"/>
                </a:lnTo>
                <a:lnTo>
                  <a:pt x="735899" y="2397165"/>
                </a:lnTo>
                <a:lnTo>
                  <a:pt x="735899" y="2407036"/>
                </a:lnTo>
                <a:lnTo>
                  <a:pt x="731881" y="2411074"/>
                </a:lnTo>
                <a:lnTo>
                  <a:pt x="721970" y="2411074"/>
                </a:lnTo>
                <a:lnTo>
                  <a:pt x="717951" y="2407036"/>
                </a:lnTo>
                <a:lnTo>
                  <a:pt x="717951" y="2397165"/>
                </a:lnTo>
                <a:close/>
                <a:moveTo>
                  <a:pt x="482658" y="2393127"/>
                </a:moveTo>
                <a:lnTo>
                  <a:pt x="492568" y="2393127"/>
                </a:lnTo>
                <a:lnTo>
                  <a:pt x="496588" y="2397165"/>
                </a:lnTo>
                <a:lnTo>
                  <a:pt x="496588" y="2407036"/>
                </a:lnTo>
                <a:lnTo>
                  <a:pt x="492568" y="2411074"/>
                </a:lnTo>
                <a:lnTo>
                  <a:pt x="482658" y="2411074"/>
                </a:lnTo>
                <a:lnTo>
                  <a:pt x="478639" y="2407036"/>
                </a:lnTo>
                <a:lnTo>
                  <a:pt x="478639" y="2397165"/>
                </a:lnTo>
                <a:close/>
                <a:moveTo>
                  <a:pt x="243344" y="2393127"/>
                </a:moveTo>
                <a:lnTo>
                  <a:pt x="253255" y="2393127"/>
                </a:lnTo>
                <a:lnTo>
                  <a:pt x="257274" y="2397165"/>
                </a:lnTo>
                <a:lnTo>
                  <a:pt x="257274" y="2407036"/>
                </a:lnTo>
                <a:lnTo>
                  <a:pt x="253255" y="2411074"/>
                </a:lnTo>
                <a:lnTo>
                  <a:pt x="243344" y="2411074"/>
                </a:lnTo>
                <a:lnTo>
                  <a:pt x="239325" y="2407036"/>
                </a:lnTo>
                <a:lnTo>
                  <a:pt x="239325" y="2397165"/>
                </a:lnTo>
                <a:close/>
                <a:moveTo>
                  <a:pt x="4031" y="2393127"/>
                </a:moveTo>
                <a:lnTo>
                  <a:pt x="13941" y="2393127"/>
                </a:lnTo>
                <a:lnTo>
                  <a:pt x="17961" y="2397165"/>
                </a:lnTo>
                <a:lnTo>
                  <a:pt x="17961" y="2407036"/>
                </a:lnTo>
                <a:lnTo>
                  <a:pt x="13941" y="2411074"/>
                </a:lnTo>
                <a:lnTo>
                  <a:pt x="4031" y="2411074"/>
                </a:lnTo>
                <a:lnTo>
                  <a:pt x="12" y="2407036"/>
                </a:lnTo>
                <a:lnTo>
                  <a:pt x="12" y="2397165"/>
                </a:lnTo>
                <a:close/>
                <a:moveTo>
                  <a:pt x="3111048" y="2153996"/>
                </a:moveTo>
                <a:lnTo>
                  <a:pt x="3120959" y="2153996"/>
                </a:lnTo>
                <a:lnTo>
                  <a:pt x="3124977" y="2158034"/>
                </a:lnTo>
                <a:lnTo>
                  <a:pt x="3124977" y="2167907"/>
                </a:lnTo>
                <a:lnTo>
                  <a:pt x="3120959" y="2171946"/>
                </a:lnTo>
                <a:lnTo>
                  <a:pt x="3111048" y="2171946"/>
                </a:lnTo>
                <a:lnTo>
                  <a:pt x="3107029" y="2167907"/>
                </a:lnTo>
                <a:lnTo>
                  <a:pt x="3107029" y="2158034"/>
                </a:lnTo>
                <a:close/>
                <a:moveTo>
                  <a:pt x="2871737" y="2153996"/>
                </a:moveTo>
                <a:lnTo>
                  <a:pt x="2881646" y="2153996"/>
                </a:lnTo>
                <a:lnTo>
                  <a:pt x="2885666" y="2158034"/>
                </a:lnTo>
                <a:lnTo>
                  <a:pt x="2885666" y="2167907"/>
                </a:lnTo>
                <a:lnTo>
                  <a:pt x="2881646" y="2171946"/>
                </a:lnTo>
                <a:lnTo>
                  <a:pt x="2871737" y="2171946"/>
                </a:lnTo>
                <a:lnTo>
                  <a:pt x="2867717" y="2167907"/>
                </a:lnTo>
                <a:lnTo>
                  <a:pt x="2867717" y="2158034"/>
                </a:lnTo>
                <a:close/>
                <a:moveTo>
                  <a:pt x="2632423" y="2153996"/>
                </a:moveTo>
                <a:lnTo>
                  <a:pt x="2642334" y="2153996"/>
                </a:lnTo>
                <a:lnTo>
                  <a:pt x="2646352" y="2158034"/>
                </a:lnTo>
                <a:lnTo>
                  <a:pt x="2646352" y="2167907"/>
                </a:lnTo>
                <a:lnTo>
                  <a:pt x="2642334" y="2171947"/>
                </a:lnTo>
                <a:lnTo>
                  <a:pt x="2632423" y="2171947"/>
                </a:lnTo>
                <a:lnTo>
                  <a:pt x="2628404" y="2167907"/>
                </a:lnTo>
                <a:lnTo>
                  <a:pt x="2628404" y="2158034"/>
                </a:lnTo>
                <a:close/>
                <a:moveTo>
                  <a:pt x="2393104" y="2153996"/>
                </a:moveTo>
                <a:lnTo>
                  <a:pt x="2403015" y="2153996"/>
                </a:lnTo>
                <a:lnTo>
                  <a:pt x="2407034" y="2158034"/>
                </a:lnTo>
                <a:lnTo>
                  <a:pt x="2407034" y="2167907"/>
                </a:lnTo>
                <a:lnTo>
                  <a:pt x="2403015" y="2171947"/>
                </a:lnTo>
                <a:lnTo>
                  <a:pt x="2393104" y="2171947"/>
                </a:lnTo>
                <a:lnTo>
                  <a:pt x="2389087" y="2167907"/>
                </a:lnTo>
                <a:lnTo>
                  <a:pt x="2389087" y="2158034"/>
                </a:lnTo>
                <a:close/>
                <a:moveTo>
                  <a:pt x="3350359" y="2153995"/>
                </a:moveTo>
                <a:lnTo>
                  <a:pt x="3360268" y="2153995"/>
                </a:lnTo>
                <a:lnTo>
                  <a:pt x="3364287" y="2158034"/>
                </a:lnTo>
                <a:lnTo>
                  <a:pt x="3364287" y="2167907"/>
                </a:lnTo>
                <a:lnTo>
                  <a:pt x="3360268" y="2171946"/>
                </a:lnTo>
                <a:lnTo>
                  <a:pt x="3350359" y="2171946"/>
                </a:lnTo>
                <a:lnTo>
                  <a:pt x="3346340" y="2167907"/>
                </a:lnTo>
                <a:lnTo>
                  <a:pt x="3346340" y="2158034"/>
                </a:lnTo>
                <a:close/>
                <a:moveTo>
                  <a:pt x="4546929" y="2153976"/>
                </a:moveTo>
                <a:lnTo>
                  <a:pt x="4556840" y="2153976"/>
                </a:lnTo>
                <a:lnTo>
                  <a:pt x="4560859" y="2158014"/>
                </a:lnTo>
                <a:lnTo>
                  <a:pt x="4560859" y="2167886"/>
                </a:lnTo>
                <a:lnTo>
                  <a:pt x="4556840" y="2171926"/>
                </a:lnTo>
                <a:lnTo>
                  <a:pt x="4546929" y="2171926"/>
                </a:lnTo>
                <a:lnTo>
                  <a:pt x="4542910" y="2167886"/>
                </a:lnTo>
                <a:lnTo>
                  <a:pt x="4542910" y="2158014"/>
                </a:lnTo>
                <a:close/>
                <a:moveTo>
                  <a:pt x="4307612" y="2153976"/>
                </a:moveTo>
                <a:lnTo>
                  <a:pt x="4317523" y="2153976"/>
                </a:lnTo>
                <a:lnTo>
                  <a:pt x="4321543" y="2158014"/>
                </a:lnTo>
                <a:lnTo>
                  <a:pt x="4321543" y="2167887"/>
                </a:lnTo>
                <a:lnTo>
                  <a:pt x="4317523" y="2171926"/>
                </a:lnTo>
                <a:lnTo>
                  <a:pt x="4307612" y="2171926"/>
                </a:lnTo>
                <a:lnTo>
                  <a:pt x="4303595" y="2167887"/>
                </a:lnTo>
                <a:lnTo>
                  <a:pt x="4303595" y="2158014"/>
                </a:lnTo>
                <a:close/>
                <a:moveTo>
                  <a:pt x="4068297" y="2153976"/>
                </a:moveTo>
                <a:lnTo>
                  <a:pt x="4078210" y="2153976"/>
                </a:lnTo>
                <a:lnTo>
                  <a:pt x="4082229" y="2158014"/>
                </a:lnTo>
                <a:lnTo>
                  <a:pt x="4082229" y="2167887"/>
                </a:lnTo>
                <a:lnTo>
                  <a:pt x="4078210" y="2171926"/>
                </a:lnTo>
                <a:lnTo>
                  <a:pt x="4068297" y="2171926"/>
                </a:lnTo>
                <a:lnTo>
                  <a:pt x="4064278" y="2167887"/>
                </a:lnTo>
                <a:lnTo>
                  <a:pt x="4064278" y="2158014"/>
                </a:lnTo>
                <a:close/>
                <a:moveTo>
                  <a:pt x="3828990" y="2153976"/>
                </a:moveTo>
                <a:lnTo>
                  <a:pt x="3838899" y="2153976"/>
                </a:lnTo>
                <a:lnTo>
                  <a:pt x="3842917" y="2158014"/>
                </a:lnTo>
                <a:lnTo>
                  <a:pt x="3842917" y="2167887"/>
                </a:lnTo>
                <a:lnTo>
                  <a:pt x="3838899" y="2171926"/>
                </a:lnTo>
                <a:lnTo>
                  <a:pt x="3828990" y="2171926"/>
                </a:lnTo>
                <a:lnTo>
                  <a:pt x="3824971" y="2167887"/>
                </a:lnTo>
                <a:lnTo>
                  <a:pt x="3824971" y="2158014"/>
                </a:lnTo>
                <a:close/>
                <a:moveTo>
                  <a:pt x="3589676" y="2153976"/>
                </a:moveTo>
                <a:lnTo>
                  <a:pt x="3599585" y="2153976"/>
                </a:lnTo>
                <a:lnTo>
                  <a:pt x="3603604" y="2158014"/>
                </a:lnTo>
                <a:lnTo>
                  <a:pt x="3603604" y="2167887"/>
                </a:lnTo>
                <a:lnTo>
                  <a:pt x="3599585" y="2171926"/>
                </a:lnTo>
                <a:lnTo>
                  <a:pt x="3589676" y="2171926"/>
                </a:lnTo>
                <a:lnTo>
                  <a:pt x="3585657" y="2167887"/>
                </a:lnTo>
                <a:lnTo>
                  <a:pt x="3585657" y="2158014"/>
                </a:lnTo>
                <a:close/>
                <a:moveTo>
                  <a:pt x="5504099" y="2153956"/>
                </a:moveTo>
                <a:lnTo>
                  <a:pt x="5514010" y="2153956"/>
                </a:lnTo>
                <a:lnTo>
                  <a:pt x="5518029" y="2157994"/>
                </a:lnTo>
                <a:lnTo>
                  <a:pt x="5518029" y="2167867"/>
                </a:lnTo>
                <a:lnTo>
                  <a:pt x="5514010" y="2171905"/>
                </a:lnTo>
                <a:lnTo>
                  <a:pt x="5504099" y="2171905"/>
                </a:lnTo>
                <a:lnTo>
                  <a:pt x="5500080" y="2167867"/>
                </a:lnTo>
                <a:lnTo>
                  <a:pt x="5500080" y="2157994"/>
                </a:lnTo>
                <a:close/>
                <a:moveTo>
                  <a:pt x="5264784" y="2153956"/>
                </a:moveTo>
                <a:lnTo>
                  <a:pt x="5274694" y="2153956"/>
                </a:lnTo>
                <a:lnTo>
                  <a:pt x="5278713" y="2157994"/>
                </a:lnTo>
                <a:lnTo>
                  <a:pt x="5278713" y="2167867"/>
                </a:lnTo>
                <a:lnTo>
                  <a:pt x="5274694" y="2171905"/>
                </a:lnTo>
                <a:lnTo>
                  <a:pt x="5264784" y="2171905"/>
                </a:lnTo>
                <a:lnTo>
                  <a:pt x="5260765" y="2167867"/>
                </a:lnTo>
                <a:lnTo>
                  <a:pt x="5260765" y="2157994"/>
                </a:lnTo>
                <a:close/>
                <a:moveTo>
                  <a:pt x="5025470" y="2153956"/>
                </a:moveTo>
                <a:lnTo>
                  <a:pt x="5035381" y="2153956"/>
                </a:lnTo>
                <a:lnTo>
                  <a:pt x="5039400" y="2157994"/>
                </a:lnTo>
                <a:lnTo>
                  <a:pt x="5039400" y="2167867"/>
                </a:lnTo>
                <a:lnTo>
                  <a:pt x="5035381" y="2171906"/>
                </a:lnTo>
                <a:lnTo>
                  <a:pt x="5025470" y="2171906"/>
                </a:lnTo>
                <a:lnTo>
                  <a:pt x="5021451" y="2167867"/>
                </a:lnTo>
                <a:lnTo>
                  <a:pt x="5021451" y="2157994"/>
                </a:lnTo>
                <a:close/>
                <a:moveTo>
                  <a:pt x="4786241" y="2153956"/>
                </a:moveTo>
                <a:lnTo>
                  <a:pt x="4796152" y="2153956"/>
                </a:lnTo>
                <a:lnTo>
                  <a:pt x="4800171" y="2157994"/>
                </a:lnTo>
                <a:lnTo>
                  <a:pt x="4800171" y="2167867"/>
                </a:lnTo>
                <a:lnTo>
                  <a:pt x="4796152" y="2171906"/>
                </a:lnTo>
                <a:lnTo>
                  <a:pt x="4786241" y="2171906"/>
                </a:lnTo>
                <a:lnTo>
                  <a:pt x="4782224" y="2167867"/>
                </a:lnTo>
                <a:lnTo>
                  <a:pt x="4782224" y="2157994"/>
                </a:lnTo>
                <a:close/>
                <a:moveTo>
                  <a:pt x="5743412" y="2153955"/>
                </a:moveTo>
                <a:lnTo>
                  <a:pt x="5753323" y="2153955"/>
                </a:lnTo>
                <a:lnTo>
                  <a:pt x="5757342" y="2157994"/>
                </a:lnTo>
                <a:lnTo>
                  <a:pt x="5757342" y="2167866"/>
                </a:lnTo>
                <a:lnTo>
                  <a:pt x="5753323" y="2171905"/>
                </a:lnTo>
                <a:lnTo>
                  <a:pt x="5743412" y="2171905"/>
                </a:lnTo>
                <a:lnTo>
                  <a:pt x="5739393" y="2167866"/>
                </a:lnTo>
                <a:lnTo>
                  <a:pt x="5739393" y="2157994"/>
                </a:lnTo>
                <a:close/>
                <a:moveTo>
                  <a:pt x="6222042" y="2153936"/>
                </a:moveTo>
                <a:lnTo>
                  <a:pt x="6231952" y="2153936"/>
                </a:lnTo>
                <a:lnTo>
                  <a:pt x="6235971" y="2157974"/>
                </a:lnTo>
                <a:lnTo>
                  <a:pt x="6235971" y="2167846"/>
                </a:lnTo>
                <a:lnTo>
                  <a:pt x="6231952" y="2171885"/>
                </a:lnTo>
                <a:lnTo>
                  <a:pt x="6222042" y="2171885"/>
                </a:lnTo>
                <a:lnTo>
                  <a:pt x="6218023" y="2167846"/>
                </a:lnTo>
                <a:lnTo>
                  <a:pt x="6218023" y="2157974"/>
                </a:lnTo>
                <a:close/>
                <a:moveTo>
                  <a:pt x="5982729" y="2153936"/>
                </a:moveTo>
                <a:lnTo>
                  <a:pt x="5992639" y="2153936"/>
                </a:lnTo>
                <a:lnTo>
                  <a:pt x="5996658" y="2157974"/>
                </a:lnTo>
                <a:lnTo>
                  <a:pt x="5996658" y="2167846"/>
                </a:lnTo>
                <a:lnTo>
                  <a:pt x="5992639" y="2171885"/>
                </a:lnTo>
                <a:lnTo>
                  <a:pt x="5982729" y="2171885"/>
                </a:lnTo>
                <a:lnTo>
                  <a:pt x="5978710" y="2167846"/>
                </a:lnTo>
                <a:lnTo>
                  <a:pt x="5978710" y="2157974"/>
                </a:lnTo>
                <a:close/>
                <a:moveTo>
                  <a:pt x="6939983" y="2153935"/>
                </a:moveTo>
                <a:lnTo>
                  <a:pt x="6949894" y="2153935"/>
                </a:lnTo>
                <a:lnTo>
                  <a:pt x="6953913" y="2157974"/>
                </a:lnTo>
                <a:lnTo>
                  <a:pt x="6953913" y="2167845"/>
                </a:lnTo>
                <a:lnTo>
                  <a:pt x="6949894" y="2171885"/>
                </a:lnTo>
                <a:lnTo>
                  <a:pt x="6939983" y="2171885"/>
                </a:lnTo>
                <a:lnTo>
                  <a:pt x="6935964" y="2167845"/>
                </a:lnTo>
                <a:lnTo>
                  <a:pt x="6935964" y="2157974"/>
                </a:lnTo>
                <a:close/>
                <a:moveTo>
                  <a:pt x="6700670" y="2153935"/>
                </a:moveTo>
                <a:lnTo>
                  <a:pt x="6710581" y="2153935"/>
                </a:lnTo>
                <a:lnTo>
                  <a:pt x="6714600" y="2157974"/>
                </a:lnTo>
                <a:lnTo>
                  <a:pt x="6714600" y="2167846"/>
                </a:lnTo>
                <a:lnTo>
                  <a:pt x="6710581" y="2171885"/>
                </a:lnTo>
                <a:lnTo>
                  <a:pt x="6700670" y="2171885"/>
                </a:lnTo>
                <a:lnTo>
                  <a:pt x="6696651" y="2167846"/>
                </a:lnTo>
                <a:lnTo>
                  <a:pt x="6696651" y="2157974"/>
                </a:lnTo>
                <a:close/>
                <a:moveTo>
                  <a:pt x="6461356" y="2153935"/>
                </a:moveTo>
                <a:lnTo>
                  <a:pt x="6471266" y="2153935"/>
                </a:lnTo>
                <a:lnTo>
                  <a:pt x="6475285" y="2157974"/>
                </a:lnTo>
                <a:lnTo>
                  <a:pt x="6475285" y="2167846"/>
                </a:lnTo>
                <a:lnTo>
                  <a:pt x="6471266" y="2171885"/>
                </a:lnTo>
                <a:lnTo>
                  <a:pt x="6461356" y="2171885"/>
                </a:lnTo>
                <a:lnTo>
                  <a:pt x="6457337" y="2167846"/>
                </a:lnTo>
                <a:lnTo>
                  <a:pt x="6457337" y="2157974"/>
                </a:lnTo>
                <a:close/>
                <a:moveTo>
                  <a:pt x="7418611" y="2153916"/>
                </a:moveTo>
                <a:lnTo>
                  <a:pt x="7428521" y="2153916"/>
                </a:lnTo>
                <a:lnTo>
                  <a:pt x="7432540" y="2157955"/>
                </a:lnTo>
                <a:lnTo>
                  <a:pt x="7432540" y="2167826"/>
                </a:lnTo>
                <a:lnTo>
                  <a:pt x="7428521" y="2171865"/>
                </a:lnTo>
                <a:lnTo>
                  <a:pt x="7418611" y="2171865"/>
                </a:lnTo>
                <a:lnTo>
                  <a:pt x="7414592" y="2167826"/>
                </a:lnTo>
                <a:lnTo>
                  <a:pt x="7414592" y="2157955"/>
                </a:lnTo>
                <a:close/>
                <a:moveTo>
                  <a:pt x="7179298" y="2153916"/>
                </a:moveTo>
                <a:lnTo>
                  <a:pt x="7189209" y="2153916"/>
                </a:lnTo>
                <a:lnTo>
                  <a:pt x="7193228" y="2157955"/>
                </a:lnTo>
                <a:lnTo>
                  <a:pt x="7193228" y="2167826"/>
                </a:lnTo>
                <a:lnTo>
                  <a:pt x="7189209" y="2171865"/>
                </a:lnTo>
                <a:lnTo>
                  <a:pt x="7179298" y="2171865"/>
                </a:lnTo>
                <a:lnTo>
                  <a:pt x="7175279" y="2167826"/>
                </a:lnTo>
                <a:lnTo>
                  <a:pt x="7175279" y="2157955"/>
                </a:lnTo>
                <a:close/>
                <a:moveTo>
                  <a:pt x="8136553" y="2153915"/>
                </a:moveTo>
                <a:lnTo>
                  <a:pt x="8146464" y="2153915"/>
                </a:lnTo>
                <a:lnTo>
                  <a:pt x="8150483" y="2157955"/>
                </a:lnTo>
                <a:lnTo>
                  <a:pt x="8150483" y="2167825"/>
                </a:lnTo>
                <a:lnTo>
                  <a:pt x="8146464" y="2171864"/>
                </a:lnTo>
                <a:lnTo>
                  <a:pt x="8136553" y="2171864"/>
                </a:lnTo>
                <a:lnTo>
                  <a:pt x="8132534" y="2167825"/>
                </a:lnTo>
                <a:lnTo>
                  <a:pt x="8132534" y="2157955"/>
                </a:lnTo>
                <a:close/>
                <a:moveTo>
                  <a:pt x="7897241" y="2153915"/>
                </a:moveTo>
                <a:lnTo>
                  <a:pt x="7907151" y="2153915"/>
                </a:lnTo>
                <a:lnTo>
                  <a:pt x="7911170" y="2157955"/>
                </a:lnTo>
                <a:lnTo>
                  <a:pt x="7911170" y="2167826"/>
                </a:lnTo>
                <a:lnTo>
                  <a:pt x="7907151" y="2171864"/>
                </a:lnTo>
                <a:lnTo>
                  <a:pt x="7897241" y="2171864"/>
                </a:lnTo>
                <a:lnTo>
                  <a:pt x="7893222" y="2167826"/>
                </a:lnTo>
                <a:lnTo>
                  <a:pt x="7893222" y="2157955"/>
                </a:lnTo>
                <a:close/>
                <a:moveTo>
                  <a:pt x="7657926" y="2153915"/>
                </a:moveTo>
                <a:lnTo>
                  <a:pt x="7667836" y="2153915"/>
                </a:lnTo>
                <a:lnTo>
                  <a:pt x="7671855" y="2157955"/>
                </a:lnTo>
                <a:lnTo>
                  <a:pt x="7671855" y="2167826"/>
                </a:lnTo>
                <a:lnTo>
                  <a:pt x="7667836" y="2171864"/>
                </a:lnTo>
                <a:lnTo>
                  <a:pt x="7657926" y="2171864"/>
                </a:lnTo>
                <a:lnTo>
                  <a:pt x="7653906" y="2167826"/>
                </a:lnTo>
                <a:lnTo>
                  <a:pt x="7653906" y="2157955"/>
                </a:lnTo>
                <a:close/>
                <a:moveTo>
                  <a:pt x="8615184" y="2153896"/>
                </a:moveTo>
                <a:lnTo>
                  <a:pt x="8625095" y="2153896"/>
                </a:lnTo>
                <a:lnTo>
                  <a:pt x="8629114" y="2157935"/>
                </a:lnTo>
                <a:lnTo>
                  <a:pt x="8629114" y="2167805"/>
                </a:lnTo>
                <a:lnTo>
                  <a:pt x="8625095" y="2171844"/>
                </a:lnTo>
                <a:lnTo>
                  <a:pt x="8615184" y="2171844"/>
                </a:lnTo>
                <a:lnTo>
                  <a:pt x="8611165" y="2167805"/>
                </a:lnTo>
                <a:lnTo>
                  <a:pt x="8611165" y="2157935"/>
                </a:lnTo>
                <a:close/>
                <a:moveTo>
                  <a:pt x="8375869" y="2153896"/>
                </a:moveTo>
                <a:lnTo>
                  <a:pt x="8385779" y="2153896"/>
                </a:lnTo>
                <a:lnTo>
                  <a:pt x="8389799" y="2157935"/>
                </a:lnTo>
                <a:lnTo>
                  <a:pt x="8389799" y="2167805"/>
                </a:lnTo>
                <a:lnTo>
                  <a:pt x="8385779" y="2171844"/>
                </a:lnTo>
                <a:lnTo>
                  <a:pt x="8375869" y="2171844"/>
                </a:lnTo>
                <a:lnTo>
                  <a:pt x="8371850" y="2167805"/>
                </a:lnTo>
                <a:lnTo>
                  <a:pt x="8371850" y="2157935"/>
                </a:lnTo>
                <a:close/>
                <a:moveTo>
                  <a:pt x="9333125" y="2153895"/>
                </a:moveTo>
                <a:lnTo>
                  <a:pt x="9343036" y="2153895"/>
                </a:lnTo>
                <a:lnTo>
                  <a:pt x="9347055" y="2157934"/>
                </a:lnTo>
                <a:lnTo>
                  <a:pt x="9347055" y="2167805"/>
                </a:lnTo>
                <a:lnTo>
                  <a:pt x="9343036" y="2171844"/>
                </a:lnTo>
                <a:lnTo>
                  <a:pt x="9333125" y="2171844"/>
                </a:lnTo>
                <a:lnTo>
                  <a:pt x="9329106" y="2167805"/>
                </a:lnTo>
                <a:lnTo>
                  <a:pt x="9329106" y="2157934"/>
                </a:lnTo>
                <a:close/>
                <a:moveTo>
                  <a:pt x="9093811" y="2153895"/>
                </a:moveTo>
                <a:lnTo>
                  <a:pt x="9103722" y="2153895"/>
                </a:lnTo>
                <a:lnTo>
                  <a:pt x="9107741" y="2157935"/>
                </a:lnTo>
                <a:lnTo>
                  <a:pt x="9107741" y="2167805"/>
                </a:lnTo>
                <a:lnTo>
                  <a:pt x="9103722" y="2171844"/>
                </a:lnTo>
                <a:lnTo>
                  <a:pt x="9093811" y="2171844"/>
                </a:lnTo>
                <a:lnTo>
                  <a:pt x="9089792" y="2167805"/>
                </a:lnTo>
                <a:lnTo>
                  <a:pt x="9089792" y="2157935"/>
                </a:lnTo>
                <a:close/>
                <a:moveTo>
                  <a:pt x="8854496" y="2153895"/>
                </a:moveTo>
                <a:lnTo>
                  <a:pt x="8864407" y="2153895"/>
                </a:lnTo>
                <a:lnTo>
                  <a:pt x="8868426" y="2157935"/>
                </a:lnTo>
                <a:lnTo>
                  <a:pt x="8868426" y="2167805"/>
                </a:lnTo>
                <a:lnTo>
                  <a:pt x="8864407" y="2171844"/>
                </a:lnTo>
                <a:lnTo>
                  <a:pt x="8854496" y="2171844"/>
                </a:lnTo>
                <a:lnTo>
                  <a:pt x="8850477" y="2167805"/>
                </a:lnTo>
                <a:lnTo>
                  <a:pt x="8850477" y="2157935"/>
                </a:lnTo>
                <a:close/>
                <a:moveTo>
                  <a:pt x="9572438" y="2153876"/>
                </a:moveTo>
                <a:lnTo>
                  <a:pt x="9582349" y="2153876"/>
                </a:lnTo>
                <a:lnTo>
                  <a:pt x="9586368" y="2157914"/>
                </a:lnTo>
                <a:lnTo>
                  <a:pt x="9586368" y="2167786"/>
                </a:lnTo>
                <a:lnTo>
                  <a:pt x="9582349" y="2171824"/>
                </a:lnTo>
                <a:lnTo>
                  <a:pt x="9572438" y="2171824"/>
                </a:lnTo>
                <a:lnTo>
                  <a:pt x="9568419" y="2167786"/>
                </a:lnTo>
                <a:lnTo>
                  <a:pt x="9568419" y="2157914"/>
                </a:lnTo>
                <a:close/>
                <a:moveTo>
                  <a:pt x="1200582" y="2153867"/>
                </a:moveTo>
                <a:lnTo>
                  <a:pt x="1210491" y="2153867"/>
                </a:lnTo>
                <a:lnTo>
                  <a:pt x="1214510" y="2157906"/>
                </a:lnTo>
                <a:lnTo>
                  <a:pt x="1214510" y="2167776"/>
                </a:lnTo>
                <a:lnTo>
                  <a:pt x="1210491" y="2171815"/>
                </a:lnTo>
                <a:lnTo>
                  <a:pt x="1200582" y="2171815"/>
                </a:lnTo>
                <a:lnTo>
                  <a:pt x="1196562" y="2167776"/>
                </a:lnTo>
                <a:lnTo>
                  <a:pt x="1196562" y="2157906"/>
                </a:lnTo>
                <a:close/>
                <a:moveTo>
                  <a:pt x="961268" y="2153867"/>
                </a:moveTo>
                <a:lnTo>
                  <a:pt x="971179" y="2153867"/>
                </a:lnTo>
                <a:lnTo>
                  <a:pt x="975198" y="2157906"/>
                </a:lnTo>
                <a:lnTo>
                  <a:pt x="975198" y="2167776"/>
                </a:lnTo>
                <a:lnTo>
                  <a:pt x="971179" y="2171815"/>
                </a:lnTo>
                <a:lnTo>
                  <a:pt x="961268" y="2171815"/>
                </a:lnTo>
                <a:lnTo>
                  <a:pt x="957250" y="2167776"/>
                </a:lnTo>
                <a:lnTo>
                  <a:pt x="957250" y="2157906"/>
                </a:lnTo>
                <a:close/>
                <a:moveTo>
                  <a:pt x="1679214" y="2153867"/>
                </a:moveTo>
                <a:lnTo>
                  <a:pt x="1689123" y="2153867"/>
                </a:lnTo>
                <a:lnTo>
                  <a:pt x="1693144" y="2157905"/>
                </a:lnTo>
                <a:lnTo>
                  <a:pt x="1693144" y="2167775"/>
                </a:lnTo>
                <a:lnTo>
                  <a:pt x="1689123" y="2171814"/>
                </a:lnTo>
                <a:lnTo>
                  <a:pt x="1679214" y="2171814"/>
                </a:lnTo>
                <a:lnTo>
                  <a:pt x="1675195" y="2167775"/>
                </a:lnTo>
                <a:lnTo>
                  <a:pt x="1675195" y="2157905"/>
                </a:lnTo>
                <a:close/>
                <a:moveTo>
                  <a:pt x="1439897" y="2153867"/>
                </a:moveTo>
                <a:lnTo>
                  <a:pt x="1449807" y="2153867"/>
                </a:lnTo>
                <a:lnTo>
                  <a:pt x="1453826" y="2157905"/>
                </a:lnTo>
                <a:lnTo>
                  <a:pt x="1453826" y="2167776"/>
                </a:lnTo>
                <a:lnTo>
                  <a:pt x="1449807" y="2171814"/>
                </a:lnTo>
                <a:lnTo>
                  <a:pt x="1439897" y="2171814"/>
                </a:lnTo>
                <a:lnTo>
                  <a:pt x="1435878" y="2167776"/>
                </a:lnTo>
                <a:lnTo>
                  <a:pt x="1435878" y="2157905"/>
                </a:lnTo>
                <a:close/>
                <a:moveTo>
                  <a:pt x="1918513" y="2153855"/>
                </a:moveTo>
                <a:lnTo>
                  <a:pt x="1928422" y="2153855"/>
                </a:lnTo>
                <a:lnTo>
                  <a:pt x="1932443" y="2157892"/>
                </a:lnTo>
                <a:lnTo>
                  <a:pt x="1932443" y="2167763"/>
                </a:lnTo>
                <a:lnTo>
                  <a:pt x="1928422" y="2171803"/>
                </a:lnTo>
                <a:lnTo>
                  <a:pt x="1918513" y="2171803"/>
                </a:lnTo>
                <a:lnTo>
                  <a:pt x="1914494" y="2167763"/>
                </a:lnTo>
                <a:lnTo>
                  <a:pt x="1914494" y="2157892"/>
                </a:lnTo>
                <a:close/>
                <a:moveTo>
                  <a:pt x="2157821" y="2153850"/>
                </a:moveTo>
                <a:lnTo>
                  <a:pt x="2167732" y="2153850"/>
                </a:lnTo>
                <a:lnTo>
                  <a:pt x="2171750" y="2157889"/>
                </a:lnTo>
                <a:lnTo>
                  <a:pt x="2171750" y="2167759"/>
                </a:lnTo>
                <a:lnTo>
                  <a:pt x="2167732" y="2171798"/>
                </a:lnTo>
                <a:lnTo>
                  <a:pt x="2157821" y="2171798"/>
                </a:lnTo>
                <a:lnTo>
                  <a:pt x="2153803" y="2167759"/>
                </a:lnTo>
                <a:lnTo>
                  <a:pt x="2153803" y="2157889"/>
                </a:lnTo>
                <a:close/>
                <a:moveTo>
                  <a:pt x="4032" y="2153832"/>
                </a:moveTo>
                <a:lnTo>
                  <a:pt x="13942" y="2153832"/>
                </a:lnTo>
                <a:lnTo>
                  <a:pt x="17961" y="2157870"/>
                </a:lnTo>
                <a:lnTo>
                  <a:pt x="17961" y="2167741"/>
                </a:lnTo>
                <a:lnTo>
                  <a:pt x="13942" y="2171780"/>
                </a:lnTo>
                <a:lnTo>
                  <a:pt x="4032" y="2171780"/>
                </a:lnTo>
                <a:lnTo>
                  <a:pt x="13" y="2167741"/>
                </a:lnTo>
                <a:lnTo>
                  <a:pt x="13" y="2157870"/>
                </a:lnTo>
                <a:close/>
                <a:moveTo>
                  <a:pt x="721971" y="2153832"/>
                </a:moveTo>
                <a:lnTo>
                  <a:pt x="731881" y="2153832"/>
                </a:lnTo>
                <a:lnTo>
                  <a:pt x="735900" y="2157870"/>
                </a:lnTo>
                <a:lnTo>
                  <a:pt x="735900" y="2167740"/>
                </a:lnTo>
                <a:lnTo>
                  <a:pt x="731881" y="2171780"/>
                </a:lnTo>
                <a:lnTo>
                  <a:pt x="721971" y="2171780"/>
                </a:lnTo>
                <a:lnTo>
                  <a:pt x="717952" y="2167740"/>
                </a:lnTo>
                <a:lnTo>
                  <a:pt x="717952" y="2157870"/>
                </a:lnTo>
                <a:close/>
                <a:moveTo>
                  <a:pt x="482659" y="2153832"/>
                </a:moveTo>
                <a:lnTo>
                  <a:pt x="492569" y="2153832"/>
                </a:lnTo>
                <a:lnTo>
                  <a:pt x="496588" y="2157870"/>
                </a:lnTo>
                <a:lnTo>
                  <a:pt x="496588" y="2167741"/>
                </a:lnTo>
                <a:lnTo>
                  <a:pt x="492569" y="2171780"/>
                </a:lnTo>
                <a:lnTo>
                  <a:pt x="482659" y="2171780"/>
                </a:lnTo>
                <a:lnTo>
                  <a:pt x="478640" y="2167741"/>
                </a:lnTo>
                <a:lnTo>
                  <a:pt x="478640" y="2157870"/>
                </a:lnTo>
                <a:close/>
                <a:moveTo>
                  <a:pt x="243345" y="2153832"/>
                </a:moveTo>
                <a:lnTo>
                  <a:pt x="253255" y="2153832"/>
                </a:lnTo>
                <a:lnTo>
                  <a:pt x="257274" y="2157870"/>
                </a:lnTo>
                <a:lnTo>
                  <a:pt x="257274" y="2167741"/>
                </a:lnTo>
                <a:lnTo>
                  <a:pt x="253255" y="2171780"/>
                </a:lnTo>
                <a:lnTo>
                  <a:pt x="243345" y="2171780"/>
                </a:lnTo>
                <a:lnTo>
                  <a:pt x="239326" y="2167741"/>
                </a:lnTo>
                <a:lnTo>
                  <a:pt x="239326" y="2157870"/>
                </a:lnTo>
                <a:close/>
                <a:moveTo>
                  <a:pt x="2393104" y="1914701"/>
                </a:moveTo>
                <a:lnTo>
                  <a:pt x="2403015" y="1914701"/>
                </a:lnTo>
                <a:lnTo>
                  <a:pt x="2407034" y="1918739"/>
                </a:lnTo>
                <a:lnTo>
                  <a:pt x="2407034" y="1928610"/>
                </a:lnTo>
                <a:lnTo>
                  <a:pt x="2403015" y="1932649"/>
                </a:lnTo>
                <a:lnTo>
                  <a:pt x="2393104" y="1932649"/>
                </a:lnTo>
                <a:lnTo>
                  <a:pt x="2389087" y="1928610"/>
                </a:lnTo>
                <a:lnTo>
                  <a:pt x="2389087" y="1918739"/>
                </a:lnTo>
                <a:close/>
                <a:moveTo>
                  <a:pt x="3350359" y="1914699"/>
                </a:moveTo>
                <a:lnTo>
                  <a:pt x="3360268" y="1914699"/>
                </a:lnTo>
                <a:lnTo>
                  <a:pt x="3364287" y="1918738"/>
                </a:lnTo>
                <a:lnTo>
                  <a:pt x="3364287" y="1928610"/>
                </a:lnTo>
                <a:lnTo>
                  <a:pt x="3360268" y="1932649"/>
                </a:lnTo>
                <a:lnTo>
                  <a:pt x="3350359" y="1932649"/>
                </a:lnTo>
                <a:lnTo>
                  <a:pt x="3346340" y="1928610"/>
                </a:lnTo>
                <a:lnTo>
                  <a:pt x="3346340" y="1918738"/>
                </a:lnTo>
                <a:close/>
                <a:moveTo>
                  <a:pt x="3111048" y="1914699"/>
                </a:moveTo>
                <a:lnTo>
                  <a:pt x="3120959" y="1914699"/>
                </a:lnTo>
                <a:lnTo>
                  <a:pt x="3124977" y="1918739"/>
                </a:lnTo>
                <a:lnTo>
                  <a:pt x="3124977" y="1928610"/>
                </a:lnTo>
                <a:lnTo>
                  <a:pt x="3120959" y="1932649"/>
                </a:lnTo>
                <a:lnTo>
                  <a:pt x="3111048" y="1932649"/>
                </a:lnTo>
                <a:lnTo>
                  <a:pt x="3107029" y="1928610"/>
                </a:lnTo>
                <a:lnTo>
                  <a:pt x="3107029" y="1918739"/>
                </a:lnTo>
                <a:close/>
                <a:moveTo>
                  <a:pt x="2871737" y="1914699"/>
                </a:moveTo>
                <a:lnTo>
                  <a:pt x="2881646" y="1914699"/>
                </a:lnTo>
                <a:lnTo>
                  <a:pt x="2885666" y="1918739"/>
                </a:lnTo>
                <a:lnTo>
                  <a:pt x="2885666" y="1928610"/>
                </a:lnTo>
                <a:lnTo>
                  <a:pt x="2881646" y="1932649"/>
                </a:lnTo>
                <a:lnTo>
                  <a:pt x="2871737" y="1932649"/>
                </a:lnTo>
                <a:lnTo>
                  <a:pt x="2867717" y="1928610"/>
                </a:lnTo>
                <a:lnTo>
                  <a:pt x="2867717" y="1918739"/>
                </a:lnTo>
                <a:close/>
                <a:moveTo>
                  <a:pt x="2632423" y="1914699"/>
                </a:moveTo>
                <a:lnTo>
                  <a:pt x="2642334" y="1914699"/>
                </a:lnTo>
                <a:lnTo>
                  <a:pt x="2646352" y="1918739"/>
                </a:lnTo>
                <a:lnTo>
                  <a:pt x="2646352" y="1928610"/>
                </a:lnTo>
                <a:lnTo>
                  <a:pt x="2642334" y="1932649"/>
                </a:lnTo>
                <a:lnTo>
                  <a:pt x="2632423" y="1932649"/>
                </a:lnTo>
                <a:lnTo>
                  <a:pt x="2628404" y="1928610"/>
                </a:lnTo>
                <a:lnTo>
                  <a:pt x="2628404" y="1918739"/>
                </a:lnTo>
                <a:close/>
                <a:moveTo>
                  <a:pt x="3589676" y="1914682"/>
                </a:moveTo>
                <a:lnTo>
                  <a:pt x="3599585" y="1914682"/>
                </a:lnTo>
                <a:lnTo>
                  <a:pt x="3603604" y="1918721"/>
                </a:lnTo>
                <a:lnTo>
                  <a:pt x="3603604" y="1928592"/>
                </a:lnTo>
                <a:lnTo>
                  <a:pt x="3599585" y="1932631"/>
                </a:lnTo>
                <a:lnTo>
                  <a:pt x="3589676" y="1932631"/>
                </a:lnTo>
                <a:lnTo>
                  <a:pt x="3585657" y="1928592"/>
                </a:lnTo>
                <a:lnTo>
                  <a:pt x="3585657" y="1918721"/>
                </a:lnTo>
                <a:close/>
                <a:moveTo>
                  <a:pt x="4546929" y="1914681"/>
                </a:moveTo>
                <a:lnTo>
                  <a:pt x="4556840" y="1914681"/>
                </a:lnTo>
                <a:lnTo>
                  <a:pt x="4560859" y="1918719"/>
                </a:lnTo>
                <a:lnTo>
                  <a:pt x="4560859" y="1928592"/>
                </a:lnTo>
                <a:lnTo>
                  <a:pt x="4556840" y="1932631"/>
                </a:lnTo>
                <a:lnTo>
                  <a:pt x="4546929" y="1932631"/>
                </a:lnTo>
                <a:lnTo>
                  <a:pt x="4542910" y="1928592"/>
                </a:lnTo>
                <a:lnTo>
                  <a:pt x="4542910" y="1918719"/>
                </a:lnTo>
                <a:close/>
                <a:moveTo>
                  <a:pt x="4307612" y="1914681"/>
                </a:moveTo>
                <a:lnTo>
                  <a:pt x="4317523" y="1914681"/>
                </a:lnTo>
                <a:lnTo>
                  <a:pt x="4321543" y="1918720"/>
                </a:lnTo>
                <a:lnTo>
                  <a:pt x="4321543" y="1928592"/>
                </a:lnTo>
                <a:lnTo>
                  <a:pt x="4317523" y="1932631"/>
                </a:lnTo>
                <a:lnTo>
                  <a:pt x="4307612" y="1932631"/>
                </a:lnTo>
                <a:lnTo>
                  <a:pt x="4303595" y="1928592"/>
                </a:lnTo>
                <a:lnTo>
                  <a:pt x="4303595" y="1918720"/>
                </a:lnTo>
                <a:close/>
                <a:moveTo>
                  <a:pt x="4068297" y="1914681"/>
                </a:moveTo>
                <a:lnTo>
                  <a:pt x="4078210" y="1914681"/>
                </a:lnTo>
                <a:lnTo>
                  <a:pt x="4082229" y="1918720"/>
                </a:lnTo>
                <a:lnTo>
                  <a:pt x="4082229" y="1928592"/>
                </a:lnTo>
                <a:lnTo>
                  <a:pt x="4078210" y="1932631"/>
                </a:lnTo>
                <a:lnTo>
                  <a:pt x="4068297" y="1932631"/>
                </a:lnTo>
                <a:lnTo>
                  <a:pt x="4064278" y="1928592"/>
                </a:lnTo>
                <a:lnTo>
                  <a:pt x="4064278" y="1918720"/>
                </a:lnTo>
                <a:close/>
                <a:moveTo>
                  <a:pt x="3828990" y="1914681"/>
                </a:moveTo>
                <a:lnTo>
                  <a:pt x="3838899" y="1914681"/>
                </a:lnTo>
                <a:lnTo>
                  <a:pt x="3842917" y="1918720"/>
                </a:lnTo>
                <a:lnTo>
                  <a:pt x="3842917" y="1928592"/>
                </a:lnTo>
                <a:lnTo>
                  <a:pt x="3838899" y="1932631"/>
                </a:lnTo>
                <a:lnTo>
                  <a:pt x="3828990" y="1932631"/>
                </a:lnTo>
                <a:lnTo>
                  <a:pt x="3824971" y="1928592"/>
                </a:lnTo>
                <a:lnTo>
                  <a:pt x="3824971" y="1918720"/>
                </a:lnTo>
                <a:close/>
                <a:moveTo>
                  <a:pt x="4786241" y="1914664"/>
                </a:moveTo>
                <a:lnTo>
                  <a:pt x="4796152" y="1914664"/>
                </a:lnTo>
                <a:lnTo>
                  <a:pt x="4800171" y="1918702"/>
                </a:lnTo>
                <a:lnTo>
                  <a:pt x="4800171" y="1928573"/>
                </a:lnTo>
                <a:lnTo>
                  <a:pt x="4796152" y="1932612"/>
                </a:lnTo>
                <a:lnTo>
                  <a:pt x="4786241" y="1932612"/>
                </a:lnTo>
                <a:lnTo>
                  <a:pt x="4782224" y="1928573"/>
                </a:lnTo>
                <a:lnTo>
                  <a:pt x="4782224" y="1918702"/>
                </a:lnTo>
                <a:close/>
                <a:moveTo>
                  <a:pt x="5504099" y="1914663"/>
                </a:moveTo>
                <a:lnTo>
                  <a:pt x="5514010" y="1914663"/>
                </a:lnTo>
                <a:lnTo>
                  <a:pt x="5518029" y="1918702"/>
                </a:lnTo>
                <a:lnTo>
                  <a:pt x="5518029" y="1928572"/>
                </a:lnTo>
                <a:lnTo>
                  <a:pt x="5514010" y="1932612"/>
                </a:lnTo>
                <a:lnTo>
                  <a:pt x="5504099" y="1932612"/>
                </a:lnTo>
                <a:lnTo>
                  <a:pt x="5500080" y="1928572"/>
                </a:lnTo>
                <a:lnTo>
                  <a:pt x="5500080" y="1918702"/>
                </a:lnTo>
                <a:close/>
                <a:moveTo>
                  <a:pt x="5264784" y="1914663"/>
                </a:moveTo>
                <a:lnTo>
                  <a:pt x="5274694" y="1914663"/>
                </a:lnTo>
                <a:lnTo>
                  <a:pt x="5278713" y="1918702"/>
                </a:lnTo>
                <a:lnTo>
                  <a:pt x="5278713" y="1928573"/>
                </a:lnTo>
                <a:lnTo>
                  <a:pt x="5274694" y="1932612"/>
                </a:lnTo>
                <a:lnTo>
                  <a:pt x="5264784" y="1932612"/>
                </a:lnTo>
                <a:lnTo>
                  <a:pt x="5260765" y="1928573"/>
                </a:lnTo>
                <a:lnTo>
                  <a:pt x="5260765" y="1918702"/>
                </a:lnTo>
                <a:close/>
                <a:moveTo>
                  <a:pt x="5025470" y="1914663"/>
                </a:moveTo>
                <a:lnTo>
                  <a:pt x="5035381" y="1914663"/>
                </a:lnTo>
                <a:lnTo>
                  <a:pt x="5039400" y="1918702"/>
                </a:lnTo>
                <a:lnTo>
                  <a:pt x="5039400" y="1928573"/>
                </a:lnTo>
                <a:lnTo>
                  <a:pt x="5035381" y="1932612"/>
                </a:lnTo>
                <a:lnTo>
                  <a:pt x="5025470" y="1932612"/>
                </a:lnTo>
                <a:lnTo>
                  <a:pt x="5021451" y="1928573"/>
                </a:lnTo>
                <a:lnTo>
                  <a:pt x="5021451" y="1918702"/>
                </a:lnTo>
                <a:close/>
                <a:moveTo>
                  <a:pt x="5743412" y="1914662"/>
                </a:moveTo>
                <a:lnTo>
                  <a:pt x="5753323" y="1914662"/>
                </a:lnTo>
                <a:lnTo>
                  <a:pt x="5757342" y="1918701"/>
                </a:lnTo>
                <a:lnTo>
                  <a:pt x="5757342" y="1928572"/>
                </a:lnTo>
                <a:lnTo>
                  <a:pt x="5753323" y="1932612"/>
                </a:lnTo>
                <a:lnTo>
                  <a:pt x="5743412" y="1932612"/>
                </a:lnTo>
                <a:lnTo>
                  <a:pt x="5739393" y="1928572"/>
                </a:lnTo>
                <a:lnTo>
                  <a:pt x="5739393" y="1918701"/>
                </a:lnTo>
                <a:close/>
                <a:moveTo>
                  <a:pt x="5982729" y="1914645"/>
                </a:moveTo>
                <a:lnTo>
                  <a:pt x="5992639" y="1914645"/>
                </a:lnTo>
                <a:lnTo>
                  <a:pt x="5996658" y="1918684"/>
                </a:lnTo>
                <a:lnTo>
                  <a:pt x="5996658" y="1928555"/>
                </a:lnTo>
                <a:lnTo>
                  <a:pt x="5992639" y="1932594"/>
                </a:lnTo>
                <a:lnTo>
                  <a:pt x="5982729" y="1932594"/>
                </a:lnTo>
                <a:lnTo>
                  <a:pt x="5978710" y="1928555"/>
                </a:lnTo>
                <a:lnTo>
                  <a:pt x="5978710" y="1918684"/>
                </a:lnTo>
                <a:close/>
                <a:moveTo>
                  <a:pt x="6939983" y="1914645"/>
                </a:moveTo>
                <a:lnTo>
                  <a:pt x="6949894" y="1914645"/>
                </a:lnTo>
                <a:lnTo>
                  <a:pt x="6953913" y="1918682"/>
                </a:lnTo>
                <a:lnTo>
                  <a:pt x="6953913" y="1928554"/>
                </a:lnTo>
                <a:lnTo>
                  <a:pt x="6949894" y="1932594"/>
                </a:lnTo>
                <a:lnTo>
                  <a:pt x="6939983" y="1932594"/>
                </a:lnTo>
                <a:lnTo>
                  <a:pt x="6935964" y="1928554"/>
                </a:lnTo>
                <a:lnTo>
                  <a:pt x="6935964" y="1918682"/>
                </a:lnTo>
                <a:close/>
                <a:moveTo>
                  <a:pt x="6700670" y="1914645"/>
                </a:moveTo>
                <a:lnTo>
                  <a:pt x="6710581" y="1914645"/>
                </a:lnTo>
                <a:lnTo>
                  <a:pt x="6714600" y="1918683"/>
                </a:lnTo>
                <a:lnTo>
                  <a:pt x="6714600" y="1928554"/>
                </a:lnTo>
                <a:lnTo>
                  <a:pt x="6710581" y="1932594"/>
                </a:lnTo>
                <a:lnTo>
                  <a:pt x="6700670" y="1932594"/>
                </a:lnTo>
                <a:lnTo>
                  <a:pt x="6696651" y="1928554"/>
                </a:lnTo>
                <a:lnTo>
                  <a:pt x="6696651" y="1918683"/>
                </a:lnTo>
                <a:close/>
                <a:moveTo>
                  <a:pt x="6461356" y="1914645"/>
                </a:moveTo>
                <a:lnTo>
                  <a:pt x="6471266" y="1914645"/>
                </a:lnTo>
                <a:lnTo>
                  <a:pt x="6475285" y="1918683"/>
                </a:lnTo>
                <a:lnTo>
                  <a:pt x="6475285" y="1928555"/>
                </a:lnTo>
                <a:lnTo>
                  <a:pt x="6471266" y="1932594"/>
                </a:lnTo>
                <a:lnTo>
                  <a:pt x="6461356" y="1932594"/>
                </a:lnTo>
                <a:lnTo>
                  <a:pt x="6457337" y="1928555"/>
                </a:lnTo>
                <a:lnTo>
                  <a:pt x="6457337" y="1918683"/>
                </a:lnTo>
                <a:close/>
                <a:moveTo>
                  <a:pt x="6222042" y="1914645"/>
                </a:moveTo>
                <a:lnTo>
                  <a:pt x="6231952" y="1914645"/>
                </a:lnTo>
                <a:lnTo>
                  <a:pt x="6235971" y="1918683"/>
                </a:lnTo>
                <a:lnTo>
                  <a:pt x="6235971" y="1928555"/>
                </a:lnTo>
                <a:lnTo>
                  <a:pt x="6231952" y="1932594"/>
                </a:lnTo>
                <a:lnTo>
                  <a:pt x="6222042" y="1932594"/>
                </a:lnTo>
                <a:lnTo>
                  <a:pt x="6218023" y="1928555"/>
                </a:lnTo>
                <a:lnTo>
                  <a:pt x="6218023" y="1918683"/>
                </a:lnTo>
                <a:close/>
                <a:moveTo>
                  <a:pt x="7179298" y="1914627"/>
                </a:moveTo>
                <a:lnTo>
                  <a:pt x="7189209" y="1914627"/>
                </a:lnTo>
                <a:lnTo>
                  <a:pt x="7193228" y="1918666"/>
                </a:lnTo>
                <a:lnTo>
                  <a:pt x="7193228" y="1928536"/>
                </a:lnTo>
                <a:lnTo>
                  <a:pt x="7189209" y="1932575"/>
                </a:lnTo>
                <a:lnTo>
                  <a:pt x="7179298" y="1932575"/>
                </a:lnTo>
                <a:lnTo>
                  <a:pt x="7175279" y="1928536"/>
                </a:lnTo>
                <a:lnTo>
                  <a:pt x="7175279" y="1918666"/>
                </a:lnTo>
                <a:close/>
                <a:moveTo>
                  <a:pt x="7897241" y="1914627"/>
                </a:moveTo>
                <a:lnTo>
                  <a:pt x="7907151" y="1914627"/>
                </a:lnTo>
                <a:lnTo>
                  <a:pt x="7911170" y="1918664"/>
                </a:lnTo>
                <a:lnTo>
                  <a:pt x="7911170" y="1928535"/>
                </a:lnTo>
                <a:lnTo>
                  <a:pt x="7907151" y="1932575"/>
                </a:lnTo>
                <a:lnTo>
                  <a:pt x="7897241" y="1932575"/>
                </a:lnTo>
                <a:lnTo>
                  <a:pt x="7893222" y="1928535"/>
                </a:lnTo>
                <a:lnTo>
                  <a:pt x="7893222" y="1918664"/>
                </a:lnTo>
                <a:close/>
                <a:moveTo>
                  <a:pt x="7657926" y="1914627"/>
                </a:moveTo>
                <a:lnTo>
                  <a:pt x="7667836" y="1914627"/>
                </a:lnTo>
                <a:lnTo>
                  <a:pt x="7671855" y="1918664"/>
                </a:lnTo>
                <a:lnTo>
                  <a:pt x="7671855" y="1928536"/>
                </a:lnTo>
                <a:lnTo>
                  <a:pt x="7667836" y="1932575"/>
                </a:lnTo>
                <a:lnTo>
                  <a:pt x="7657926" y="1932575"/>
                </a:lnTo>
                <a:lnTo>
                  <a:pt x="7653906" y="1928536"/>
                </a:lnTo>
                <a:lnTo>
                  <a:pt x="7653906" y="1918664"/>
                </a:lnTo>
                <a:close/>
                <a:moveTo>
                  <a:pt x="7418611" y="1914627"/>
                </a:moveTo>
                <a:lnTo>
                  <a:pt x="7428521" y="1914627"/>
                </a:lnTo>
                <a:lnTo>
                  <a:pt x="7432540" y="1918664"/>
                </a:lnTo>
                <a:lnTo>
                  <a:pt x="7432540" y="1928536"/>
                </a:lnTo>
                <a:lnTo>
                  <a:pt x="7428521" y="1932575"/>
                </a:lnTo>
                <a:lnTo>
                  <a:pt x="7418611" y="1932575"/>
                </a:lnTo>
                <a:lnTo>
                  <a:pt x="7414592" y="1928536"/>
                </a:lnTo>
                <a:lnTo>
                  <a:pt x="7414592" y="1918664"/>
                </a:lnTo>
                <a:close/>
                <a:moveTo>
                  <a:pt x="8136553" y="1914626"/>
                </a:moveTo>
                <a:lnTo>
                  <a:pt x="8146464" y="1914626"/>
                </a:lnTo>
                <a:lnTo>
                  <a:pt x="8150483" y="1918664"/>
                </a:lnTo>
                <a:lnTo>
                  <a:pt x="8150483" y="1928535"/>
                </a:lnTo>
                <a:lnTo>
                  <a:pt x="8146464" y="1932575"/>
                </a:lnTo>
                <a:lnTo>
                  <a:pt x="8136553" y="1932575"/>
                </a:lnTo>
                <a:lnTo>
                  <a:pt x="8132534" y="1928535"/>
                </a:lnTo>
                <a:lnTo>
                  <a:pt x="8132534" y="1918664"/>
                </a:lnTo>
                <a:close/>
                <a:moveTo>
                  <a:pt x="8375869" y="1914608"/>
                </a:moveTo>
                <a:lnTo>
                  <a:pt x="8385779" y="1914608"/>
                </a:lnTo>
                <a:lnTo>
                  <a:pt x="8389799" y="1918647"/>
                </a:lnTo>
                <a:lnTo>
                  <a:pt x="8389799" y="1928518"/>
                </a:lnTo>
                <a:lnTo>
                  <a:pt x="8385779" y="1932557"/>
                </a:lnTo>
                <a:lnTo>
                  <a:pt x="8375869" y="1932557"/>
                </a:lnTo>
                <a:lnTo>
                  <a:pt x="8371850" y="1928518"/>
                </a:lnTo>
                <a:lnTo>
                  <a:pt x="8371850" y="1918647"/>
                </a:lnTo>
                <a:close/>
                <a:moveTo>
                  <a:pt x="9333125" y="1914608"/>
                </a:moveTo>
                <a:lnTo>
                  <a:pt x="9343036" y="1914608"/>
                </a:lnTo>
                <a:lnTo>
                  <a:pt x="9347055" y="1918646"/>
                </a:lnTo>
                <a:lnTo>
                  <a:pt x="9347055" y="1928517"/>
                </a:lnTo>
                <a:lnTo>
                  <a:pt x="9343036" y="1932557"/>
                </a:lnTo>
                <a:lnTo>
                  <a:pt x="9333125" y="1932557"/>
                </a:lnTo>
                <a:lnTo>
                  <a:pt x="9329106" y="1928517"/>
                </a:lnTo>
                <a:lnTo>
                  <a:pt x="9329106" y="1918646"/>
                </a:lnTo>
                <a:close/>
                <a:moveTo>
                  <a:pt x="9093811" y="1914608"/>
                </a:moveTo>
                <a:lnTo>
                  <a:pt x="9103722" y="1914608"/>
                </a:lnTo>
                <a:lnTo>
                  <a:pt x="9107741" y="1918646"/>
                </a:lnTo>
                <a:lnTo>
                  <a:pt x="9107741" y="1928517"/>
                </a:lnTo>
                <a:lnTo>
                  <a:pt x="9103722" y="1932557"/>
                </a:lnTo>
                <a:lnTo>
                  <a:pt x="9093811" y="1932557"/>
                </a:lnTo>
                <a:lnTo>
                  <a:pt x="9089792" y="1928517"/>
                </a:lnTo>
                <a:lnTo>
                  <a:pt x="9089792" y="1918646"/>
                </a:lnTo>
                <a:close/>
                <a:moveTo>
                  <a:pt x="8854496" y="1914608"/>
                </a:moveTo>
                <a:lnTo>
                  <a:pt x="8864407" y="1914608"/>
                </a:lnTo>
                <a:lnTo>
                  <a:pt x="8868426" y="1918646"/>
                </a:lnTo>
                <a:lnTo>
                  <a:pt x="8868426" y="1928518"/>
                </a:lnTo>
                <a:lnTo>
                  <a:pt x="8864407" y="1932557"/>
                </a:lnTo>
                <a:lnTo>
                  <a:pt x="8854496" y="1932557"/>
                </a:lnTo>
                <a:lnTo>
                  <a:pt x="8850477" y="1928518"/>
                </a:lnTo>
                <a:lnTo>
                  <a:pt x="8850477" y="1918646"/>
                </a:lnTo>
                <a:close/>
                <a:moveTo>
                  <a:pt x="8615184" y="1914608"/>
                </a:moveTo>
                <a:lnTo>
                  <a:pt x="8625095" y="1914608"/>
                </a:lnTo>
                <a:lnTo>
                  <a:pt x="8629114" y="1918646"/>
                </a:lnTo>
                <a:lnTo>
                  <a:pt x="8629114" y="1928518"/>
                </a:lnTo>
                <a:lnTo>
                  <a:pt x="8625095" y="1932557"/>
                </a:lnTo>
                <a:lnTo>
                  <a:pt x="8615184" y="1932557"/>
                </a:lnTo>
                <a:lnTo>
                  <a:pt x="8611165" y="1928518"/>
                </a:lnTo>
                <a:lnTo>
                  <a:pt x="8611165" y="1918646"/>
                </a:lnTo>
                <a:close/>
                <a:moveTo>
                  <a:pt x="9572438" y="1914590"/>
                </a:moveTo>
                <a:lnTo>
                  <a:pt x="9582349" y="1914590"/>
                </a:lnTo>
                <a:lnTo>
                  <a:pt x="9586368" y="1918629"/>
                </a:lnTo>
                <a:lnTo>
                  <a:pt x="9586368" y="1928499"/>
                </a:lnTo>
                <a:lnTo>
                  <a:pt x="9582349" y="1932538"/>
                </a:lnTo>
                <a:lnTo>
                  <a:pt x="9572438" y="1932538"/>
                </a:lnTo>
                <a:lnTo>
                  <a:pt x="9568419" y="1928499"/>
                </a:lnTo>
                <a:lnTo>
                  <a:pt x="9568419" y="1918629"/>
                </a:lnTo>
                <a:close/>
                <a:moveTo>
                  <a:pt x="243346" y="1914550"/>
                </a:moveTo>
                <a:lnTo>
                  <a:pt x="253256" y="1914550"/>
                </a:lnTo>
                <a:lnTo>
                  <a:pt x="257275" y="1918589"/>
                </a:lnTo>
                <a:lnTo>
                  <a:pt x="257275" y="1928459"/>
                </a:lnTo>
                <a:lnTo>
                  <a:pt x="253256" y="1932498"/>
                </a:lnTo>
                <a:lnTo>
                  <a:pt x="243346" y="1932498"/>
                </a:lnTo>
                <a:lnTo>
                  <a:pt x="239327" y="1928459"/>
                </a:lnTo>
                <a:lnTo>
                  <a:pt x="239327" y="1918589"/>
                </a:lnTo>
                <a:close/>
                <a:moveTo>
                  <a:pt x="4032" y="1914550"/>
                </a:moveTo>
                <a:lnTo>
                  <a:pt x="13943" y="1914550"/>
                </a:lnTo>
                <a:lnTo>
                  <a:pt x="17962" y="1918589"/>
                </a:lnTo>
                <a:lnTo>
                  <a:pt x="17962" y="1928459"/>
                </a:lnTo>
                <a:lnTo>
                  <a:pt x="13943" y="1932498"/>
                </a:lnTo>
                <a:lnTo>
                  <a:pt x="4032" y="1932498"/>
                </a:lnTo>
                <a:lnTo>
                  <a:pt x="13" y="1928459"/>
                </a:lnTo>
                <a:lnTo>
                  <a:pt x="13" y="1918589"/>
                </a:lnTo>
                <a:close/>
                <a:moveTo>
                  <a:pt x="721971" y="1914550"/>
                </a:moveTo>
                <a:lnTo>
                  <a:pt x="731882" y="1914550"/>
                </a:lnTo>
                <a:lnTo>
                  <a:pt x="735901" y="1918588"/>
                </a:lnTo>
                <a:lnTo>
                  <a:pt x="735901" y="1928459"/>
                </a:lnTo>
                <a:lnTo>
                  <a:pt x="731882" y="1932497"/>
                </a:lnTo>
                <a:lnTo>
                  <a:pt x="721971" y="1932497"/>
                </a:lnTo>
                <a:lnTo>
                  <a:pt x="717953" y="1928459"/>
                </a:lnTo>
                <a:lnTo>
                  <a:pt x="717953" y="1918588"/>
                </a:lnTo>
                <a:close/>
                <a:moveTo>
                  <a:pt x="482660" y="1914550"/>
                </a:moveTo>
                <a:lnTo>
                  <a:pt x="492570" y="1914550"/>
                </a:lnTo>
                <a:lnTo>
                  <a:pt x="496589" y="1918588"/>
                </a:lnTo>
                <a:lnTo>
                  <a:pt x="496589" y="1928459"/>
                </a:lnTo>
                <a:lnTo>
                  <a:pt x="492570" y="1932497"/>
                </a:lnTo>
                <a:lnTo>
                  <a:pt x="482660" y="1932497"/>
                </a:lnTo>
                <a:lnTo>
                  <a:pt x="478640" y="1928459"/>
                </a:lnTo>
                <a:lnTo>
                  <a:pt x="478640" y="1918588"/>
                </a:lnTo>
                <a:close/>
                <a:moveTo>
                  <a:pt x="1679215" y="1914535"/>
                </a:moveTo>
                <a:lnTo>
                  <a:pt x="1689125" y="1914535"/>
                </a:lnTo>
                <a:lnTo>
                  <a:pt x="1693144" y="1918573"/>
                </a:lnTo>
                <a:lnTo>
                  <a:pt x="1693144" y="1928444"/>
                </a:lnTo>
                <a:lnTo>
                  <a:pt x="1689125" y="1932482"/>
                </a:lnTo>
                <a:lnTo>
                  <a:pt x="1679215" y="1932482"/>
                </a:lnTo>
                <a:lnTo>
                  <a:pt x="1675195" y="1928444"/>
                </a:lnTo>
                <a:lnTo>
                  <a:pt x="1675195" y="1918573"/>
                </a:lnTo>
                <a:close/>
                <a:moveTo>
                  <a:pt x="1439897" y="1914535"/>
                </a:moveTo>
                <a:lnTo>
                  <a:pt x="1449808" y="1914535"/>
                </a:lnTo>
                <a:lnTo>
                  <a:pt x="1453827" y="1918573"/>
                </a:lnTo>
                <a:lnTo>
                  <a:pt x="1453827" y="1928444"/>
                </a:lnTo>
                <a:lnTo>
                  <a:pt x="1449808" y="1932483"/>
                </a:lnTo>
                <a:lnTo>
                  <a:pt x="1439897" y="1932483"/>
                </a:lnTo>
                <a:lnTo>
                  <a:pt x="1435879" y="1928444"/>
                </a:lnTo>
                <a:lnTo>
                  <a:pt x="1435879" y="1918573"/>
                </a:lnTo>
                <a:close/>
                <a:moveTo>
                  <a:pt x="1200582" y="1914535"/>
                </a:moveTo>
                <a:lnTo>
                  <a:pt x="1210492" y="1914535"/>
                </a:lnTo>
                <a:lnTo>
                  <a:pt x="1214511" y="1918573"/>
                </a:lnTo>
                <a:lnTo>
                  <a:pt x="1214511" y="1928444"/>
                </a:lnTo>
                <a:lnTo>
                  <a:pt x="1210492" y="1932483"/>
                </a:lnTo>
                <a:lnTo>
                  <a:pt x="1200582" y="1932483"/>
                </a:lnTo>
                <a:lnTo>
                  <a:pt x="1196563" y="1928444"/>
                </a:lnTo>
                <a:lnTo>
                  <a:pt x="1196563" y="1918573"/>
                </a:lnTo>
                <a:close/>
                <a:moveTo>
                  <a:pt x="961269" y="1914535"/>
                </a:moveTo>
                <a:lnTo>
                  <a:pt x="971179" y="1914535"/>
                </a:lnTo>
                <a:lnTo>
                  <a:pt x="975198" y="1918573"/>
                </a:lnTo>
                <a:lnTo>
                  <a:pt x="975198" y="1928444"/>
                </a:lnTo>
                <a:lnTo>
                  <a:pt x="971179" y="1932483"/>
                </a:lnTo>
                <a:lnTo>
                  <a:pt x="961269" y="1932483"/>
                </a:lnTo>
                <a:lnTo>
                  <a:pt x="957250" y="1928444"/>
                </a:lnTo>
                <a:lnTo>
                  <a:pt x="957250" y="1918573"/>
                </a:lnTo>
                <a:close/>
                <a:moveTo>
                  <a:pt x="1918513" y="1914523"/>
                </a:moveTo>
                <a:lnTo>
                  <a:pt x="1928424" y="1914523"/>
                </a:lnTo>
                <a:lnTo>
                  <a:pt x="1932443" y="1918562"/>
                </a:lnTo>
                <a:lnTo>
                  <a:pt x="1932443" y="1928432"/>
                </a:lnTo>
                <a:lnTo>
                  <a:pt x="1928424" y="1932471"/>
                </a:lnTo>
                <a:lnTo>
                  <a:pt x="1918513" y="1932471"/>
                </a:lnTo>
                <a:lnTo>
                  <a:pt x="1914494" y="1928432"/>
                </a:lnTo>
                <a:lnTo>
                  <a:pt x="1914494" y="1918562"/>
                </a:lnTo>
                <a:close/>
                <a:moveTo>
                  <a:pt x="2157821" y="1914520"/>
                </a:moveTo>
                <a:lnTo>
                  <a:pt x="2167732" y="1914520"/>
                </a:lnTo>
                <a:lnTo>
                  <a:pt x="2171751" y="1918558"/>
                </a:lnTo>
                <a:lnTo>
                  <a:pt x="2171751" y="1928428"/>
                </a:lnTo>
                <a:lnTo>
                  <a:pt x="2167732" y="1932467"/>
                </a:lnTo>
                <a:lnTo>
                  <a:pt x="2157821" y="1932467"/>
                </a:lnTo>
                <a:lnTo>
                  <a:pt x="2153803" y="1928428"/>
                </a:lnTo>
                <a:lnTo>
                  <a:pt x="2153803" y="1918558"/>
                </a:lnTo>
                <a:close/>
                <a:moveTo>
                  <a:pt x="2871737" y="1675350"/>
                </a:moveTo>
                <a:lnTo>
                  <a:pt x="2881646" y="1675350"/>
                </a:lnTo>
                <a:lnTo>
                  <a:pt x="2885666" y="1679389"/>
                </a:lnTo>
                <a:lnTo>
                  <a:pt x="2885666" y="1689260"/>
                </a:lnTo>
                <a:lnTo>
                  <a:pt x="2881646" y="1693299"/>
                </a:lnTo>
                <a:lnTo>
                  <a:pt x="2871737" y="1693299"/>
                </a:lnTo>
                <a:lnTo>
                  <a:pt x="2867717" y="1689260"/>
                </a:lnTo>
                <a:lnTo>
                  <a:pt x="2867717" y="1679389"/>
                </a:lnTo>
                <a:close/>
                <a:moveTo>
                  <a:pt x="2632423" y="1675350"/>
                </a:moveTo>
                <a:lnTo>
                  <a:pt x="2642334" y="1675350"/>
                </a:lnTo>
                <a:lnTo>
                  <a:pt x="2646352" y="1679389"/>
                </a:lnTo>
                <a:lnTo>
                  <a:pt x="2646352" y="1689260"/>
                </a:lnTo>
                <a:lnTo>
                  <a:pt x="2642334" y="1693299"/>
                </a:lnTo>
                <a:lnTo>
                  <a:pt x="2632423" y="1693299"/>
                </a:lnTo>
                <a:lnTo>
                  <a:pt x="2628404" y="1689260"/>
                </a:lnTo>
                <a:lnTo>
                  <a:pt x="2628404" y="1679389"/>
                </a:lnTo>
                <a:close/>
                <a:moveTo>
                  <a:pt x="2393104" y="1675350"/>
                </a:moveTo>
                <a:lnTo>
                  <a:pt x="2403015" y="1675350"/>
                </a:lnTo>
                <a:lnTo>
                  <a:pt x="2407034" y="1679389"/>
                </a:lnTo>
                <a:lnTo>
                  <a:pt x="2407034" y="1689260"/>
                </a:lnTo>
                <a:lnTo>
                  <a:pt x="2403015" y="1693299"/>
                </a:lnTo>
                <a:lnTo>
                  <a:pt x="2393104" y="1693299"/>
                </a:lnTo>
                <a:lnTo>
                  <a:pt x="2389087" y="1689260"/>
                </a:lnTo>
                <a:lnTo>
                  <a:pt x="2389087" y="1679389"/>
                </a:lnTo>
                <a:close/>
                <a:moveTo>
                  <a:pt x="3350359" y="1675349"/>
                </a:moveTo>
                <a:lnTo>
                  <a:pt x="3360268" y="1675349"/>
                </a:lnTo>
                <a:lnTo>
                  <a:pt x="3364287" y="1679388"/>
                </a:lnTo>
                <a:lnTo>
                  <a:pt x="3364287" y="1689260"/>
                </a:lnTo>
                <a:lnTo>
                  <a:pt x="3360268" y="1693298"/>
                </a:lnTo>
                <a:lnTo>
                  <a:pt x="3350359" y="1693298"/>
                </a:lnTo>
                <a:lnTo>
                  <a:pt x="3346340" y="1689260"/>
                </a:lnTo>
                <a:lnTo>
                  <a:pt x="3346340" y="1679388"/>
                </a:lnTo>
                <a:close/>
                <a:moveTo>
                  <a:pt x="3111048" y="1675349"/>
                </a:moveTo>
                <a:lnTo>
                  <a:pt x="3120959" y="1675349"/>
                </a:lnTo>
                <a:lnTo>
                  <a:pt x="3124977" y="1679388"/>
                </a:lnTo>
                <a:lnTo>
                  <a:pt x="3124977" y="1689260"/>
                </a:lnTo>
                <a:lnTo>
                  <a:pt x="3120959" y="1693299"/>
                </a:lnTo>
                <a:lnTo>
                  <a:pt x="3111048" y="1693299"/>
                </a:lnTo>
                <a:lnTo>
                  <a:pt x="3107029" y="1689260"/>
                </a:lnTo>
                <a:lnTo>
                  <a:pt x="3107029" y="1679388"/>
                </a:lnTo>
                <a:close/>
                <a:moveTo>
                  <a:pt x="4068297" y="1675334"/>
                </a:moveTo>
                <a:lnTo>
                  <a:pt x="4078210" y="1675334"/>
                </a:lnTo>
                <a:lnTo>
                  <a:pt x="4082229" y="1679373"/>
                </a:lnTo>
                <a:lnTo>
                  <a:pt x="4082229" y="1689243"/>
                </a:lnTo>
                <a:lnTo>
                  <a:pt x="4078210" y="1693282"/>
                </a:lnTo>
                <a:lnTo>
                  <a:pt x="4068297" y="1693282"/>
                </a:lnTo>
                <a:lnTo>
                  <a:pt x="4064278" y="1689243"/>
                </a:lnTo>
                <a:lnTo>
                  <a:pt x="4064278" y="1679373"/>
                </a:lnTo>
                <a:close/>
                <a:moveTo>
                  <a:pt x="3828990" y="1675334"/>
                </a:moveTo>
                <a:lnTo>
                  <a:pt x="3838899" y="1675334"/>
                </a:lnTo>
                <a:lnTo>
                  <a:pt x="3842917" y="1679373"/>
                </a:lnTo>
                <a:lnTo>
                  <a:pt x="3842917" y="1689243"/>
                </a:lnTo>
                <a:lnTo>
                  <a:pt x="3838899" y="1693282"/>
                </a:lnTo>
                <a:lnTo>
                  <a:pt x="3828990" y="1693282"/>
                </a:lnTo>
                <a:lnTo>
                  <a:pt x="3824971" y="1689243"/>
                </a:lnTo>
                <a:lnTo>
                  <a:pt x="3824971" y="1679373"/>
                </a:lnTo>
                <a:close/>
                <a:moveTo>
                  <a:pt x="3589676" y="1675334"/>
                </a:moveTo>
                <a:lnTo>
                  <a:pt x="3599585" y="1675334"/>
                </a:lnTo>
                <a:lnTo>
                  <a:pt x="3603604" y="1679373"/>
                </a:lnTo>
                <a:lnTo>
                  <a:pt x="3603604" y="1689243"/>
                </a:lnTo>
                <a:lnTo>
                  <a:pt x="3599585" y="1693282"/>
                </a:lnTo>
                <a:lnTo>
                  <a:pt x="3589676" y="1693282"/>
                </a:lnTo>
                <a:lnTo>
                  <a:pt x="3585657" y="1689243"/>
                </a:lnTo>
                <a:lnTo>
                  <a:pt x="3585657" y="1679373"/>
                </a:lnTo>
                <a:close/>
                <a:moveTo>
                  <a:pt x="4546929" y="1675333"/>
                </a:moveTo>
                <a:lnTo>
                  <a:pt x="4556840" y="1675333"/>
                </a:lnTo>
                <a:lnTo>
                  <a:pt x="4560859" y="1679372"/>
                </a:lnTo>
                <a:lnTo>
                  <a:pt x="4560859" y="1689243"/>
                </a:lnTo>
                <a:lnTo>
                  <a:pt x="4556840" y="1693281"/>
                </a:lnTo>
                <a:lnTo>
                  <a:pt x="4546929" y="1693281"/>
                </a:lnTo>
                <a:lnTo>
                  <a:pt x="4542910" y="1689243"/>
                </a:lnTo>
                <a:lnTo>
                  <a:pt x="4542910" y="1679372"/>
                </a:lnTo>
                <a:close/>
                <a:moveTo>
                  <a:pt x="4307612" y="1675333"/>
                </a:moveTo>
                <a:lnTo>
                  <a:pt x="4317523" y="1675333"/>
                </a:lnTo>
                <a:lnTo>
                  <a:pt x="4321543" y="1679372"/>
                </a:lnTo>
                <a:lnTo>
                  <a:pt x="4321543" y="1689243"/>
                </a:lnTo>
                <a:lnTo>
                  <a:pt x="4317523" y="1693282"/>
                </a:lnTo>
                <a:lnTo>
                  <a:pt x="4307612" y="1693282"/>
                </a:lnTo>
                <a:lnTo>
                  <a:pt x="4303595" y="1689243"/>
                </a:lnTo>
                <a:lnTo>
                  <a:pt x="4303595" y="1679372"/>
                </a:lnTo>
                <a:close/>
                <a:moveTo>
                  <a:pt x="5264784" y="1675318"/>
                </a:moveTo>
                <a:lnTo>
                  <a:pt x="5274694" y="1675318"/>
                </a:lnTo>
                <a:lnTo>
                  <a:pt x="5278713" y="1679357"/>
                </a:lnTo>
                <a:lnTo>
                  <a:pt x="5278713" y="1689227"/>
                </a:lnTo>
                <a:lnTo>
                  <a:pt x="5274694" y="1693266"/>
                </a:lnTo>
                <a:lnTo>
                  <a:pt x="5264784" y="1693266"/>
                </a:lnTo>
                <a:lnTo>
                  <a:pt x="5260765" y="1689227"/>
                </a:lnTo>
                <a:lnTo>
                  <a:pt x="5260765" y="1679357"/>
                </a:lnTo>
                <a:close/>
                <a:moveTo>
                  <a:pt x="5025470" y="1675318"/>
                </a:moveTo>
                <a:lnTo>
                  <a:pt x="5035381" y="1675318"/>
                </a:lnTo>
                <a:lnTo>
                  <a:pt x="5039400" y="1679357"/>
                </a:lnTo>
                <a:lnTo>
                  <a:pt x="5039400" y="1689227"/>
                </a:lnTo>
                <a:lnTo>
                  <a:pt x="5035381" y="1693266"/>
                </a:lnTo>
                <a:lnTo>
                  <a:pt x="5025470" y="1693266"/>
                </a:lnTo>
                <a:lnTo>
                  <a:pt x="5021451" y="1689227"/>
                </a:lnTo>
                <a:lnTo>
                  <a:pt x="5021451" y="1679357"/>
                </a:lnTo>
                <a:close/>
                <a:moveTo>
                  <a:pt x="4786241" y="1675318"/>
                </a:moveTo>
                <a:lnTo>
                  <a:pt x="4796152" y="1675318"/>
                </a:lnTo>
                <a:lnTo>
                  <a:pt x="4800171" y="1679357"/>
                </a:lnTo>
                <a:lnTo>
                  <a:pt x="4800171" y="1689227"/>
                </a:lnTo>
                <a:lnTo>
                  <a:pt x="4796152" y="1693266"/>
                </a:lnTo>
                <a:lnTo>
                  <a:pt x="4786241" y="1693266"/>
                </a:lnTo>
                <a:lnTo>
                  <a:pt x="4782224" y="1689227"/>
                </a:lnTo>
                <a:lnTo>
                  <a:pt x="4782224" y="1679357"/>
                </a:lnTo>
                <a:close/>
                <a:moveTo>
                  <a:pt x="5743412" y="1675316"/>
                </a:moveTo>
                <a:lnTo>
                  <a:pt x="5753323" y="1675316"/>
                </a:lnTo>
                <a:lnTo>
                  <a:pt x="5757342" y="1679356"/>
                </a:lnTo>
                <a:lnTo>
                  <a:pt x="5757342" y="1689227"/>
                </a:lnTo>
                <a:lnTo>
                  <a:pt x="5753323" y="1693266"/>
                </a:lnTo>
                <a:lnTo>
                  <a:pt x="5743412" y="1693266"/>
                </a:lnTo>
                <a:lnTo>
                  <a:pt x="5739393" y="1689227"/>
                </a:lnTo>
                <a:lnTo>
                  <a:pt x="5739393" y="1679356"/>
                </a:lnTo>
                <a:close/>
                <a:moveTo>
                  <a:pt x="5504099" y="1675316"/>
                </a:moveTo>
                <a:lnTo>
                  <a:pt x="5514010" y="1675316"/>
                </a:lnTo>
                <a:lnTo>
                  <a:pt x="5518029" y="1679356"/>
                </a:lnTo>
                <a:lnTo>
                  <a:pt x="5518029" y="1689227"/>
                </a:lnTo>
                <a:lnTo>
                  <a:pt x="5514010" y="1693266"/>
                </a:lnTo>
                <a:lnTo>
                  <a:pt x="5504099" y="1693266"/>
                </a:lnTo>
                <a:lnTo>
                  <a:pt x="5500080" y="1689227"/>
                </a:lnTo>
                <a:lnTo>
                  <a:pt x="5500080" y="1679356"/>
                </a:lnTo>
                <a:close/>
                <a:moveTo>
                  <a:pt x="6461356" y="1675301"/>
                </a:moveTo>
                <a:lnTo>
                  <a:pt x="6471266" y="1675301"/>
                </a:lnTo>
                <a:lnTo>
                  <a:pt x="6475285" y="1679339"/>
                </a:lnTo>
                <a:lnTo>
                  <a:pt x="6475285" y="1689210"/>
                </a:lnTo>
                <a:lnTo>
                  <a:pt x="6471266" y="1693249"/>
                </a:lnTo>
                <a:lnTo>
                  <a:pt x="6461356" y="1693249"/>
                </a:lnTo>
                <a:lnTo>
                  <a:pt x="6457337" y="1689210"/>
                </a:lnTo>
                <a:lnTo>
                  <a:pt x="6457337" y="1679339"/>
                </a:lnTo>
                <a:close/>
                <a:moveTo>
                  <a:pt x="6222042" y="1675301"/>
                </a:moveTo>
                <a:lnTo>
                  <a:pt x="6231952" y="1675301"/>
                </a:lnTo>
                <a:lnTo>
                  <a:pt x="6235971" y="1679339"/>
                </a:lnTo>
                <a:lnTo>
                  <a:pt x="6235971" y="1689211"/>
                </a:lnTo>
                <a:lnTo>
                  <a:pt x="6231952" y="1693249"/>
                </a:lnTo>
                <a:lnTo>
                  <a:pt x="6222042" y="1693249"/>
                </a:lnTo>
                <a:lnTo>
                  <a:pt x="6218023" y="1689211"/>
                </a:lnTo>
                <a:lnTo>
                  <a:pt x="6218023" y="1679339"/>
                </a:lnTo>
                <a:close/>
                <a:moveTo>
                  <a:pt x="5982729" y="1675301"/>
                </a:moveTo>
                <a:lnTo>
                  <a:pt x="5992639" y="1675301"/>
                </a:lnTo>
                <a:lnTo>
                  <a:pt x="5996658" y="1679339"/>
                </a:lnTo>
                <a:lnTo>
                  <a:pt x="5996658" y="1689211"/>
                </a:lnTo>
                <a:lnTo>
                  <a:pt x="5992639" y="1693251"/>
                </a:lnTo>
                <a:lnTo>
                  <a:pt x="5982729" y="1693251"/>
                </a:lnTo>
                <a:lnTo>
                  <a:pt x="5978710" y="1689211"/>
                </a:lnTo>
                <a:lnTo>
                  <a:pt x="5978710" y="1679339"/>
                </a:lnTo>
                <a:close/>
                <a:moveTo>
                  <a:pt x="6939983" y="1675300"/>
                </a:moveTo>
                <a:lnTo>
                  <a:pt x="6949894" y="1675300"/>
                </a:lnTo>
                <a:lnTo>
                  <a:pt x="6953913" y="1679339"/>
                </a:lnTo>
                <a:lnTo>
                  <a:pt x="6953913" y="1689210"/>
                </a:lnTo>
                <a:lnTo>
                  <a:pt x="6949894" y="1693249"/>
                </a:lnTo>
                <a:lnTo>
                  <a:pt x="6939983" y="1693249"/>
                </a:lnTo>
                <a:lnTo>
                  <a:pt x="6935964" y="1689210"/>
                </a:lnTo>
                <a:lnTo>
                  <a:pt x="6935964" y="1679339"/>
                </a:lnTo>
                <a:close/>
                <a:moveTo>
                  <a:pt x="6700670" y="1675300"/>
                </a:moveTo>
                <a:lnTo>
                  <a:pt x="6710581" y="1675300"/>
                </a:lnTo>
                <a:lnTo>
                  <a:pt x="6714600" y="1679339"/>
                </a:lnTo>
                <a:lnTo>
                  <a:pt x="6714600" y="1689210"/>
                </a:lnTo>
                <a:lnTo>
                  <a:pt x="6710581" y="1693249"/>
                </a:lnTo>
                <a:lnTo>
                  <a:pt x="6700670" y="1693249"/>
                </a:lnTo>
                <a:lnTo>
                  <a:pt x="6696651" y="1689210"/>
                </a:lnTo>
                <a:lnTo>
                  <a:pt x="6696651" y="1679339"/>
                </a:lnTo>
                <a:close/>
                <a:moveTo>
                  <a:pt x="8136553" y="1675285"/>
                </a:moveTo>
                <a:lnTo>
                  <a:pt x="8146464" y="1675285"/>
                </a:lnTo>
                <a:lnTo>
                  <a:pt x="8150483" y="1679323"/>
                </a:lnTo>
                <a:lnTo>
                  <a:pt x="8150483" y="1689193"/>
                </a:lnTo>
                <a:lnTo>
                  <a:pt x="8146464" y="1693232"/>
                </a:lnTo>
                <a:lnTo>
                  <a:pt x="8136553" y="1693232"/>
                </a:lnTo>
                <a:lnTo>
                  <a:pt x="8132534" y="1689193"/>
                </a:lnTo>
                <a:lnTo>
                  <a:pt x="8132534" y="1679323"/>
                </a:lnTo>
                <a:close/>
                <a:moveTo>
                  <a:pt x="7897241" y="1675285"/>
                </a:moveTo>
                <a:lnTo>
                  <a:pt x="7907151" y="1675285"/>
                </a:lnTo>
                <a:lnTo>
                  <a:pt x="7911170" y="1679323"/>
                </a:lnTo>
                <a:lnTo>
                  <a:pt x="7911170" y="1689193"/>
                </a:lnTo>
                <a:lnTo>
                  <a:pt x="7907151" y="1693232"/>
                </a:lnTo>
                <a:lnTo>
                  <a:pt x="7897241" y="1693232"/>
                </a:lnTo>
                <a:lnTo>
                  <a:pt x="7893222" y="1689193"/>
                </a:lnTo>
                <a:lnTo>
                  <a:pt x="7893222" y="1679323"/>
                </a:lnTo>
                <a:close/>
                <a:moveTo>
                  <a:pt x="7657926" y="1675285"/>
                </a:moveTo>
                <a:lnTo>
                  <a:pt x="7667836" y="1675285"/>
                </a:lnTo>
                <a:lnTo>
                  <a:pt x="7671855" y="1679323"/>
                </a:lnTo>
                <a:lnTo>
                  <a:pt x="7671855" y="1689193"/>
                </a:lnTo>
                <a:lnTo>
                  <a:pt x="7667836" y="1693232"/>
                </a:lnTo>
                <a:lnTo>
                  <a:pt x="7657926" y="1693232"/>
                </a:lnTo>
                <a:lnTo>
                  <a:pt x="7653906" y="1689193"/>
                </a:lnTo>
                <a:lnTo>
                  <a:pt x="7653906" y="1679323"/>
                </a:lnTo>
                <a:close/>
                <a:moveTo>
                  <a:pt x="7418611" y="1675285"/>
                </a:moveTo>
                <a:lnTo>
                  <a:pt x="7428521" y="1675285"/>
                </a:lnTo>
                <a:lnTo>
                  <a:pt x="7432540" y="1679323"/>
                </a:lnTo>
                <a:lnTo>
                  <a:pt x="7432540" y="1689195"/>
                </a:lnTo>
                <a:lnTo>
                  <a:pt x="7428521" y="1693232"/>
                </a:lnTo>
                <a:lnTo>
                  <a:pt x="7418611" y="1693232"/>
                </a:lnTo>
                <a:lnTo>
                  <a:pt x="7414592" y="1689195"/>
                </a:lnTo>
                <a:lnTo>
                  <a:pt x="7414592" y="1679323"/>
                </a:lnTo>
                <a:close/>
                <a:moveTo>
                  <a:pt x="7179298" y="1675285"/>
                </a:moveTo>
                <a:lnTo>
                  <a:pt x="7189209" y="1675285"/>
                </a:lnTo>
                <a:lnTo>
                  <a:pt x="7193228" y="1679323"/>
                </a:lnTo>
                <a:lnTo>
                  <a:pt x="7193228" y="1689195"/>
                </a:lnTo>
                <a:lnTo>
                  <a:pt x="7189209" y="1693234"/>
                </a:lnTo>
                <a:lnTo>
                  <a:pt x="7179298" y="1693234"/>
                </a:lnTo>
                <a:lnTo>
                  <a:pt x="7175279" y="1689195"/>
                </a:lnTo>
                <a:lnTo>
                  <a:pt x="7175279" y="1679323"/>
                </a:lnTo>
                <a:close/>
                <a:moveTo>
                  <a:pt x="9333125" y="1675268"/>
                </a:moveTo>
                <a:lnTo>
                  <a:pt x="9343036" y="1675268"/>
                </a:lnTo>
                <a:lnTo>
                  <a:pt x="9347055" y="1679306"/>
                </a:lnTo>
                <a:lnTo>
                  <a:pt x="9347055" y="1689177"/>
                </a:lnTo>
                <a:lnTo>
                  <a:pt x="9343036" y="1693216"/>
                </a:lnTo>
                <a:lnTo>
                  <a:pt x="9333125" y="1693216"/>
                </a:lnTo>
                <a:lnTo>
                  <a:pt x="9329106" y="1689177"/>
                </a:lnTo>
                <a:lnTo>
                  <a:pt x="9329106" y="1679306"/>
                </a:lnTo>
                <a:close/>
                <a:moveTo>
                  <a:pt x="9093811" y="1675268"/>
                </a:moveTo>
                <a:lnTo>
                  <a:pt x="9103722" y="1675268"/>
                </a:lnTo>
                <a:lnTo>
                  <a:pt x="9107741" y="1679306"/>
                </a:lnTo>
                <a:lnTo>
                  <a:pt x="9107741" y="1689177"/>
                </a:lnTo>
                <a:lnTo>
                  <a:pt x="9103722" y="1693217"/>
                </a:lnTo>
                <a:lnTo>
                  <a:pt x="9093811" y="1693217"/>
                </a:lnTo>
                <a:lnTo>
                  <a:pt x="9089792" y="1689177"/>
                </a:lnTo>
                <a:lnTo>
                  <a:pt x="9089792" y="1679306"/>
                </a:lnTo>
                <a:close/>
                <a:moveTo>
                  <a:pt x="8854496" y="1675268"/>
                </a:moveTo>
                <a:lnTo>
                  <a:pt x="8864407" y="1675268"/>
                </a:lnTo>
                <a:lnTo>
                  <a:pt x="8868426" y="1679307"/>
                </a:lnTo>
                <a:lnTo>
                  <a:pt x="8868426" y="1689177"/>
                </a:lnTo>
                <a:lnTo>
                  <a:pt x="8864407" y="1693217"/>
                </a:lnTo>
                <a:lnTo>
                  <a:pt x="8854496" y="1693217"/>
                </a:lnTo>
                <a:lnTo>
                  <a:pt x="8850477" y="1689177"/>
                </a:lnTo>
                <a:lnTo>
                  <a:pt x="8850477" y="1679307"/>
                </a:lnTo>
                <a:close/>
                <a:moveTo>
                  <a:pt x="8615184" y="1675268"/>
                </a:moveTo>
                <a:lnTo>
                  <a:pt x="8625095" y="1675268"/>
                </a:lnTo>
                <a:lnTo>
                  <a:pt x="8629114" y="1679307"/>
                </a:lnTo>
                <a:lnTo>
                  <a:pt x="8629114" y="1689178"/>
                </a:lnTo>
                <a:lnTo>
                  <a:pt x="8625095" y="1693217"/>
                </a:lnTo>
                <a:lnTo>
                  <a:pt x="8615184" y="1693217"/>
                </a:lnTo>
                <a:lnTo>
                  <a:pt x="8611165" y="1689178"/>
                </a:lnTo>
                <a:lnTo>
                  <a:pt x="8611165" y="1679307"/>
                </a:lnTo>
                <a:close/>
                <a:moveTo>
                  <a:pt x="8375869" y="1675268"/>
                </a:moveTo>
                <a:lnTo>
                  <a:pt x="8385779" y="1675268"/>
                </a:lnTo>
                <a:lnTo>
                  <a:pt x="8389799" y="1679307"/>
                </a:lnTo>
                <a:lnTo>
                  <a:pt x="8389799" y="1689178"/>
                </a:lnTo>
                <a:lnTo>
                  <a:pt x="8385779" y="1693217"/>
                </a:lnTo>
                <a:lnTo>
                  <a:pt x="8375869" y="1693217"/>
                </a:lnTo>
                <a:lnTo>
                  <a:pt x="8371850" y="1689178"/>
                </a:lnTo>
                <a:lnTo>
                  <a:pt x="8371850" y="1679307"/>
                </a:lnTo>
                <a:close/>
                <a:moveTo>
                  <a:pt x="961270" y="1675255"/>
                </a:moveTo>
                <a:lnTo>
                  <a:pt x="971180" y="1675255"/>
                </a:lnTo>
                <a:lnTo>
                  <a:pt x="975199" y="1679292"/>
                </a:lnTo>
                <a:lnTo>
                  <a:pt x="975199" y="1689163"/>
                </a:lnTo>
                <a:lnTo>
                  <a:pt x="971180" y="1693202"/>
                </a:lnTo>
                <a:lnTo>
                  <a:pt x="961270" y="1693202"/>
                </a:lnTo>
                <a:lnTo>
                  <a:pt x="957251" y="1689163"/>
                </a:lnTo>
                <a:lnTo>
                  <a:pt x="957251" y="1679292"/>
                </a:lnTo>
                <a:close/>
                <a:moveTo>
                  <a:pt x="1679215" y="1675254"/>
                </a:moveTo>
                <a:lnTo>
                  <a:pt x="1689126" y="1675254"/>
                </a:lnTo>
                <a:lnTo>
                  <a:pt x="1693145" y="1679292"/>
                </a:lnTo>
                <a:lnTo>
                  <a:pt x="1693145" y="1689163"/>
                </a:lnTo>
                <a:lnTo>
                  <a:pt x="1689126" y="1693202"/>
                </a:lnTo>
                <a:lnTo>
                  <a:pt x="1679215" y="1693202"/>
                </a:lnTo>
                <a:lnTo>
                  <a:pt x="1675196" y="1689163"/>
                </a:lnTo>
                <a:lnTo>
                  <a:pt x="1675196" y="1679292"/>
                </a:lnTo>
                <a:close/>
                <a:moveTo>
                  <a:pt x="1439898" y="1675254"/>
                </a:moveTo>
                <a:lnTo>
                  <a:pt x="1449808" y="1675254"/>
                </a:lnTo>
                <a:lnTo>
                  <a:pt x="1453828" y="1679292"/>
                </a:lnTo>
                <a:lnTo>
                  <a:pt x="1453828" y="1689163"/>
                </a:lnTo>
                <a:lnTo>
                  <a:pt x="1449808" y="1693202"/>
                </a:lnTo>
                <a:lnTo>
                  <a:pt x="1439898" y="1693202"/>
                </a:lnTo>
                <a:lnTo>
                  <a:pt x="1435880" y="1689163"/>
                </a:lnTo>
                <a:lnTo>
                  <a:pt x="1435880" y="1679292"/>
                </a:lnTo>
                <a:close/>
                <a:moveTo>
                  <a:pt x="1200583" y="1675254"/>
                </a:moveTo>
                <a:lnTo>
                  <a:pt x="1210493" y="1675254"/>
                </a:lnTo>
                <a:lnTo>
                  <a:pt x="1214511" y="1679292"/>
                </a:lnTo>
                <a:lnTo>
                  <a:pt x="1214511" y="1689163"/>
                </a:lnTo>
                <a:lnTo>
                  <a:pt x="1210493" y="1693202"/>
                </a:lnTo>
                <a:lnTo>
                  <a:pt x="1200583" y="1693202"/>
                </a:lnTo>
                <a:lnTo>
                  <a:pt x="1196564" y="1689163"/>
                </a:lnTo>
                <a:lnTo>
                  <a:pt x="1196564" y="1679292"/>
                </a:lnTo>
                <a:close/>
                <a:moveTo>
                  <a:pt x="9572438" y="1675251"/>
                </a:moveTo>
                <a:lnTo>
                  <a:pt x="9582349" y="1675251"/>
                </a:lnTo>
                <a:lnTo>
                  <a:pt x="9586368" y="1679290"/>
                </a:lnTo>
                <a:lnTo>
                  <a:pt x="9586368" y="1689161"/>
                </a:lnTo>
                <a:lnTo>
                  <a:pt x="9582349" y="1693201"/>
                </a:lnTo>
                <a:lnTo>
                  <a:pt x="9572438" y="1693201"/>
                </a:lnTo>
                <a:lnTo>
                  <a:pt x="9568419" y="1689161"/>
                </a:lnTo>
                <a:lnTo>
                  <a:pt x="9568419" y="1679290"/>
                </a:lnTo>
                <a:close/>
                <a:moveTo>
                  <a:pt x="1918514" y="1675243"/>
                </a:moveTo>
                <a:lnTo>
                  <a:pt x="1928424" y="1675243"/>
                </a:lnTo>
                <a:lnTo>
                  <a:pt x="1932443" y="1679282"/>
                </a:lnTo>
                <a:lnTo>
                  <a:pt x="1932443" y="1689153"/>
                </a:lnTo>
                <a:lnTo>
                  <a:pt x="1928424" y="1693191"/>
                </a:lnTo>
                <a:lnTo>
                  <a:pt x="1918514" y="1693191"/>
                </a:lnTo>
                <a:lnTo>
                  <a:pt x="1914494" y="1689153"/>
                </a:lnTo>
                <a:lnTo>
                  <a:pt x="1914494" y="1679282"/>
                </a:lnTo>
                <a:close/>
                <a:moveTo>
                  <a:pt x="2157821" y="1675240"/>
                </a:moveTo>
                <a:lnTo>
                  <a:pt x="2167732" y="1675240"/>
                </a:lnTo>
                <a:lnTo>
                  <a:pt x="2171751" y="1679279"/>
                </a:lnTo>
                <a:lnTo>
                  <a:pt x="2171751" y="1689149"/>
                </a:lnTo>
                <a:lnTo>
                  <a:pt x="2167732" y="1693188"/>
                </a:lnTo>
                <a:lnTo>
                  <a:pt x="2157821" y="1693188"/>
                </a:lnTo>
                <a:lnTo>
                  <a:pt x="2153803" y="1689149"/>
                </a:lnTo>
                <a:lnTo>
                  <a:pt x="2153803" y="1679279"/>
                </a:lnTo>
                <a:close/>
                <a:moveTo>
                  <a:pt x="243346" y="1675216"/>
                </a:moveTo>
                <a:lnTo>
                  <a:pt x="253257" y="1675216"/>
                </a:lnTo>
                <a:lnTo>
                  <a:pt x="257276" y="1679254"/>
                </a:lnTo>
                <a:lnTo>
                  <a:pt x="257276" y="1689125"/>
                </a:lnTo>
                <a:lnTo>
                  <a:pt x="253257" y="1693164"/>
                </a:lnTo>
                <a:lnTo>
                  <a:pt x="243346" y="1693164"/>
                </a:lnTo>
                <a:lnTo>
                  <a:pt x="239327" y="1689125"/>
                </a:lnTo>
                <a:lnTo>
                  <a:pt x="239327" y="1679254"/>
                </a:lnTo>
                <a:close/>
                <a:moveTo>
                  <a:pt x="4034" y="1675216"/>
                </a:moveTo>
                <a:lnTo>
                  <a:pt x="13943" y="1675216"/>
                </a:lnTo>
                <a:lnTo>
                  <a:pt x="17962" y="1679254"/>
                </a:lnTo>
                <a:lnTo>
                  <a:pt x="17962" y="1689125"/>
                </a:lnTo>
                <a:lnTo>
                  <a:pt x="13943" y="1693164"/>
                </a:lnTo>
                <a:lnTo>
                  <a:pt x="4034" y="1693164"/>
                </a:lnTo>
                <a:lnTo>
                  <a:pt x="14" y="1689125"/>
                </a:lnTo>
                <a:lnTo>
                  <a:pt x="14" y="1679254"/>
                </a:lnTo>
                <a:close/>
                <a:moveTo>
                  <a:pt x="721972" y="1675216"/>
                </a:moveTo>
                <a:lnTo>
                  <a:pt x="731882" y="1675216"/>
                </a:lnTo>
                <a:lnTo>
                  <a:pt x="735902" y="1679254"/>
                </a:lnTo>
                <a:lnTo>
                  <a:pt x="735902" y="1689125"/>
                </a:lnTo>
                <a:lnTo>
                  <a:pt x="731882" y="1693164"/>
                </a:lnTo>
                <a:lnTo>
                  <a:pt x="721972" y="1693164"/>
                </a:lnTo>
                <a:lnTo>
                  <a:pt x="717954" y="1689125"/>
                </a:lnTo>
                <a:lnTo>
                  <a:pt x="717954" y="1679254"/>
                </a:lnTo>
                <a:close/>
                <a:moveTo>
                  <a:pt x="482660" y="1675216"/>
                </a:moveTo>
                <a:lnTo>
                  <a:pt x="492571" y="1675216"/>
                </a:lnTo>
                <a:lnTo>
                  <a:pt x="496589" y="1679254"/>
                </a:lnTo>
                <a:lnTo>
                  <a:pt x="496589" y="1689125"/>
                </a:lnTo>
                <a:lnTo>
                  <a:pt x="492571" y="1693164"/>
                </a:lnTo>
                <a:lnTo>
                  <a:pt x="482660" y="1693164"/>
                </a:lnTo>
                <a:lnTo>
                  <a:pt x="478641" y="1689125"/>
                </a:lnTo>
                <a:lnTo>
                  <a:pt x="478641" y="1679254"/>
                </a:lnTo>
                <a:close/>
                <a:moveTo>
                  <a:pt x="2393104" y="1436001"/>
                </a:moveTo>
                <a:lnTo>
                  <a:pt x="2403015" y="1436001"/>
                </a:lnTo>
                <a:lnTo>
                  <a:pt x="2407034" y="1440038"/>
                </a:lnTo>
                <a:lnTo>
                  <a:pt x="2407034" y="1449910"/>
                </a:lnTo>
                <a:lnTo>
                  <a:pt x="2403015" y="1453949"/>
                </a:lnTo>
                <a:lnTo>
                  <a:pt x="2393104" y="1453949"/>
                </a:lnTo>
                <a:lnTo>
                  <a:pt x="2389087" y="1449910"/>
                </a:lnTo>
                <a:lnTo>
                  <a:pt x="2389087" y="1440038"/>
                </a:lnTo>
                <a:close/>
                <a:moveTo>
                  <a:pt x="3350359" y="1436000"/>
                </a:moveTo>
                <a:lnTo>
                  <a:pt x="3360268" y="1436000"/>
                </a:lnTo>
                <a:lnTo>
                  <a:pt x="3364287" y="1440038"/>
                </a:lnTo>
                <a:lnTo>
                  <a:pt x="3364287" y="1449909"/>
                </a:lnTo>
                <a:lnTo>
                  <a:pt x="3360268" y="1453949"/>
                </a:lnTo>
                <a:lnTo>
                  <a:pt x="3350359" y="1453949"/>
                </a:lnTo>
                <a:lnTo>
                  <a:pt x="3346340" y="1449909"/>
                </a:lnTo>
                <a:lnTo>
                  <a:pt x="3346340" y="1440038"/>
                </a:lnTo>
                <a:close/>
                <a:moveTo>
                  <a:pt x="3111048" y="1436000"/>
                </a:moveTo>
                <a:lnTo>
                  <a:pt x="3120959" y="1436000"/>
                </a:lnTo>
                <a:lnTo>
                  <a:pt x="3124977" y="1440038"/>
                </a:lnTo>
                <a:lnTo>
                  <a:pt x="3124977" y="1449910"/>
                </a:lnTo>
                <a:lnTo>
                  <a:pt x="3120959" y="1453949"/>
                </a:lnTo>
                <a:lnTo>
                  <a:pt x="3111048" y="1453949"/>
                </a:lnTo>
                <a:lnTo>
                  <a:pt x="3107029" y="1449910"/>
                </a:lnTo>
                <a:lnTo>
                  <a:pt x="3107029" y="1440038"/>
                </a:lnTo>
                <a:close/>
                <a:moveTo>
                  <a:pt x="2871737" y="1436000"/>
                </a:moveTo>
                <a:lnTo>
                  <a:pt x="2881646" y="1436000"/>
                </a:lnTo>
                <a:lnTo>
                  <a:pt x="2885666" y="1440038"/>
                </a:lnTo>
                <a:lnTo>
                  <a:pt x="2885666" y="1449910"/>
                </a:lnTo>
                <a:lnTo>
                  <a:pt x="2881646" y="1453949"/>
                </a:lnTo>
                <a:lnTo>
                  <a:pt x="2871737" y="1453949"/>
                </a:lnTo>
                <a:lnTo>
                  <a:pt x="2867717" y="1449910"/>
                </a:lnTo>
                <a:lnTo>
                  <a:pt x="2867717" y="1440038"/>
                </a:lnTo>
                <a:close/>
                <a:moveTo>
                  <a:pt x="2632423" y="1436000"/>
                </a:moveTo>
                <a:lnTo>
                  <a:pt x="2642334" y="1436000"/>
                </a:lnTo>
                <a:lnTo>
                  <a:pt x="2646352" y="1440038"/>
                </a:lnTo>
                <a:lnTo>
                  <a:pt x="2646352" y="1449910"/>
                </a:lnTo>
                <a:lnTo>
                  <a:pt x="2642334" y="1453949"/>
                </a:lnTo>
                <a:lnTo>
                  <a:pt x="2632423" y="1453949"/>
                </a:lnTo>
                <a:lnTo>
                  <a:pt x="2628404" y="1449910"/>
                </a:lnTo>
                <a:lnTo>
                  <a:pt x="2628404" y="1440038"/>
                </a:lnTo>
                <a:close/>
                <a:moveTo>
                  <a:pt x="3589676" y="1435986"/>
                </a:moveTo>
                <a:lnTo>
                  <a:pt x="3599585" y="1435986"/>
                </a:lnTo>
                <a:lnTo>
                  <a:pt x="3603604" y="1440024"/>
                </a:lnTo>
                <a:lnTo>
                  <a:pt x="3603604" y="1449895"/>
                </a:lnTo>
                <a:lnTo>
                  <a:pt x="3599585" y="1453934"/>
                </a:lnTo>
                <a:lnTo>
                  <a:pt x="3589676" y="1453934"/>
                </a:lnTo>
                <a:lnTo>
                  <a:pt x="3585657" y="1449895"/>
                </a:lnTo>
                <a:lnTo>
                  <a:pt x="3585657" y="1440024"/>
                </a:lnTo>
                <a:close/>
                <a:moveTo>
                  <a:pt x="4546929" y="1435986"/>
                </a:moveTo>
                <a:lnTo>
                  <a:pt x="4556840" y="1435986"/>
                </a:lnTo>
                <a:lnTo>
                  <a:pt x="4560859" y="1440024"/>
                </a:lnTo>
                <a:lnTo>
                  <a:pt x="4560859" y="1449895"/>
                </a:lnTo>
                <a:lnTo>
                  <a:pt x="4556840" y="1453934"/>
                </a:lnTo>
                <a:lnTo>
                  <a:pt x="4546929" y="1453934"/>
                </a:lnTo>
                <a:lnTo>
                  <a:pt x="4542910" y="1449895"/>
                </a:lnTo>
                <a:lnTo>
                  <a:pt x="4542910" y="1440024"/>
                </a:lnTo>
                <a:close/>
                <a:moveTo>
                  <a:pt x="4307612" y="1435986"/>
                </a:moveTo>
                <a:lnTo>
                  <a:pt x="4317523" y="1435986"/>
                </a:lnTo>
                <a:lnTo>
                  <a:pt x="4321543" y="1440024"/>
                </a:lnTo>
                <a:lnTo>
                  <a:pt x="4321543" y="1449895"/>
                </a:lnTo>
                <a:lnTo>
                  <a:pt x="4317523" y="1453934"/>
                </a:lnTo>
                <a:lnTo>
                  <a:pt x="4307612" y="1453934"/>
                </a:lnTo>
                <a:lnTo>
                  <a:pt x="4303595" y="1449895"/>
                </a:lnTo>
                <a:lnTo>
                  <a:pt x="4303595" y="1440024"/>
                </a:lnTo>
                <a:close/>
                <a:moveTo>
                  <a:pt x="4068297" y="1435986"/>
                </a:moveTo>
                <a:lnTo>
                  <a:pt x="4078210" y="1435986"/>
                </a:lnTo>
                <a:lnTo>
                  <a:pt x="4082229" y="1440024"/>
                </a:lnTo>
                <a:lnTo>
                  <a:pt x="4082229" y="1449895"/>
                </a:lnTo>
                <a:lnTo>
                  <a:pt x="4078210" y="1453934"/>
                </a:lnTo>
                <a:lnTo>
                  <a:pt x="4068297" y="1453934"/>
                </a:lnTo>
                <a:lnTo>
                  <a:pt x="4064278" y="1449895"/>
                </a:lnTo>
                <a:lnTo>
                  <a:pt x="4064278" y="1440024"/>
                </a:lnTo>
                <a:close/>
                <a:moveTo>
                  <a:pt x="3828990" y="1435986"/>
                </a:moveTo>
                <a:lnTo>
                  <a:pt x="3838899" y="1435986"/>
                </a:lnTo>
                <a:lnTo>
                  <a:pt x="3842917" y="1440024"/>
                </a:lnTo>
                <a:lnTo>
                  <a:pt x="3842917" y="1449895"/>
                </a:lnTo>
                <a:lnTo>
                  <a:pt x="3838899" y="1453934"/>
                </a:lnTo>
                <a:lnTo>
                  <a:pt x="3828990" y="1453934"/>
                </a:lnTo>
                <a:lnTo>
                  <a:pt x="3824971" y="1449895"/>
                </a:lnTo>
                <a:lnTo>
                  <a:pt x="3824971" y="1440024"/>
                </a:lnTo>
                <a:close/>
                <a:moveTo>
                  <a:pt x="4786241" y="1435972"/>
                </a:moveTo>
                <a:lnTo>
                  <a:pt x="4796152" y="1435972"/>
                </a:lnTo>
                <a:lnTo>
                  <a:pt x="4800171" y="1440010"/>
                </a:lnTo>
                <a:lnTo>
                  <a:pt x="4800171" y="1449881"/>
                </a:lnTo>
                <a:lnTo>
                  <a:pt x="4796152" y="1453920"/>
                </a:lnTo>
                <a:lnTo>
                  <a:pt x="4786241" y="1453920"/>
                </a:lnTo>
                <a:lnTo>
                  <a:pt x="4782224" y="1449881"/>
                </a:lnTo>
                <a:lnTo>
                  <a:pt x="4782224" y="1440010"/>
                </a:lnTo>
                <a:close/>
                <a:moveTo>
                  <a:pt x="5743412" y="1435971"/>
                </a:moveTo>
                <a:lnTo>
                  <a:pt x="5753323" y="1435971"/>
                </a:lnTo>
                <a:lnTo>
                  <a:pt x="5757342" y="1440010"/>
                </a:lnTo>
                <a:lnTo>
                  <a:pt x="5757342" y="1449880"/>
                </a:lnTo>
                <a:lnTo>
                  <a:pt x="5753323" y="1453919"/>
                </a:lnTo>
                <a:lnTo>
                  <a:pt x="5743412" y="1453919"/>
                </a:lnTo>
                <a:lnTo>
                  <a:pt x="5739393" y="1449880"/>
                </a:lnTo>
                <a:lnTo>
                  <a:pt x="5739393" y="1440010"/>
                </a:lnTo>
                <a:close/>
                <a:moveTo>
                  <a:pt x="5504099" y="1435971"/>
                </a:moveTo>
                <a:lnTo>
                  <a:pt x="5514010" y="1435971"/>
                </a:lnTo>
                <a:lnTo>
                  <a:pt x="5518029" y="1440010"/>
                </a:lnTo>
                <a:lnTo>
                  <a:pt x="5518029" y="1449881"/>
                </a:lnTo>
                <a:lnTo>
                  <a:pt x="5514010" y="1453919"/>
                </a:lnTo>
                <a:lnTo>
                  <a:pt x="5504099" y="1453919"/>
                </a:lnTo>
                <a:lnTo>
                  <a:pt x="5500080" y="1449881"/>
                </a:lnTo>
                <a:lnTo>
                  <a:pt x="5500080" y="1440010"/>
                </a:lnTo>
                <a:close/>
                <a:moveTo>
                  <a:pt x="5264784" y="1435971"/>
                </a:moveTo>
                <a:lnTo>
                  <a:pt x="5274694" y="1435971"/>
                </a:lnTo>
                <a:lnTo>
                  <a:pt x="5278713" y="1440010"/>
                </a:lnTo>
                <a:lnTo>
                  <a:pt x="5278713" y="1449881"/>
                </a:lnTo>
                <a:lnTo>
                  <a:pt x="5274694" y="1453920"/>
                </a:lnTo>
                <a:lnTo>
                  <a:pt x="5264784" y="1453920"/>
                </a:lnTo>
                <a:lnTo>
                  <a:pt x="5260765" y="1449881"/>
                </a:lnTo>
                <a:lnTo>
                  <a:pt x="5260765" y="1440010"/>
                </a:lnTo>
                <a:close/>
                <a:moveTo>
                  <a:pt x="5025470" y="1435971"/>
                </a:moveTo>
                <a:lnTo>
                  <a:pt x="5035381" y="1435971"/>
                </a:lnTo>
                <a:lnTo>
                  <a:pt x="5039400" y="1440010"/>
                </a:lnTo>
                <a:lnTo>
                  <a:pt x="5039400" y="1449881"/>
                </a:lnTo>
                <a:lnTo>
                  <a:pt x="5035381" y="1453920"/>
                </a:lnTo>
                <a:lnTo>
                  <a:pt x="5025470" y="1453920"/>
                </a:lnTo>
                <a:lnTo>
                  <a:pt x="5021451" y="1449881"/>
                </a:lnTo>
                <a:lnTo>
                  <a:pt x="5021451" y="1440010"/>
                </a:lnTo>
                <a:close/>
                <a:moveTo>
                  <a:pt x="5982729" y="1435958"/>
                </a:moveTo>
                <a:lnTo>
                  <a:pt x="5992639" y="1435958"/>
                </a:lnTo>
                <a:lnTo>
                  <a:pt x="5996658" y="1439995"/>
                </a:lnTo>
                <a:lnTo>
                  <a:pt x="5996658" y="1449866"/>
                </a:lnTo>
                <a:lnTo>
                  <a:pt x="5992639" y="1453905"/>
                </a:lnTo>
                <a:lnTo>
                  <a:pt x="5982729" y="1453905"/>
                </a:lnTo>
                <a:lnTo>
                  <a:pt x="5978710" y="1449866"/>
                </a:lnTo>
                <a:lnTo>
                  <a:pt x="5978710" y="1439995"/>
                </a:lnTo>
                <a:close/>
                <a:moveTo>
                  <a:pt x="6939983" y="1435956"/>
                </a:moveTo>
                <a:lnTo>
                  <a:pt x="6949894" y="1435956"/>
                </a:lnTo>
                <a:lnTo>
                  <a:pt x="6953913" y="1439995"/>
                </a:lnTo>
                <a:lnTo>
                  <a:pt x="6953913" y="1449865"/>
                </a:lnTo>
                <a:lnTo>
                  <a:pt x="6949894" y="1453905"/>
                </a:lnTo>
                <a:lnTo>
                  <a:pt x="6939983" y="1453905"/>
                </a:lnTo>
                <a:lnTo>
                  <a:pt x="6935964" y="1449865"/>
                </a:lnTo>
                <a:lnTo>
                  <a:pt x="6935964" y="1439995"/>
                </a:lnTo>
                <a:close/>
                <a:moveTo>
                  <a:pt x="6700670" y="1435956"/>
                </a:moveTo>
                <a:lnTo>
                  <a:pt x="6710581" y="1435956"/>
                </a:lnTo>
                <a:lnTo>
                  <a:pt x="6714600" y="1439995"/>
                </a:lnTo>
                <a:lnTo>
                  <a:pt x="6714600" y="1449866"/>
                </a:lnTo>
                <a:lnTo>
                  <a:pt x="6710581" y="1453905"/>
                </a:lnTo>
                <a:lnTo>
                  <a:pt x="6700670" y="1453905"/>
                </a:lnTo>
                <a:lnTo>
                  <a:pt x="6696651" y="1449866"/>
                </a:lnTo>
                <a:lnTo>
                  <a:pt x="6696651" y="1439995"/>
                </a:lnTo>
                <a:close/>
                <a:moveTo>
                  <a:pt x="6461356" y="1435956"/>
                </a:moveTo>
                <a:lnTo>
                  <a:pt x="6471266" y="1435956"/>
                </a:lnTo>
                <a:lnTo>
                  <a:pt x="6475285" y="1439995"/>
                </a:lnTo>
                <a:lnTo>
                  <a:pt x="6475285" y="1449866"/>
                </a:lnTo>
                <a:lnTo>
                  <a:pt x="6471266" y="1453905"/>
                </a:lnTo>
                <a:lnTo>
                  <a:pt x="6461356" y="1453905"/>
                </a:lnTo>
                <a:lnTo>
                  <a:pt x="6457337" y="1449866"/>
                </a:lnTo>
                <a:lnTo>
                  <a:pt x="6457337" y="1439995"/>
                </a:lnTo>
                <a:close/>
                <a:moveTo>
                  <a:pt x="6222042" y="1435956"/>
                </a:moveTo>
                <a:lnTo>
                  <a:pt x="6231952" y="1435956"/>
                </a:lnTo>
                <a:lnTo>
                  <a:pt x="6235971" y="1439995"/>
                </a:lnTo>
                <a:lnTo>
                  <a:pt x="6235971" y="1449866"/>
                </a:lnTo>
                <a:lnTo>
                  <a:pt x="6231952" y="1453905"/>
                </a:lnTo>
                <a:lnTo>
                  <a:pt x="6222042" y="1453905"/>
                </a:lnTo>
                <a:lnTo>
                  <a:pt x="6218023" y="1449866"/>
                </a:lnTo>
                <a:lnTo>
                  <a:pt x="6218023" y="1439995"/>
                </a:lnTo>
                <a:close/>
                <a:moveTo>
                  <a:pt x="7179298" y="1435943"/>
                </a:moveTo>
                <a:lnTo>
                  <a:pt x="7189209" y="1435943"/>
                </a:lnTo>
                <a:lnTo>
                  <a:pt x="7193228" y="1439981"/>
                </a:lnTo>
                <a:lnTo>
                  <a:pt x="7193228" y="1449852"/>
                </a:lnTo>
                <a:lnTo>
                  <a:pt x="7189209" y="1453891"/>
                </a:lnTo>
                <a:lnTo>
                  <a:pt x="7179298" y="1453891"/>
                </a:lnTo>
                <a:lnTo>
                  <a:pt x="7175279" y="1449852"/>
                </a:lnTo>
                <a:lnTo>
                  <a:pt x="7175279" y="1439981"/>
                </a:lnTo>
                <a:close/>
                <a:moveTo>
                  <a:pt x="8136553" y="1435943"/>
                </a:moveTo>
                <a:lnTo>
                  <a:pt x="8146464" y="1435943"/>
                </a:lnTo>
                <a:lnTo>
                  <a:pt x="8150483" y="1439980"/>
                </a:lnTo>
                <a:lnTo>
                  <a:pt x="8150483" y="1449851"/>
                </a:lnTo>
                <a:lnTo>
                  <a:pt x="8146464" y="1453890"/>
                </a:lnTo>
                <a:lnTo>
                  <a:pt x="8136553" y="1453890"/>
                </a:lnTo>
                <a:lnTo>
                  <a:pt x="8132534" y="1449851"/>
                </a:lnTo>
                <a:lnTo>
                  <a:pt x="8132534" y="1439980"/>
                </a:lnTo>
                <a:close/>
                <a:moveTo>
                  <a:pt x="7897241" y="1435943"/>
                </a:moveTo>
                <a:lnTo>
                  <a:pt x="7907151" y="1435943"/>
                </a:lnTo>
                <a:lnTo>
                  <a:pt x="7911170" y="1439980"/>
                </a:lnTo>
                <a:lnTo>
                  <a:pt x="7911170" y="1449852"/>
                </a:lnTo>
                <a:lnTo>
                  <a:pt x="7907151" y="1453890"/>
                </a:lnTo>
                <a:lnTo>
                  <a:pt x="7897241" y="1453890"/>
                </a:lnTo>
                <a:lnTo>
                  <a:pt x="7893222" y="1449852"/>
                </a:lnTo>
                <a:lnTo>
                  <a:pt x="7893222" y="1439980"/>
                </a:lnTo>
                <a:close/>
                <a:moveTo>
                  <a:pt x="7657926" y="1435943"/>
                </a:moveTo>
                <a:lnTo>
                  <a:pt x="7667836" y="1435943"/>
                </a:lnTo>
                <a:lnTo>
                  <a:pt x="7671855" y="1439980"/>
                </a:lnTo>
                <a:lnTo>
                  <a:pt x="7671855" y="1449852"/>
                </a:lnTo>
                <a:lnTo>
                  <a:pt x="7667836" y="1453891"/>
                </a:lnTo>
                <a:lnTo>
                  <a:pt x="7657926" y="1453891"/>
                </a:lnTo>
                <a:lnTo>
                  <a:pt x="7653906" y="1449852"/>
                </a:lnTo>
                <a:lnTo>
                  <a:pt x="7653906" y="1439980"/>
                </a:lnTo>
                <a:close/>
                <a:moveTo>
                  <a:pt x="7418611" y="1435943"/>
                </a:moveTo>
                <a:lnTo>
                  <a:pt x="7428521" y="1435943"/>
                </a:lnTo>
                <a:lnTo>
                  <a:pt x="7432540" y="1439980"/>
                </a:lnTo>
                <a:lnTo>
                  <a:pt x="7432540" y="1449852"/>
                </a:lnTo>
                <a:lnTo>
                  <a:pt x="7428521" y="1453891"/>
                </a:lnTo>
                <a:lnTo>
                  <a:pt x="7418611" y="1453891"/>
                </a:lnTo>
                <a:lnTo>
                  <a:pt x="7414592" y="1449852"/>
                </a:lnTo>
                <a:lnTo>
                  <a:pt x="7414592" y="1439980"/>
                </a:lnTo>
                <a:close/>
                <a:moveTo>
                  <a:pt x="8375869" y="1435928"/>
                </a:moveTo>
                <a:lnTo>
                  <a:pt x="8385779" y="1435928"/>
                </a:lnTo>
                <a:lnTo>
                  <a:pt x="8389799" y="1439967"/>
                </a:lnTo>
                <a:lnTo>
                  <a:pt x="8389799" y="1449837"/>
                </a:lnTo>
                <a:lnTo>
                  <a:pt x="8385779" y="1453877"/>
                </a:lnTo>
                <a:lnTo>
                  <a:pt x="8375869" y="1453877"/>
                </a:lnTo>
                <a:lnTo>
                  <a:pt x="8371850" y="1449837"/>
                </a:lnTo>
                <a:lnTo>
                  <a:pt x="8371850" y="1439967"/>
                </a:lnTo>
                <a:close/>
                <a:moveTo>
                  <a:pt x="9333125" y="1435928"/>
                </a:moveTo>
                <a:lnTo>
                  <a:pt x="9343036" y="1435928"/>
                </a:lnTo>
                <a:lnTo>
                  <a:pt x="9347055" y="1439967"/>
                </a:lnTo>
                <a:lnTo>
                  <a:pt x="9347055" y="1449836"/>
                </a:lnTo>
                <a:lnTo>
                  <a:pt x="9343036" y="1453876"/>
                </a:lnTo>
                <a:lnTo>
                  <a:pt x="9333125" y="1453876"/>
                </a:lnTo>
                <a:lnTo>
                  <a:pt x="9329106" y="1449836"/>
                </a:lnTo>
                <a:lnTo>
                  <a:pt x="9329106" y="1439967"/>
                </a:lnTo>
                <a:close/>
                <a:moveTo>
                  <a:pt x="9093811" y="1435928"/>
                </a:moveTo>
                <a:lnTo>
                  <a:pt x="9103722" y="1435928"/>
                </a:lnTo>
                <a:lnTo>
                  <a:pt x="9107741" y="1439967"/>
                </a:lnTo>
                <a:lnTo>
                  <a:pt x="9107741" y="1449837"/>
                </a:lnTo>
                <a:lnTo>
                  <a:pt x="9103722" y="1453876"/>
                </a:lnTo>
                <a:lnTo>
                  <a:pt x="9093811" y="1453876"/>
                </a:lnTo>
                <a:lnTo>
                  <a:pt x="9089792" y="1449837"/>
                </a:lnTo>
                <a:lnTo>
                  <a:pt x="9089792" y="1439967"/>
                </a:lnTo>
                <a:close/>
                <a:moveTo>
                  <a:pt x="8854496" y="1435928"/>
                </a:moveTo>
                <a:lnTo>
                  <a:pt x="8864407" y="1435928"/>
                </a:lnTo>
                <a:lnTo>
                  <a:pt x="8868426" y="1439967"/>
                </a:lnTo>
                <a:lnTo>
                  <a:pt x="8868426" y="1449837"/>
                </a:lnTo>
                <a:lnTo>
                  <a:pt x="8864407" y="1453877"/>
                </a:lnTo>
                <a:lnTo>
                  <a:pt x="8854496" y="1453877"/>
                </a:lnTo>
                <a:lnTo>
                  <a:pt x="8850477" y="1449837"/>
                </a:lnTo>
                <a:lnTo>
                  <a:pt x="8850477" y="1439967"/>
                </a:lnTo>
                <a:close/>
                <a:moveTo>
                  <a:pt x="8615184" y="1435928"/>
                </a:moveTo>
                <a:lnTo>
                  <a:pt x="8625095" y="1435928"/>
                </a:lnTo>
                <a:lnTo>
                  <a:pt x="8629114" y="1439967"/>
                </a:lnTo>
                <a:lnTo>
                  <a:pt x="8629114" y="1449837"/>
                </a:lnTo>
                <a:lnTo>
                  <a:pt x="8625095" y="1453877"/>
                </a:lnTo>
                <a:lnTo>
                  <a:pt x="8615184" y="1453877"/>
                </a:lnTo>
                <a:lnTo>
                  <a:pt x="8611165" y="1449837"/>
                </a:lnTo>
                <a:lnTo>
                  <a:pt x="8611165" y="1439967"/>
                </a:lnTo>
                <a:close/>
                <a:moveTo>
                  <a:pt x="1679216" y="1435922"/>
                </a:moveTo>
                <a:lnTo>
                  <a:pt x="1689126" y="1435922"/>
                </a:lnTo>
                <a:lnTo>
                  <a:pt x="1693146" y="1439960"/>
                </a:lnTo>
                <a:lnTo>
                  <a:pt x="1693146" y="1449831"/>
                </a:lnTo>
                <a:lnTo>
                  <a:pt x="1689126" y="1453870"/>
                </a:lnTo>
                <a:lnTo>
                  <a:pt x="1679216" y="1453870"/>
                </a:lnTo>
                <a:lnTo>
                  <a:pt x="1675198" y="1449831"/>
                </a:lnTo>
                <a:lnTo>
                  <a:pt x="1675198" y="1439960"/>
                </a:lnTo>
                <a:close/>
                <a:moveTo>
                  <a:pt x="1439900" y="1435922"/>
                </a:moveTo>
                <a:lnTo>
                  <a:pt x="1449810" y="1435922"/>
                </a:lnTo>
                <a:lnTo>
                  <a:pt x="1453828" y="1439960"/>
                </a:lnTo>
                <a:lnTo>
                  <a:pt x="1453828" y="1449831"/>
                </a:lnTo>
                <a:lnTo>
                  <a:pt x="1449810" y="1453870"/>
                </a:lnTo>
                <a:lnTo>
                  <a:pt x="1439900" y="1453870"/>
                </a:lnTo>
                <a:lnTo>
                  <a:pt x="1435880" y="1449831"/>
                </a:lnTo>
                <a:lnTo>
                  <a:pt x="1435880" y="1439960"/>
                </a:lnTo>
                <a:close/>
                <a:moveTo>
                  <a:pt x="1200583" y="1435922"/>
                </a:moveTo>
                <a:lnTo>
                  <a:pt x="1210493" y="1435922"/>
                </a:lnTo>
                <a:lnTo>
                  <a:pt x="1214512" y="1439960"/>
                </a:lnTo>
                <a:lnTo>
                  <a:pt x="1214512" y="1449831"/>
                </a:lnTo>
                <a:lnTo>
                  <a:pt x="1210493" y="1453870"/>
                </a:lnTo>
                <a:lnTo>
                  <a:pt x="1200583" y="1453870"/>
                </a:lnTo>
                <a:lnTo>
                  <a:pt x="1196564" y="1449831"/>
                </a:lnTo>
                <a:lnTo>
                  <a:pt x="1196564" y="1439960"/>
                </a:lnTo>
                <a:close/>
                <a:moveTo>
                  <a:pt x="961270" y="1435922"/>
                </a:moveTo>
                <a:lnTo>
                  <a:pt x="971181" y="1435922"/>
                </a:lnTo>
                <a:lnTo>
                  <a:pt x="975200" y="1439960"/>
                </a:lnTo>
                <a:lnTo>
                  <a:pt x="975200" y="1449831"/>
                </a:lnTo>
                <a:lnTo>
                  <a:pt x="971181" y="1453870"/>
                </a:lnTo>
                <a:lnTo>
                  <a:pt x="961270" y="1453870"/>
                </a:lnTo>
                <a:lnTo>
                  <a:pt x="957252" y="1449831"/>
                </a:lnTo>
                <a:lnTo>
                  <a:pt x="957252" y="1439960"/>
                </a:lnTo>
                <a:close/>
                <a:moveTo>
                  <a:pt x="9572438" y="1435914"/>
                </a:moveTo>
                <a:lnTo>
                  <a:pt x="9582349" y="1435914"/>
                </a:lnTo>
                <a:lnTo>
                  <a:pt x="9586368" y="1439952"/>
                </a:lnTo>
                <a:lnTo>
                  <a:pt x="9586368" y="1449823"/>
                </a:lnTo>
                <a:lnTo>
                  <a:pt x="9582349" y="1453862"/>
                </a:lnTo>
                <a:lnTo>
                  <a:pt x="9572438" y="1453862"/>
                </a:lnTo>
                <a:lnTo>
                  <a:pt x="9568419" y="1449823"/>
                </a:lnTo>
                <a:lnTo>
                  <a:pt x="9568419" y="1439952"/>
                </a:lnTo>
                <a:close/>
                <a:moveTo>
                  <a:pt x="1918514" y="1435912"/>
                </a:moveTo>
                <a:lnTo>
                  <a:pt x="1928424" y="1435912"/>
                </a:lnTo>
                <a:lnTo>
                  <a:pt x="1932443" y="1439950"/>
                </a:lnTo>
                <a:lnTo>
                  <a:pt x="1932443" y="1449821"/>
                </a:lnTo>
                <a:lnTo>
                  <a:pt x="1928424" y="1453860"/>
                </a:lnTo>
                <a:lnTo>
                  <a:pt x="1918514" y="1453860"/>
                </a:lnTo>
                <a:lnTo>
                  <a:pt x="1914494" y="1449821"/>
                </a:lnTo>
                <a:lnTo>
                  <a:pt x="1914494" y="1439950"/>
                </a:lnTo>
                <a:close/>
                <a:moveTo>
                  <a:pt x="2157823" y="1435909"/>
                </a:moveTo>
                <a:lnTo>
                  <a:pt x="2167733" y="1435909"/>
                </a:lnTo>
                <a:lnTo>
                  <a:pt x="2171751" y="1439947"/>
                </a:lnTo>
                <a:lnTo>
                  <a:pt x="2171751" y="1449818"/>
                </a:lnTo>
                <a:lnTo>
                  <a:pt x="2167733" y="1453857"/>
                </a:lnTo>
                <a:lnTo>
                  <a:pt x="2157823" y="1453857"/>
                </a:lnTo>
                <a:lnTo>
                  <a:pt x="2153803" y="1449818"/>
                </a:lnTo>
                <a:lnTo>
                  <a:pt x="2153803" y="1439947"/>
                </a:lnTo>
                <a:close/>
                <a:moveTo>
                  <a:pt x="243347" y="1435883"/>
                </a:moveTo>
                <a:lnTo>
                  <a:pt x="253257" y="1435883"/>
                </a:lnTo>
                <a:lnTo>
                  <a:pt x="257276" y="1439920"/>
                </a:lnTo>
                <a:lnTo>
                  <a:pt x="257276" y="1449791"/>
                </a:lnTo>
                <a:lnTo>
                  <a:pt x="253257" y="1453830"/>
                </a:lnTo>
                <a:lnTo>
                  <a:pt x="243347" y="1453830"/>
                </a:lnTo>
                <a:lnTo>
                  <a:pt x="239328" y="1449791"/>
                </a:lnTo>
                <a:lnTo>
                  <a:pt x="239328" y="1439920"/>
                </a:lnTo>
                <a:close/>
                <a:moveTo>
                  <a:pt x="4034" y="1435883"/>
                </a:moveTo>
                <a:lnTo>
                  <a:pt x="13944" y="1435883"/>
                </a:lnTo>
                <a:lnTo>
                  <a:pt x="17964" y="1439920"/>
                </a:lnTo>
                <a:lnTo>
                  <a:pt x="17964" y="1449791"/>
                </a:lnTo>
                <a:lnTo>
                  <a:pt x="13944" y="1453830"/>
                </a:lnTo>
                <a:lnTo>
                  <a:pt x="4034" y="1453830"/>
                </a:lnTo>
                <a:lnTo>
                  <a:pt x="15" y="1449791"/>
                </a:lnTo>
                <a:lnTo>
                  <a:pt x="15" y="1439920"/>
                </a:lnTo>
                <a:close/>
                <a:moveTo>
                  <a:pt x="721973" y="1435882"/>
                </a:moveTo>
                <a:lnTo>
                  <a:pt x="731883" y="1435882"/>
                </a:lnTo>
                <a:lnTo>
                  <a:pt x="735902" y="1439920"/>
                </a:lnTo>
                <a:lnTo>
                  <a:pt x="735902" y="1449791"/>
                </a:lnTo>
                <a:lnTo>
                  <a:pt x="731883" y="1453830"/>
                </a:lnTo>
                <a:lnTo>
                  <a:pt x="721973" y="1453830"/>
                </a:lnTo>
                <a:lnTo>
                  <a:pt x="717954" y="1449791"/>
                </a:lnTo>
                <a:lnTo>
                  <a:pt x="717954" y="1439920"/>
                </a:lnTo>
                <a:close/>
                <a:moveTo>
                  <a:pt x="482661" y="1435882"/>
                </a:moveTo>
                <a:lnTo>
                  <a:pt x="492571" y="1435882"/>
                </a:lnTo>
                <a:lnTo>
                  <a:pt x="496590" y="1439920"/>
                </a:lnTo>
                <a:lnTo>
                  <a:pt x="496590" y="1449791"/>
                </a:lnTo>
                <a:lnTo>
                  <a:pt x="492571" y="1453830"/>
                </a:lnTo>
                <a:lnTo>
                  <a:pt x="482661" y="1453830"/>
                </a:lnTo>
                <a:lnTo>
                  <a:pt x="478642" y="1449791"/>
                </a:lnTo>
                <a:lnTo>
                  <a:pt x="478642" y="1439920"/>
                </a:lnTo>
                <a:close/>
                <a:moveTo>
                  <a:pt x="3350359" y="1196701"/>
                </a:moveTo>
                <a:lnTo>
                  <a:pt x="3360268" y="1196701"/>
                </a:lnTo>
                <a:lnTo>
                  <a:pt x="3364287" y="1200738"/>
                </a:lnTo>
                <a:lnTo>
                  <a:pt x="3364287" y="1210610"/>
                </a:lnTo>
                <a:lnTo>
                  <a:pt x="3360268" y="1214650"/>
                </a:lnTo>
                <a:lnTo>
                  <a:pt x="3350359" y="1214650"/>
                </a:lnTo>
                <a:lnTo>
                  <a:pt x="3346340" y="1210610"/>
                </a:lnTo>
                <a:lnTo>
                  <a:pt x="3346340" y="1200738"/>
                </a:lnTo>
                <a:close/>
                <a:moveTo>
                  <a:pt x="3111048" y="1196701"/>
                </a:moveTo>
                <a:lnTo>
                  <a:pt x="3120959" y="1196701"/>
                </a:lnTo>
                <a:lnTo>
                  <a:pt x="3124977" y="1200738"/>
                </a:lnTo>
                <a:lnTo>
                  <a:pt x="3124977" y="1210610"/>
                </a:lnTo>
                <a:lnTo>
                  <a:pt x="3120959" y="1214650"/>
                </a:lnTo>
                <a:lnTo>
                  <a:pt x="3111048" y="1214650"/>
                </a:lnTo>
                <a:lnTo>
                  <a:pt x="3107029" y="1210610"/>
                </a:lnTo>
                <a:lnTo>
                  <a:pt x="3107029" y="1200738"/>
                </a:lnTo>
                <a:close/>
                <a:moveTo>
                  <a:pt x="2871737" y="1196701"/>
                </a:moveTo>
                <a:lnTo>
                  <a:pt x="2881646" y="1196701"/>
                </a:lnTo>
                <a:lnTo>
                  <a:pt x="2885666" y="1200738"/>
                </a:lnTo>
                <a:lnTo>
                  <a:pt x="2885666" y="1210610"/>
                </a:lnTo>
                <a:lnTo>
                  <a:pt x="2881646" y="1214650"/>
                </a:lnTo>
                <a:lnTo>
                  <a:pt x="2871737" y="1214650"/>
                </a:lnTo>
                <a:lnTo>
                  <a:pt x="2867717" y="1210610"/>
                </a:lnTo>
                <a:lnTo>
                  <a:pt x="2867717" y="1200738"/>
                </a:lnTo>
                <a:close/>
                <a:moveTo>
                  <a:pt x="2632423" y="1196701"/>
                </a:moveTo>
                <a:lnTo>
                  <a:pt x="2642334" y="1196701"/>
                </a:lnTo>
                <a:lnTo>
                  <a:pt x="2646352" y="1200740"/>
                </a:lnTo>
                <a:lnTo>
                  <a:pt x="2646352" y="1210610"/>
                </a:lnTo>
                <a:lnTo>
                  <a:pt x="2642334" y="1214650"/>
                </a:lnTo>
                <a:lnTo>
                  <a:pt x="2632423" y="1214650"/>
                </a:lnTo>
                <a:lnTo>
                  <a:pt x="2628404" y="1210610"/>
                </a:lnTo>
                <a:lnTo>
                  <a:pt x="2628404" y="1200740"/>
                </a:lnTo>
                <a:close/>
                <a:moveTo>
                  <a:pt x="2393104" y="1196701"/>
                </a:moveTo>
                <a:lnTo>
                  <a:pt x="2403015" y="1196701"/>
                </a:lnTo>
                <a:lnTo>
                  <a:pt x="2407034" y="1200740"/>
                </a:lnTo>
                <a:lnTo>
                  <a:pt x="2407034" y="1210610"/>
                </a:lnTo>
                <a:lnTo>
                  <a:pt x="2403015" y="1214650"/>
                </a:lnTo>
                <a:lnTo>
                  <a:pt x="2393104" y="1214650"/>
                </a:lnTo>
                <a:lnTo>
                  <a:pt x="2389087" y="1210610"/>
                </a:lnTo>
                <a:lnTo>
                  <a:pt x="2389087" y="1200740"/>
                </a:lnTo>
                <a:close/>
                <a:moveTo>
                  <a:pt x="4546929" y="1196689"/>
                </a:moveTo>
                <a:lnTo>
                  <a:pt x="4556840" y="1196689"/>
                </a:lnTo>
                <a:lnTo>
                  <a:pt x="4560859" y="1200726"/>
                </a:lnTo>
                <a:lnTo>
                  <a:pt x="4560859" y="1210598"/>
                </a:lnTo>
                <a:lnTo>
                  <a:pt x="4556840" y="1214637"/>
                </a:lnTo>
                <a:lnTo>
                  <a:pt x="4546929" y="1214637"/>
                </a:lnTo>
                <a:lnTo>
                  <a:pt x="4542910" y="1210598"/>
                </a:lnTo>
                <a:lnTo>
                  <a:pt x="4542910" y="1200726"/>
                </a:lnTo>
                <a:close/>
                <a:moveTo>
                  <a:pt x="4307612" y="1196689"/>
                </a:moveTo>
                <a:lnTo>
                  <a:pt x="4317523" y="1196689"/>
                </a:lnTo>
                <a:lnTo>
                  <a:pt x="4321543" y="1200726"/>
                </a:lnTo>
                <a:lnTo>
                  <a:pt x="4321543" y="1210598"/>
                </a:lnTo>
                <a:lnTo>
                  <a:pt x="4317523" y="1214637"/>
                </a:lnTo>
                <a:lnTo>
                  <a:pt x="4307612" y="1214637"/>
                </a:lnTo>
                <a:lnTo>
                  <a:pt x="4303595" y="1210598"/>
                </a:lnTo>
                <a:lnTo>
                  <a:pt x="4303595" y="1200726"/>
                </a:lnTo>
                <a:close/>
                <a:moveTo>
                  <a:pt x="4068297" y="1196689"/>
                </a:moveTo>
                <a:lnTo>
                  <a:pt x="4078210" y="1196689"/>
                </a:lnTo>
                <a:lnTo>
                  <a:pt x="4082229" y="1200726"/>
                </a:lnTo>
                <a:lnTo>
                  <a:pt x="4082229" y="1210598"/>
                </a:lnTo>
                <a:lnTo>
                  <a:pt x="4078210" y="1214637"/>
                </a:lnTo>
                <a:lnTo>
                  <a:pt x="4068297" y="1214637"/>
                </a:lnTo>
                <a:lnTo>
                  <a:pt x="4064278" y="1210598"/>
                </a:lnTo>
                <a:lnTo>
                  <a:pt x="4064278" y="1200726"/>
                </a:lnTo>
                <a:close/>
                <a:moveTo>
                  <a:pt x="3828990" y="1196689"/>
                </a:moveTo>
                <a:lnTo>
                  <a:pt x="3838899" y="1196689"/>
                </a:lnTo>
                <a:lnTo>
                  <a:pt x="3842917" y="1200728"/>
                </a:lnTo>
                <a:lnTo>
                  <a:pt x="3842917" y="1210598"/>
                </a:lnTo>
                <a:lnTo>
                  <a:pt x="3838899" y="1214637"/>
                </a:lnTo>
                <a:lnTo>
                  <a:pt x="3828990" y="1214637"/>
                </a:lnTo>
                <a:lnTo>
                  <a:pt x="3824971" y="1210598"/>
                </a:lnTo>
                <a:lnTo>
                  <a:pt x="3824971" y="1200728"/>
                </a:lnTo>
                <a:close/>
                <a:moveTo>
                  <a:pt x="3589676" y="1196689"/>
                </a:moveTo>
                <a:lnTo>
                  <a:pt x="3599585" y="1196689"/>
                </a:lnTo>
                <a:lnTo>
                  <a:pt x="3603604" y="1200728"/>
                </a:lnTo>
                <a:lnTo>
                  <a:pt x="3603604" y="1210598"/>
                </a:lnTo>
                <a:lnTo>
                  <a:pt x="3599585" y="1214637"/>
                </a:lnTo>
                <a:lnTo>
                  <a:pt x="3589676" y="1214637"/>
                </a:lnTo>
                <a:lnTo>
                  <a:pt x="3585657" y="1210598"/>
                </a:lnTo>
                <a:lnTo>
                  <a:pt x="3585657" y="1200728"/>
                </a:lnTo>
                <a:close/>
                <a:moveTo>
                  <a:pt x="5743412" y="1196676"/>
                </a:moveTo>
                <a:lnTo>
                  <a:pt x="5753323" y="1196676"/>
                </a:lnTo>
                <a:lnTo>
                  <a:pt x="5757342" y="1200714"/>
                </a:lnTo>
                <a:lnTo>
                  <a:pt x="5757342" y="1210586"/>
                </a:lnTo>
                <a:lnTo>
                  <a:pt x="5753323" y="1214625"/>
                </a:lnTo>
                <a:lnTo>
                  <a:pt x="5743412" y="1214625"/>
                </a:lnTo>
                <a:lnTo>
                  <a:pt x="5739393" y="1210586"/>
                </a:lnTo>
                <a:lnTo>
                  <a:pt x="5739393" y="1200714"/>
                </a:lnTo>
                <a:close/>
                <a:moveTo>
                  <a:pt x="5504099" y="1196676"/>
                </a:moveTo>
                <a:lnTo>
                  <a:pt x="5514010" y="1196676"/>
                </a:lnTo>
                <a:lnTo>
                  <a:pt x="5518029" y="1200714"/>
                </a:lnTo>
                <a:lnTo>
                  <a:pt x="5518029" y="1210586"/>
                </a:lnTo>
                <a:lnTo>
                  <a:pt x="5514010" y="1214625"/>
                </a:lnTo>
                <a:lnTo>
                  <a:pt x="5504099" y="1214625"/>
                </a:lnTo>
                <a:lnTo>
                  <a:pt x="5500080" y="1210586"/>
                </a:lnTo>
                <a:lnTo>
                  <a:pt x="5500080" y="1200714"/>
                </a:lnTo>
                <a:close/>
                <a:moveTo>
                  <a:pt x="5264784" y="1196676"/>
                </a:moveTo>
                <a:lnTo>
                  <a:pt x="5274694" y="1196676"/>
                </a:lnTo>
                <a:lnTo>
                  <a:pt x="5278713" y="1200714"/>
                </a:lnTo>
                <a:lnTo>
                  <a:pt x="5278713" y="1210586"/>
                </a:lnTo>
                <a:lnTo>
                  <a:pt x="5274694" y="1214625"/>
                </a:lnTo>
                <a:lnTo>
                  <a:pt x="5264784" y="1214625"/>
                </a:lnTo>
                <a:lnTo>
                  <a:pt x="5260765" y="1210586"/>
                </a:lnTo>
                <a:lnTo>
                  <a:pt x="5260765" y="1200714"/>
                </a:lnTo>
                <a:close/>
                <a:moveTo>
                  <a:pt x="5025470" y="1196676"/>
                </a:moveTo>
                <a:lnTo>
                  <a:pt x="5035381" y="1196676"/>
                </a:lnTo>
                <a:lnTo>
                  <a:pt x="5039400" y="1200715"/>
                </a:lnTo>
                <a:lnTo>
                  <a:pt x="5039400" y="1210586"/>
                </a:lnTo>
                <a:lnTo>
                  <a:pt x="5035381" y="1214625"/>
                </a:lnTo>
                <a:lnTo>
                  <a:pt x="5025470" y="1214625"/>
                </a:lnTo>
                <a:lnTo>
                  <a:pt x="5021451" y="1210586"/>
                </a:lnTo>
                <a:lnTo>
                  <a:pt x="5021451" y="1200715"/>
                </a:lnTo>
                <a:close/>
                <a:moveTo>
                  <a:pt x="4786241" y="1196676"/>
                </a:moveTo>
                <a:lnTo>
                  <a:pt x="4796152" y="1196676"/>
                </a:lnTo>
                <a:lnTo>
                  <a:pt x="4800171" y="1200715"/>
                </a:lnTo>
                <a:lnTo>
                  <a:pt x="4800171" y="1210586"/>
                </a:lnTo>
                <a:lnTo>
                  <a:pt x="4796152" y="1214625"/>
                </a:lnTo>
                <a:lnTo>
                  <a:pt x="4786241" y="1214625"/>
                </a:lnTo>
                <a:lnTo>
                  <a:pt x="4782224" y="1210586"/>
                </a:lnTo>
                <a:lnTo>
                  <a:pt x="4782224" y="1200715"/>
                </a:lnTo>
                <a:close/>
                <a:moveTo>
                  <a:pt x="6222042" y="1196664"/>
                </a:moveTo>
                <a:lnTo>
                  <a:pt x="6231952" y="1196664"/>
                </a:lnTo>
                <a:lnTo>
                  <a:pt x="6235971" y="1200703"/>
                </a:lnTo>
                <a:lnTo>
                  <a:pt x="6235971" y="1210573"/>
                </a:lnTo>
                <a:lnTo>
                  <a:pt x="6231952" y="1214612"/>
                </a:lnTo>
                <a:lnTo>
                  <a:pt x="6222042" y="1214612"/>
                </a:lnTo>
                <a:lnTo>
                  <a:pt x="6218023" y="1210573"/>
                </a:lnTo>
                <a:lnTo>
                  <a:pt x="6218023" y="1200703"/>
                </a:lnTo>
                <a:close/>
                <a:moveTo>
                  <a:pt x="5982729" y="1196664"/>
                </a:moveTo>
                <a:lnTo>
                  <a:pt x="5992639" y="1196664"/>
                </a:lnTo>
                <a:lnTo>
                  <a:pt x="5996658" y="1200703"/>
                </a:lnTo>
                <a:lnTo>
                  <a:pt x="5996658" y="1210573"/>
                </a:lnTo>
                <a:lnTo>
                  <a:pt x="5992639" y="1214612"/>
                </a:lnTo>
                <a:lnTo>
                  <a:pt x="5982729" y="1214612"/>
                </a:lnTo>
                <a:lnTo>
                  <a:pt x="5978710" y="1210573"/>
                </a:lnTo>
                <a:lnTo>
                  <a:pt x="5978710" y="1200703"/>
                </a:lnTo>
                <a:close/>
                <a:moveTo>
                  <a:pt x="6939983" y="1196664"/>
                </a:moveTo>
                <a:lnTo>
                  <a:pt x="6949894" y="1196664"/>
                </a:lnTo>
                <a:lnTo>
                  <a:pt x="6953913" y="1200702"/>
                </a:lnTo>
                <a:lnTo>
                  <a:pt x="6953913" y="1210573"/>
                </a:lnTo>
                <a:lnTo>
                  <a:pt x="6949894" y="1214612"/>
                </a:lnTo>
                <a:lnTo>
                  <a:pt x="6939983" y="1214612"/>
                </a:lnTo>
                <a:lnTo>
                  <a:pt x="6935964" y="1210573"/>
                </a:lnTo>
                <a:lnTo>
                  <a:pt x="6935964" y="1200702"/>
                </a:lnTo>
                <a:close/>
                <a:moveTo>
                  <a:pt x="6700670" y="1196664"/>
                </a:moveTo>
                <a:lnTo>
                  <a:pt x="6710581" y="1196664"/>
                </a:lnTo>
                <a:lnTo>
                  <a:pt x="6714600" y="1200702"/>
                </a:lnTo>
                <a:lnTo>
                  <a:pt x="6714600" y="1210573"/>
                </a:lnTo>
                <a:lnTo>
                  <a:pt x="6710581" y="1214612"/>
                </a:lnTo>
                <a:lnTo>
                  <a:pt x="6700670" y="1214612"/>
                </a:lnTo>
                <a:lnTo>
                  <a:pt x="6696651" y="1210573"/>
                </a:lnTo>
                <a:lnTo>
                  <a:pt x="6696651" y="1200702"/>
                </a:lnTo>
                <a:close/>
                <a:moveTo>
                  <a:pt x="6461356" y="1196664"/>
                </a:moveTo>
                <a:lnTo>
                  <a:pt x="6471266" y="1196664"/>
                </a:lnTo>
                <a:lnTo>
                  <a:pt x="6475285" y="1200702"/>
                </a:lnTo>
                <a:lnTo>
                  <a:pt x="6475285" y="1210573"/>
                </a:lnTo>
                <a:lnTo>
                  <a:pt x="6471266" y="1214612"/>
                </a:lnTo>
                <a:lnTo>
                  <a:pt x="6461356" y="1214612"/>
                </a:lnTo>
                <a:lnTo>
                  <a:pt x="6457337" y="1210573"/>
                </a:lnTo>
                <a:lnTo>
                  <a:pt x="6457337" y="1200702"/>
                </a:lnTo>
                <a:close/>
                <a:moveTo>
                  <a:pt x="7418611" y="1196652"/>
                </a:moveTo>
                <a:lnTo>
                  <a:pt x="7428521" y="1196652"/>
                </a:lnTo>
                <a:lnTo>
                  <a:pt x="7432540" y="1200690"/>
                </a:lnTo>
                <a:lnTo>
                  <a:pt x="7432540" y="1210561"/>
                </a:lnTo>
                <a:lnTo>
                  <a:pt x="7428521" y="1214600"/>
                </a:lnTo>
                <a:lnTo>
                  <a:pt x="7418611" y="1214600"/>
                </a:lnTo>
                <a:lnTo>
                  <a:pt x="7414592" y="1210561"/>
                </a:lnTo>
                <a:lnTo>
                  <a:pt x="7414592" y="1200690"/>
                </a:lnTo>
                <a:close/>
                <a:moveTo>
                  <a:pt x="7179298" y="1196652"/>
                </a:moveTo>
                <a:lnTo>
                  <a:pt x="7189209" y="1196652"/>
                </a:lnTo>
                <a:lnTo>
                  <a:pt x="7193228" y="1200690"/>
                </a:lnTo>
                <a:lnTo>
                  <a:pt x="7193228" y="1210561"/>
                </a:lnTo>
                <a:lnTo>
                  <a:pt x="7189209" y="1214600"/>
                </a:lnTo>
                <a:lnTo>
                  <a:pt x="7179298" y="1214600"/>
                </a:lnTo>
                <a:lnTo>
                  <a:pt x="7175279" y="1210561"/>
                </a:lnTo>
                <a:lnTo>
                  <a:pt x="7175279" y="1200690"/>
                </a:lnTo>
                <a:close/>
                <a:moveTo>
                  <a:pt x="8136553" y="1196651"/>
                </a:moveTo>
                <a:lnTo>
                  <a:pt x="8146464" y="1196651"/>
                </a:lnTo>
                <a:lnTo>
                  <a:pt x="8150483" y="1200689"/>
                </a:lnTo>
                <a:lnTo>
                  <a:pt x="8150483" y="1210561"/>
                </a:lnTo>
                <a:lnTo>
                  <a:pt x="8146464" y="1214600"/>
                </a:lnTo>
                <a:lnTo>
                  <a:pt x="8136553" y="1214600"/>
                </a:lnTo>
                <a:lnTo>
                  <a:pt x="8132534" y="1210561"/>
                </a:lnTo>
                <a:lnTo>
                  <a:pt x="8132534" y="1200689"/>
                </a:lnTo>
                <a:close/>
                <a:moveTo>
                  <a:pt x="7897241" y="1196651"/>
                </a:moveTo>
                <a:lnTo>
                  <a:pt x="7907151" y="1196651"/>
                </a:lnTo>
                <a:lnTo>
                  <a:pt x="7911170" y="1200689"/>
                </a:lnTo>
                <a:lnTo>
                  <a:pt x="7911170" y="1210561"/>
                </a:lnTo>
                <a:lnTo>
                  <a:pt x="7907151" y="1214600"/>
                </a:lnTo>
                <a:lnTo>
                  <a:pt x="7897241" y="1214600"/>
                </a:lnTo>
                <a:lnTo>
                  <a:pt x="7893222" y="1210561"/>
                </a:lnTo>
                <a:lnTo>
                  <a:pt x="7893222" y="1200689"/>
                </a:lnTo>
                <a:close/>
                <a:moveTo>
                  <a:pt x="7657926" y="1196651"/>
                </a:moveTo>
                <a:lnTo>
                  <a:pt x="7667836" y="1196651"/>
                </a:lnTo>
                <a:lnTo>
                  <a:pt x="7671855" y="1200689"/>
                </a:lnTo>
                <a:lnTo>
                  <a:pt x="7671855" y="1210561"/>
                </a:lnTo>
                <a:lnTo>
                  <a:pt x="7667836" y="1214600"/>
                </a:lnTo>
                <a:lnTo>
                  <a:pt x="7657926" y="1214600"/>
                </a:lnTo>
                <a:lnTo>
                  <a:pt x="7653906" y="1210561"/>
                </a:lnTo>
                <a:lnTo>
                  <a:pt x="7653906" y="1200689"/>
                </a:lnTo>
                <a:close/>
                <a:moveTo>
                  <a:pt x="8615184" y="1196639"/>
                </a:moveTo>
                <a:lnTo>
                  <a:pt x="8625095" y="1196639"/>
                </a:lnTo>
                <a:lnTo>
                  <a:pt x="8629114" y="1200678"/>
                </a:lnTo>
                <a:lnTo>
                  <a:pt x="8629114" y="1210548"/>
                </a:lnTo>
                <a:lnTo>
                  <a:pt x="8625095" y="1214587"/>
                </a:lnTo>
                <a:lnTo>
                  <a:pt x="8615184" y="1214587"/>
                </a:lnTo>
                <a:lnTo>
                  <a:pt x="8611165" y="1210548"/>
                </a:lnTo>
                <a:lnTo>
                  <a:pt x="8611165" y="1200678"/>
                </a:lnTo>
                <a:close/>
                <a:moveTo>
                  <a:pt x="8375869" y="1196639"/>
                </a:moveTo>
                <a:lnTo>
                  <a:pt x="8385779" y="1196639"/>
                </a:lnTo>
                <a:lnTo>
                  <a:pt x="8389799" y="1200678"/>
                </a:lnTo>
                <a:lnTo>
                  <a:pt x="8389799" y="1210549"/>
                </a:lnTo>
                <a:lnTo>
                  <a:pt x="8385779" y="1214587"/>
                </a:lnTo>
                <a:lnTo>
                  <a:pt x="8375869" y="1214587"/>
                </a:lnTo>
                <a:lnTo>
                  <a:pt x="8371850" y="1210549"/>
                </a:lnTo>
                <a:lnTo>
                  <a:pt x="8371850" y="1200678"/>
                </a:lnTo>
                <a:close/>
                <a:moveTo>
                  <a:pt x="9333125" y="1196639"/>
                </a:moveTo>
                <a:lnTo>
                  <a:pt x="9343036" y="1196639"/>
                </a:lnTo>
                <a:lnTo>
                  <a:pt x="9347055" y="1200677"/>
                </a:lnTo>
                <a:lnTo>
                  <a:pt x="9347055" y="1210548"/>
                </a:lnTo>
                <a:lnTo>
                  <a:pt x="9343036" y="1214587"/>
                </a:lnTo>
                <a:lnTo>
                  <a:pt x="9333125" y="1214587"/>
                </a:lnTo>
                <a:lnTo>
                  <a:pt x="9329106" y="1210548"/>
                </a:lnTo>
                <a:lnTo>
                  <a:pt x="9329106" y="1200677"/>
                </a:lnTo>
                <a:close/>
                <a:moveTo>
                  <a:pt x="9093811" y="1196639"/>
                </a:moveTo>
                <a:lnTo>
                  <a:pt x="9103722" y="1196639"/>
                </a:lnTo>
                <a:lnTo>
                  <a:pt x="9107741" y="1200677"/>
                </a:lnTo>
                <a:lnTo>
                  <a:pt x="9107741" y="1210548"/>
                </a:lnTo>
                <a:lnTo>
                  <a:pt x="9103722" y="1214587"/>
                </a:lnTo>
                <a:lnTo>
                  <a:pt x="9093811" y="1214587"/>
                </a:lnTo>
                <a:lnTo>
                  <a:pt x="9089792" y="1210548"/>
                </a:lnTo>
                <a:lnTo>
                  <a:pt x="9089792" y="1200677"/>
                </a:lnTo>
                <a:close/>
                <a:moveTo>
                  <a:pt x="8854496" y="1196639"/>
                </a:moveTo>
                <a:lnTo>
                  <a:pt x="8864407" y="1196639"/>
                </a:lnTo>
                <a:lnTo>
                  <a:pt x="8868426" y="1200677"/>
                </a:lnTo>
                <a:lnTo>
                  <a:pt x="8868426" y="1210548"/>
                </a:lnTo>
                <a:lnTo>
                  <a:pt x="8864407" y="1214587"/>
                </a:lnTo>
                <a:lnTo>
                  <a:pt x="8854496" y="1214587"/>
                </a:lnTo>
                <a:lnTo>
                  <a:pt x="8850477" y="1210548"/>
                </a:lnTo>
                <a:lnTo>
                  <a:pt x="8850477" y="1200677"/>
                </a:lnTo>
                <a:close/>
                <a:moveTo>
                  <a:pt x="9572438" y="1196627"/>
                </a:moveTo>
                <a:lnTo>
                  <a:pt x="9582349" y="1196627"/>
                </a:lnTo>
                <a:lnTo>
                  <a:pt x="9586368" y="1200665"/>
                </a:lnTo>
                <a:lnTo>
                  <a:pt x="9586368" y="1210536"/>
                </a:lnTo>
                <a:lnTo>
                  <a:pt x="9582349" y="1214575"/>
                </a:lnTo>
                <a:lnTo>
                  <a:pt x="9572438" y="1214575"/>
                </a:lnTo>
                <a:lnTo>
                  <a:pt x="9568419" y="1210536"/>
                </a:lnTo>
                <a:lnTo>
                  <a:pt x="9568419" y="1200665"/>
                </a:lnTo>
                <a:close/>
                <a:moveTo>
                  <a:pt x="4035" y="1196600"/>
                </a:moveTo>
                <a:lnTo>
                  <a:pt x="13945" y="1196600"/>
                </a:lnTo>
                <a:lnTo>
                  <a:pt x="17964" y="1200638"/>
                </a:lnTo>
                <a:lnTo>
                  <a:pt x="17964" y="1210509"/>
                </a:lnTo>
                <a:lnTo>
                  <a:pt x="13945" y="1214548"/>
                </a:lnTo>
                <a:lnTo>
                  <a:pt x="4035" y="1214548"/>
                </a:lnTo>
                <a:lnTo>
                  <a:pt x="16" y="1210509"/>
                </a:lnTo>
                <a:lnTo>
                  <a:pt x="16" y="1200638"/>
                </a:lnTo>
                <a:close/>
                <a:moveTo>
                  <a:pt x="721974" y="1196599"/>
                </a:moveTo>
                <a:lnTo>
                  <a:pt x="731884" y="1196599"/>
                </a:lnTo>
                <a:lnTo>
                  <a:pt x="735903" y="1200638"/>
                </a:lnTo>
                <a:lnTo>
                  <a:pt x="735903" y="1210509"/>
                </a:lnTo>
                <a:lnTo>
                  <a:pt x="731884" y="1214547"/>
                </a:lnTo>
                <a:lnTo>
                  <a:pt x="721974" y="1214547"/>
                </a:lnTo>
                <a:lnTo>
                  <a:pt x="717955" y="1210509"/>
                </a:lnTo>
                <a:lnTo>
                  <a:pt x="717955" y="1200638"/>
                </a:lnTo>
                <a:close/>
                <a:moveTo>
                  <a:pt x="482661" y="1196599"/>
                </a:moveTo>
                <a:lnTo>
                  <a:pt x="492572" y="1196599"/>
                </a:lnTo>
                <a:lnTo>
                  <a:pt x="496591" y="1200638"/>
                </a:lnTo>
                <a:lnTo>
                  <a:pt x="496591" y="1210509"/>
                </a:lnTo>
                <a:lnTo>
                  <a:pt x="492572" y="1214548"/>
                </a:lnTo>
                <a:lnTo>
                  <a:pt x="482661" y="1214548"/>
                </a:lnTo>
                <a:lnTo>
                  <a:pt x="478642" y="1210509"/>
                </a:lnTo>
                <a:lnTo>
                  <a:pt x="478642" y="1200638"/>
                </a:lnTo>
                <a:close/>
                <a:moveTo>
                  <a:pt x="243348" y="1196599"/>
                </a:moveTo>
                <a:lnTo>
                  <a:pt x="253258" y="1196599"/>
                </a:lnTo>
                <a:lnTo>
                  <a:pt x="257278" y="1200638"/>
                </a:lnTo>
                <a:lnTo>
                  <a:pt x="257278" y="1210509"/>
                </a:lnTo>
                <a:lnTo>
                  <a:pt x="253258" y="1214548"/>
                </a:lnTo>
                <a:lnTo>
                  <a:pt x="243348" y="1214548"/>
                </a:lnTo>
                <a:lnTo>
                  <a:pt x="239329" y="1210509"/>
                </a:lnTo>
                <a:lnTo>
                  <a:pt x="239329" y="1200638"/>
                </a:lnTo>
                <a:close/>
                <a:moveTo>
                  <a:pt x="1439900" y="1196589"/>
                </a:moveTo>
                <a:lnTo>
                  <a:pt x="1449810" y="1196589"/>
                </a:lnTo>
                <a:lnTo>
                  <a:pt x="1453829" y="1200628"/>
                </a:lnTo>
                <a:lnTo>
                  <a:pt x="1453829" y="1210498"/>
                </a:lnTo>
                <a:lnTo>
                  <a:pt x="1449810" y="1214537"/>
                </a:lnTo>
                <a:lnTo>
                  <a:pt x="1439900" y="1214537"/>
                </a:lnTo>
                <a:lnTo>
                  <a:pt x="1435881" y="1210498"/>
                </a:lnTo>
                <a:lnTo>
                  <a:pt x="1435881" y="1200628"/>
                </a:lnTo>
                <a:close/>
                <a:moveTo>
                  <a:pt x="1200584" y="1196589"/>
                </a:moveTo>
                <a:lnTo>
                  <a:pt x="1210494" y="1196589"/>
                </a:lnTo>
                <a:lnTo>
                  <a:pt x="1214512" y="1200628"/>
                </a:lnTo>
                <a:lnTo>
                  <a:pt x="1214512" y="1210498"/>
                </a:lnTo>
                <a:lnTo>
                  <a:pt x="1210494" y="1214537"/>
                </a:lnTo>
                <a:lnTo>
                  <a:pt x="1200584" y="1214537"/>
                </a:lnTo>
                <a:lnTo>
                  <a:pt x="1196565" y="1210498"/>
                </a:lnTo>
                <a:lnTo>
                  <a:pt x="1196565" y="1200628"/>
                </a:lnTo>
                <a:close/>
                <a:moveTo>
                  <a:pt x="961271" y="1196589"/>
                </a:moveTo>
                <a:lnTo>
                  <a:pt x="971181" y="1196589"/>
                </a:lnTo>
                <a:lnTo>
                  <a:pt x="975200" y="1200628"/>
                </a:lnTo>
                <a:lnTo>
                  <a:pt x="975200" y="1210499"/>
                </a:lnTo>
                <a:lnTo>
                  <a:pt x="971181" y="1214537"/>
                </a:lnTo>
                <a:lnTo>
                  <a:pt x="961271" y="1214537"/>
                </a:lnTo>
                <a:lnTo>
                  <a:pt x="957253" y="1210499"/>
                </a:lnTo>
                <a:lnTo>
                  <a:pt x="957253" y="1200628"/>
                </a:lnTo>
                <a:close/>
                <a:moveTo>
                  <a:pt x="1679217" y="1196589"/>
                </a:moveTo>
                <a:lnTo>
                  <a:pt x="1689127" y="1196589"/>
                </a:lnTo>
                <a:lnTo>
                  <a:pt x="1693146" y="1200627"/>
                </a:lnTo>
                <a:lnTo>
                  <a:pt x="1693146" y="1210498"/>
                </a:lnTo>
                <a:lnTo>
                  <a:pt x="1689127" y="1214537"/>
                </a:lnTo>
                <a:lnTo>
                  <a:pt x="1679217" y="1214537"/>
                </a:lnTo>
                <a:lnTo>
                  <a:pt x="1675198" y="1210498"/>
                </a:lnTo>
                <a:lnTo>
                  <a:pt x="1675198" y="1200627"/>
                </a:lnTo>
                <a:close/>
                <a:moveTo>
                  <a:pt x="1918514" y="1196581"/>
                </a:moveTo>
                <a:lnTo>
                  <a:pt x="1928424" y="1196581"/>
                </a:lnTo>
                <a:lnTo>
                  <a:pt x="1932443" y="1200619"/>
                </a:lnTo>
                <a:lnTo>
                  <a:pt x="1932443" y="1210489"/>
                </a:lnTo>
                <a:lnTo>
                  <a:pt x="1928424" y="1214528"/>
                </a:lnTo>
                <a:lnTo>
                  <a:pt x="1918514" y="1214528"/>
                </a:lnTo>
                <a:lnTo>
                  <a:pt x="1914495" y="1210489"/>
                </a:lnTo>
                <a:lnTo>
                  <a:pt x="1914495" y="1200619"/>
                </a:lnTo>
                <a:close/>
                <a:moveTo>
                  <a:pt x="2157823" y="1196578"/>
                </a:moveTo>
                <a:lnTo>
                  <a:pt x="2167733" y="1196578"/>
                </a:lnTo>
                <a:lnTo>
                  <a:pt x="2171751" y="1200617"/>
                </a:lnTo>
                <a:lnTo>
                  <a:pt x="2171751" y="1210488"/>
                </a:lnTo>
                <a:lnTo>
                  <a:pt x="2167733" y="1214526"/>
                </a:lnTo>
                <a:lnTo>
                  <a:pt x="2157823" y="1214526"/>
                </a:lnTo>
                <a:lnTo>
                  <a:pt x="2153803" y="1210488"/>
                </a:lnTo>
                <a:lnTo>
                  <a:pt x="2153803" y="1200617"/>
                </a:lnTo>
                <a:close/>
                <a:moveTo>
                  <a:pt x="3350359" y="957358"/>
                </a:moveTo>
                <a:lnTo>
                  <a:pt x="3360268" y="957358"/>
                </a:lnTo>
                <a:lnTo>
                  <a:pt x="3364287" y="961396"/>
                </a:lnTo>
                <a:lnTo>
                  <a:pt x="3364287" y="971266"/>
                </a:lnTo>
                <a:lnTo>
                  <a:pt x="3360268" y="975304"/>
                </a:lnTo>
                <a:lnTo>
                  <a:pt x="3350359" y="975304"/>
                </a:lnTo>
                <a:lnTo>
                  <a:pt x="3346340" y="971266"/>
                </a:lnTo>
                <a:lnTo>
                  <a:pt x="3346340" y="961396"/>
                </a:lnTo>
                <a:close/>
                <a:moveTo>
                  <a:pt x="3111048" y="957358"/>
                </a:moveTo>
                <a:lnTo>
                  <a:pt x="3120959" y="957358"/>
                </a:lnTo>
                <a:lnTo>
                  <a:pt x="3124977" y="961396"/>
                </a:lnTo>
                <a:lnTo>
                  <a:pt x="3124977" y="971266"/>
                </a:lnTo>
                <a:lnTo>
                  <a:pt x="3120959" y="975304"/>
                </a:lnTo>
                <a:lnTo>
                  <a:pt x="3111048" y="975304"/>
                </a:lnTo>
                <a:lnTo>
                  <a:pt x="3107029" y="971266"/>
                </a:lnTo>
                <a:lnTo>
                  <a:pt x="3107029" y="961396"/>
                </a:lnTo>
                <a:close/>
                <a:moveTo>
                  <a:pt x="2871737" y="957358"/>
                </a:moveTo>
                <a:lnTo>
                  <a:pt x="2881646" y="957358"/>
                </a:lnTo>
                <a:lnTo>
                  <a:pt x="2885666" y="961396"/>
                </a:lnTo>
                <a:lnTo>
                  <a:pt x="2885666" y="971266"/>
                </a:lnTo>
                <a:lnTo>
                  <a:pt x="2881646" y="975304"/>
                </a:lnTo>
                <a:lnTo>
                  <a:pt x="2871737" y="975304"/>
                </a:lnTo>
                <a:lnTo>
                  <a:pt x="2867717" y="971266"/>
                </a:lnTo>
                <a:lnTo>
                  <a:pt x="2867717" y="961396"/>
                </a:lnTo>
                <a:close/>
                <a:moveTo>
                  <a:pt x="2632423" y="957358"/>
                </a:moveTo>
                <a:lnTo>
                  <a:pt x="2642334" y="957358"/>
                </a:lnTo>
                <a:lnTo>
                  <a:pt x="2646352" y="961396"/>
                </a:lnTo>
                <a:lnTo>
                  <a:pt x="2646352" y="971266"/>
                </a:lnTo>
                <a:lnTo>
                  <a:pt x="2642334" y="975305"/>
                </a:lnTo>
                <a:lnTo>
                  <a:pt x="2632423" y="975305"/>
                </a:lnTo>
                <a:lnTo>
                  <a:pt x="2628404" y="971266"/>
                </a:lnTo>
                <a:lnTo>
                  <a:pt x="2628404" y="961396"/>
                </a:lnTo>
                <a:close/>
                <a:moveTo>
                  <a:pt x="2393104" y="957358"/>
                </a:moveTo>
                <a:lnTo>
                  <a:pt x="2403015" y="957358"/>
                </a:lnTo>
                <a:lnTo>
                  <a:pt x="2407034" y="961396"/>
                </a:lnTo>
                <a:lnTo>
                  <a:pt x="2407034" y="971266"/>
                </a:lnTo>
                <a:lnTo>
                  <a:pt x="2403015" y="975305"/>
                </a:lnTo>
                <a:lnTo>
                  <a:pt x="2393104" y="975305"/>
                </a:lnTo>
                <a:lnTo>
                  <a:pt x="2389087" y="971266"/>
                </a:lnTo>
                <a:lnTo>
                  <a:pt x="2389087" y="961396"/>
                </a:lnTo>
                <a:close/>
                <a:moveTo>
                  <a:pt x="4546929" y="957347"/>
                </a:moveTo>
                <a:lnTo>
                  <a:pt x="4556840" y="957347"/>
                </a:lnTo>
                <a:lnTo>
                  <a:pt x="4560859" y="961385"/>
                </a:lnTo>
                <a:lnTo>
                  <a:pt x="4560859" y="971255"/>
                </a:lnTo>
                <a:lnTo>
                  <a:pt x="4556840" y="975293"/>
                </a:lnTo>
                <a:lnTo>
                  <a:pt x="4546929" y="975293"/>
                </a:lnTo>
                <a:lnTo>
                  <a:pt x="4542910" y="971255"/>
                </a:lnTo>
                <a:lnTo>
                  <a:pt x="4542910" y="961385"/>
                </a:lnTo>
                <a:close/>
                <a:moveTo>
                  <a:pt x="4307612" y="957347"/>
                </a:moveTo>
                <a:lnTo>
                  <a:pt x="4317523" y="957347"/>
                </a:lnTo>
                <a:lnTo>
                  <a:pt x="4321543" y="961385"/>
                </a:lnTo>
                <a:lnTo>
                  <a:pt x="4321543" y="971255"/>
                </a:lnTo>
                <a:lnTo>
                  <a:pt x="4317523" y="975293"/>
                </a:lnTo>
                <a:lnTo>
                  <a:pt x="4307612" y="975293"/>
                </a:lnTo>
                <a:lnTo>
                  <a:pt x="4303595" y="971255"/>
                </a:lnTo>
                <a:lnTo>
                  <a:pt x="4303595" y="961385"/>
                </a:lnTo>
                <a:close/>
                <a:moveTo>
                  <a:pt x="4068297" y="957347"/>
                </a:moveTo>
                <a:lnTo>
                  <a:pt x="4078210" y="957347"/>
                </a:lnTo>
                <a:lnTo>
                  <a:pt x="4082229" y="961385"/>
                </a:lnTo>
                <a:lnTo>
                  <a:pt x="4082229" y="971255"/>
                </a:lnTo>
                <a:lnTo>
                  <a:pt x="4078210" y="975293"/>
                </a:lnTo>
                <a:lnTo>
                  <a:pt x="4068297" y="975293"/>
                </a:lnTo>
                <a:lnTo>
                  <a:pt x="4064278" y="971255"/>
                </a:lnTo>
                <a:lnTo>
                  <a:pt x="4064278" y="961385"/>
                </a:lnTo>
                <a:close/>
                <a:moveTo>
                  <a:pt x="3828990" y="957347"/>
                </a:moveTo>
                <a:lnTo>
                  <a:pt x="3838899" y="957347"/>
                </a:lnTo>
                <a:lnTo>
                  <a:pt x="3842917" y="961385"/>
                </a:lnTo>
                <a:lnTo>
                  <a:pt x="3842917" y="971255"/>
                </a:lnTo>
                <a:lnTo>
                  <a:pt x="3838899" y="975293"/>
                </a:lnTo>
                <a:lnTo>
                  <a:pt x="3828990" y="975293"/>
                </a:lnTo>
                <a:lnTo>
                  <a:pt x="3824971" y="971255"/>
                </a:lnTo>
                <a:lnTo>
                  <a:pt x="3824971" y="961385"/>
                </a:lnTo>
                <a:close/>
                <a:moveTo>
                  <a:pt x="3589676" y="957347"/>
                </a:moveTo>
                <a:lnTo>
                  <a:pt x="3599585" y="957347"/>
                </a:lnTo>
                <a:lnTo>
                  <a:pt x="3603604" y="961385"/>
                </a:lnTo>
                <a:lnTo>
                  <a:pt x="3603604" y="971255"/>
                </a:lnTo>
                <a:lnTo>
                  <a:pt x="3599585" y="975293"/>
                </a:lnTo>
                <a:lnTo>
                  <a:pt x="3589676" y="975293"/>
                </a:lnTo>
                <a:lnTo>
                  <a:pt x="3585657" y="971255"/>
                </a:lnTo>
                <a:lnTo>
                  <a:pt x="3585657" y="961385"/>
                </a:lnTo>
                <a:close/>
                <a:moveTo>
                  <a:pt x="5743412" y="957335"/>
                </a:moveTo>
                <a:lnTo>
                  <a:pt x="5753323" y="957335"/>
                </a:lnTo>
                <a:lnTo>
                  <a:pt x="5757342" y="961373"/>
                </a:lnTo>
                <a:lnTo>
                  <a:pt x="5757342" y="971244"/>
                </a:lnTo>
                <a:lnTo>
                  <a:pt x="5753323" y="975282"/>
                </a:lnTo>
                <a:lnTo>
                  <a:pt x="5743412" y="975282"/>
                </a:lnTo>
                <a:lnTo>
                  <a:pt x="5739393" y="971244"/>
                </a:lnTo>
                <a:lnTo>
                  <a:pt x="5739393" y="961373"/>
                </a:lnTo>
                <a:close/>
                <a:moveTo>
                  <a:pt x="5504099" y="957335"/>
                </a:moveTo>
                <a:lnTo>
                  <a:pt x="5514010" y="957335"/>
                </a:lnTo>
                <a:lnTo>
                  <a:pt x="5518029" y="961373"/>
                </a:lnTo>
                <a:lnTo>
                  <a:pt x="5518029" y="971244"/>
                </a:lnTo>
                <a:lnTo>
                  <a:pt x="5514010" y="975282"/>
                </a:lnTo>
                <a:lnTo>
                  <a:pt x="5504099" y="975282"/>
                </a:lnTo>
                <a:lnTo>
                  <a:pt x="5500080" y="971244"/>
                </a:lnTo>
                <a:lnTo>
                  <a:pt x="5500080" y="961373"/>
                </a:lnTo>
                <a:close/>
                <a:moveTo>
                  <a:pt x="5264784" y="957335"/>
                </a:moveTo>
                <a:lnTo>
                  <a:pt x="5274694" y="957335"/>
                </a:lnTo>
                <a:lnTo>
                  <a:pt x="5278713" y="961373"/>
                </a:lnTo>
                <a:lnTo>
                  <a:pt x="5278713" y="971244"/>
                </a:lnTo>
                <a:lnTo>
                  <a:pt x="5274694" y="975282"/>
                </a:lnTo>
                <a:lnTo>
                  <a:pt x="5264784" y="975282"/>
                </a:lnTo>
                <a:lnTo>
                  <a:pt x="5260765" y="971244"/>
                </a:lnTo>
                <a:lnTo>
                  <a:pt x="5260765" y="961373"/>
                </a:lnTo>
                <a:close/>
                <a:moveTo>
                  <a:pt x="5025470" y="957335"/>
                </a:moveTo>
                <a:lnTo>
                  <a:pt x="5035381" y="957335"/>
                </a:lnTo>
                <a:lnTo>
                  <a:pt x="5039400" y="961373"/>
                </a:lnTo>
                <a:lnTo>
                  <a:pt x="5039400" y="971244"/>
                </a:lnTo>
                <a:lnTo>
                  <a:pt x="5035381" y="975283"/>
                </a:lnTo>
                <a:lnTo>
                  <a:pt x="5025470" y="975283"/>
                </a:lnTo>
                <a:lnTo>
                  <a:pt x="5021451" y="971244"/>
                </a:lnTo>
                <a:lnTo>
                  <a:pt x="5021451" y="961373"/>
                </a:lnTo>
                <a:close/>
                <a:moveTo>
                  <a:pt x="4786241" y="957335"/>
                </a:moveTo>
                <a:lnTo>
                  <a:pt x="4796152" y="957335"/>
                </a:lnTo>
                <a:lnTo>
                  <a:pt x="4800171" y="961374"/>
                </a:lnTo>
                <a:lnTo>
                  <a:pt x="4800171" y="971244"/>
                </a:lnTo>
                <a:lnTo>
                  <a:pt x="4796152" y="975283"/>
                </a:lnTo>
                <a:lnTo>
                  <a:pt x="4786241" y="975283"/>
                </a:lnTo>
                <a:lnTo>
                  <a:pt x="4782224" y="971244"/>
                </a:lnTo>
                <a:lnTo>
                  <a:pt x="4782224" y="961374"/>
                </a:lnTo>
                <a:close/>
                <a:moveTo>
                  <a:pt x="6939983" y="957324"/>
                </a:moveTo>
                <a:lnTo>
                  <a:pt x="6949894" y="957324"/>
                </a:lnTo>
                <a:lnTo>
                  <a:pt x="6953913" y="961363"/>
                </a:lnTo>
                <a:lnTo>
                  <a:pt x="6953913" y="971232"/>
                </a:lnTo>
                <a:lnTo>
                  <a:pt x="6949894" y="975271"/>
                </a:lnTo>
                <a:lnTo>
                  <a:pt x="6939983" y="975271"/>
                </a:lnTo>
                <a:lnTo>
                  <a:pt x="6935964" y="971232"/>
                </a:lnTo>
                <a:lnTo>
                  <a:pt x="6935964" y="961363"/>
                </a:lnTo>
                <a:close/>
                <a:moveTo>
                  <a:pt x="6700670" y="957324"/>
                </a:moveTo>
                <a:lnTo>
                  <a:pt x="6710581" y="957324"/>
                </a:lnTo>
                <a:lnTo>
                  <a:pt x="6714600" y="961363"/>
                </a:lnTo>
                <a:lnTo>
                  <a:pt x="6714600" y="971232"/>
                </a:lnTo>
                <a:lnTo>
                  <a:pt x="6710581" y="975271"/>
                </a:lnTo>
                <a:lnTo>
                  <a:pt x="6700670" y="975271"/>
                </a:lnTo>
                <a:lnTo>
                  <a:pt x="6696651" y="971232"/>
                </a:lnTo>
                <a:lnTo>
                  <a:pt x="6696651" y="961363"/>
                </a:lnTo>
                <a:close/>
                <a:moveTo>
                  <a:pt x="6461356" y="957324"/>
                </a:moveTo>
                <a:lnTo>
                  <a:pt x="6471266" y="957324"/>
                </a:lnTo>
                <a:lnTo>
                  <a:pt x="6475285" y="961363"/>
                </a:lnTo>
                <a:lnTo>
                  <a:pt x="6475285" y="971232"/>
                </a:lnTo>
                <a:lnTo>
                  <a:pt x="6471266" y="975271"/>
                </a:lnTo>
                <a:lnTo>
                  <a:pt x="6461356" y="975271"/>
                </a:lnTo>
                <a:lnTo>
                  <a:pt x="6457337" y="971232"/>
                </a:lnTo>
                <a:lnTo>
                  <a:pt x="6457337" y="961363"/>
                </a:lnTo>
                <a:close/>
                <a:moveTo>
                  <a:pt x="6222042" y="957324"/>
                </a:moveTo>
                <a:lnTo>
                  <a:pt x="6231952" y="957324"/>
                </a:lnTo>
                <a:lnTo>
                  <a:pt x="6235971" y="961363"/>
                </a:lnTo>
                <a:lnTo>
                  <a:pt x="6235971" y="971232"/>
                </a:lnTo>
                <a:lnTo>
                  <a:pt x="6231952" y="975271"/>
                </a:lnTo>
                <a:lnTo>
                  <a:pt x="6222042" y="975271"/>
                </a:lnTo>
                <a:lnTo>
                  <a:pt x="6218023" y="971232"/>
                </a:lnTo>
                <a:lnTo>
                  <a:pt x="6218023" y="961363"/>
                </a:lnTo>
                <a:close/>
                <a:moveTo>
                  <a:pt x="5982729" y="957324"/>
                </a:moveTo>
                <a:lnTo>
                  <a:pt x="5992639" y="957324"/>
                </a:lnTo>
                <a:lnTo>
                  <a:pt x="5996658" y="961363"/>
                </a:lnTo>
                <a:lnTo>
                  <a:pt x="5996658" y="971232"/>
                </a:lnTo>
                <a:lnTo>
                  <a:pt x="5992639" y="975271"/>
                </a:lnTo>
                <a:lnTo>
                  <a:pt x="5982729" y="975271"/>
                </a:lnTo>
                <a:lnTo>
                  <a:pt x="5978710" y="971232"/>
                </a:lnTo>
                <a:lnTo>
                  <a:pt x="5978710" y="961363"/>
                </a:lnTo>
                <a:close/>
                <a:moveTo>
                  <a:pt x="8136553" y="957313"/>
                </a:moveTo>
                <a:lnTo>
                  <a:pt x="8146464" y="957313"/>
                </a:lnTo>
                <a:lnTo>
                  <a:pt x="8150483" y="961351"/>
                </a:lnTo>
                <a:lnTo>
                  <a:pt x="8150483" y="971222"/>
                </a:lnTo>
                <a:lnTo>
                  <a:pt x="8146464" y="975260"/>
                </a:lnTo>
                <a:lnTo>
                  <a:pt x="8136553" y="975260"/>
                </a:lnTo>
                <a:lnTo>
                  <a:pt x="8132534" y="971222"/>
                </a:lnTo>
                <a:lnTo>
                  <a:pt x="8132534" y="961351"/>
                </a:lnTo>
                <a:close/>
                <a:moveTo>
                  <a:pt x="7897241" y="957313"/>
                </a:moveTo>
                <a:lnTo>
                  <a:pt x="7907151" y="957313"/>
                </a:lnTo>
                <a:lnTo>
                  <a:pt x="7911170" y="961351"/>
                </a:lnTo>
                <a:lnTo>
                  <a:pt x="7911170" y="971222"/>
                </a:lnTo>
                <a:lnTo>
                  <a:pt x="7907151" y="975260"/>
                </a:lnTo>
                <a:lnTo>
                  <a:pt x="7897241" y="975260"/>
                </a:lnTo>
                <a:lnTo>
                  <a:pt x="7893222" y="971222"/>
                </a:lnTo>
                <a:lnTo>
                  <a:pt x="7893222" y="961351"/>
                </a:lnTo>
                <a:close/>
                <a:moveTo>
                  <a:pt x="7657926" y="957313"/>
                </a:moveTo>
                <a:lnTo>
                  <a:pt x="7667836" y="957313"/>
                </a:lnTo>
                <a:lnTo>
                  <a:pt x="7671855" y="961351"/>
                </a:lnTo>
                <a:lnTo>
                  <a:pt x="7671855" y="971222"/>
                </a:lnTo>
                <a:lnTo>
                  <a:pt x="7667836" y="975260"/>
                </a:lnTo>
                <a:lnTo>
                  <a:pt x="7657926" y="975260"/>
                </a:lnTo>
                <a:lnTo>
                  <a:pt x="7653906" y="971222"/>
                </a:lnTo>
                <a:lnTo>
                  <a:pt x="7653906" y="961351"/>
                </a:lnTo>
                <a:close/>
                <a:moveTo>
                  <a:pt x="7418611" y="957313"/>
                </a:moveTo>
                <a:lnTo>
                  <a:pt x="7428521" y="957313"/>
                </a:lnTo>
                <a:lnTo>
                  <a:pt x="7432540" y="961351"/>
                </a:lnTo>
                <a:lnTo>
                  <a:pt x="7432540" y="971222"/>
                </a:lnTo>
                <a:lnTo>
                  <a:pt x="7428521" y="975260"/>
                </a:lnTo>
                <a:lnTo>
                  <a:pt x="7418611" y="975260"/>
                </a:lnTo>
                <a:lnTo>
                  <a:pt x="7414592" y="971222"/>
                </a:lnTo>
                <a:lnTo>
                  <a:pt x="7414592" y="961351"/>
                </a:lnTo>
                <a:close/>
                <a:moveTo>
                  <a:pt x="7179298" y="957313"/>
                </a:moveTo>
                <a:lnTo>
                  <a:pt x="7189209" y="957313"/>
                </a:lnTo>
                <a:lnTo>
                  <a:pt x="7193228" y="961351"/>
                </a:lnTo>
                <a:lnTo>
                  <a:pt x="7193228" y="971222"/>
                </a:lnTo>
                <a:lnTo>
                  <a:pt x="7189209" y="975260"/>
                </a:lnTo>
                <a:lnTo>
                  <a:pt x="7179298" y="975260"/>
                </a:lnTo>
                <a:lnTo>
                  <a:pt x="7175279" y="971222"/>
                </a:lnTo>
                <a:lnTo>
                  <a:pt x="7175279" y="961351"/>
                </a:lnTo>
                <a:close/>
                <a:moveTo>
                  <a:pt x="1679217" y="957309"/>
                </a:moveTo>
                <a:lnTo>
                  <a:pt x="1689128" y="957309"/>
                </a:lnTo>
                <a:lnTo>
                  <a:pt x="1693147" y="961347"/>
                </a:lnTo>
                <a:lnTo>
                  <a:pt x="1693147" y="971217"/>
                </a:lnTo>
                <a:lnTo>
                  <a:pt x="1689128" y="975256"/>
                </a:lnTo>
                <a:lnTo>
                  <a:pt x="1679217" y="975256"/>
                </a:lnTo>
                <a:lnTo>
                  <a:pt x="1675199" y="971217"/>
                </a:lnTo>
                <a:lnTo>
                  <a:pt x="1675199" y="961347"/>
                </a:lnTo>
                <a:close/>
                <a:moveTo>
                  <a:pt x="1439901" y="957309"/>
                </a:moveTo>
                <a:lnTo>
                  <a:pt x="1449811" y="957309"/>
                </a:lnTo>
                <a:lnTo>
                  <a:pt x="1453829" y="961347"/>
                </a:lnTo>
                <a:lnTo>
                  <a:pt x="1453829" y="971217"/>
                </a:lnTo>
                <a:lnTo>
                  <a:pt x="1449811" y="975256"/>
                </a:lnTo>
                <a:lnTo>
                  <a:pt x="1439901" y="975256"/>
                </a:lnTo>
                <a:lnTo>
                  <a:pt x="1435881" y="971217"/>
                </a:lnTo>
                <a:lnTo>
                  <a:pt x="1435881" y="961347"/>
                </a:lnTo>
                <a:close/>
                <a:moveTo>
                  <a:pt x="1200584" y="957309"/>
                </a:moveTo>
                <a:lnTo>
                  <a:pt x="1210495" y="957309"/>
                </a:lnTo>
                <a:lnTo>
                  <a:pt x="1214513" y="961347"/>
                </a:lnTo>
                <a:lnTo>
                  <a:pt x="1214513" y="971217"/>
                </a:lnTo>
                <a:lnTo>
                  <a:pt x="1210495" y="975256"/>
                </a:lnTo>
                <a:lnTo>
                  <a:pt x="1200584" y="975256"/>
                </a:lnTo>
                <a:lnTo>
                  <a:pt x="1196566" y="971217"/>
                </a:lnTo>
                <a:lnTo>
                  <a:pt x="1196566" y="961347"/>
                </a:lnTo>
                <a:close/>
                <a:moveTo>
                  <a:pt x="961271" y="957309"/>
                </a:moveTo>
                <a:lnTo>
                  <a:pt x="971182" y="957309"/>
                </a:lnTo>
                <a:lnTo>
                  <a:pt x="975201" y="961347"/>
                </a:lnTo>
                <a:lnTo>
                  <a:pt x="975201" y="971218"/>
                </a:lnTo>
                <a:lnTo>
                  <a:pt x="971182" y="975256"/>
                </a:lnTo>
                <a:lnTo>
                  <a:pt x="961271" y="975256"/>
                </a:lnTo>
                <a:lnTo>
                  <a:pt x="957253" y="971218"/>
                </a:lnTo>
                <a:lnTo>
                  <a:pt x="957253" y="961347"/>
                </a:lnTo>
                <a:close/>
                <a:moveTo>
                  <a:pt x="9333125" y="957302"/>
                </a:moveTo>
                <a:lnTo>
                  <a:pt x="9343036" y="957302"/>
                </a:lnTo>
                <a:lnTo>
                  <a:pt x="9347055" y="961340"/>
                </a:lnTo>
                <a:lnTo>
                  <a:pt x="9347055" y="971210"/>
                </a:lnTo>
                <a:lnTo>
                  <a:pt x="9343036" y="975249"/>
                </a:lnTo>
                <a:lnTo>
                  <a:pt x="9333125" y="975249"/>
                </a:lnTo>
                <a:lnTo>
                  <a:pt x="9329106" y="971210"/>
                </a:lnTo>
                <a:lnTo>
                  <a:pt x="9329106" y="961340"/>
                </a:lnTo>
                <a:close/>
                <a:moveTo>
                  <a:pt x="9093811" y="957302"/>
                </a:moveTo>
                <a:lnTo>
                  <a:pt x="9103722" y="957302"/>
                </a:lnTo>
                <a:lnTo>
                  <a:pt x="9107741" y="961340"/>
                </a:lnTo>
                <a:lnTo>
                  <a:pt x="9107741" y="971210"/>
                </a:lnTo>
                <a:lnTo>
                  <a:pt x="9103722" y="975249"/>
                </a:lnTo>
                <a:lnTo>
                  <a:pt x="9093811" y="975249"/>
                </a:lnTo>
                <a:lnTo>
                  <a:pt x="9089792" y="971210"/>
                </a:lnTo>
                <a:lnTo>
                  <a:pt x="9089792" y="961340"/>
                </a:lnTo>
                <a:close/>
                <a:moveTo>
                  <a:pt x="8854496" y="957302"/>
                </a:moveTo>
                <a:lnTo>
                  <a:pt x="8864407" y="957302"/>
                </a:lnTo>
                <a:lnTo>
                  <a:pt x="8868426" y="961340"/>
                </a:lnTo>
                <a:lnTo>
                  <a:pt x="8868426" y="971210"/>
                </a:lnTo>
                <a:lnTo>
                  <a:pt x="8864407" y="975249"/>
                </a:lnTo>
                <a:lnTo>
                  <a:pt x="8854496" y="975249"/>
                </a:lnTo>
                <a:lnTo>
                  <a:pt x="8850477" y="971210"/>
                </a:lnTo>
                <a:lnTo>
                  <a:pt x="8850477" y="961340"/>
                </a:lnTo>
                <a:close/>
                <a:moveTo>
                  <a:pt x="8615184" y="957302"/>
                </a:moveTo>
                <a:lnTo>
                  <a:pt x="8625095" y="957302"/>
                </a:lnTo>
                <a:lnTo>
                  <a:pt x="8629114" y="961340"/>
                </a:lnTo>
                <a:lnTo>
                  <a:pt x="8629114" y="971210"/>
                </a:lnTo>
                <a:lnTo>
                  <a:pt x="8625095" y="975249"/>
                </a:lnTo>
                <a:lnTo>
                  <a:pt x="8615184" y="975249"/>
                </a:lnTo>
                <a:lnTo>
                  <a:pt x="8611165" y="971210"/>
                </a:lnTo>
                <a:lnTo>
                  <a:pt x="8611165" y="961340"/>
                </a:lnTo>
                <a:close/>
                <a:moveTo>
                  <a:pt x="8375869" y="957302"/>
                </a:moveTo>
                <a:lnTo>
                  <a:pt x="8385779" y="957302"/>
                </a:lnTo>
                <a:lnTo>
                  <a:pt x="8389799" y="961340"/>
                </a:lnTo>
                <a:lnTo>
                  <a:pt x="8389799" y="971210"/>
                </a:lnTo>
                <a:lnTo>
                  <a:pt x="8385779" y="975249"/>
                </a:lnTo>
                <a:lnTo>
                  <a:pt x="8375869" y="975249"/>
                </a:lnTo>
                <a:lnTo>
                  <a:pt x="8371850" y="971210"/>
                </a:lnTo>
                <a:lnTo>
                  <a:pt x="8371850" y="961340"/>
                </a:lnTo>
                <a:close/>
                <a:moveTo>
                  <a:pt x="1918514" y="957301"/>
                </a:moveTo>
                <a:lnTo>
                  <a:pt x="1928424" y="957301"/>
                </a:lnTo>
                <a:lnTo>
                  <a:pt x="1932444" y="961339"/>
                </a:lnTo>
                <a:lnTo>
                  <a:pt x="1932444" y="971210"/>
                </a:lnTo>
                <a:lnTo>
                  <a:pt x="1928424" y="975249"/>
                </a:lnTo>
                <a:lnTo>
                  <a:pt x="1918514" y="975249"/>
                </a:lnTo>
                <a:lnTo>
                  <a:pt x="1914495" y="971210"/>
                </a:lnTo>
                <a:lnTo>
                  <a:pt x="1914495" y="961339"/>
                </a:lnTo>
                <a:close/>
                <a:moveTo>
                  <a:pt x="2157823" y="957299"/>
                </a:moveTo>
                <a:lnTo>
                  <a:pt x="2167733" y="957299"/>
                </a:lnTo>
                <a:lnTo>
                  <a:pt x="2171751" y="961337"/>
                </a:lnTo>
                <a:lnTo>
                  <a:pt x="2171751" y="971207"/>
                </a:lnTo>
                <a:lnTo>
                  <a:pt x="2167733" y="975246"/>
                </a:lnTo>
                <a:lnTo>
                  <a:pt x="2157823" y="975246"/>
                </a:lnTo>
                <a:lnTo>
                  <a:pt x="2153804" y="971207"/>
                </a:lnTo>
                <a:lnTo>
                  <a:pt x="2153804" y="961337"/>
                </a:lnTo>
                <a:close/>
                <a:moveTo>
                  <a:pt x="9572438" y="957291"/>
                </a:moveTo>
                <a:lnTo>
                  <a:pt x="9582349" y="957291"/>
                </a:lnTo>
                <a:lnTo>
                  <a:pt x="9586368" y="961329"/>
                </a:lnTo>
                <a:lnTo>
                  <a:pt x="9586368" y="971199"/>
                </a:lnTo>
                <a:lnTo>
                  <a:pt x="9582349" y="975238"/>
                </a:lnTo>
                <a:lnTo>
                  <a:pt x="9572438" y="975238"/>
                </a:lnTo>
                <a:lnTo>
                  <a:pt x="9568419" y="971199"/>
                </a:lnTo>
                <a:lnTo>
                  <a:pt x="9568419" y="961329"/>
                </a:lnTo>
                <a:close/>
                <a:moveTo>
                  <a:pt x="721974" y="957266"/>
                </a:moveTo>
                <a:lnTo>
                  <a:pt x="731884" y="957266"/>
                </a:lnTo>
                <a:lnTo>
                  <a:pt x="735903" y="961305"/>
                </a:lnTo>
                <a:lnTo>
                  <a:pt x="735903" y="971175"/>
                </a:lnTo>
                <a:lnTo>
                  <a:pt x="731884" y="975214"/>
                </a:lnTo>
                <a:lnTo>
                  <a:pt x="721974" y="975214"/>
                </a:lnTo>
                <a:lnTo>
                  <a:pt x="717956" y="971175"/>
                </a:lnTo>
                <a:lnTo>
                  <a:pt x="717956" y="961305"/>
                </a:lnTo>
                <a:close/>
                <a:moveTo>
                  <a:pt x="482662" y="957266"/>
                </a:moveTo>
                <a:lnTo>
                  <a:pt x="492572" y="957266"/>
                </a:lnTo>
                <a:lnTo>
                  <a:pt x="496591" y="961305"/>
                </a:lnTo>
                <a:lnTo>
                  <a:pt x="496591" y="971175"/>
                </a:lnTo>
                <a:lnTo>
                  <a:pt x="492572" y="975214"/>
                </a:lnTo>
                <a:lnTo>
                  <a:pt x="482662" y="975214"/>
                </a:lnTo>
                <a:lnTo>
                  <a:pt x="478643" y="971175"/>
                </a:lnTo>
                <a:lnTo>
                  <a:pt x="478643" y="961305"/>
                </a:lnTo>
                <a:close/>
                <a:moveTo>
                  <a:pt x="243349" y="957266"/>
                </a:moveTo>
                <a:lnTo>
                  <a:pt x="253259" y="957266"/>
                </a:lnTo>
                <a:lnTo>
                  <a:pt x="257278" y="961305"/>
                </a:lnTo>
                <a:lnTo>
                  <a:pt x="257278" y="971175"/>
                </a:lnTo>
                <a:lnTo>
                  <a:pt x="253259" y="975214"/>
                </a:lnTo>
                <a:lnTo>
                  <a:pt x="243349" y="975214"/>
                </a:lnTo>
                <a:lnTo>
                  <a:pt x="239330" y="971175"/>
                </a:lnTo>
                <a:lnTo>
                  <a:pt x="239330" y="961305"/>
                </a:lnTo>
                <a:close/>
                <a:moveTo>
                  <a:pt x="4036" y="957266"/>
                </a:moveTo>
                <a:lnTo>
                  <a:pt x="13946" y="957266"/>
                </a:lnTo>
                <a:lnTo>
                  <a:pt x="17965" y="961305"/>
                </a:lnTo>
                <a:lnTo>
                  <a:pt x="17965" y="971176"/>
                </a:lnTo>
                <a:lnTo>
                  <a:pt x="13946" y="975214"/>
                </a:lnTo>
                <a:lnTo>
                  <a:pt x="4036" y="975214"/>
                </a:lnTo>
                <a:lnTo>
                  <a:pt x="16" y="971176"/>
                </a:lnTo>
                <a:lnTo>
                  <a:pt x="16" y="961305"/>
                </a:lnTo>
                <a:close/>
                <a:moveTo>
                  <a:pt x="3350359" y="718040"/>
                </a:moveTo>
                <a:lnTo>
                  <a:pt x="3360268" y="718040"/>
                </a:lnTo>
                <a:lnTo>
                  <a:pt x="3364287" y="722078"/>
                </a:lnTo>
                <a:lnTo>
                  <a:pt x="3364287" y="731948"/>
                </a:lnTo>
                <a:lnTo>
                  <a:pt x="3360268" y="735987"/>
                </a:lnTo>
                <a:lnTo>
                  <a:pt x="3350359" y="735987"/>
                </a:lnTo>
                <a:lnTo>
                  <a:pt x="3346340" y="731948"/>
                </a:lnTo>
                <a:lnTo>
                  <a:pt x="3346340" y="722078"/>
                </a:lnTo>
                <a:close/>
                <a:moveTo>
                  <a:pt x="3111048" y="718040"/>
                </a:moveTo>
                <a:lnTo>
                  <a:pt x="3120959" y="718040"/>
                </a:lnTo>
                <a:lnTo>
                  <a:pt x="3124977" y="722078"/>
                </a:lnTo>
                <a:lnTo>
                  <a:pt x="3124977" y="731949"/>
                </a:lnTo>
                <a:lnTo>
                  <a:pt x="3120959" y="735987"/>
                </a:lnTo>
                <a:lnTo>
                  <a:pt x="3111048" y="735987"/>
                </a:lnTo>
                <a:lnTo>
                  <a:pt x="3107029" y="731949"/>
                </a:lnTo>
                <a:lnTo>
                  <a:pt x="3107029" y="722078"/>
                </a:lnTo>
                <a:close/>
                <a:moveTo>
                  <a:pt x="2871737" y="718040"/>
                </a:moveTo>
                <a:lnTo>
                  <a:pt x="2881646" y="718040"/>
                </a:lnTo>
                <a:lnTo>
                  <a:pt x="2885666" y="722078"/>
                </a:lnTo>
                <a:lnTo>
                  <a:pt x="2885666" y="731949"/>
                </a:lnTo>
                <a:lnTo>
                  <a:pt x="2881646" y="735987"/>
                </a:lnTo>
                <a:lnTo>
                  <a:pt x="2871737" y="735987"/>
                </a:lnTo>
                <a:lnTo>
                  <a:pt x="2867717" y="731949"/>
                </a:lnTo>
                <a:lnTo>
                  <a:pt x="2867717" y="722078"/>
                </a:lnTo>
                <a:close/>
                <a:moveTo>
                  <a:pt x="2632423" y="718040"/>
                </a:moveTo>
                <a:lnTo>
                  <a:pt x="2642334" y="718040"/>
                </a:lnTo>
                <a:lnTo>
                  <a:pt x="2646352" y="722078"/>
                </a:lnTo>
                <a:lnTo>
                  <a:pt x="2646352" y="731949"/>
                </a:lnTo>
                <a:lnTo>
                  <a:pt x="2642334" y="735988"/>
                </a:lnTo>
                <a:lnTo>
                  <a:pt x="2632423" y="735988"/>
                </a:lnTo>
                <a:lnTo>
                  <a:pt x="2628404" y="731949"/>
                </a:lnTo>
                <a:lnTo>
                  <a:pt x="2628404" y="722078"/>
                </a:lnTo>
                <a:close/>
                <a:moveTo>
                  <a:pt x="2393104" y="718040"/>
                </a:moveTo>
                <a:lnTo>
                  <a:pt x="2403015" y="718040"/>
                </a:lnTo>
                <a:lnTo>
                  <a:pt x="2407034" y="722078"/>
                </a:lnTo>
                <a:lnTo>
                  <a:pt x="2407034" y="731949"/>
                </a:lnTo>
                <a:lnTo>
                  <a:pt x="2403015" y="735988"/>
                </a:lnTo>
                <a:lnTo>
                  <a:pt x="2393104" y="735988"/>
                </a:lnTo>
                <a:lnTo>
                  <a:pt x="2389087" y="731949"/>
                </a:lnTo>
                <a:lnTo>
                  <a:pt x="2389087" y="722078"/>
                </a:lnTo>
                <a:close/>
                <a:moveTo>
                  <a:pt x="4546929" y="718028"/>
                </a:moveTo>
                <a:lnTo>
                  <a:pt x="4556840" y="718028"/>
                </a:lnTo>
                <a:lnTo>
                  <a:pt x="4560859" y="722066"/>
                </a:lnTo>
                <a:lnTo>
                  <a:pt x="4560859" y="731935"/>
                </a:lnTo>
                <a:lnTo>
                  <a:pt x="4556840" y="735975"/>
                </a:lnTo>
                <a:lnTo>
                  <a:pt x="4546929" y="735975"/>
                </a:lnTo>
                <a:lnTo>
                  <a:pt x="4542910" y="731935"/>
                </a:lnTo>
                <a:lnTo>
                  <a:pt x="4542910" y="722066"/>
                </a:lnTo>
                <a:close/>
                <a:moveTo>
                  <a:pt x="4307612" y="718028"/>
                </a:moveTo>
                <a:lnTo>
                  <a:pt x="4317523" y="718028"/>
                </a:lnTo>
                <a:lnTo>
                  <a:pt x="4321543" y="722066"/>
                </a:lnTo>
                <a:lnTo>
                  <a:pt x="4321543" y="731936"/>
                </a:lnTo>
                <a:lnTo>
                  <a:pt x="4317523" y="735975"/>
                </a:lnTo>
                <a:lnTo>
                  <a:pt x="4307612" y="735975"/>
                </a:lnTo>
                <a:lnTo>
                  <a:pt x="4303595" y="731936"/>
                </a:lnTo>
                <a:lnTo>
                  <a:pt x="4303595" y="722066"/>
                </a:lnTo>
                <a:close/>
                <a:moveTo>
                  <a:pt x="4068297" y="718028"/>
                </a:moveTo>
                <a:lnTo>
                  <a:pt x="4078210" y="718028"/>
                </a:lnTo>
                <a:lnTo>
                  <a:pt x="4082229" y="722066"/>
                </a:lnTo>
                <a:lnTo>
                  <a:pt x="4082229" y="731936"/>
                </a:lnTo>
                <a:lnTo>
                  <a:pt x="4078210" y="735975"/>
                </a:lnTo>
                <a:lnTo>
                  <a:pt x="4068297" y="735975"/>
                </a:lnTo>
                <a:lnTo>
                  <a:pt x="4064278" y="731936"/>
                </a:lnTo>
                <a:lnTo>
                  <a:pt x="4064278" y="722066"/>
                </a:lnTo>
                <a:close/>
                <a:moveTo>
                  <a:pt x="3828990" y="718028"/>
                </a:moveTo>
                <a:lnTo>
                  <a:pt x="3838899" y="718028"/>
                </a:lnTo>
                <a:lnTo>
                  <a:pt x="3842917" y="722066"/>
                </a:lnTo>
                <a:lnTo>
                  <a:pt x="3842917" y="731936"/>
                </a:lnTo>
                <a:lnTo>
                  <a:pt x="3838899" y="735975"/>
                </a:lnTo>
                <a:lnTo>
                  <a:pt x="3828990" y="735975"/>
                </a:lnTo>
                <a:lnTo>
                  <a:pt x="3824971" y="731936"/>
                </a:lnTo>
                <a:lnTo>
                  <a:pt x="3824971" y="722066"/>
                </a:lnTo>
                <a:close/>
                <a:moveTo>
                  <a:pt x="3589676" y="718028"/>
                </a:moveTo>
                <a:lnTo>
                  <a:pt x="3599585" y="718028"/>
                </a:lnTo>
                <a:lnTo>
                  <a:pt x="3603604" y="722066"/>
                </a:lnTo>
                <a:lnTo>
                  <a:pt x="3603604" y="731936"/>
                </a:lnTo>
                <a:lnTo>
                  <a:pt x="3599585" y="735975"/>
                </a:lnTo>
                <a:lnTo>
                  <a:pt x="3589676" y="735975"/>
                </a:lnTo>
                <a:lnTo>
                  <a:pt x="3585657" y="731936"/>
                </a:lnTo>
                <a:lnTo>
                  <a:pt x="3585657" y="722066"/>
                </a:lnTo>
                <a:close/>
                <a:moveTo>
                  <a:pt x="5743412" y="718015"/>
                </a:moveTo>
                <a:lnTo>
                  <a:pt x="5753323" y="718015"/>
                </a:lnTo>
                <a:lnTo>
                  <a:pt x="5757342" y="722053"/>
                </a:lnTo>
                <a:lnTo>
                  <a:pt x="5757342" y="731924"/>
                </a:lnTo>
                <a:lnTo>
                  <a:pt x="5753323" y="735963"/>
                </a:lnTo>
                <a:lnTo>
                  <a:pt x="5743412" y="735963"/>
                </a:lnTo>
                <a:lnTo>
                  <a:pt x="5739393" y="731924"/>
                </a:lnTo>
                <a:lnTo>
                  <a:pt x="5739393" y="722053"/>
                </a:lnTo>
                <a:close/>
                <a:moveTo>
                  <a:pt x="5504099" y="718015"/>
                </a:moveTo>
                <a:lnTo>
                  <a:pt x="5514010" y="718015"/>
                </a:lnTo>
                <a:lnTo>
                  <a:pt x="5518029" y="722053"/>
                </a:lnTo>
                <a:lnTo>
                  <a:pt x="5518029" y="731924"/>
                </a:lnTo>
                <a:lnTo>
                  <a:pt x="5514010" y="735963"/>
                </a:lnTo>
                <a:lnTo>
                  <a:pt x="5504099" y="735963"/>
                </a:lnTo>
                <a:lnTo>
                  <a:pt x="5500080" y="731924"/>
                </a:lnTo>
                <a:lnTo>
                  <a:pt x="5500080" y="722053"/>
                </a:lnTo>
                <a:close/>
                <a:moveTo>
                  <a:pt x="5264784" y="718015"/>
                </a:moveTo>
                <a:lnTo>
                  <a:pt x="5274694" y="718015"/>
                </a:lnTo>
                <a:lnTo>
                  <a:pt x="5278713" y="722053"/>
                </a:lnTo>
                <a:lnTo>
                  <a:pt x="5278713" y="731924"/>
                </a:lnTo>
                <a:lnTo>
                  <a:pt x="5274694" y="735963"/>
                </a:lnTo>
                <a:lnTo>
                  <a:pt x="5264784" y="735963"/>
                </a:lnTo>
                <a:lnTo>
                  <a:pt x="5260765" y="731924"/>
                </a:lnTo>
                <a:lnTo>
                  <a:pt x="5260765" y="722053"/>
                </a:lnTo>
                <a:close/>
                <a:moveTo>
                  <a:pt x="5025470" y="718015"/>
                </a:moveTo>
                <a:lnTo>
                  <a:pt x="5035381" y="718015"/>
                </a:lnTo>
                <a:lnTo>
                  <a:pt x="5039400" y="722053"/>
                </a:lnTo>
                <a:lnTo>
                  <a:pt x="5039400" y="731924"/>
                </a:lnTo>
                <a:lnTo>
                  <a:pt x="5035381" y="735963"/>
                </a:lnTo>
                <a:lnTo>
                  <a:pt x="5025470" y="735963"/>
                </a:lnTo>
                <a:lnTo>
                  <a:pt x="5021451" y="731924"/>
                </a:lnTo>
                <a:lnTo>
                  <a:pt x="5021451" y="722053"/>
                </a:lnTo>
                <a:close/>
                <a:moveTo>
                  <a:pt x="4786241" y="718015"/>
                </a:moveTo>
                <a:lnTo>
                  <a:pt x="4796152" y="718015"/>
                </a:lnTo>
                <a:lnTo>
                  <a:pt x="4800171" y="722053"/>
                </a:lnTo>
                <a:lnTo>
                  <a:pt x="4800171" y="731924"/>
                </a:lnTo>
                <a:lnTo>
                  <a:pt x="4796152" y="735963"/>
                </a:lnTo>
                <a:lnTo>
                  <a:pt x="4786241" y="735963"/>
                </a:lnTo>
                <a:lnTo>
                  <a:pt x="4782224" y="731924"/>
                </a:lnTo>
                <a:lnTo>
                  <a:pt x="4782224" y="722053"/>
                </a:lnTo>
                <a:close/>
                <a:moveTo>
                  <a:pt x="6939983" y="718003"/>
                </a:moveTo>
                <a:lnTo>
                  <a:pt x="6949894" y="718003"/>
                </a:lnTo>
                <a:lnTo>
                  <a:pt x="6953913" y="722041"/>
                </a:lnTo>
                <a:lnTo>
                  <a:pt x="6953913" y="731911"/>
                </a:lnTo>
                <a:lnTo>
                  <a:pt x="6949894" y="735950"/>
                </a:lnTo>
                <a:lnTo>
                  <a:pt x="6939983" y="735950"/>
                </a:lnTo>
                <a:lnTo>
                  <a:pt x="6935964" y="731911"/>
                </a:lnTo>
                <a:lnTo>
                  <a:pt x="6935964" y="722041"/>
                </a:lnTo>
                <a:close/>
                <a:moveTo>
                  <a:pt x="6700670" y="718003"/>
                </a:moveTo>
                <a:lnTo>
                  <a:pt x="6710581" y="718003"/>
                </a:lnTo>
                <a:lnTo>
                  <a:pt x="6714600" y="722041"/>
                </a:lnTo>
                <a:lnTo>
                  <a:pt x="6714600" y="731912"/>
                </a:lnTo>
                <a:lnTo>
                  <a:pt x="6710581" y="735950"/>
                </a:lnTo>
                <a:lnTo>
                  <a:pt x="6700670" y="735950"/>
                </a:lnTo>
                <a:lnTo>
                  <a:pt x="6696651" y="731912"/>
                </a:lnTo>
                <a:lnTo>
                  <a:pt x="6696651" y="722041"/>
                </a:lnTo>
                <a:close/>
                <a:moveTo>
                  <a:pt x="6461356" y="718003"/>
                </a:moveTo>
                <a:lnTo>
                  <a:pt x="6471266" y="718003"/>
                </a:lnTo>
                <a:lnTo>
                  <a:pt x="6475285" y="722041"/>
                </a:lnTo>
                <a:lnTo>
                  <a:pt x="6475285" y="731912"/>
                </a:lnTo>
                <a:lnTo>
                  <a:pt x="6471266" y="735950"/>
                </a:lnTo>
                <a:lnTo>
                  <a:pt x="6461356" y="735950"/>
                </a:lnTo>
                <a:lnTo>
                  <a:pt x="6457337" y="731912"/>
                </a:lnTo>
                <a:lnTo>
                  <a:pt x="6457337" y="722041"/>
                </a:lnTo>
                <a:close/>
                <a:moveTo>
                  <a:pt x="6222042" y="718003"/>
                </a:moveTo>
                <a:lnTo>
                  <a:pt x="6231952" y="718003"/>
                </a:lnTo>
                <a:lnTo>
                  <a:pt x="6235971" y="722041"/>
                </a:lnTo>
                <a:lnTo>
                  <a:pt x="6235971" y="731912"/>
                </a:lnTo>
                <a:lnTo>
                  <a:pt x="6231952" y="735951"/>
                </a:lnTo>
                <a:lnTo>
                  <a:pt x="6222042" y="735951"/>
                </a:lnTo>
                <a:lnTo>
                  <a:pt x="6218023" y="731912"/>
                </a:lnTo>
                <a:lnTo>
                  <a:pt x="6218023" y="722041"/>
                </a:lnTo>
                <a:close/>
                <a:moveTo>
                  <a:pt x="5982729" y="718003"/>
                </a:moveTo>
                <a:lnTo>
                  <a:pt x="5992639" y="718003"/>
                </a:lnTo>
                <a:lnTo>
                  <a:pt x="5996658" y="722041"/>
                </a:lnTo>
                <a:lnTo>
                  <a:pt x="5996658" y="731912"/>
                </a:lnTo>
                <a:lnTo>
                  <a:pt x="5992639" y="735951"/>
                </a:lnTo>
                <a:lnTo>
                  <a:pt x="5982729" y="735951"/>
                </a:lnTo>
                <a:lnTo>
                  <a:pt x="5978710" y="731912"/>
                </a:lnTo>
                <a:lnTo>
                  <a:pt x="5978710" y="722041"/>
                </a:lnTo>
                <a:close/>
                <a:moveTo>
                  <a:pt x="8136553" y="717990"/>
                </a:moveTo>
                <a:lnTo>
                  <a:pt x="8146464" y="717990"/>
                </a:lnTo>
                <a:lnTo>
                  <a:pt x="8150483" y="722028"/>
                </a:lnTo>
                <a:lnTo>
                  <a:pt x="8150483" y="731899"/>
                </a:lnTo>
                <a:lnTo>
                  <a:pt x="8146464" y="735938"/>
                </a:lnTo>
                <a:lnTo>
                  <a:pt x="8136553" y="735938"/>
                </a:lnTo>
                <a:lnTo>
                  <a:pt x="8132534" y="731899"/>
                </a:lnTo>
                <a:lnTo>
                  <a:pt x="8132534" y="722028"/>
                </a:lnTo>
                <a:close/>
                <a:moveTo>
                  <a:pt x="7897241" y="717990"/>
                </a:moveTo>
                <a:lnTo>
                  <a:pt x="7907151" y="717990"/>
                </a:lnTo>
                <a:lnTo>
                  <a:pt x="7911170" y="722029"/>
                </a:lnTo>
                <a:lnTo>
                  <a:pt x="7911170" y="731899"/>
                </a:lnTo>
                <a:lnTo>
                  <a:pt x="7907151" y="735938"/>
                </a:lnTo>
                <a:lnTo>
                  <a:pt x="7897241" y="735938"/>
                </a:lnTo>
                <a:lnTo>
                  <a:pt x="7893222" y="731899"/>
                </a:lnTo>
                <a:lnTo>
                  <a:pt x="7893222" y="722029"/>
                </a:lnTo>
                <a:close/>
                <a:moveTo>
                  <a:pt x="7657926" y="717990"/>
                </a:moveTo>
                <a:lnTo>
                  <a:pt x="7667836" y="717990"/>
                </a:lnTo>
                <a:lnTo>
                  <a:pt x="7671855" y="722029"/>
                </a:lnTo>
                <a:lnTo>
                  <a:pt x="7671855" y="731899"/>
                </a:lnTo>
                <a:lnTo>
                  <a:pt x="7667836" y="735938"/>
                </a:lnTo>
                <a:lnTo>
                  <a:pt x="7657926" y="735938"/>
                </a:lnTo>
                <a:lnTo>
                  <a:pt x="7653906" y="731899"/>
                </a:lnTo>
                <a:lnTo>
                  <a:pt x="7653906" y="722029"/>
                </a:lnTo>
                <a:close/>
                <a:moveTo>
                  <a:pt x="7418611" y="717990"/>
                </a:moveTo>
                <a:lnTo>
                  <a:pt x="7428521" y="717990"/>
                </a:lnTo>
                <a:lnTo>
                  <a:pt x="7432540" y="722029"/>
                </a:lnTo>
                <a:lnTo>
                  <a:pt x="7432540" y="731899"/>
                </a:lnTo>
                <a:lnTo>
                  <a:pt x="7428521" y="735938"/>
                </a:lnTo>
                <a:lnTo>
                  <a:pt x="7418611" y="735938"/>
                </a:lnTo>
                <a:lnTo>
                  <a:pt x="7414592" y="731899"/>
                </a:lnTo>
                <a:lnTo>
                  <a:pt x="7414592" y="722029"/>
                </a:lnTo>
                <a:close/>
                <a:moveTo>
                  <a:pt x="7179298" y="717990"/>
                </a:moveTo>
                <a:lnTo>
                  <a:pt x="7189209" y="717990"/>
                </a:lnTo>
                <a:lnTo>
                  <a:pt x="7193228" y="722029"/>
                </a:lnTo>
                <a:lnTo>
                  <a:pt x="7193228" y="731899"/>
                </a:lnTo>
                <a:lnTo>
                  <a:pt x="7189209" y="735938"/>
                </a:lnTo>
                <a:lnTo>
                  <a:pt x="7179298" y="735938"/>
                </a:lnTo>
                <a:lnTo>
                  <a:pt x="7175279" y="731899"/>
                </a:lnTo>
                <a:lnTo>
                  <a:pt x="7175279" y="722029"/>
                </a:lnTo>
                <a:close/>
                <a:moveTo>
                  <a:pt x="961272" y="717980"/>
                </a:moveTo>
                <a:lnTo>
                  <a:pt x="971182" y="717980"/>
                </a:lnTo>
                <a:lnTo>
                  <a:pt x="975202" y="722018"/>
                </a:lnTo>
                <a:lnTo>
                  <a:pt x="975202" y="731889"/>
                </a:lnTo>
                <a:lnTo>
                  <a:pt x="971182" y="735928"/>
                </a:lnTo>
                <a:lnTo>
                  <a:pt x="961272" y="735928"/>
                </a:lnTo>
                <a:lnTo>
                  <a:pt x="957254" y="731889"/>
                </a:lnTo>
                <a:lnTo>
                  <a:pt x="957254" y="722018"/>
                </a:lnTo>
                <a:close/>
                <a:moveTo>
                  <a:pt x="1679219" y="717979"/>
                </a:moveTo>
                <a:lnTo>
                  <a:pt x="1689128" y="717979"/>
                </a:lnTo>
                <a:lnTo>
                  <a:pt x="1693149" y="722018"/>
                </a:lnTo>
                <a:lnTo>
                  <a:pt x="1693149" y="731889"/>
                </a:lnTo>
                <a:lnTo>
                  <a:pt x="1689128" y="735927"/>
                </a:lnTo>
                <a:lnTo>
                  <a:pt x="1679219" y="735927"/>
                </a:lnTo>
                <a:lnTo>
                  <a:pt x="1675200" y="731889"/>
                </a:lnTo>
                <a:lnTo>
                  <a:pt x="1675200" y="722018"/>
                </a:lnTo>
                <a:close/>
                <a:moveTo>
                  <a:pt x="1439901" y="717979"/>
                </a:moveTo>
                <a:lnTo>
                  <a:pt x="1449811" y="717979"/>
                </a:lnTo>
                <a:lnTo>
                  <a:pt x="1453831" y="722018"/>
                </a:lnTo>
                <a:lnTo>
                  <a:pt x="1453831" y="731889"/>
                </a:lnTo>
                <a:lnTo>
                  <a:pt x="1449811" y="735927"/>
                </a:lnTo>
                <a:lnTo>
                  <a:pt x="1439901" y="735927"/>
                </a:lnTo>
                <a:lnTo>
                  <a:pt x="1435883" y="731889"/>
                </a:lnTo>
                <a:lnTo>
                  <a:pt x="1435883" y="722018"/>
                </a:lnTo>
                <a:close/>
                <a:moveTo>
                  <a:pt x="1200585" y="717979"/>
                </a:moveTo>
                <a:lnTo>
                  <a:pt x="1210495" y="717979"/>
                </a:lnTo>
                <a:lnTo>
                  <a:pt x="1214513" y="722018"/>
                </a:lnTo>
                <a:lnTo>
                  <a:pt x="1214513" y="731889"/>
                </a:lnTo>
                <a:lnTo>
                  <a:pt x="1210495" y="735927"/>
                </a:lnTo>
                <a:lnTo>
                  <a:pt x="1200585" y="735927"/>
                </a:lnTo>
                <a:lnTo>
                  <a:pt x="1196566" y="731889"/>
                </a:lnTo>
                <a:lnTo>
                  <a:pt x="1196566" y="722018"/>
                </a:lnTo>
                <a:close/>
                <a:moveTo>
                  <a:pt x="9333125" y="717978"/>
                </a:moveTo>
                <a:lnTo>
                  <a:pt x="9343036" y="717978"/>
                </a:lnTo>
                <a:lnTo>
                  <a:pt x="9347055" y="722016"/>
                </a:lnTo>
                <a:lnTo>
                  <a:pt x="9347055" y="731887"/>
                </a:lnTo>
                <a:lnTo>
                  <a:pt x="9343036" y="735926"/>
                </a:lnTo>
                <a:lnTo>
                  <a:pt x="9333125" y="735926"/>
                </a:lnTo>
                <a:lnTo>
                  <a:pt x="9329106" y="731887"/>
                </a:lnTo>
                <a:lnTo>
                  <a:pt x="9329106" y="722016"/>
                </a:lnTo>
                <a:close/>
                <a:moveTo>
                  <a:pt x="9093811" y="717978"/>
                </a:moveTo>
                <a:lnTo>
                  <a:pt x="9103722" y="717978"/>
                </a:lnTo>
                <a:lnTo>
                  <a:pt x="9107741" y="722016"/>
                </a:lnTo>
                <a:lnTo>
                  <a:pt x="9107741" y="731887"/>
                </a:lnTo>
                <a:lnTo>
                  <a:pt x="9103722" y="735926"/>
                </a:lnTo>
                <a:lnTo>
                  <a:pt x="9093811" y="735926"/>
                </a:lnTo>
                <a:lnTo>
                  <a:pt x="9089792" y="731887"/>
                </a:lnTo>
                <a:lnTo>
                  <a:pt x="9089792" y="722016"/>
                </a:lnTo>
                <a:close/>
                <a:moveTo>
                  <a:pt x="8854496" y="717978"/>
                </a:moveTo>
                <a:lnTo>
                  <a:pt x="8864407" y="717978"/>
                </a:lnTo>
                <a:lnTo>
                  <a:pt x="8868426" y="722016"/>
                </a:lnTo>
                <a:lnTo>
                  <a:pt x="8868426" y="731887"/>
                </a:lnTo>
                <a:lnTo>
                  <a:pt x="8864407" y="735926"/>
                </a:lnTo>
                <a:lnTo>
                  <a:pt x="8854496" y="735926"/>
                </a:lnTo>
                <a:lnTo>
                  <a:pt x="8850477" y="731887"/>
                </a:lnTo>
                <a:lnTo>
                  <a:pt x="8850477" y="722016"/>
                </a:lnTo>
                <a:close/>
                <a:moveTo>
                  <a:pt x="8615184" y="717978"/>
                </a:moveTo>
                <a:lnTo>
                  <a:pt x="8625095" y="717978"/>
                </a:lnTo>
                <a:lnTo>
                  <a:pt x="8629114" y="722016"/>
                </a:lnTo>
                <a:lnTo>
                  <a:pt x="8629114" y="731887"/>
                </a:lnTo>
                <a:lnTo>
                  <a:pt x="8625095" y="735926"/>
                </a:lnTo>
                <a:lnTo>
                  <a:pt x="8615184" y="735926"/>
                </a:lnTo>
                <a:lnTo>
                  <a:pt x="8611165" y="731887"/>
                </a:lnTo>
                <a:lnTo>
                  <a:pt x="8611165" y="722016"/>
                </a:lnTo>
                <a:close/>
                <a:moveTo>
                  <a:pt x="8375869" y="717978"/>
                </a:moveTo>
                <a:lnTo>
                  <a:pt x="8385779" y="717978"/>
                </a:lnTo>
                <a:lnTo>
                  <a:pt x="8389799" y="722016"/>
                </a:lnTo>
                <a:lnTo>
                  <a:pt x="8389799" y="731887"/>
                </a:lnTo>
                <a:lnTo>
                  <a:pt x="8385779" y="735926"/>
                </a:lnTo>
                <a:lnTo>
                  <a:pt x="8375869" y="735926"/>
                </a:lnTo>
                <a:lnTo>
                  <a:pt x="8371850" y="731887"/>
                </a:lnTo>
                <a:lnTo>
                  <a:pt x="8371850" y="722016"/>
                </a:lnTo>
                <a:close/>
                <a:moveTo>
                  <a:pt x="1918514" y="717970"/>
                </a:moveTo>
                <a:lnTo>
                  <a:pt x="1928424" y="717970"/>
                </a:lnTo>
                <a:lnTo>
                  <a:pt x="1932444" y="722009"/>
                </a:lnTo>
                <a:lnTo>
                  <a:pt x="1932444" y="731879"/>
                </a:lnTo>
                <a:lnTo>
                  <a:pt x="1928424" y="735918"/>
                </a:lnTo>
                <a:lnTo>
                  <a:pt x="1918514" y="735918"/>
                </a:lnTo>
                <a:lnTo>
                  <a:pt x="1914495" y="731879"/>
                </a:lnTo>
                <a:lnTo>
                  <a:pt x="1914495" y="722009"/>
                </a:lnTo>
                <a:close/>
                <a:moveTo>
                  <a:pt x="2157823" y="717968"/>
                </a:moveTo>
                <a:lnTo>
                  <a:pt x="2167733" y="717968"/>
                </a:lnTo>
                <a:lnTo>
                  <a:pt x="2171753" y="722006"/>
                </a:lnTo>
                <a:lnTo>
                  <a:pt x="2171753" y="731877"/>
                </a:lnTo>
                <a:lnTo>
                  <a:pt x="2167733" y="735916"/>
                </a:lnTo>
                <a:lnTo>
                  <a:pt x="2157823" y="735916"/>
                </a:lnTo>
                <a:lnTo>
                  <a:pt x="2153804" y="731877"/>
                </a:lnTo>
                <a:lnTo>
                  <a:pt x="2153804" y="722006"/>
                </a:lnTo>
                <a:close/>
                <a:moveTo>
                  <a:pt x="9572438" y="717966"/>
                </a:moveTo>
                <a:lnTo>
                  <a:pt x="9582349" y="717966"/>
                </a:lnTo>
                <a:lnTo>
                  <a:pt x="9586368" y="722004"/>
                </a:lnTo>
                <a:lnTo>
                  <a:pt x="9586368" y="731875"/>
                </a:lnTo>
                <a:lnTo>
                  <a:pt x="9582349" y="735914"/>
                </a:lnTo>
                <a:lnTo>
                  <a:pt x="9572438" y="735914"/>
                </a:lnTo>
                <a:lnTo>
                  <a:pt x="9568419" y="731875"/>
                </a:lnTo>
                <a:lnTo>
                  <a:pt x="9568419" y="722004"/>
                </a:lnTo>
                <a:close/>
                <a:moveTo>
                  <a:pt x="243349" y="717939"/>
                </a:moveTo>
                <a:lnTo>
                  <a:pt x="253260" y="717939"/>
                </a:lnTo>
                <a:lnTo>
                  <a:pt x="257279" y="721977"/>
                </a:lnTo>
                <a:lnTo>
                  <a:pt x="257279" y="731847"/>
                </a:lnTo>
                <a:lnTo>
                  <a:pt x="253260" y="735886"/>
                </a:lnTo>
                <a:lnTo>
                  <a:pt x="243349" y="735886"/>
                </a:lnTo>
                <a:lnTo>
                  <a:pt x="239330" y="731847"/>
                </a:lnTo>
                <a:lnTo>
                  <a:pt x="239330" y="721977"/>
                </a:lnTo>
                <a:close/>
                <a:moveTo>
                  <a:pt x="4036" y="717939"/>
                </a:moveTo>
                <a:lnTo>
                  <a:pt x="13947" y="717939"/>
                </a:lnTo>
                <a:lnTo>
                  <a:pt x="17965" y="721978"/>
                </a:lnTo>
                <a:lnTo>
                  <a:pt x="17965" y="731848"/>
                </a:lnTo>
                <a:lnTo>
                  <a:pt x="13947" y="735886"/>
                </a:lnTo>
                <a:lnTo>
                  <a:pt x="4036" y="735886"/>
                </a:lnTo>
                <a:lnTo>
                  <a:pt x="17" y="731848"/>
                </a:lnTo>
                <a:lnTo>
                  <a:pt x="17" y="721978"/>
                </a:lnTo>
                <a:close/>
                <a:moveTo>
                  <a:pt x="721975" y="717939"/>
                </a:moveTo>
                <a:lnTo>
                  <a:pt x="731885" y="717939"/>
                </a:lnTo>
                <a:lnTo>
                  <a:pt x="735904" y="721977"/>
                </a:lnTo>
                <a:lnTo>
                  <a:pt x="735904" y="731847"/>
                </a:lnTo>
                <a:lnTo>
                  <a:pt x="731885" y="735886"/>
                </a:lnTo>
                <a:lnTo>
                  <a:pt x="721975" y="735886"/>
                </a:lnTo>
                <a:lnTo>
                  <a:pt x="717956" y="731847"/>
                </a:lnTo>
                <a:lnTo>
                  <a:pt x="717956" y="721977"/>
                </a:lnTo>
                <a:close/>
                <a:moveTo>
                  <a:pt x="482663" y="717939"/>
                </a:moveTo>
                <a:lnTo>
                  <a:pt x="492573" y="717939"/>
                </a:lnTo>
                <a:lnTo>
                  <a:pt x="496593" y="721977"/>
                </a:lnTo>
                <a:lnTo>
                  <a:pt x="496593" y="731847"/>
                </a:lnTo>
                <a:lnTo>
                  <a:pt x="492573" y="735886"/>
                </a:lnTo>
                <a:lnTo>
                  <a:pt x="482663" y="735886"/>
                </a:lnTo>
                <a:lnTo>
                  <a:pt x="478643" y="731847"/>
                </a:lnTo>
                <a:lnTo>
                  <a:pt x="478643" y="721977"/>
                </a:lnTo>
                <a:close/>
                <a:moveTo>
                  <a:pt x="3350359" y="478760"/>
                </a:moveTo>
                <a:lnTo>
                  <a:pt x="3360268" y="478760"/>
                </a:lnTo>
                <a:lnTo>
                  <a:pt x="3364287" y="482801"/>
                </a:lnTo>
                <a:lnTo>
                  <a:pt x="3364287" y="492670"/>
                </a:lnTo>
                <a:lnTo>
                  <a:pt x="3360268" y="496707"/>
                </a:lnTo>
                <a:lnTo>
                  <a:pt x="3350359" y="496707"/>
                </a:lnTo>
                <a:lnTo>
                  <a:pt x="3346340" y="492670"/>
                </a:lnTo>
                <a:lnTo>
                  <a:pt x="3346340" y="482801"/>
                </a:lnTo>
                <a:close/>
                <a:moveTo>
                  <a:pt x="3111048" y="478760"/>
                </a:moveTo>
                <a:lnTo>
                  <a:pt x="3120959" y="478760"/>
                </a:lnTo>
                <a:lnTo>
                  <a:pt x="3124977" y="482801"/>
                </a:lnTo>
                <a:lnTo>
                  <a:pt x="3124977" y="492670"/>
                </a:lnTo>
                <a:lnTo>
                  <a:pt x="3120959" y="496707"/>
                </a:lnTo>
                <a:lnTo>
                  <a:pt x="3111048" y="496707"/>
                </a:lnTo>
                <a:lnTo>
                  <a:pt x="3107029" y="492670"/>
                </a:lnTo>
                <a:lnTo>
                  <a:pt x="3107029" y="482801"/>
                </a:lnTo>
                <a:close/>
                <a:moveTo>
                  <a:pt x="2871737" y="478760"/>
                </a:moveTo>
                <a:lnTo>
                  <a:pt x="2881646" y="478760"/>
                </a:lnTo>
                <a:lnTo>
                  <a:pt x="2885666" y="482801"/>
                </a:lnTo>
                <a:lnTo>
                  <a:pt x="2885666" y="492670"/>
                </a:lnTo>
                <a:lnTo>
                  <a:pt x="2881646" y="496707"/>
                </a:lnTo>
                <a:lnTo>
                  <a:pt x="2871737" y="496707"/>
                </a:lnTo>
                <a:lnTo>
                  <a:pt x="2867717" y="492670"/>
                </a:lnTo>
                <a:lnTo>
                  <a:pt x="2867717" y="482801"/>
                </a:lnTo>
                <a:close/>
                <a:moveTo>
                  <a:pt x="2632423" y="478760"/>
                </a:moveTo>
                <a:lnTo>
                  <a:pt x="2642334" y="478760"/>
                </a:lnTo>
                <a:lnTo>
                  <a:pt x="2646352" y="482801"/>
                </a:lnTo>
                <a:lnTo>
                  <a:pt x="2646352" y="492670"/>
                </a:lnTo>
                <a:lnTo>
                  <a:pt x="2642334" y="496707"/>
                </a:lnTo>
                <a:lnTo>
                  <a:pt x="2632423" y="496707"/>
                </a:lnTo>
                <a:lnTo>
                  <a:pt x="2628404" y="492670"/>
                </a:lnTo>
                <a:lnTo>
                  <a:pt x="2628404" y="482801"/>
                </a:lnTo>
                <a:close/>
                <a:moveTo>
                  <a:pt x="2393104" y="478760"/>
                </a:moveTo>
                <a:lnTo>
                  <a:pt x="2403015" y="478760"/>
                </a:lnTo>
                <a:lnTo>
                  <a:pt x="2407034" y="482801"/>
                </a:lnTo>
                <a:lnTo>
                  <a:pt x="2407034" y="492670"/>
                </a:lnTo>
                <a:lnTo>
                  <a:pt x="2403015" y="496707"/>
                </a:lnTo>
                <a:lnTo>
                  <a:pt x="2393104" y="496707"/>
                </a:lnTo>
                <a:lnTo>
                  <a:pt x="2389087" y="492670"/>
                </a:lnTo>
                <a:lnTo>
                  <a:pt x="2389087" y="482801"/>
                </a:lnTo>
                <a:close/>
                <a:moveTo>
                  <a:pt x="4546929" y="478748"/>
                </a:moveTo>
                <a:lnTo>
                  <a:pt x="4556840" y="478748"/>
                </a:lnTo>
                <a:lnTo>
                  <a:pt x="4560859" y="482789"/>
                </a:lnTo>
                <a:lnTo>
                  <a:pt x="4560859" y="492657"/>
                </a:lnTo>
                <a:lnTo>
                  <a:pt x="4556840" y="496695"/>
                </a:lnTo>
                <a:lnTo>
                  <a:pt x="4546929" y="496695"/>
                </a:lnTo>
                <a:lnTo>
                  <a:pt x="4542910" y="492657"/>
                </a:lnTo>
                <a:lnTo>
                  <a:pt x="4542910" y="482789"/>
                </a:lnTo>
                <a:close/>
                <a:moveTo>
                  <a:pt x="4307612" y="478748"/>
                </a:moveTo>
                <a:lnTo>
                  <a:pt x="4317523" y="478748"/>
                </a:lnTo>
                <a:lnTo>
                  <a:pt x="4321543" y="482789"/>
                </a:lnTo>
                <a:lnTo>
                  <a:pt x="4321543" y="492657"/>
                </a:lnTo>
                <a:lnTo>
                  <a:pt x="4317523" y="496695"/>
                </a:lnTo>
                <a:lnTo>
                  <a:pt x="4307612" y="496695"/>
                </a:lnTo>
                <a:lnTo>
                  <a:pt x="4303595" y="492657"/>
                </a:lnTo>
                <a:lnTo>
                  <a:pt x="4303595" y="482789"/>
                </a:lnTo>
                <a:close/>
                <a:moveTo>
                  <a:pt x="4068297" y="478748"/>
                </a:moveTo>
                <a:lnTo>
                  <a:pt x="4078210" y="478748"/>
                </a:lnTo>
                <a:lnTo>
                  <a:pt x="4082229" y="482789"/>
                </a:lnTo>
                <a:lnTo>
                  <a:pt x="4082229" y="492657"/>
                </a:lnTo>
                <a:lnTo>
                  <a:pt x="4078210" y="496695"/>
                </a:lnTo>
                <a:lnTo>
                  <a:pt x="4068297" y="496695"/>
                </a:lnTo>
                <a:lnTo>
                  <a:pt x="4064278" y="492657"/>
                </a:lnTo>
                <a:lnTo>
                  <a:pt x="4064278" y="482789"/>
                </a:lnTo>
                <a:close/>
                <a:moveTo>
                  <a:pt x="3828990" y="478748"/>
                </a:moveTo>
                <a:lnTo>
                  <a:pt x="3838899" y="478748"/>
                </a:lnTo>
                <a:lnTo>
                  <a:pt x="3842917" y="482789"/>
                </a:lnTo>
                <a:lnTo>
                  <a:pt x="3842917" y="492657"/>
                </a:lnTo>
                <a:lnTo>
                  <a:pt x="3838899" y="496695"/>
                </a:lnTo>
                <a:lnTo>
                  <a:pt x="3828990" y="496695"/>
                </a:lnTo>
                <a:lnTo>
                  <a:pt x="3824971" y="492657"/>
                </a:lnTo>
                <a:lnTo>
                  <a:pt x="3824971" y="482789"/>
                </a:lnTo>
                <a:close/>
                <a:moveTo>
                  <a:pt x="3589676" y="478748"/>
                </a:moveTo>
                <a:lnTo>
                  <a:pt x="3599585" y="478748"/>
                </a:lnTo>
                <a:lnTo>
                  <a:pt x="3603604" y="482789"/>
                </a:lnTo>
                <a:lnTo>
                  <a:pt x="3603604" y="492657"/>
                </a:lnTo>
                <a:lnTo>
                  <a:pt x="3599585" y="496695"/>
                </a:lnTo>
                <a:lnTo>
                  <a:pt x="3589676" y="496695"/>
                </a:lnTo>
                <a:lnTo>
                  <a:pt x="3585657" y="492657"/>
                </a:lnTo>
                <a:lnTo>
                  <a:pt x="3585657" y="482789"/>
                </a:lnTo>
                <a:close/>
                <a:moveTo>
                  <a:pt x="5743412" y="478736"/>
                </a:moveTo>
                <a:lnTo>
                  <a:pt x="5753323" y="478736"/>
                </a:lnTo>
                <a:lnTo>
                  <a:pt x="5757342" y="482776"/>
                </a:lnTo>
                <a:lnTo>
                  <a:pt x="5757342" y="492645"/>
                </a:lnTo>
                <a:lnTo>
                  <a:pt x="5753323" y="496683"/>
                </a:lnTo>
                <a:lnTo>
                  <a:pt x="5743412" y="496683"/>
                </a:lnTo>
                <a:lnTo>
                  <a:pt x="5739393" y="492645"/>
                </a:lnTo>
                <a:lnTo>
                  <a:pt x="5739393" y="482776"/>
                </a:lnTo>
                <a:close/>
                <a:moveTo>
                  <a:pt x="5504099" y="478736"/>
                </a:moveTo>
                <a:lnTo>
                  <a:pt x="5514010" y="478736"/>
                </a:lnTo>
                <a:lnTo>
                  <a:pt x="5518029" y="482776"/>
                </a:lnTo>
                <a:lnTo>
                  <a:pt x="5518029" y="492645"/>
                </a:lnTo>
                <a:lnTo>
                  <a:pt x="5514010" y="496683"/>
                </a:lnTo>
                <a:lnTo>
                  <a:pt x="5504099" y="496683"/>
                </a:lnTo>
                <a:lnTo>
                  <a:pt x="5500080" y="492645"/>
                </a:lnTo>
                <a:lnTo>
                  <a:pt x="5500080" y="482776"/>
                </a:lnTo>
                <a:close/>
                <a:moveTo>
                  <a:pt x="5264784" y="478736"/>
                </a:moveTo>
                <a:lnTo>
                  <a:pt x="5274694" y="478736"/>
                </a:lnTo>
                <a:lnTo>
                  <a:pt x="5278713" y="482776"/>
                </a:lnTo>
                <a:lnTo>
                  <a:pt x="5278713" y="492645"/>
                </a:lnTo>
                <a:lnTo>
                  <a:pt x="5274694" y="496683"/>
                </a:lnTo>
                <a:lnTo>
                  <a:pt x="5264784" y="496683"/>
                </a:lnTo>
                <a:lnTo>
                  <a:pt x="5260765" y="492645"/>
                </a:lnTo>
                <a:lnTo>
                  <a:pt x="5260765" y="482776"/>
                </a:lnTo>
                <a:close/>
                <a:moveTo>
                  <a:pt x="5025470" y="478736"/>
                </a:moveTo>
                <a:lnTo>
                  <a:pt x="5035381" y="478736"/>
                </a:lnTo>
                <a:lnTo>
                  <a:pt x="5039400" y="482776"/>
                </a:lnTo>
                <a:lnTo>
                  <a:pt x="5039400" y="492645"/>
                </a:lnTo>
                <a:lnTo>
                  <a:pt x="5035381" y="496683"/>
                </a:lnTo>
                <a:lnTo>
                  <a:pt x="5025470" y="496683"/>
                </a:lnTo>
                <a:lnTo>
                  <a:pt x="5021451" y="492645"/>
                </a:lnTo>
                <a:lnTo>
                  <a:pt x="5021451" y="482776"/>
                </a:lnTo>
                <a:close/>
                <a:moveTo>
                  <a:pt x="4786241" y="478736"/>
                </a:moveTo>
                <a:lnTo>
                  <a:pt x="4796152" y="478736"/>
                </a:lnTo>
                <a:lnTo>
                  <a:pt x="4800171" y="482776"/>
                </a:lnTo>
                <a:lnTo>
                  <a:pt x="4800171" y="492645"/>
                </a:lnTo>
                <a:lnTo>
                  <a:pt x="4796152" y="496683"/>
                </a:lnTo>
                <a:lnTo>
                  <a:pt x="4786241" y="496683"/>
                </a:lnTo>
                <a:lnTo>
                  <a:pt x="4782224" y="492645"/>
                </a:lnTo>
                <a:lnTo>
                  <a:pt x="4782224" y="482776"/>
                </a:lnTo>
                <a:close/>
                <a:moveTo>
                  <a:pt x="6939983" y="478724"/>
                </a:moveTo>
                <a:lnTo>
                  <a:pt x="6949894" y="478724"/>
                </a:lnTo>
                <a:lnTo>
                  <a:pt x="6953913" y="482764"/>
                </a:lnTo>
                <a:lnTo>
                  <a:pt x="6953913" y="492633"/>
                </a:lnTo>
                <a:lnTo>
                  <a:pt x="6949894" y="496671"/>
                </a:lnTo>
                <a:lnTo>
                  <a:pt x="6939983" y="496671"/>
                </a:lnTo>
                <a:lnTo>
                  <a:pt x="6935964" y="492633"/>
                </a:lnTo>
                <a:lnTo>
                  <a:pt x="6935964" y="482764"/>
                </a:lnTo>
                <a:close/>
                <a:moveTo>
                  <a:pt x="6700670" y="478724"/>
                </a:moveTo>
                <a:lnTo>
                  <a:pt x="6710581" y="478724"/>
                </a:lnTo>
                <a:lnTo>
                  <a:pt x="6714600" y="482764"/>
                </a:lnTo>
                <a:lnTo>
                  <a:pt x="6714600" y="492633"/>
                </a:lnTo>
                <a:lnTo>
                  <a:pt x="6710581" y="496671"/>
                </a:lnTo>
                <a:lnTo>
                  <a:pt x="6700670" y="496671"/>
                </a:lnTo>
                <a:lnTo>
                  <a:pt x="6696651" y="492633"/>
                </a:lnTo>
                <a:lnTo>
                  <a:pt x="6696651" y="482764"/>
                </a:lnTo>
                <a:close/>
                <a:moveTo>
                  <a:pt x="6461356" y="478724"/>
                </a:moveTo>
                <a:lnTo>
                  <a:pt x="6471266" y="478724"/>
                </a:lnTo>
                <a:lnTo>
                  <a:pt x="6475285" y="482764"/>
                </a:lnTo>
                <a:lnTo>
                  <a:pt x="6475285" y="492633"/>
                </a:lnTo>
                <a:lnTo>
                  <a:pt x="6471266" y="496671"/>
                </a:lnTo>
                <a:lnTo>
                  <a:pt x="6461356" y="496671"/>
                </a:lnTo>
                <a:lnTo>
                  <a:pt x="6457337" y="492633"/>
                </a:lnTo>
                <a:lnTo>
                  <a:pt x="6457337" y="482764"/>
                </a:lnTo>
                <a:close/>
                <a:moveTo>
                  <a:pt x="6222042" y="478724"/>
                </a:moveTo>
                <a:lnTo>
                  <a:pt x="6231952" y="478724"/>
                </a:lnTo>
                <a:lnTo>
                  <a:pt x="6235971" y="482764"/>
                </a:lnTo>
                <a:lnTo>
                  <a:pt x="6235971" y="492633"/>
                </a:lnTo>
                <a:lnTo>
                  <a:pt x="6231952" y="496671"/>
                </a:lnTo>
                <a:lnTo>
                  <a:pt x="6222042" y="496671"/>
                </a:lnTo>
                <a:lnTo>
                  <a:pt x="6218023" y="492633"/>
                </a:lnTo>
                <a:lnTo>
                  <a:pt x="6218023" y="482764"/>
                </a:lnTo>
                <a:close/>
                <a:moveTo>
                  <a:pt x="5982729" y="478724"/>
                </a:moveTo>
                <a:lnTo>
                  <a:pt x="5992639" y="478724"/>
                </a:lnTo>
                <a:lnTo>
                  <a:pt x="5996658" y="482764"/>
                </a:lnTo>
                <a:lnTo>
                  <a:pt x="5996658" y="492633"/>
                </a:lnTo>
                <a:lnTo>
                  <a:pt x="5992639" y="496671"/>
                </a:lnTo>
                <a:lnTo>
                  <a:pt x="5982729" y="496671"/>
                </a:lnTo>
                <a:lnTo>
                  <a:pt x="5978710" y="492633"/>
                </a:lnTo>
                <a:lnTo>
                  <a:pt x="5978710" y="482764"/>
                </a:lnTo>
                <a:close/>
                <a:moveTo>
                  <a:pt x="7897241" y="478712"/>
                </a:moveTo>
                <a:lnTo>
                  <a:pt x="7907151" y="478712"/>
                </a:lnTo>
                <a:lnTo>
                  <a:pt x="7911170" y="482751"/>
                </a:lnTo>
                <a:lnTo>
                  <a:pt x="7911170" y="492620"/>
                </a:lnTo>
                <a:lnTo>
                  <a:pt x="7907151" y="496658"/>
                </a:lnTo>
                <a:lnTo>
                  <a:pt x="7897241" y="496658"/>
                </a:lnTo>
                <a:lnTo>
                  <a:pt x="7893222" y="492620"/>
                </a:lnTo>
                <a:lnTo>
                  <a:pt x="7893222" y="482751"/>
                </a:lnTo>
                <a:close/>
                <a:moveTo>
                  <a:pt x="7657926" y="478712"/>
                </a:moveTo>
                <a:lnTo>
                  <a:pt x="7667836" y="478712"/>
                </a:lnTo>
                <a:lnTo>
                  <a:pt x="7671855" y="482751"/>
                </a:lnTo>
                <a:lnTo>
                  <a:pt x="7671855" y="492620"/>
                </a:lnTo>
                <a:lnTo>
                  <a:pt x="7667836" y="496659"/>
                </a:lnTo>
                <a:lnTo>
                  <a:pt x="7657926" y="496659"/>
                </a:lnTo>
                <a:lnTo>
                  <a:pt x="7653906" y="492620"/>
                </a:lnTo>
                <a:lnTo>
                  <a:pt x="7653906" y="482751"/>
                </a:lnTo>
                <a:close/>
                <a:moveTo>
                  <a:pt x="7418611" y="478712"/>
                </a:moveTo>
                <a:lnTo>
                  <a:pt x="7428521" y="478712"/>
                </a:lnTo>
                <a:lnTo>
                  <a:pt x="7432540" y="482751"/>
                </a:lnTo>
                <a:lnTo>
                  <a:pt x="7432540" y="492620"/>
                </a:lnTo>
                <a:lnTo>
                  <a:pt x="7428521" y="496659"/>
                </a:lnTo>
                <a:lnTo>
                  <a:pt x="7418611" y="496659"/>
                </a:lnTo>
                <a:lnTo>
                  <a:pt x="7414592" y="492620"/>
                </a:lnTo>
                <a:lnTo>
                  <a:pt x="7414592" y="482751"/>
                </a:lnTo>
                <a:close/>
                <a:moveTo>
                  <a:pt x="7179298" y="478712"/>
                </a:moveTo>
                <a:lnTo>
                  <a:pt x="7189209" y="478712"/>
                </a:lnTo>
                <a:lnTo>
                  <a:pt x="7193228" y="482751"/>
                </a:lnTo>
                <a:lnTo>
                  <a:pt x="7193228" y="492620"/>
                </a:lnTo>
                <a:lnTo>
                  <a:pt x="7189209" y="496659"/>
                </a:lnTo>
                <a:lnTo>
                  <a:pt x="7179298" y="496659"/>
                </a:lnTo>
                <a:lnTo>
                  <a:pt x="7175279" y="492620"/>
                </a:lnTo>
                <a:lnTo>
                  <a:pt x="7175279" y="482751"/>
                </a:lnTo>
                <a:close/>
                <a:moveTo>
                  <a:pt x="8136553" y="478711"/>
                </a:moveTo>
                <a:lnTo>
                  <a:pt x="8146464" y="478711"/>
                </a:lnTo>
                <a:lnTo>
                  <a:pt x="8150483" y="482751"/>
                </a:lnTo>
                <a:lnTo>
                  <a:pt x="8150483" y="492620"/>
                </a:lnTo>
                <a:lnTo>
                  <a:pt x="8146464" y="496658"/>
                </a:lnTo>
                <a:lnTo>
                  <a:pt x="8136553" y="496658"/>
                </a:lnTo>
                <a:lnTo>
                  <a:pt x="8132534" y="492620"/>
                </a:lnTo>
                <a:lnTo>
                  <a:pt x="8132534" y="482751"/>
                </a:lnTo>
                <a:close/>
                <a:moveTo>
                  <a:pt x="9093811" y="478699"/>
                </a:moveTo>
                <a:lnTo>
                  <a:pt x="9103722" y="478699"/>
                </a:lnTo>
                <a:lnTo>
                  <a:pt x="9107741" y="482738"/>
                </a:lnTo>
                <a:lnTo>
                  <a:pt x="9107741" y="492608"/>
                </a:lnTo>
                <a:lnTo>
                  <a:pt x="9103722" y="496646"/>
                </a:lnTo>
                <a:lnTo>
                  <a:pt x="9093811" y="496646"/>
                </a:lnTo>
                <a:lnTo>
                  <a:pt x="9089792" y="492608"/>
                </a:lnTo>
                <a:lnTo>
                  <a:pt x="9089792" y="482738"/>
                </a:lnTo>
                <a:close/>
                <a:moveTo>
                  <a:pt x="8854496" y="478699"/>
                </a:moveTo>
                <a:lnTo>
                  <a:pt x="8864407" y="478699"/>
                </a:lnTo>
                <a:lnTo>
                  <a:pt x="8868426" y="482738"/>
                </a:lnTo>
                <a:lnTo>
                  <a:pt x="8868426" y="492608"/>
                </a:lnTo>
                <a:lnTo>
                  <a:pt x="8864407" y="496647"/>
                </a:lnTo>
                <a:lnTo>
                  <a:pt x="8854496" y="496647"/>
                </a:lnTo>
                <a:lnTo>
                  <a:pt x="8850477" y="492608"/>
                </a:lnTo>
                <a:lnTo>
                  <a:pt x="8850477" y="482738"/>
                </a:lnTo>
                <a:close/>
                <a:moveTo>
                  <a:pt x="8615184" y="478699"/>
                </a:moveTo>
                <a:lnTo>
                  <a:pt x="8625095" y="478699"/>
                </a:lnTo>
                <a:lnTo>
                  <a:pt x="8629114" y="482739"/>
                </a:lnTo>
                <a:lnTo>
                  <a:pt x="8629114" y="492608"/>
                </a:lnTo>
                <a:lnTo>
                  <a:pt x="8625095" y="496647"/>
                </a:lnTo>
                <a:lnTo>
                  <a:pt x="8615184" y="496647"/>
                </a:lnTo>
                <a:lnTo>
                  <a:pt x="8611165" y="492608"/>
                </a:lnTo>
                <a:lnTo>
                  <a:pt x="8611165" y="482739"/>
                </a:lnTo>
                <a:close/>
                <a:moveTo>
                  <a:pt x="8375869" y="478699"/>
                </a:moveTo>
                <a:lnTo>
                  <a:pt x="8385779" y="478699"/>
                </a:lnTo>
                <a:lnTo>
                  <a:pt x="8389799" y="482739"/>
                </a:lnTo>
                <a:lnTo>
                  <a:pt x="8389799" y="492608"/>
                </a:lnTo>
                <a:lnTo>
                  <a:pt x="8385779" y="496647"/>
                </a:lnTo>
                <a:lnTo>
                  <a:pt x="8375869" y="496647"/>
                </a:lnTo>
                <a:lnTo>
                  <a:pt x="8371850" y="492608"/>
                </a:lnTo>
                <a:lnTo>
                  <a:pt x="8371850" y="482739"/>
                </a:lnTo>
                <a:close/>
                <a:moveTo>
                  <a:pt x="9333125" y="478698"/>
                </a:moveTo>
                <a:lnTo>
                  <a:pt x="9343036" y="478698"/>
                </a:lnTo>
                <a:lnTo>
                  <a:pt x="9347055" y="482738"/>
                </a:lnTo>
                <a:lnTo>
                  <a:pt x="9347055" y="492608"/>
                </a:lnTo>
                <a:lnTo>
                  <a:pt x="9343036" y="496646"/>
                </a:lnTo>
                <a:lnTo>
                  <a:pt x="9333125" y="496646"/>
                </a:lnTo>
                <a:lnTo>
                  <a:pt x="9329106" y="492608"/>
                </a:lnTo>
                <a:lnTo>
                  <a:pt x="9329106" y="482738"/>
                </a:lnTo>
                <a:close/>
                <a:moveTo>
                  <a:pt x="9572438" y="478687"/>
                </a:moveTo>
                <a:lnTo>
                  <a:pt x="9582349" y="478687"/>
                </a:lnTo>
                <a:lnTo>
                  <a:pt x="9586368" y="482726"/>
                </a:lnTo>
                <a:lnTo>
                  <a:pt x="9586368" y="492596"/>
                </a:lnTo>
                <a:lnTo>
                  <a:pt x="9582349" y="496634"/>
                </a:lnTo>
                <a:lnTo>
                  <a:pt x="9572438" y="496634"/>
                </a:lnTo>
                <a:lnTo>
                  <a:pt x="9568419" y="492596"/>
                </a:lnTo>
                <a:lnTo>
                  <a:pt x="9568419" y="482726"/>
                </a:lnTo>
                <a:close/>
                <a:moveTo>
                  <a:pt x="721976" y="478660"/>
                </a:moveTo>
                <a:lnTo>
                  <a:pt x="731886" y="478660"/>
                </a:lnTo>
                <a:lnTo>
                  <a:pt x="735905" y="482698"/>
                </a:lnTo>
                <a:lnTo>
                  <a:pt x="735905" y="492569"/>
                </a:lnTo>
                <a:lnTo>
                  <a:pt x="731886" y="496608"/>
                </a:lnTo>
                <a:lnTo>
                  <a:pt x="721976" y="496608"/>
                </a:lnTo>
                <a:lnTo>
                  <a:pt x="717957" y="492569"/>
                </a:lnTo>
                <a:lnTo>
                  <a:pt x="717957" y="482698"/>
                </a:lnTo>
                <a:close/>
                <a:moveTo>
                  <a:pt x="482664" y="478660"/>
                </a:moveTo>
                <a:lnTo>
                  <a:pt x="492574" y="478660"/>
                </a:lnTo>
                <a:lnTo>
                  <a:pt x="496593" y="482698"/>
                </a:lnTo>
                <a:lnTo>
                  <a:pt x="496593" y="492569"/>
                </a:lnTo>
                <a:lnTo>
                  <a:pt x="492574" y="496608"/>
                </a:lnTo>
                <a:lnTo>
                  <a:pt x="482664" y="496608"/>
                </a:lnTo>
                <a:lnTo>
                  <a:pt x="478645" y="492569"/>
                </a:lnTo>
                <a:lnTo>
                  <a:pt x="478645" y="482698"/>
                </a:lnTo>
                <a:close/>
                <a:moveTo>
                  <a:pt x="243350" y="478660"/>
                </a:moveTo>
                <a:lnTo>
                  <a:pt x="253260" y="478660"/>
                </a:lnTo>
                <a:lnTo>
                  <a:pt x="257279" y="482698"/>
                </a:lnTo>
                <a:lnTo>
                  <a:pt x="257279" y="492569"/>
                </a:lnTo>
                <a:lnTo>
                  <a:pt x="253260" y="496608"/>
                </a:lnTo>
                <a:lnTo>
                  <a:pt x="243350" y="496608"/>
                </a:lnTo>
                <a:lnTo>
                  <a:pt x="239331" y="492569"/>
                </a:lnTo>
                <a:lnTo>
                  <a:pt x="239331" y="482698"/>
                </a:lnTo>
                <a:close/>
                <a:moveTo>
                  <a:pt x="4037" y="478660"/>
                </a:moveTo>
                <a:lnTo>
                  <a:pt x="13947" y="478660"/>
                </a:lnTo>
                <a:lnTo>
                  <a:pt x="17966" y="482698"/>
                </a:lnTo>
                <a:lnTo>
                  <a:pt x="17966" y="492569"/>
                </a:lnTo>
                <a:lnTo>
                  <a:pt x="13947" y="496608"/>
                </a:lnTo>
                <a:lnTo>
                  <a:pt x="4037" y="496608"/>
                </a:lnTo>
                <a:lnTo>
                  <a:pt x="18" y="492569"/>
                </a:lnTo>
                <a:lnTo>
                  <a:pt x="18" y="482698"/>
                </a:lnTo>
                <a:close/>
                <a:moveTo>
                  <a:pt x="1679220" y="478650"/>
                </a:moveTo>
                <a:lnTo>
                  <a:pt x="1689130" y="478650"/>
                </a:lnTo>
                <a:lnTo>
                  <a:pt x="1693149" y="482688"/>
                </a:lnTo>
                <a:lnTo>
                  <a:pt x="1693149" y="492559"/>
                </a:lnTo>
                <a:lnTo>
                  <a:pt x="1689130" y="496598"/>
                </a:lnTo>
                <a:lnTo>
                  <a:pt x="1679220" y="496598"/>
                </a:lnTo>
                <a:lnTo>
                  <a:pt x="1675200" y="492559"/>
                </a:lnTo>
                <a:lnTo>
                  <a:pt x="1675200" y="482688"/>
                </a:lnTo>
                <a:close/>
                <a:moveTo>
                  <a:pt x="1439902" y="478650"/>
                </a:moveTo>
                <a:lnTo>
                  <a:pt x="1449812" y="478650"/>
                </a:lnTo>
                <a:lnTo>
                  <a:pt x="1453831" y="482688"/>
                </a:lnTo>
                <a:lnTo>
                  <a:pt x="1453831" y="492559"/>
                </a:lnTo>
                <a:lnTo>
                  <a:pt x="1449812" y="496598"/>
                </a:lnTo>
                <a:lnTo>
                  <a:pt x="1439902" y="496598"/>
                </a:lnTo>
                <a:lnTo>
                  <a:pt x="1435883" y="492559"/>
                </a:lnTo>
                <a:lnTo>
                  <a:pt x="1435883" y="482688"/>
                </a:lnTo>
                <a:close/>
                <a:moveTo>
                  <a:pt x="1200585" y="478650"/>
                </a:moveTo>
                <a:lnTo>
                  <a:pt x="1210496" y="478650"/>
                </a:lnTo>
                <a:lnTo>
                  <a:pt x="1214515" y="482689"/>
                </a:lnTo>
                <a:lnTo>
                  <a:pt x="1214515" y="492559"/>
                </a:lnTo>
                <a:lnTo>
                  <a:pt x="1210496" y="496598"/>
                </a:lnTo>
                <a:lnTo>
                  <a:pt x="1200585" y="496598"/>
                </a:lnTo>
                <a:lnTo>
                  <a:pt x="1196567" y="492559"/>
                </a:lnTo>
                <a:lnTo>
                  <a:pt x="1196567" y="482689"/>
                </a:lnTo>
                <a:close/>
                <a:moveTo>
                  <a:pt x="961273" y="478650"/>
                </a:moveTo>
                <a:lnTo>
                  <a:pt x="971183" y="478650"/>
                </a:lnTo>
                <a:lnTo>
                  <a:pt x="975202" y="482689"/>
                </a:lnTo>
                <a:lnTo>
                  <a:pt x="975202" y="492559"/>
                </a:lnTo>
                <a:lnTo>
                  <a:pt x="971183" y="496598"/>
                </a:lnTo>
                <a:lnTo>
                  <a:pt x="961273" y="496598"/>
                </a:lnTo>
                <a:lnTo>
                  <a:pt x="957254" y="492559"/>
                </a:lnTo>
                <a:lnTo>
                  <a:pt x="957254" y="482689"/>
                </a:lnTo>
                <a:close/>
                <a:moveTo>
                  <a:pt x="1918515" y="478641"/>
                </a:moveTo>
                <a:lnTo>
                  <a:pt x="1928425" y="478641"/>
                </a:lnTo>
                <a:lnTo>
                  <a:pt x="1932444" y="482679"/>
                </a:lnTo>
                <a:lnTo>
                  <a:pt x="1932444" y="492550"/>
                </a:lnTo>
                <a:lnTo>
                  <a:pt x="1928425" y="496589"/>
                </a:lnTo>
                <a:lnTo>
                  <a:pt x="1918515" y="496589"/>
                </a:lnTo>
                <a:lnTo>
                  <a:pt x="1914495" y="492550"/>
                </a:lnTo>
                <a:lnTo>
                  <a:pt x="1914495" y="482679"/>
                </a:lnTo>
                <a:close/>
                <a:moveTo>
                  <a:pt x="2157823" y="478638"/>
                </a:moveTo>
                <a:lnTo>
                  <a:pt x="2167734" y="478638"/>
                </a:lnTo>
                <a:lnTo>
                  <a:pt x="2171753" y="482677"/>
                </a:lnTo>
                <a:lnTo>
                  <a:pt x="2171753" y="492548"/>
                </a:lnTo>
                <a:lnTo>
                  <a:pt x="2167734" y="496587"/>
                </a:lnTo>
                <a:lnTo>
                  <a:pt x="2157823" y="496587"/>
                </a:lnTo>
                <a:lnTo>
                  <a:pt x="2153804" y="492548"/>
                </a:lnTo>
                <a:lnTo>
                  <a:pt x="2153804" y="482677"/>
                </a:lnTo>
                <a:close/>
                <a:moveTo>
                  <a:pt x="2632423" y="239432"/>
                </a:moveTo>
                <a:lnTo>
                  <a:pt x="2642334" y="239432"/>
                </a:lnTo>
                <a:lnTo>
                  <a:pt x="2646352" y="243470"/>
                </a:lnTo>
                <a:lnTo>
                  <a:pt x="2646352" y="253341"/>
                </a:lnTo>
                <a:lnTo>
                  <a:pt x="2642334" y="257380"/>
                </a:lnTo>
                <a:lnTo>
                  <a:pt x="2632423" y="257380"/>
                </a:lnTo>
                <a:lnTo>
                  <a:pt x="2628404" y="253341"/>
                </a:lnTo>
                <a:lnTo>
                  <a:pt x="2628404" y="243470"/>
                </a:lnTo>
                <a:close/>
                <a:moveTo>
                  <a:pt x="2393104" y="239432"/>
                </a:moveTo>
                <a:lnTo>
                  <a:pt x="2403015" y="239432"/>
                </a:lnTo>
                <a:lnTo>
                  <a:pt x="2407034" y="243470"/>
                </a:lnTo>
                <a:lnTo>
                  <a:pt x="2407034" y="253341"/>
                </a:lnTo>
                <a:lnTo>
                  <a:pt x="2403015" y="257380"/>
                </a:lnTo>
                <a:lnTo>
                  <a:pt x="2393104" y="257380"/>
                </a:lnTo>
                <a:lnTo>
                  <a:pt x="2389087" y="253341"/>
                </a:lnTo>
                <a:lnTo>
                  <a:pt x="2389087" y="243470"/>
                </a:lnTo>
                <a:close/>
                <a:moveTo>
                  <a:pt x="3350359" y="239432"/>
                </a:moveTo>
                <a:lnTo>
                  <a:pt x="3360268" y="239432"/>
                </a:lnTo>
                <a:lnTo>
                  <a:pt x="3364287" y="243470"/>
                </a:lnTo>
                <a:lnTo>
                  <a:pt x="3364287" y="253341"/>
                </a:lnTo>
                <a:lnTo>
                  <a:pt x="3360268" y="257380"/>
                </a:lnTo>
                <a:lnTo>
                  <a:pt x="3350359" y="257380"/>
                </a:lnTo>
                <a:lnTo>
                  <a:pt x="3346340" y="253341"/>
                </a:lnTo>
                <a:lnTo>
                  <a:pt x="3346340" y="243470"/>
                </a:lnTo>
                <a:close/>
                <a:moveTo>
                  <a:pt x="3111048" y="239432"/>
                </a:moveTo>
                <a:lnTo>
                  <a:pt x="3120959" y="239432"/>
                </a:lnTo>
                <a:lnTo>
                  <a:pt x="3124977" y="243470"/>
                </a:lnTo>
                <a:lnTo>
                  <a:pt x="3124977" y="253341"/>
                </a:lnTo>
                <a:lnTo>
                  <a:pt x="3120959" y="257380"/>
                </a:lnTo>
                <a:lnTo>
                  <a:pt x="3111048" y="257380"/>
                </a:lnTo>
                <a:lnTo>
                  <a:pt x="3107029" y="253341"/>
                </a:lnTo>
                <a:lnTo>
                  <a:pt x="3107029" y="243470"/>
                </a:lnTo>
                <a:close/>
                <a:moveTo>
                  <a:pt x="2871737" y="239432"/>
                </a:moveTo>
                <a:lnTo>
                  <a:pt x="2881646" y="239432"/>
                </a:lnTo>
                <a:lnTo>
                  <a:pt x="2885666" y="243470"/>
                </a:lnTo>
                <a:lnTo>
                  <a:pt x="2885666" y="253341"/>
                </a:lnTo>
                <a:lnTo>
                  <a:pt x="2881646" y="257380"/>
                </a:lnTo>
                <a:lnTo>
                  <a:pt x="2871737" y="257380"/>
                </a:lnTo>
                <a:lnTo>
                  <a:pt x="2867717" y="253341"/>
                </a:lnTo>
                <a:lnTo>
                  <a:pt x="2867717" y="243470"/>
                </a:lnTo>
                <a:close/>
                <a:moveTo>
                  <a:pt x="3828990" y="239420"/>
                </a:moveTo>
                <a:lnTo>
                  <a:pt x="3838899" y="239420"/>
                </a:lnTo>
                <a:lnTo>
                  <a:pt x="3842917" y="243457"/>
                </a:lnTo>
                <a:lnTo>
                  <a:pt x="3842917" y="253328"/>
                </a:lnTo>
                <a:lnTo>
                  <a:pt x="3838899" y="257367"/>
                </a:lnTo>
                <a:lnTo>
                  <a:pt x="3828990" y="257367"/>
                </a:lnTo>
                <a:lnTo>
                  <a:pt x="3824971" y="253328"/>
                </a:lnTo>
                <a:lnTo>
                  <a:pt x="3824971" y="243457"/>
                </a:lnTo>
                <a:close/>
                <a:moveTo>
                  <a:pt x="3589676" y="239420"/>
                </a:moveTo>
                <a:lnTo>
                  <a:pt x="3599585" y="239420"/>
                </a:lnTo>
                <a:lnTo>
                  <a:pt x="3603604" y="243457"/>
                </a:lnTo>
                <a:lnTo>
                  <a:pt x="3603604" y="253328"/>
                </a:lnTo>
                <a:lnTo>
                  <a:pt x="3599585" y="257367"/>
                </a:lnTo>
                <a:lnTo>
                  <a:pt x="3589676" y="257367"/>
                </a:lnTo>
                <a:lnTo>
                  <a:pt x="3585657" y="253328"/>
                </a:lnTo>
                <a:lnTo>
                  <a:pt x="3585657" y="243457"/>
                </a:lnTo>
                <a:close/>
                <a:moveTo>
                  <a:pt x="4546929" y="239419"/>
                </a:moveTo>
                <a:lnTo>
                  <a:pt x="4556840" y="239419"/>
                </a:lnTo>
                <a:lnTo>
                  <a:pt x="4560859" y="243457"/>
                </a:lnTo>
                <a:lnTo>
                  <a:pt x="4560859" y="253328"/>
                </a:lnTo>
                <a:lnTo>
                  <a:pt x="4556840" y="257367"/>
                </a:lnTo>
                <a:lnTo>
                  <a:pt x="4546929" y="257367"/>
                </a:lnTo>
                <a:lnTo>
                  <a:pt x="4542910" y="253328"/>
                </a:lnTo>
                <a:lnTo>
                  <a:pt x="4542910" y="243457"/>
                </a:lnTo>
                <a:close/>
                <a:moveTo>
                  <a:pt x="4307612" y="239419"/>
                </a:moveTo>
                <a:lnTo>
                  <a:pt x="4317523" y="239419"/>
                </a:lnTo>
                <a:lnTo>
                  <a:pt x="4321543" y="243457"/>
                </a:lnTo>
                <a:lnTo>
                  <a:pt x="4321543" y="253328"/>
                </a:lnTo>
                <a:lnTo>
                  <a:pt x="4317523" y="257367"/>
                </a:lnTo>
                <a:lnTo>
                  <a:pt x="4307612" y="257367"/>
                </a:lnTo>
                <a:lnTo>
                  <a:pt x="4303595" y="253328"/>
                </a:lnTo>
                <a:lnTo>
                  <a:pt x="4303595" y="243457"/>
                </a:lnTo>
                <a:close/>
                <a:moveTo>
                  <a:pt x="4068297" y="239419"/>
                </a:moveTo>
                <a:lnTo>
                  <a:pt x="4078210" y="239419"/>
                </a:lnTo>
                <a:lnTo>
                  <a:pt x="4082229" y="243457"/>
                </a:lnTo>
                <a:lnTo>
                  <a:pt x="4082229" y="253328"/>
                </a:lnTo>
                <a:lnTo>
                  <a:pt x="4078210" y="257367"/>
                </a:lnTo>
                <a:lnTo>
                  <a:pt x="4068297" y="257367"/>
                </a:lnTo>
                <a:lnTo>
                  <a:pt x="4064278" y="253328"/>
                </a:lnTo>
                <a:lnTo>
                  <a:pt x="4064278" y="243457"/>
                </a:lnTo>
                <a:close/>
                <a:moveTo>
                  <a:pt x="5025470" y="239407"/>
                </a:moveTo>
                <a:lnTo>
                  <a:pt x="5035381" y="239407"/>
                </a:lnTo>
                <a:lnTo>
                  <a:pt x="5039400" y="243445"/>
                </a:lnTo>
                <a:lnTo>
                  <a:pt x="5039400" y="253316"/>
                </a:lnTo>
                <a:lnTo>
                  <a:pt x="5035381" y="257355"/>
                </a:lnTo>
                <a:lnTo>
                  <a:pt x="5025470" y="257355"/>
                </a:lnTo>
                <a:lnTo>
                  <a:pt x="5021451" y="253316"/>
                </a:lnTo>
                <a:lnTo>
                  <a:pt x="5021451" y="243445"/>
                </a:lnTo>
                <a:close/>
                <a:moveTo>
                  <a:pt x="4786241" y="239407"/>
                </a:moveTo>
                <a:lnTo>
                  <a:pt x="4796152" y="239407"/>
                </a:lnTo>
                <a:lnTo>
                  <a:pt x="4800171" y="243445"/>
                </a:lnTo>
                <a:lnTo>
                  <a:pt x="4800171" y="253316"/>
                </a:lnTo>
                <a:lnTo>
                  <a:pt x="4796152" y="257355"/>
                </a:lnTo>
                <a:lnTo>
                  <a:pt x="4786241" y="257355"/>
                </a:lnTo>
                <a:lnTo>
                  <a:pt x="4782224" y="253316"/>
                </a:lnTo>
                <a:lnTo>
                  <a:pt x="4782224" y="243445"/>
                </a:lnTo>
                <a:close/>
                <a:moveTo>
                  <a:pt x="5743412" y="239407"/>
                </a:moveTo>
                <a:lnTo>
                  <a:pt x="5753323" y="239407"/>
                </a:lnTo>
                <a:lnTo>
                  <a:pt x="5757342" y="243445"/>
                </a:lnTo>
                <a:lnTo>
                  <a:pt x="5757342" y="253316"/>
                </a:lnTo>
                <a:lnTo>
                  <a:pt x="5753323" y="257355"/>
                </a:lnTo>
                <a:lnTo>
                  <a:pt x="5743412" y="257355"/>
                </a:lnTo>
                <a:lnTo>
                  <a:pt x="5739393" y="253316"/>
                </a:lnTo>
                <a:lnTo>
                  <a:pt x="5739393" y="243445"/>
                </a:lnTo>
                <a:close/>
                <a:moveTo>
                  <a:pt x="5504099" y="239407"/>
                </a:moveTo>
                <a:lnTo>
                  <a:pt x="5514010" y="239407"/>
                </a:lnTo>
                <a:lnTo>
                  <a:pt x="5518029" y="243445"/>
                </a:lnTo>
                <a:lnTo>
                  <a:pt x="5518029" y="253316"/>
                </a:lnTo>
                <a:lnTo>
                  <a:pt x="5514010" y="257355"/>
                </a:lnTo>
                <a:lnTo>
                  <a:pt x="5504099" y="257355"/>
                </a:lnTo>
                <a:lnTo>
                  <a:pt x="5500080" y="253316"/>
                </a:lnTo>
                <a:lnTo>
                  <a:pt x="5500080" y="243445"/>
                </a:lnTo>
                <a:close/>
                <a:moveTo>
                  <a:pt x="5264784" y="239407"/>
                </a:moveTo>
                <a:lnTo>
                  <a:pt x="5274694" y="239407"/>
                </a:lnTo>
                <a:lnTo>
                  <a:pt x="5278713" y="243445"/>
                </a:lnTo>
                <a:lnTo>
                  <a:pt x="5278713" y="253316"/>
                </a:lnTo>
                <a:lnTo>
                  <a:pt x="5274694" y="257355"/>
                </a:lnTo>
                <a:lnTo>
                  <a:pt x="5264784" y="257355"/>
                </a:lnTo>
                <a:lnTo>
                  <a:pt x="5260765" y="253316"/>
                </a:lnTo>
                <a:lnTo>
                  <a:pt x="5260765" y="243445"/>
                </a:lnTo>
                <a:close/>
                <a:moveTo>
                  <a:pt x="6222042" y="239395"/>
                </a:moveTo>
                <a:lnTo>
                  <a:pt x="6231952" y="239395"/>
                </a:lnTo>
                <a:lnTo>
                  <a:pt x="6235971" y="243432"/>
                </a:lnTo>
                <a:lnTo>
                  <a:pt x="6235971" y="253303"/>
                </a:lnTo>
                <a:lnTo>
                  <a:pt x="6231952" y="257342"/>
                </a:lnTo>
                <a:lnTo>
                  <a:pt x="6222042" y="257342"/>
                </a:lnTo>
                <a:lnTo>
                  <a:pt x="6218023" y="253303"/>
                </a:lnTo>
                <a:lnTo>
                  <a:pt x="6218023" y="243432"/>
                </a:lnTo>
                <a:close/>
                <a:moveTo>
                  <a:pt x="5982729" y="239395"/>
                </a:moveTo>
                <a:lnTo>
                  <a:pt x="5992639" y="239395"/>
                </a:lnTo>
                <a:lnTo>
                  <a:pt x="5996658" y="243433"/>
                </a:lnTo>
                <a:lnTo>
                  <a:pt x="5996658" y="253303"/>
                </a:lnTo>
                <a:lnTo>
                  <a:pt x="5992639" y="257342"/>
                </a:lnTo>
                <a:lnTo>
                  <a:pt x="5982729" y="257342"/>
                </a:lnTo>
                <a:lnTo>
                  <a:pt x="5978710" y="253303"/>
                </a:lnTo>
                <a:lnTo>
                  <a:pt x="5978710" y="243433"/>
                </a:lnTo>
                <a:close/>
                <a:moveTo>
                  <a:pt x="6939983" y="239394"/>
                </a:moveTo>
                <a:lnTo>
                  <a:pt x="6949894" y="239394"/>
                </a:lnTo>
                <a:lnTo>
                  <a:pt x="6953913" y="243432"/>
                </a:lnTo>
                <a:lnTo>
                  <a:pt x="6953913" y="253303"/>
                </a:lnTo>
                <a:lnTo>
                  <a:pt x="6949894" y="257342"/>
                </a:lnTo>
                <a:lnTo>
                  <a:pt x="6939983" y="257342"/>
                </a:lnTo>
                <a:lnTo>
                  <a:pt x="6935964" y="253303"/>
                </a:lnTo>
                <a:lnTo>
                  <a:pt x="6935964" y="243432"/>
                </a:lnTo>
                <a:close/>
                <a:moveTo>
                  <a:pt x="6700670" y="239394"/>
                </a:moveTo>
                <a:lnTo>
                  <a:pt x="6710581" y="239394"/>
                </a:lnTo>
                <a:lnTo>
                  <a:pt x="6714600" y="243432"/>
                </a:lnTo>
                <a:lnTo>
                  <a:pt x="6714600" y="253303"/>
                </a:lnTo>
                <a:lnTo>
                  <a:pt x="6710581" y="257342"/>
                </a:lnTo>
                <a:lnTo>
                  <a:pt x="6700670" y="257342"/>
                </a:lnTo>
                <a:lnTo>
                  <a:pt x="6696651" y="253303"/>
                </a:lnTo>
                <a:lnTo>
                  <a:pt x="6696651" y="243432"/>
                </a:lnTo>
                <a:close/>
                <a:moveTo>
                  <a:pt x="6461356" y="239394"/>
                </a:moveTo>
                <a:lnTo>
                  <a:pt x="6471266" y="239394"/>
                </a:lnTo>
                <a:lnTo>
                  <a:pt x="6475285" y="243432"/>
                </a:lnTo>
                <a:lnTo>
                  <a:pt x="6475285" y="253303"/>
                </a:lnTo>
                <a:lnTo>
                  <a:pt x="6471266" y="257342"/>
                </a:lnTo>
                <a:lnTo>
                  <a:pt x="6461356" y="257342"/>
                </a:lnTo>
                <a:lnTo>
                  <a:pt x="6457337" y="253303"/>
                </a:lnTo>
                <a:lnTo>
                  <a:pt x="6457337" y="243432"/>
                </a:lnTo>
                <a:close/>
                <a:moveTo>
                  <a:pt x="7418611" y="239382"/>
                </a:moveTo>
                <a:lnTo>
                  <a:pt x="7428521" y="239382"/>
                </a:lnTo>
                <a:lnTo>
                  <a:pt x="7432540" y="243420"/>
                </a:lnTo>
                <a:lnTo>
                  <a:pt x="7432540" y="253291"/>
                </a:lnTo>
                <a:lnTo>
                  <a:pt x="7428521" y="257330"/>
                </a:lnTo>
                <a:lnTo>
                  <a:pt x="7418611" y="257330"/>
                </a:lnTo>
                <a:lnTo>
                  <a:pt x="7414592" y="253291"/>
                </a:lnTo>
                <a:lnTo>
                  <a:pt x="7414592" y="243420"/>
                </a:lnTo>
                <a:close/>
                <a:moveTo>
                  <a:pt x="7179298" y="239382"/>
                </a:moveTo>
                <a:lnTo>
                  <a:pt x="7189209" y="239382"/>
                </a:lnTo>
                <a:lnTo>
                  <a:pt x="7193228" y="243421"/>
                </a:lnTo>
                <a:lnTo>
                  <a:pt x="7193228" y="253292"/>
                </a:lnTo>
                <a:lnTo>
                  <a:pt x="7189209" y="257330"/>
                </a:lnTo>
                <a:lnTo>
                  <a:pt x="7179298" y="257330"/>
                </a:lnTo>
                <a:lnTo>
                  <a:pt x="7175279" y="253292"/>
                </a:lnTo>
                <a:lnTo>
                  <a:pt x="7175279" y="243421"/>
                </a:lnTo>
                <a:close/>
                <a:moveTo>
                  <a:pt x="8136553" y="239382"/>
                </a:moveTo>
                <a:lnTo>
                  <a:pt x="8146464" y="239382"/>
                </a:lnTo>
                <a:lnTo>
                  <a:pt x="8150483" y="243420"/>
                </a:lnTo>
                <a:lnTo>
                  <a:pt x="8150483" y="253291"/>
                </a:lnTo>
                <a:lnTo>
                  <a:pt x="8146464" y="257330"/>
                </a:lnTo>
                <a:lnTo>
                  <a:pt x="8136553" y="257330"/>
                </a:lnTo>
                <a:lnTo>
                  <a:pt x="8132534" y="253291"/>
                </a:lnTo>
                <a:lnTo>
                  <a:pt x="8132534" y="243420"/>
                </a:lnTo>
                <a:close/>
                <a:moveTo>
                  <a:pt x="7897241" y="239382"/>
                </a:moveTo>
                <a:lnTo>
                  <a:pt x="7907151" y="239382"/>
                </a:lnTo>
                <a:lnTo>
                  <a:pt x="7911170" y="243420"/>
                </a:lnTo>
                <a:lnTo>
                  <a:pt x="7911170" y="253291"/>
                </a:lnTo>
                <a:lnTo>
                  <a:pt x="7907151" y="257330"/>
                </a:lnTo>
                <a:lnTo>
                  <a:pt x="7897241" y="257330"/>
                </a:lnTo>
                <a:lnTo>
                  <a:pt x="7893222" y="253291"/>
                </a:lnTo>
                <a:lnTo>
                  <a:pt x="7893222" y="243420"/>
                </a:lnTo>
                <a:close/>
                <a:moveTo>
                  <a:pt x="7657926" y="239382"/>
                </a:moveTo>
                <a:lnTo>
                  <a:pt x="7667836" y="239382"/>
                </a:lnTo>
                <a:lnTo>
                  <a:pt x="7671855" y="243420"/>
                </a:lnTo>
                <a:lnTo>
                  <a:pt x="7671855" y="253291"/>
                </a:lnTo>
                <a:lnTo>
                  <a:pt x="7667836" y="257330"/>
                </a:lnTo>
                <a:lnTo>
                  <a:pt x="7657926" y="257330"/>
                </a:lnTo>
                <a:lnTo>
                  <a:pt x="7653906" y="253291"/>
                </a:lnTo>
                <a:lnTo>
                  <a:pt x="7653906" y="243420"/>
                </a:lnTo>
                <a:close/>
                <a:moveTo>
                  <a:pt x="1679220" y="239371"/>
                </a:moveTo>
                <a:lnTo>
                  <a:pt x="1689131" y="239371"/>
                </a:lnTo>
                <a:lnTo>
                  <a:pt x="1693150" y="243409"/>
                </a:lnTo>
                <a:lnTo>
                  <a:pt x="1693150" y="253280"/>
                </a:lnTo>
                <a:lnTo>
                  <a:pt x="1689131" y="257319"/>
                </a:lnTo>
                <a:lnTo>
                  <a:pt x="1679220" y="257319"/>
                </a:lnTo>
                <a:lnTo>
                  <a:pt x="1675202" y="253280"/>
                </a:lnTo>
                <a:lnTo>
                  <a:pt x="1675202" y="243409"/>
                </a:lnTo>
                <a:close/>
                <a:moveTo>
                  <a:pt x="1439902" y="239371"/>
                </a:moveTo>
                <a:lnTo>
                  <a:pt x="1449813" y="239371"/>
                </a:lnTo>
                <a:lnTo>
                  <a:pt x="1453832" y="243409"/>
                </a:lnTo>
                <a:lnTo>
                  <a:pt x="1453832" y="253280"/>
                </a:lnTo>
                <a:lnTo>
                  <a:pt x="1449813" y="257319"/>
                </a:lnTo>
                <a:lnTo>
                  <a:pt x="1439902" y="257319"/>
                </a:lnTo>
                <a:lnTo>
                  <a:pt x="1435884" y="253280"/>
                </a:lnTo>
                <a:lnTo>
                  <a:pt x="1435884" y="243409"/>
                </a:lnTo>
                <a:close/>
                <a:moveTo>
                  <a:pt x="1200587" y="239371"/>
                </a:moveTo>
                <a:lnTo>
                  <a:pt x="1210496" y="239371"/>
                </a:lnTo>
                <a:lnTo>
                  <a:pt x="1214515" y="243409"/>
                </a:lnTo>
                <a:lnTo>
                  <a:pt x="1214515" y="253280"/>
                </a:lnTo>
                <a:lnTo>
                  <a:pt x="1210496" y="257319"/>
                </a:lnTo>
                <a:lnTo>
                  <a:pt x="1200587" y="257319"/>
                </a:lnTo>
                <a:lnTo>
                  <a:pt x="1196567" y="253280"/>
                </a:lnTo>
                <a:lnTo>
                  <a:pt x="1196567" y="243409"/>
                </a:lnTo>
                <a:close/>
                <a:moveTo>
                  <a:pt x="961273" y="239371"/>
                </a:moveTo>
                <a:lnTo>
                  <a:pt x="971184" y="239371"/>
                </a:lnTo>
                <a:lnTo>
                  <a:pt x="975203" y="243409"/>
                </a:lnTo>
                <a:lnTo>
                  <a:pt x="975203" y="253280"/>
                </a:lnTo>
                <a:lnTo>
                  <a:pt x="971184" y="257319"/>
                </a:lnTo>
                <a:lnTo>
                  <a:pt x="961273" y="257319"/>
                </a:lnTo>
                <a:lnTo>
                  <a:pt x="957255" y="253280"/>
                </a:lnTo>
                <a:lnTo>
                  <a:pt x="957255" y="243409"/>
                </a:lnTo>
                <a:close/>
                <a:moveTo>
                  <a:pt x="8615184" y="239370"/>
                </a:moveTo>
                <a:lnTo>
                  <a:pt x="8625095" y="239370"/>
                </a:lnTo>
                <a:lnTo>
                  <a:pt x="8629114" y="243408"/>
                </a:lnTo>
                <a:lnTo>
                  <a:pt x="8629114" y="253278"/>
                </a:lnTo>
                <a:lnTo>
                  <a:pt x="8625095" y="257317"/>
                </a:lnTo>
                <a:lnTo>
                  <a:pt x="8615184" y="257317"/>
                </a:lnTo>
                <a:lnTo>
                  <a:pt x="8611165" y="253278"/>
                </a:lnTo>
                <a:lnTo>
                  <a:pt x="8611165" y="243408"/>
                </a:lnTo>
                <a:close/>
                <a:moveTo>
                  <a:pt x="8375869" y="239370"/>
                </a:moveTo>
                <a:lnTo>
                  <a:pt x="8385779" y="239370"/>
                </a:lnTo>
                <a:lnTo>
                  <a:pt x="8389799" y="243408"/>
                </a:lnTo>
                <a:lnTo>
                  <a:pt x="8389799" y="253279"/>
                </a:lnTo>
                <a:lnTo>
                  <a:pt x="8385779" y="257318"/>
                </a:lnTo>
                <a:lnTo>
                  <a:pt x="8375869" y="257318"/>
                </a:lnTo>
                <a:lnTo>
                  <a:pt x="8371850" y="253279"/>
                </a:lnTo>
                <a:lnTo>
                  <a:pt x="8371850" y="243408"/>
                </a:lnTo>
                <a:close/>
                <a:moveTo>
                  <a:pt x="9333125" y="239369"/>
                </a:moveTo>
                <a:lnTo>
                  <a:pt x="9343036" y="239369"/>
                </a:lnTo>
                <a:lnTo>
                  <a:pt x="9347055" y="243407"/>
                </a:lnTo>
                <a:lnTo>
                  <a:pt x="9347055" y="253278"/>
                </a:lnTo>
                <a:lnTo>
                  <a:pt x="9343036" y="257317"/>
                </a:lnTo>
                <a:lnTo>
                  <a:pt x="9333125" y="257317"/>
                </a:lnTo>
                <a:lnTo>
                  <a:pt x="9329106" y="253278"/>
                </a:lnTo>
                <a:lnTo>
                  <a:pt x="9329106" y="243407"/>
                </a:lnTo>
                <a:close/>
                <a:moveTo>
                  <a:pt x="9093811" y="239369"/>
                </a:moveTo>
                <a:lnTo>
                  <a:pt x="9103722" y="239369"/>
                </a:lnTo>
                <a:lnTo>
                  <a:pt x="9107741" y="243407"/>
                </a:lnTo>
                <a:lnTo>
                  <a:pt x="9107741" y="253278"/>
                </a:lnTo>
                <a:lnTo>
                  <a:pt x="9103722" y="257317"/>
                </a:lnTo>
                <a:lnTo>
                  <a:pt x="9093811" y="257317"/>
                </a:lnTo>
                <a:lnTo>
                  <a:pt x="9089792" y="253278"/>
                </a:lnTo>
                <a:lnTo>
                  <a:pt x="9089792" y="243407"/>
                </a:lnTo>
                <a:close/>
                <a:moveTo>
                  <a:pt x="8854496" y="239369"/>
                </a:moveTo>
                <a:lnTo>
                  <a:pt x="8864407" y="239369"/>
                </a:lnTo>
                <a:lnTo>
                  <a:pt x="8868426" y="243407"/>
                </a:lnTo>
                <a:lnTo>
                  <a:pt x="8868426" y="253278"/>
                </a:lnTo>
                <a:lnTo>
                  <a:pt x="8864407" y="257317"/>
                </a:lnTo>
                <a:lnTo>
                  <a:pt x="8854496" y="257317"/>
                </a:lnTo>
                <a:lnTo>
                  <a:pt x="8850477" y="253278"/>
                </a:lnTo>
                <a:lnTo>
                  <a:pt x="8850477" y="243407"/>
                </a:lnTo>
                <a:close/>
                <a:moveTo>
                  <a:pt x="1918515" y="239361"/>
                </a:moveTo>
                <a:lnTo>
                  <a:pt x="1928425" y="239361"/>
                </a:lnTo>
                <a:lnTo>
                  <a:pt x="1932444" y="243400"/>
                </a:lnTo>
                <a:lnTo>
                  <a:pt x="1932444" y="253271"/>
                </a:lnTo>
                <a:lnTo>
                  <a:pt x="1928425" y="257310"/>
                </a:lnTo>
                <a:lnTo>
                  <a:pt x="1918515" y="257310"/>
                </a:lnTo>
                <a:lnTo>
                  <a:pt x="1914495" y="253271"/>
                </a:lnTo>
                <a:lnTo>
                  <a:pt x="1914495" y="243400"/>
                </a:lnTo>
                <a:close/>
                <a:moveTo>
                  <a:pt x="2157824" y="239359"/>
                </a:moveTo>
                <a:lnTo>
                  <a:pt x="2167734" y="239359"/>
                </a:lnTo>
                <a:lnTo>
                  <a:pt x="2171753" y="243397"/>
                </a:lnTo>
                <a:lnTo>
                  <a:pt x="2171753" y="253268"/>
                </a:lnTo>
                <a:lnTo>
                  <a:pt x="2167734" y="257307"/>
                </a:lnTo>
                <a:lnTo>
                  <a:pt x="2157824" y="257307"/>
                </a:lnTo>
                <a:lnTo>
                  <a:pt x="2153804" y="253268"/>
                </a:lnTo>
                <a:lnTo>
                  <a:pt x="2153804" y="243397"/>
                </a:lnTo>
                <a:close/>
                <a:moveTo>
                  <a:pt x="9572438" y="239357"/>
                </a:moveTo>
                <a:lnTo>
                  <a:pt x="9582349" y="239357"/>
                </a:lnTo>
                <a:lnTo>
                  <a:pt x="9586368" y="243395"/>
                </a:lnTo>
                <a:lnTo>
                  <a:pt x="9586368" y="253267"/>
                </a:lnTo>
                <a:lnTo>
                  <a:pt x="9582349" y="257306"/>
                </a:lnTo>
                <a:lnTo>
                  <a:pt x="9572438" y="257306"/>
                </a:lnTo>
                <a:lnTo>
                  <a:pt x="9568419" y="253267"/>
                </a:lnTo>
                <a:lnTo>
                  <a:pt x="9568419" y="243395"/>
                </a:lnTo>
                <a:close/>
                <a:moveTo>
                  <a:pt x="721976" y="239330"/>
                </a:moveTo>
                <a:lnTo>
                  <a:pt x="731887" y="239330"/>
                </a:lnTo>
                <a:lnTo>
                  <a:pt x="735906" y="243368"/>
                </a:lnTo>
                <a:lnTo>
                  <a:pt x="735906" y="253239"/>
                </a:lnTo>
                <a:lnTo>
                  <a:pt x="731887" y="257278"/>
                </a:lnTo>
                <a:lnTo>
                  <a:pt x="721976" y="257278"/>
                </a:lnTo>
                <a:lnTo>
                  <a:pt x="717958" y="253239"/>
                </a:lnTo>
                <a:lnTo>
                  <a:pt x="717958" y="243368"/>
                </a:lnTo>
                <a:close/>
                <a:moveTo>
                  <a:pt x="482664" y="239330"/>
                </a:moveTo>
                <a:lnTo>
                  <a:pt x="492575" y="239330"/>
                </a:lnTo>
                <a:lnTo>
                  <a:pt x="496594" y="243368"/>
                </a:lnTo>
                <a:lnTo>
                  <a:pt x="496594" y="253239"/>
                </a:lnTo>
                <a:lnTo>
                  <a:pt x="492575" y="257278"/>
                </a:lnTo>
                <a:lnTo>
                  <a:pt x="482664" y="257278"/>
                </a:lnTo>
                <a:lnTo>
                  <a:pt x="478645" y="253239"/>
                </a:lnTo>
                <a:lnTo>
                  <a:pt x="478645" y="243368"/>
                </a:lnTo>
                <a:close/>
                <a:moveTo>
                  <a:pt x="243350" y="239330"/>
                </a:moveTo>
                <a:lnTo>
                  <a:pt x="253261" y="239330"/>
                </a:lnTo>
                <a:lnTo>
                  <a:pt x="257280" y="243368"/>
                </a:lnTo>
                <a:lnTo>
                  <a:pt x="257280" y="253239"/>
                </a:lnTo>
                <a:lnTo>
                  <a:pt x="253261" y="257278"/>
                </a:lnTo>
                <a:lnTo>
                  <a:pt x="243350" y="257278"/>
                </a:lnTo>
                <a:lnTo>
                  <a:pt x="239332" y="253239"/>
                </a:lnTo>
                <a:lnTo>
                  <a:pt x="239332" y="243368"/>
                </a:lnTo>
                <a:close/>
                <a:moveTo>
                  <a:pt x="4037" y="239330"/>
                </a:moveTo>
                <a:lnTo>
                  <a:pt x="13948" y="239330"/>
                </a:lnTo>
                <a:lnTo>
                  <a:pt x="17967" y="243368"/>
                </a:lnTo>
                <a:lnTo>
                  <a:pt x="17967" y="253239"/>
                </a:lnTo>
                <a:lnTo>
                  <a:pt x="13948" y="257278"/>
                </a:lnTo>
                <a:lnTo>
                  <a:pt x="4037" y="257278"/>
                </a:lnTo>
                <a:lnTo>
                  <a:pt x="18" y="253239"/>
                </a:lnTo>
                <a:lnTo>
                  <a:pt x="18" y="243368"/>
                </a:lnTo>
                <a:close/>
                <a:moveTo>
                  <a:pt x="3111048" y="106"/>
                </a:moveTo>
                <a:lnTo>
                  <a:pt x="3120959" y="106"/>
                </a:lnTo>
                <a:lnTo>
                  <a:pt x="3124977" y="4144"/>
                </a:lnTo>
                <a:lnTo>
                  <a:pt x="3124977" y="14015"/>
                </a:lnTo>
                <a:lnTo>
                  <a:pt x="3120959" y="18054"/>
                </a:lnTo>
                <a:lnTo>
                  <a:pt x="3111048" y="18054"/>
                </a:lnTo>
                <a:lnTo>
                  <a:pt x="3107029" y="14015"/>
                </a:lnTo>
                <a:lnTo>
                  <a:pt x="3107029" y="4144"/>
                </a:lnTo>
                <a:close/>
                <a:moveTo>
                  <a:pt x="2871737" y="106"/>
                </a:moveTo>
                <a:lnTo>
                  <a:pt x="2881646" y="106"/>
                </a:lnTo>
                <a:lnTo>
                  <a:pt x="2885666" y="4145"/>
                </a:lnTo>
                <a:lnTo>
                  <a:pt x="2885666" y="14015"/>
                </a:lnTo>
                <a:lnTo>
                  <a:pt x="2881646" y="18054"/>
                </a:lnTo>
                <a:lnTo>
                  <a:pt x="2871737" y="18054"/>
                </a:lnTo>
                <a:lnTo>
                  <a:pt x="2867717" y="14015"/>
                </a:lnTo>
                <a:lnTo>
                  <a:pt x="2867717" y="4145"/>
                </a:lnTo>
                <a:close/>
                <a:moveTo>
                  <a:pt x="2632423" y="106"/>
                </a:moveTo>
                <a:lnTo>
                  <a:pt x="2642334" y="106"/>
                </a:lnTo>
                <a:lnTo>
                  <a:pt x="2646352" y="4145"/>
                </a:lnTo>
                <a:lnTo>
                  <a:pt x="2646352" y="14016"/>
                </a:lnTo>
                <a:lnTo>
                  <a:pt x="2642334" y="18055"/>
                </a:lnTo>
                <a:lnTo>
                  <a:pt x="2632423" y="18055"/>
                </a:lnTo>
                <a:lnTo>
                  <a:pt x="2628404" y="14016"/>
                </a:lnTo>
                <a:lnTo>
                  <a:pt x="2628404" y="4145"/>
                </a:lnTo>
                <a:close/>
                <a:moveTo>
                  <a:pt x="2393104" y="106"/>
                </a:moveTo>
                <a:lnTo>
                  <a:pt x="2403015" y="106"/>
                </a:lnTo>
                <a:lnTo>
                  <a:pt x="2407034" y="4145"/>
                </a:lnTo>
                <a:lnTo>
                  <a:pt x="2407034" y="14016"/>
                </a:lnTo>
                <a:lnTo>
                  <a:pt x="2403015" y="18055"/>
                </a:lnTo>
                <a:lnTo>
                  <a:pt x="2393104" y="18055"/>
                </a:lnTo>
                <a:lnTo>
                  <a:pt x="2389087" y="14016"/>
                </a:lnTo>
                <a:lnTo>
                  <a:pt x="2389087" y="4145"/>
                </a:lnTo>
                <a:close/>
                <a:moveTo>
                  <a:pt x="3350359" y="106"/>
                </a:moveTo>
                <a:lnTo>
                  <a:pt x="3360268" y="106"/>
                </a:lnTo>
                <a:lnTo>
                  <a:pt x="3364287" y="4144"/>
                </a:lnTo>
                <a:lnTo>
                  <a:pt x="3364287" y="14015"/>
                </a:lnTo>
                <a:lnTo>
                  <a:pt x="3360268" y="18054"/>
                </a:lnTo>
                <a:lnTo>
                  <a:pt x="3350359" y="18054"/>
                </a:lnTo>
                <a:lnTo>
                  <a:pt x="3346340" y="14015"/>
                </a:lnTo>
                <a:lnTo>
                  <a:pt x="3346340" y="4144"/>
                </a:lnTo>
                <a:close/>
                <a:moveTo>
                  <a:pt x="4546929" y="93"/>
                </a:moveTo>
                <a:lnTo>
                  <a:pt x="4556840" y="93"/>
                </a:lnTo>
                <a:lnTo>
                  <a:pt x="4560859" y="4132"/>
                </a:lnTo>
                <a:lnTo>
                  <a:pt x="4560859" y="14002"/>
                </a:lnTo>
                <a:lnTo>
                  <a:pt x="4556840" y="18041"/>
                </a:lnTo>
                <a:lnTo>
                  <a:pt x="4546929" y="18041"/>
                </a:lnTo>
                <a:lnTo>
                  <a:pt x="4542910" y="14002"/>
                </a:lnTo>
                <a:lnTo>
                  <a:pt x="4542910" y="4132"/>
                </a:lnTo>
                <a:close/>
                <a:moveTo>
                  <a:pt x="4307612" y="93"/>
                </a:moveTo>
                <a:lnTo>
                  <a:pt x="4317523" y="93"/>
                </a:lnTo>
                <a:lnTo>
                  <a:pt x="4321543" y="4132"/>
                </a:lnTo>
                <a:lnTo>
                  <a:pt x="4321543" y="14003"/>
                </a:lnTo>
                <a:lnTo>
                  <a:pt x="4317523" y="18042"/>
                </a:lnTo>
                <a:lnTo>
                  <a:pt x="4307612" y="18042"/>
                </a:lnTo>
                <a:lnTo>
                  <a:pt x="4303595" y="14003"/>
                </a:lnTo>
                <a:lnTo>
                  <a:pt x="4303595" y="4132"/>
                </a:lnTo>
                <a:close/>
                <a:moveTo>
                  <a:pt x="4068297" y="93"/>
                </a:moveTo>
                <a:lnTo>
                  <a:pt x="4078210" y="93"/>
                </a:lnTo>
                <a:lnTo>
                  <a:pt x="4082229" y="4132"/>
                </a:lnTo>
                <a:lnTo>
                  <a:pt x="4082229" y="14003"/>
                </a:lnTo>
                <a:lnTo>
                  <a:pt x="4078210" y="18042"/>
                </a:lnTo>
                <a:lnTo>
                  <a:pt x="4068297" y="18042"/>
                </a:lnTo>
                <a:lnTo>
                  <a:pt x="4064278" y="14003"/>
                </a:lnTo>
                <a:lnTo>
                  <a:pt x="4064278" y="4132"/>
                </a:lnTo>
                <a:close/>
                <a:moveTo>
                  <a:pt x="3828990" y="93"/>
                </a:moveTo>
                <a:lnTo>
                  <a:pt x="3838899" y="93"/>
                </a:lnTo>
                <a:lnTo>
                  <a:pt x="3842917" y="4132"/>
                </a:lnTo>
                <a:lnTo>
                  <a:pt x="3842917" y="14003"/>
                </a:lnTo>
                <a:lnTo>
                  <a:pt x="3838899" y="18042"/>
                </a:lnTo>
                <a:lnTo>
                  <a:pt x="3828990" y="18042"/>
                </a:lnTo>
                <a:lnTo>
                  <a:pt x="3824971" y="14003"/>
                </a:lnTo>
                <a:lnTo>
                  <a:pt x="3824971" y="4132"/>
                </a:lnTo>
                <a:close/>
                <a:moveTo>
                  <a:pt x="3589676" y="93"/>
                </a:moveTo>
                <a:lnTo>
                  <a:pt x="3599585" y="93"/>
                </a:lnTo>
                <a:lnTo>
                  <a:pt x="3603604" y="4132"/>
                </a:lnTo>
                <a:lnTo>
                  <a:pt x="3603604" y="14003"/>
                </a:lnTo>
                <a:lnTo>
                  <a:pt x="3599585" y="18042"/>
                </a:lnTo>
                <a:lnTo>
                  <a:pt x="3589676" y="18042"/>
                </a:lnTo>
                <a:lnTo>
                  <a:pt x="3585657" y="14003"/>
                </a:lnTo>
                <a:lnTo>
                  <a:pt x="3585657" y="4132"/>
                </a:lnTo>
                <a:close/>
                <a:moveTo>
                  <a:pt x="4786241" y="81"/>
                </a:moveTo>
                <a:lnTo>
                  <a:pt x="4796152" y="81"/>
                </a:lnTo>
                <a:lnTo>
                  <a:pt x="4800171" y="4119"/>
                </a:lnTo>
                <a:lnTo>
                  <a:pt x="4800171" y="13990"/>
                </a:lnTo>
                <a:lnTo>
                  <a:pt x="4796152" y="18029"/>
                </a:lnTo>
                <a:lnTo>
                  <a:pt x="4786241" y="18029"/>
                </a:lnTo>
                <a:lnTo>
                  <a:pt x="4782224" y="13990"/>
                </a:lnTo>
                <a:lnTo>
                  <a:pt x="4782224" y="4119"/>
                </a:lnTo>
                <a:close/>
                <a:moveTo>
                  <a:pt x="5743412" y="80"/>
                </a:moveTo>
                <a:lnTo>
                  <a:pt x="5753323" y="80"/>
                </a:lnTo>
                <a:lnTo>
                  <a:pt x="5757342" y="4119"/>
                </a:lnTo>
                <a:lnTo>
                  <a:pt x="5757342" y="13990"/>
                </a:lnTo>
                <a:lnTo>
                  <a:pt x="5753323" y="18029"/>
                </a:lnTo>
                <a:lnTo>
                  <a:pt x="5743412" y="18029"/>
                </a:lnTo>
                <a:lnTo>
                  <a:pt x="5739393" y="13990"/>
                </a:lnTo>
                <a:lnTo>
                  <a:pt x="5739393" y="4119"/>
                </a:lnTo>
                <a:close/>
                <a:moveTo>
                  <a:pt x="5504099" y="80"/>
                </a:moveTo>
                <a:lnTo>
                  <a:pt x="5514010" y="80"/>
                </a:lnTo>
                <a:lnTo>
                  <a:pt x="5518029" y="4119"/>
                </a:lnTo>
                <a:lnTo>
                  <a:pt x="5518029" y="13990"/>
                </a:lnTo>
                <a:lnTo>
                  <a:pt x="5514010" y="18029"/>
                </a:lnTo>
                <a:lnTo>
                  <a:pt x="5504099" y="18029"/>
                </a:lnTo>
                <a:lnTo>
                  <a:pt x="5500080" y="13990"/>
                </a:lnTo>
                <a:lnTo>
                  <a:pt x="5500080" y="4119"/>
                </a:lnTo>
                <a:close/>
                <a:moveTo>
                  <a:pt x="5264784" y="80"/>
                </a:moveTo>
                <a:lnTo>
                  <a:pt x="5274694" y="80"/>
                </a:lnTo>
                <a:lnTo>
                  <a:pt x="5278713" y="4119"/>
                </a:lnTo>
                <a:lnTo>
                  <a:pt x="5278713" y="13990"/>
                </a:lnTo>
                <a:lnTo>
                  <a:pt x="5274694" y="18029"/>
                </a:lnTo>
                <a:lnTo>
                  <a:pt x="5264784" y="18029"/>
                </a:lnTo>
                <a:lnTo>
                  <a:pt x="5260765" y="13990"/>
                </a:lnTo>
                <a:lnTo>
                  <a:pt x="5260765" y="4119"/>
                </a:lnTo>
                <a:close/>
                <a:moveTo>
                  <a:pt x="5025470" y="80"/>
                </a:moveTo>
                <a:lnTo>
                  <a:pt x="5035381" y="80"/>
                </a:lnTo>
                <a:lnTo>
                  <a:pt x="5039400" y="4119"/>
                </a:lnTo>
                <a:lnTo>
                  <a:pt x="5039400" y="13990"/>
                </a:lnTo>
                <a:lnTo>
                  <a:pt x="5035381" y="18029"/>
                </a:lnTo>
                <a:lnTo>
                  <a:pt x="5025470" y="18029"/>
                </a:lnTo>
                <a:lnTo>
                  <a:pt x="5021451" y="13990"/>
                </a:lnTo>
                <a:lnTo>
                  <a:pt x="5021451" y="4119"/>
                </a:lnTo>
                <a:close/>
                <a:moveTo>
                  <a:pt x="6461356" y="68"/>
                </a:moveTo>
                <a:lnTo>
                  <a:pt x="6471266" y="68"/>
                </a:lnTo>
                <a:lnTo>
                  <a:pt x="6475285" y="4106"/>
                </a:lnTo>
                <a:lnTo>
                  <a:pt x="6475285" y="13976"/>
                </a:lnTo>
                <a:lnTo>
                  <a:pt x="6471266" y="18015"/>
                </a:lnTo>
                <a:lnTo>
                  <a:pt x="6461356" y="18015"/>
                </a:lnTo>
                <a:lnTo>
                  <a:pt x="6457337" y="13976"/>
                </a:lnTo>
                <a:lnTo>
                  <a:pt x="6457337" y="4106"/>
                </a:lnTo>
                <a:close/>
                <a:moveTo>
                  <a:pt x="6222042" y="68"/>
                </a:moveTo>
                <a:lnTo>
                  <a:pt x="6231952" y="68"/>
                </a:lnTo>
                <a:lnTo>
                  <a:pt x="6235971" y="4106"/>
                </a:lnTo>
                <a:lnTo>
                  <a:pt x="6235971" y="13977"/>
                </a:lnTo>
                <a:lnTo>
                  <a:pt x="6231952" y="18016"/>
                </a:lnTo>
                <a:lnTo>
                  <a:pt x="6222042" y="18016"/>
                </a:lnTo>
                <a:lnTo>
                  <a:pt x="6218023" y="13977"/>
                </a:lnTo>
                <a:lnTo>
                  <a:pt x="6218023" y="4106"/>
                </a:lnTo>
                <a:close/>
                <a:moveTo>
                  <a:pt x="5982729" y="68"/>
                </a:moveTo>
                <a:lnTo>
                  <a:pt x="5992639" y="68"/>
                </a:lnTo>
                <a:lnTo>
                  <a:pt x="5996658" y="4106"/>
                </a:lnTo>
                <a:lnTo>
                  <a:pt x="5996658" y="13977"/>
                </a:lnTo>
                <a:lnTo>
                  <a:pt x="5992639" y="18016"/>
                </a:lnTo>
                <a:lnTo>
                  <a:pt x="5982729" y="18016"/>
                </a:lnTo>
                <a:lnTo>
                  <a:pt x="5978710" y="13977"/>
                </a:lnTo>
                <a:lnTo>
                  <a:pt x="5978710" y="4106"/>
                </a:lnTo>
                <a:close/>
                <a:moveTo>
                  <a:pt x="6939983" y="67"/>
                </a:moveTo>
                <a:lnTo>
                  <a:pt x="6949894" y="67"/>
                </a:lnTo>
                <a:lnTo>
                  <a:pt x="6953913" y="4105"/>
                </a:lnTo>
                <a:lnTo>
                  <a:pt x="6953913" y="13976"/>
                </a:lnTo>
                <a:lnTo>
                  <a:pt x="6949894" y="18015"/>
                </a:lnTo>
                <a:lnTo>
                  <a:pt x="6939983" y="18015"/>
                </a:lnTo>
                <a:lnTo>
                  <a:pt x="6935964" y="13976"/>
                </a:lnTo>
                <a:lnTo>
                  <a:pt x="6935964" y="4105"/>
                </a:lnTo>
                <a:close/>
                <a:moveTo>
                  <a:pt x="6700670" y="67"/>
                </a:moveTo>
                <a:lnTo>
                  <a:pt x="6710581" y="67"/>
                </a:lnTo>
                <a:lnTo>
                  <a:pt x="6714600" y="4105"/>
                </a:lnTo>
                <a:lnTo>
                  <a:pt x="6714600" y="13976"/>
                </a:lnTo>
                <a:lnTo>
                  <a:pt x="6710581" y="18015"/>
                </a:lnTo>
                <a:lnTo>
                  <a:pt x="6700670" y="18015"/>
                </a:lnTo>
                <a:lnTo>
                  <a:pt x="6696651" y="13976"/>
                </a:lnTo>
                <a:lnTo>
                  <a:pt x="6696651" y="4105"/>
                </a:lnTo>
                <a:close/>
                <a:moveTo>
                  <a:pt x="8136553" y="54"/>
                </a:moveTo>
                <a:lnTo>
                  <a:pt x="8146464" y="54"/>
                </a:lnTo>
                <a:lnTo>
                  <a:pt x="8150483" y="4093"/>
                </a:lnTo>
                <a:lnTo>
                  <a:pt x="8150483" y="13963"/>
                </a:lnTo>
                <a:lnTo>
                  <a:pt x="8146464" y="18002"/>
                </a:lnTo>
                <a:lnTo>
                  <a:pt x="8136553" y="18002"/>
                </a:lnTo>
                <a:lnTo>
                  <a:pt x="8132534" y="13963"/>
                </a:lnTo>
                <a:lnTo>
                  <a:pt x="8132534" y="4093"/>
                </a:lnTo>
                <a:close/>
                <a:moveTo>
                  <a:pt x="7897241" y="54"/>
                </a:moveTo>
                <a:lnTo>
                  <a:pt x="7907151" y="54"/>
                </a:lnTo>
                <a:lnTo>
                  <a:pt x="7911170" y="4093"/>
                </a:lnTo>
                <a:lnTo>
                  <a:pt x="7911170" y="13964"/>
                </a:lnTo>
                <a:lnTo>
                  <a:pt x="7907151" y="18003"/>
                </a:lnTo>
                <a:lnTo>
                  <a:pt x="7897241" y="18003"/>
                </a:lnTo>
                <a:lnTo>
                  <a:pt x="7893222" y="13964"/>
                </a:lnTo>
                <a:lnTo>
                  <a:pt x="7893222" y="4093"/>
                </a:lnTo>
                <a:close/>
                <a:moveTo>
                  <a:pt x="7657926" y="54"/>
                </a:moveTo>
                <a:lnTo>
                  <a:pt x="7667836" y="54"/>
                </a:lnTo>
                <a:lnTo>
                  <a:pt x="7671855" y="4093"/>
                </a:lnTo>
                <a:lnTo>
                  <a:pt x="7671855" y="13964"/>
                </a:lnTo>
                <a:lnTo>
                  <a:pt x="7667836" y="18003"/>
                </a:lnTo>
                <a:lnTo>
                  <a:pt x="7657926" y="18003"/>
                </a:lnTo>
                <a:lnTo>
                  <a:pt x="7653906" y="13964"/>
                </a:lnTo>
                <a:lnTo>
                  <a:pt x="7653906" y="4093"/>
                </a:lnTo>
                <a:close/>
                <a:moveTo>
                  <a:pt x="7418611" y="54"/>
                </a:moveTo>
                <a:lnTo>
                  <a:pt x="7428521" y="54"/>
                </a:lnTo>
                <a:lnTo>
                  <a:pt x="7432540" y="4093"/>
                </a:lnTo>
                <a:lnTo>
                  <a:pt x="7432540" y="13964"/>
                </a:lnTo>
                <a:lnTo>
                  <a:pt x="7428521" y="18003"/>
                </a:lnTo>
                <a:lnTo>
                  <a:pt x="7418611" y="18003"/>
                </a:lnTo>
                <a:lnTo>
                  <a:pt x="7414592" y="13964"/>
                </a:lnTo>
                <a:lnTo>
                  <a:pt x="7414592" y="4093"/>
                </a:lnTo>
                <a:close/>
                <a:moveTo>
                  <a:pt x="7179298" y="54"/>
                </a:moveTo>
                <a:lnTo>
                  <a:pt x="7189209" y="54"/>
                </a:lnTo>
                <a:lnTo>
                  <a:pt x="7193228" y="4093"/>
                </a:lnTo>
                <a:lnTo>
                  <a:pt x="7193228" y="13964"/>
                </a:lnTo>
                <a:lnTo>
                  <a:pt x="7189209" y="18003"/>
                </a:lnTo>
                <a:lnTo>
                  <a:pt x="7179298" y="18003"/>
                </a:lnTo>
                <a:lnTo>
                  <a:pt x="7175279" y="13964"/>
                </a:lnTo>
                <a:lnTo>
                  <a:pt x="7175279" y="4093"/>
                </a:lnTo>
                <a:close/>
                <a:moveTo>
                  <a:pt x="8375869" y="42"/>
                </a:moveTo>
                <a:lnTo>
                  <a:pt x="8385779" y="42"/>
                </a:lnTo>
                <a:lnTo>
                  <a:pt x="8389799" y="4080"/>
                </a:lnTo>
                <a:lnTo>
                  <a:pt x="8389799" y="13951"/>
                </a:lnTo>
                <a:lnTo>
                  <a:pt x="8385779" y="17990"/>
                </a:lnTo>
                <a:lnTo>
                  <a:pt x="8375869" y="17990"/>
                </a:lnTo>
                <a:lnTo>
                  <a:pt x="8371850" y="13951"/>
                </a:lnTo>
                <a:lnTo>
                  <a:pt x="8371850" y="4080"/>
                </a:lnTo>
                <a:close/>
                <a:moveTo>
                  <a:pt x="9333125" y="41"/>
                </a:moveTo>
                <a:lnTo>
                  <a:pt x="9343036" y="41"/>
                </a:lnTo>
                <a:lnTo>
                  <a:pt x="9347055" y="4080"/>
                </a:lnTo>
                <a:lnTo>
                  <a:pt x="9347055" y="13951"/>
                </a:lnTo>
                <a:lnTo>
                  <a:pt x="9343036" y="17990"/>
                </a:lnTo>
                <a:lnTo>
                  <a:pt x="9333125" y="17990"/>
                </a:lnTo>
                <a:lnTo>
                  <a:pt x="9329106" y="13951"/>
                </a:lnTo>
                <a:lnTo>
                  <a:pt x="9329106" y="4080"/>
                </a:lnTo>
                <a:close/>
                <a:moveTo>
                  <a:pt x="9093811" y="41"/>
                </a:moveTo>
                <a:lnTo>
                  <a:pt x="9103722" y="41"/>
                </a:lnTo>
                <a:lnTo>
                  <a:pt x="9107741" y="4080"/>
                </a:lnTo>
                <a:lnTo>
                  <a:pt x="9107741" y="13951"/>
                </a:lnTo>
                <a:lnTo>
                  <a:pt x="9103722" y="17990"/>
                </a:lnTo>
                <a:lnTo>
                  <a:pt x="9093811" y="17990"/>
                </a:lnTo>
                <a:lnTo>
                  <a:pt x="9089792" y="13951"/>
                </a:lnTo>
                <a:lnTo>
                  <a:pt x="9089792" y="4080"/>
                </a:lnTo>
                <a:close/>
                <a:moveTo>
                  <a:pt x="8854496" y="41"/>
                </a:moveTo>
                <a:lnTo>
                  <a:pt x="8864407" y="41"/>
                </a:lnTo>
                <a:lnTo>
                  <a:pt x="8868426" y="4080"/>
                </a:lnTo>
                <a:lnTo>
                  <a:pt x="8868426" y="13951"/>
                </a:lnTo>
                <a:lnTo>
                  <a:pt x="8864407" y="17990"/>
                </a:lnTo>
                <a:lnTo>
                  <a:pt x="8854496" y="17990"/>
                </a:lnTo>
                <a:lnTo>
                  <a:pt x="8850477" y="13951"/>
                </a:lnTo>
                <a:lnTo>
                  <a:pt x="8850477" y="4080"/>
                </a:lnTo>
                <a:close/>
                <a:moveTo>
                  <a:pt x="8615184" y="41"/>
                </a:moveTo>
                <a:lnTo>
                  <a:pt x="8625095" y="41"/>
                </a:lnTo>
                <a:lnTo>
                  <a:pt x="8629114" y="4080"/>
                </a:lnTo>
                <a:lnTo>
                  <a:pt x="8629114" y="13951"/>
                </a:lnTo>
                <a:lnTo>
                  <a:pt x="8625095" y="17990"/>
                </a:lnTo>
                <a:lnTo>
                  <a:pt x="8615184" y="17990"/>
                </a:lnTo>
                <a:lnTo>
                  <a:pt x="8611165" y="13951"/>
                </a:lnTo>
                <a:lnTo>
                  <a:pt x="8611165" y="4080"/>
                </a:lnTo>
                <a:close/>
                <a:moveTo>
                  <a:pt x="961275" y="41"/>
                </a:moveTo>
                <a:lnTo>
                  <a:pt x="971184" y="41"/>
                </a:lnTo>
                <a:lnTo>
                  <a:pt x="975204" y="4080"/>
                </a:lnTo>
                <a:lnTo>
                  <a:pt x="975204" y="13951"/>
                </a:lnTo>
                <a:lnTo>
                  <a:pt x="971184" y="17990"/>
                </a:lnTo>
                <a:lnTo>
                  <a:pt x="961275" y="17990"/>
                </a:lnTo>
                <a:lnTo>
                  <a:pt x="957256" y="13951"/>
                </a:lnTo>
                <a:lnTo>
                  <a:pt x="957256" y="4080"/>
                </a:lnTo>
                <a:close/>
                <a:moveTo>
                  <a:pt x="1679221" y="41"/>
                </a:moveTo>
                <a:lnTo>
                  <a:pt x="1689131" y="41"/>
                </a:lnTo>
                <a:lnTo>
                  <a:pt x="1693151" y="4079"/>
                </a:lnTo>
                <a:lnTo>
                  <a:pt x="1693151" y="13950"/>
                </a:lnTo>
                <a:lnTo>
                  <a:pt x="1689131" y="17989"/>
                </a:lnTo>
                <a:lnTo>
                  <a:pt x="1679221" y="17989"/>
                </a:lnTo>
                <a:lnTo>
                  <a:pt x="1675203" y="13950"/>
                </a:lnTo>
                <a:lnTo>
                  <a:pt x="1675203" y="4079"/>
                </a:lnTo>
                <a:close/>
                <a:moveTo>
                  <a:pt x="1439904" y="41"/>
                </a:moveTo>
                <a:lnTo>
                  <a:pt x="1449813" y="41"/>
                </a:lnTo>
                <a:lnTo>
                  <a:pt x="1453833" y="4079"/>
                </a:lnTo>
                <a:lnTo>
                  <a:pt x="1453833" y="13950"/>
                </a:lnTo>
                <a:lnTo>
                  <a:pt x="1449813" y="17989"/>
                </a:lnTo>
                <a:lnTo>
                  <a:pt x="1439904" y="17989"/>
                </a:lnTo>
                <a:lnTo>
                  <a:pt x="1435885" y="13950"/>
                </a:lnTo>
                <a:lnTo>
                  <a:pt x="1435885" y="4079"/>
                </a:lnTo>
                <a:close/>
                <a:moveTo>
                  <a:pt x="1200587" y="41"/>
                </a:moveTo>
                <a:lnTo>
                  <a:pt x="1210497" y="41"/>
                </a:lnTo>
                <a:lnTo>
                  <a:pt x="1214516" y="4080"/>
                </a:lnTo>
                <a:lnTo>
                  <a:pt x="1214516" y="13951"/>
                </a:lnTo>
                <a:lnTo>
                  <a:pt x="1210497" y="17989"/>
                </a:lnTo>
                <a:lnTo>
                  <a:pt x="1200587" y="17989"/>
                </a:lnTo>
                <a:lnTo>
                  <a:pt x="1196568" y="13951"/>
                </a:lnTo>
                <a:lnTo>
                  <a:pt x="1196568" y="4080"/>
                </a:lnTo>
                <a:close/>
                <a:moveTo>
                  <a:pt x="1918515" y="31"/>
                </a:moveTo>
                <a:lnTo>
                  <a:pt x="1928425" y="31"/>
                </a:lnTo>
                <a:lnTo>
                  <a:pt x="1932444" y="4069"/>
                </a:lnTo>
                <a:lnTo>
                  <a:pt x="1932444" y="13940"/>
                </a:lnTo>
                <a:lnTo>
                  <a:pt x="1928425" y="17979"/>
                </a:lnTo>
                <a:lnTo>
                  <a:pt x="1918515" y="17979"/>
                </a:lnTo>
                <a:lnTo>
                  <a:pt x="1914497" y="13940"/>
                </a:lnTo>
                <a:lnTo>
                  <a:pt x="1914497" y="4069"/>
                </a:lnTo>
                <a:close/>
                <a:moveTo>
                  <a:pt x="9572438" y="29"/>
                </a:moveTo>
                <a:lnTo>
                  <a:pt x="9582349" y="29"/>
                </a:lnTo>
                <a:lnTo>
                  <a:pt x="9586368" y="4067"/>
                </a:lnTo>
                <a:lnTo>
                  <a:pt x="9586368" y="13938"/>
                </a:lnTo>
                <a:lnTo>
                  <a:pt x="9582349" y="17977"/>
                </a:lnTo>
                <a:lnTo>
                  <a:pt x="9572438" y="17977"/>
                </a:lnTo>
                <a:lnTo>
                  <a:pt x="9568419" y="13938"/>
                </a:lnTo>
                <a:lnTo>
                  <a:pt x="9568419" y="4067"/>
                </a:lnTo>
                <a:close/>
                <a:moveTo>
                  <a:pt x="2157824" y="28"/>
                </a:moveTo>
                <a:lnTo>
                  <a:pt x="2167734" y="28"/>
                </a:lnTo>
                <a:lnTo>
                  <a:pt x="2171753" y="4067"/>
                </a:lnTo>
                <a:lnTo>
                  <a:pt x="2171753" y="13938"/>
                </a:lnTo>
                <a:lnTo>
                  <a:pt x="2167734" y="17977"/>
                </a:lnTo>
                <a:lnTo>
                  <a:pt x="2157824" y="17977"/>
                </a:lnTo>
                <a:lnTo>
                  <a:pt x="2153804" y="13938"/>
                </a:lnTo>
                <a:lnTo>
                  <a:pt x="2153804" y="4067"/>
                </a:lnTo>
                <a:close/>
                <a:moveTo>
                  <a:pt x="721977" y="0"/>
                </a:moveTo>
                <a:lnTo>
                  <a:pt x="731887" y="0"/>
                </a:lnTo>
                <a:lnTo>
                  <a:pt x="735906" y="4039"/>
                </a:lnTo>
                <a:lnTo>
                  <a:pt x="735906" y="13910"/>
                </a:lnTo>
                <a:lnTo>
                  <a:pt x="731887" y="17949"/>
                </a:lnTo>
                <a:lnTo>
                  <a:pt x="721977" y="17949"/>
                </a:lnTo>
                <a:lnTo>
                  <a:pt x="717959" y="13910"/>
                </a:lnTo>
                <a:lnTo>
                  <a:pt x="717959" y="4039"/>
                </a:lnTo>
                <a:close/>
                <a:moveTo>
                  <a:pt x="482665" y="0"/>
                </a:moveTo>
                <a:lnTo>
                  <a:pt x="492575" y="0"/>
                </a:lnTo>
                <a:lnTo>
                  <a:pt x="496594" y="4039"/>
                </a:lnTo>
                <a:lnTo>
                  <a:pt x="496594" y="13910"/>
                </a:lnTo>
                <a:lnTo>
                  <a:pt x="492575" y="17949"/>
                </a:lnTo>
                <a:lnTo>
                  <a:pt x="482665" y="17949"/>
                </a:lnTo>
                <a:lnTo>
                  <a:pt x="478646" y="13910"/>
                </a:lnTo>
                <a:lnTo>
                  <a:pt x="478646" y="4039"/>
                </a:lnTo>
                <a:close/>
                <a:moveTo>
                  <a:pt x="243351" y="0"/>
                </a:moveTo>
                <a:lnTo>
                  <a:pt x="253261" y="0"/>
                </a:lnTo>
                <a:lnTo>
                  <a:pt x="257281" y="4039"/>
                </a:lnTo>
                <a:lnTo>
                  <a:pt x="257281" y="13910"/>
                </a:lnTo>
                <a:lnTo>
                  <a:pt x="253261" y="17949"/>
                </a:lnTo>
                <a:lnTo>
                  <a:pt x="243351" y="17949"/>
                </a:lnTo>
                <a:lnTo>
                  <a:pt x="239332" y="13910"/>
                </a:lnTo>
                <a:lnTo>
                  <a:pt x="239332" y="4039"/>
                </a:lnTo>
                <a:close/>
                <a:moveTo>
                  <a:pt x="4039" y="0"/>
                </a:moveTo>
                <a:lnTo>
                  <a:pt x="13948" y="0"/>
                </a:lnTo>
                <a:lnTo>
                  <a:pt x="17967" y="4039"/>
                </a:lnTo>
                <a:lnTo>
                  <a:pt x="17967" y="13910"/>
                </a:lnTo>
                <a:lnTo>
                  <a:pt x="13948" y="17949"/>
                </a:lnTo>
                <a:lnTo>
                  <a:pt x="4039" y="17949"/>
                </a:lnTo>
                <a:lnTo>
                  <a:pt x="19" y="13910"/>
                </a:lnTo>
                <a:lnTo>
                  <a:pt x="19" y="4039"/>
                </a:lnTo>
                <a:close/>
              </a:path>
            </a:pathLst>
          </a:custGeom>
          <a:solidFill>
            <a:schemeClr val="tx1">
              <a:lumMod val="40000"/>
              <a:lumOff val="60000"/>
              <a:alpha val="29998"/>
            </a:schemeClr>
          </a:solidFill>
        </p:spPr>
        <p:txBody>
          <a:bodyPr wrap="square" lIns="0" tIns="0" rIns="0" bIns="0" rtlCol="0">
            <a:noAutofit/>
          </a:bodyPr>
          <a:lstStyle/>
          <a:p>
            <a:endParaRPr lang="da-DK" sz="1662">
              <a:solidFill>
                <a:srgbClr val="1F2023"/>
              </a:solidFill>
            </a:endParaRPr>
          </a:p>
        </p:txBody>
      </p:sp>
      <p:sp>
        <p:nvSpPr>
          <p:cNvPr id="10" name="Date_GeneralDate" hidden="1">
            <a:extLst>
              <a:ext uri="{FF2B5EF4-FFF2-40B4-BE49-F238E27FC236}">
                <a16:creationId xmlns:a16="http://schemas.microsoft.com/office/drawing/2014/main" id="{23350E22-3120-4C9B-920B-CE4162372EA5}"/>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1" name="Title 1">
            <a:extLst>
              <a:ext uri="{FF2B5EF4-FFF2-40B4-BE49-F238E27FC236}">
                <a16:creationId xmlns:a16="http://schemas.microsoft.com/office/drawing/2014/main" id="{50986CB7-056C-4078-AA30-E257B984734F}"/>
              </a:ext>
            </a:extLst>
          </p:cNvPr>
          <p:cNvSpPr>
            <a:spLocks noGrp="1"/>
          </p:cNvSpPr>
          <p:nvPr>
            <p:ph type="title"/>
          </p:nvPr>
        </p:nvSpPr>
        <p:spPr>
          <a:xfrm>
            <a:off x="249116" y="269876"/>
            <a:ext cx="7606283" cy="692336"/>
          </a:xfrm>
        </p:spPr>
        <p:txBody>
          <a:bodyPr/>
          <a:lstStyle>
            <a:lvl1pPr>
              <a:defRPr>
                <a:solidFill>
                  <a:srgbClr val="1F2023"/>
                </a:solidFill>
              </a:defRPr>
            </a:lvl1pPr>
          </a:lstStyle>
          <a:p>
            <a:r>
              <a:rPr lang="da-DK"/>
              <a:t>Click to edit Master title style</a:t>
            </a:r>
          </a:p>
        </p:txBody>
      </p:sp>
      <p:sp>
        <p:nvSpPr>
          <p:cNvPr id="14" name="Text Placeholder 12">
            <a:extLst>
              <a:ext uri="{FF2B5EF4-FFF2-40B4-BE49-F238E27FC236}">
                <a16:creationId xmlns:a16="http://schemas.microsoft.com/office/drawing/2014/main" id="{A03F66CC-3EA1-46EC-B7C3-3CFF80CE5BAD}"/>
              </a:ext>
            </a:extLst>
          </p:cNvPr>
          <p:cNvSpPr>
            <a:spLocks noGrp="1"/>
          </p:cNvSpPr>
          <p:nvPr>
            <p:ph type="body" sz="quarter" idx="13" hasCustomPrompt="1"/>
          </p:nvPr>
        </p:nvSpPr>
        <p:spPr>
          <a:xfrm>
            <a:off x="249115" y="6502395"/>
            <a:ext cx="6225333" cy="106116"/>
          </a:xfrm>
        </p:spPr>
        <p:txBody>
          <a:bodyPr rIns="0" anchor="t" anchorCtr="0"/>
          <a:lstStyle>
            <a:lvl1pPr marL="0" indent="0"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1pPr>
            <a:lvl2pPr marL="128591" indent="-128591" algn="l" defTabSz="685817" rtl="0" eaLnBrk="1" latinLnBrk="0" hangingPunct="1">
              <a:spcBef>
                <a:spcPts val="0"/>
              </a:spcBef>
              <a:spcAft>
                <a:spcPts val="0"/>
              </a:spcAft>
              <a:buFont typeface="Arial" panose="020B0604020202020204" pitchFamily="34" charset="0"/>
              <a:buChar char="•"/>
              <a:defRPr lang="en-US" sz="600" kern="1200" dirty="0" smtClean="0">
                <a:solidFill>
                  <a:srgbClr val="1F2023"/>
                </a:solidFill>
                <a:latin typeface="Arial" panose="020B0604020202020204" pitchFamily="34" charset="0"/>
                <a:ea typeface="+mn-ea"/>
                <a:cs typeface="Arial" panose="020B0604020202020204" pitchFamily="34" charset="0"/>
              </a:defRPr>
            </a:lvl2pPr>
            <a:lvl3pPr marL="171455" indent="-171455" algn="l" defTabSz="685817" rtl="0" eaLnBrk="1" latinLnBrk="0" hangingPunct="1">
              <a:spcBef>
                <a:spcPts val="0"/>
              </a:spcBef>
              <a:spcAft>
                <a:spcPts val="0"/>
              </a:spcAft>
              <a:buFont typeface="+mj-lt"/>
              <a:buAutoNum type="arabicPeriod"/>
              <a:defRPr lang="en-US" sz="600" kern="1200" dirty="0" smtClean="0">
                <a:solidFill>
                  <a:srgbClr val="1F2023"/>
                </a:solidFill>
                <a:latin typeface="Arial" panose="020B0604020202020204" pitchFamily="34" charset="0"/>
                <a:ea typeface="+mn-ea"/>
                <a:cs typeface="Arial" panose="020B0604020202020204" pitchFamily="34" charset="0"/>
              </a:defRPr>
            </a:lvl3pPr>
            <a:lvl4pPr marL="171455" indent="-171455" algn="l" defTabSz="685817" rtl="0" eaLnBrk="1" latinLnBrk="0" hangingPunct="1">
              <a:spcBef>
                <a:spcPts val="0"/>
              </a:spcBef>
              <a:spcAft>
                <a:spcPts val="0"/>
              </a:spcAft>
              <a:buFont typeface="+mj-lt"/>
              <a:buAutoNum type="alphaUcPeriod"/>
              <a:defRPr lang="en-US" sz="600" kern="1200" dirty="0" smtClean="0">
                <a:solidFill>
                  <a:srgbClr val="1F2023"/>
                </a:solidFill>
                <a:latin typeface="Arial" panose="020B0604020202020204" pitchFamily="34" charset="0"/>
                <a:ea typeface="+mn-ea"/>
                <a:cs typeface="Arial" panose="020B0604020202020204" pitchFamily="34" charset="0"/>
              </a:defRPr>
            </a:lvl4pPr>
            <a:lvl5pPr marL="0" algn="l" defTabSz="685817" rtl="0" eaLnBrk="1" latinLnBrk="0" hangingPunct="1">
              <a:defRPr lang="en-GB" sz="825"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5" name="Text Placeholder 3">
            <a:extLst>
              <a:ext uri="{FF2B5EF4-FFF2-40B4-BE49-F238E27FC236}">
                <a16:creationId xmlns:a16="http://schemas.microsoft.com/office/drawing/2014/main" id="{9346FEE7-F58C-4653-875F-20F2C6EEB84D}"/>
              </a:ext>
            </a:extLst>
          </p:cNvPr>
          <p:cNvSpPr>
            <a:spLocks noGrp="1"/>
          </p:cNvSpPr>
          <p:nvPr>
            <p:ph type="body" sz="quarter" idx="14" hasCustomPrompt="1"/>
          </p:nvPr>
        </p:nvSpPr>
        <p:spPr>
          <a:xfrm>
            <a:off x="6654815" y="6504110"/>
            <a:ext cx="1826642" cy="106116"/>
          </a:xfrm>
        </p:spPr>
        <p:txBody>
          <a:bodyPr rIns="0"/>
          <a:lstStyle>
            <a:lvl1pPr algn="r">
              <a:defRPr sz="600">
                <a:solidFill>
                  <a:srgbClr val="1F2023"/>
                </a:solidFill>
              </a:defRPr>
            </a:lvl1pPr>
            <a:lvl2pPr>
              <a:defRPr sz="600"/>
            </a:lvl2pPr>
            <a:lvl3pPr>
              <a:defRPr sz="600"/>
            </a:lvl3pPr>
            <a:lvl4pPr>
              <a:defRPr sz="600"/>
            </a:lvl4pPr>
            <a:lvl5pPr>
              <a:defRPr sz="600"/>
            </a:lvl5pPr>
          </a:lstStyle>
          <a:p>
            <a:pPr lvl="0"/>
            <a:r>
              <a:rPr lang="da-DK"/>
              <a:t>Tracker</a:t>
            </a:r>
          </a:p>
        </p:txBody>
      </p:sp>
      <p:sp>
        <p:nvSpPr>
          <p:cNvPr id="3" name="Slide Number Placeholder 2">
            <a:extLst>
              <a:ext uri="{FF2B5EF4-FFF2-40B4-BE49-F238E27FC236}">
                <a16:creationId xmlns:a16="http://schemas.microsoft.com/office/drawing/2014/main" id="{B720274E-E286-4C44-906F-81F4B3D49EC3}"/>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545957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10" name="Date_GeneralDate" hidden="1">
            <a:extLst>
              <a:ext uri="{FF2B5EF4-FFF2-40B4-BE49-F238E27FC236}">
                <a16:creationId xmlns:a16="http://schemas.microsoft.com/office/drawing/2014/main" id="{23350E22-3120-4C9B-920B-CE4162372EA5}"/>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14" name="Rectangle 13">
            <a:extLst>
              <a:ext uri="{FF2B5EF4-FFF2-40B4-BE49-F238E27FC236}">
                <a16:creationId xmlns:a16="http://schemas.microsoft.com/office/drawing/2014/main" id="{7F746A38-ADBE-4B99-A0FF-A026AF761359}"/>
              </a:ext>
            </a:extLst>
          </p:cNvPr>
          <p:cNvSpPr/>
          <p:nvPr userDrawn="1"/>
        </p:nvSpPr>
        <p:spPr>
          <a:xfrm>
            <a:off x="0" y="0"/>
            <a:ext cx="3024554" cy="6858000"/>
          </a:xfrm>
          <a:prstGeom prst="rect">
            <a:avLst/>
          </a:prstGeom>
          <a:solidFill>
            <a:srgbClr val="8AA29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9692" tIns="99692" rIns="99692" bIns="99692" rtlCol="0" anchor="t" anchorCtr="0">
            <a:noAutofit/>
          </a:bodyPr>
          <a:lstStyle/>
          <a:p>
            <a:pPr algn="l"/>
            <a:endParaRPr lang="da-DK" sz="1015" noProof="0" err="1">
              <a:solidFill>
                <a:srgbClr val="2F363B"/>
              </a:solidFill>
            </a:endParaRPr>
          </a:p>
        </p:txBody>
      </p:sp>
      <p:sp>
        <p:nvSpPr>
          <p:cNvPr id="15" name="Rectangle 14">
            <a:extLst>
              <a:ext uri="{FF2B5EF4-FFF2-40B4-BE49-F238E27FC236}">
                <a16:creationId xmlns:a16="http://schemas.microsoft.com/office/drawing/2014/main" id="{3DD6108D-EB2B-49D1-BF3F-6212EF679FC6}"/>
              </a:ext>
            </a:extLst>
          </p:cNvPr>
          <p:cNvSpPr/>
          <p:nvPr userDrawn="1"/>
        </p:nvSpPr>
        <p:spPr>
          <a:xfrm>
            <a:off x="0" y="1397000"/>
            <a:ext cx="7855399" cy="5461000"/>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t" anchorCtr="0" forceAA="0" compatLnSpc="1">
            <a:prstTxWarp prst="textNoShape">
              <a:avLst/>
            </a:prstTxWarp>
            <a:noAutofit/>
          </a:bodyPr>
          <a:lstStyle/>
          <a:p>
            <a:pPr algn="l"/>
            <a:endParaRPr lang="da-DK" sz="923" noProof="0">
              <a:solidFill>
                <a:srgbClr val="1F2023"/>
              </a:solidFill>
            </a:endParaRPr>
          </a:p>
        </p:txBody>
      </p:sp>
      <p:sp>
        <p:nvSpPr>
          <p:cNvPr id="16" name="object 5">
            <a:extLst>
              <a:ext uri="{FF2B5EF4-FFF2-40B4-BE49-F238E27FC236}">
                <a16:creationId xmlns:a16="http://schemas.microsoft.com/office/drawing/2014/main" id="{51ABF881-B85C-4C84-B59E-DABB5EF2BB04}"/>
              </a:ext>
            </a:extLst>
          </p:cNvPr>
          <p:cNvSpPr txBox="1">
            <a:spLocks/>
          </p:cNvSpPr>
          <p:nvPr userDrawn="1"/>
        </p:nvSpPr>
        <p:spPr>
          <a:xfrm>
            <a:off x="779004" y="1963933"/>
            <a:ext cx="3856779" cy="1042039"/>
          </a:xfrm>
          <a:prstGeom prst="rect">
            <a:avLst/>
          </a:prstGeom>
        </p:spPr>
        <p:txBody>
          <a:bodyPr vert="horz" wrap="square" lIns="0" tIns="10630" rIns="0" bIns="0" rtlCol="0">
            <a:spAutoFit/>
          </a:bodyPr>
          <a:lstStyle>
            <a:lvl1pPr>
              <a:defRPr sz="9000" b="0" i="0">
                <a:solidFill>
                  <a:srgbClr val="231E21"/>
                </a:solidFill>
                <a:latin typeface="Arial Regular"/>
                <a:ea typeface="+mj-ea"/>
                <a:cs typeface="Arial Regular"/>
              </a:defRPr>
            </a:lvl1pPr>
          </a:lstStyle>
          <a:p>
            <a:pPr marL="10630">
              <a:spcBef>
                <a:spcPts val="84"/>
              </a:spcBef>
            </a:pPr>
            <a:endParaRPr lang="da-DK" sz="6696" kern="0">
              <a:latin typeface="Impact" panose="020B0806030902050204" pitchFamily="34" charset="0"/>
              <a:ea typeface="Grotzec More Condensed" charset="0"/>
              <a:cs typeface="Grotzec More Condensed" charset="0"/>
            </a:endParaRPr>
          </a:p>
        </p:txBody>
      </p:sp>
      <p:sp>
        <p:nvSpPr>
          <p:cNvPr id="19" name="object 9">
            <a:extLst>
              <a:ext uri="{FF2B5EF4-FFF2-40B4-BE49-F238E27FC236}">
                <a16:creationId xmlns:a16="http://schemas.microsoft.com/office/drawing/2014/main" id="{EB533D22-278D-4D48-8B21-DB708D705C81}"/>
              </a:ext>
            </a:extLst>
          </p:cNvPr>
          <p:cNvSpPr txBox="1"/>
          <p:nvPr/>
        </p:nvSpPr>
        <p:spPr>
          <a:xfrm>
            <a:off x="875336" y="3265355"/>
            <a:ext cx="902084" cy="239845"/>
          </a:xfrm>
          <a:prstGeom prst="rect">
            <a:avLst/>
          </a:prstGeom>
        </p:spPr>
        <p:txBody>
          <a:bodyPr vert="horz" wrap="square" lIns="0" tIns="0" rIns="0" bIns="0" rtlCol="0">
            <a:noAutofit/>
          </a:bodyPr>
          <a:lstStyle/>
          <a:p>
            <a:pPr>
              <a:lnSpc>
                <a:spcPct val="100000"/>
              </a:lnSpc>
              <a:spcAft>
                <a:spcPts val="0"/>
              </a:spcAft>
            </a:pPr>
            <a:r>
              <a:rPr lang="da-DK" sz="1506" b="1" spc="38">
                <a:solidFill>
                  <a:srgbClr val="30373B"/>
                </a:solidFill>
                <a:latin typeface="+mj-lt"/>
                <a:cs typeface="Trebuchet MS"/>
              </a:rPr>
              <a:t>Conta</a:t>
            </a:r>
            <a:r>
              <a:rPr lang="da-DK" sz="1506" b="1" spc="25">
                <a:solidFill>
                  <a:srgbClr val="30373B"/>
                </a:solidFill>
                <a:latin typeface="+mj-lt"/>
                <a:cs typeface="Trebuchet MS"/>
              </a:rPr>
              <a:t>c</a:t>
            </a:r>
            <a:r>
              <a:rPr lang="da-DK" sz="1506" b="1" spc="-21">
                <a:solidFill>
                  <a:srgbClr val="30373B"/>
                </a:solidFill>
                <a:latin typeface="+mj-lt"/>
                <a:cs typeface="Trebuchet MS"/>
              </a:rPr>
              <a:t>t</a:t>
            </a:r>
            <a:endParaRPr lang="da-DK" sz="1506" b="1">
              <a:solidFill>
                <a:srgbClr val="30373B"/>
              </a:solidFill>
              <a:latin typeface="+mj-lt"/>
              <a:cs typeface="Trebuchet MS"/>
            </a:endParaRPr>
          </a:p>
        </p:txBody>
      </p:sp>
      <p:cxnSp>
        <p:nvCxnSpPr>
          <p:cNvPr id="21" name="Straight Connector 20">
            <a:extLst>
              <a:ext uri="{FF2B5EF4-FFF2-40B4-BE49-F238E27FC236}">
                <a16:creationId xmlns:a16="http://schemas.microsoft.com/office/drawing/2014/main" id="{DC18D7EB-A920-491A-A8EB-D7FAD4435608}"/>
              </a:ext>
            </a:extLst>
          </p:cNvPr>
          <p:cNvCxnSpPr>
            <a:cxnSpLocks/>
          </p:cNvCxnSpPr>
          <p:nvPr/>
        </p:nvCxnSpPr>
        <p:spPr>
          <a:xfrm>
            <a:off x="1978567" y="3284404"/>
            <a:ext cx="0" cy="668732"/>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753CC225-3E09-4B00-B858-336FCB07C3F3}"/>
              </a:ext>
            </a:extLst>
          </p:cNvPr>
          <p:cNvSpPr>
            <a:spLocks noGrp="1"/>
          </p:cNvSpPr>
          <p:nvPr userDrawn="1">
            <p:ph type="title" hasCustomPrompt="1"/>
          </p:nvPr>
        </p:nvSpPr>
        <p:spPr>
          <a:xfrm>
            <a:off x="846329" y="2125769"/>
            <a:ext cx="4447442" cy="867598"/>
          </a:xfrm>
          <a:noFill/>
        </p:spPr>
        <p:txBody>
          <a:bodyPr lIns="0" tIns="0" rIns="0"/>
          <a:lstStyle>
            <a:lvl1pPr>
              <a:defRPr sz="6646" cap="all" baseline="0">
                <a:solidFill>
                  <a:srgbClr val="30373B"/>
                </a:solidFill>
                <a:latin typeface="Impact" panose="020B0806030902050204" pitchFamily="34" charset="0"/>
              </a:defRPr>
            </a:lvl1pPr>
          </a:lstStyle>
          <a:p>
            <a:r>
              <a:rPr lang="da-DK"/>
              <a:t>Thank you</a:t>
            </a:r>
          </a:p>
        </p:txBody>
      </p:sp>
      <p:sp>
        <p:nvSpPr>
          <p:cNvPr id="25" name="Text Placeholder 13">
            <a:extLst>
              <a:ext uri="{FF2B5EF4-FFF2-40B4-BE49-F238E27FC236}">
                <a16:creationId xmlns:a16="http://schemas.microsoft.com/office/drawing/2014/main" id="{AD493141-6163-4B9F-BB64-266DC978A36B}"/>
              </a:ext>
            </a:extLst>
          </p:cNvPr>
          <p:cNvSpPr>
            <a:spLocks noGrp="1"/>
          </p:cNvSpPr>
          <p:nvPr>
            <p:ph type="body" sz="quarter" idx="17" hasCustomPrompt="1"/>
          </p:nvPr>
        </p:nvSpPr>
        <p:spPr>
          <a:xfrm>
            <a:off x="2101362" y="3350048"/>
            <a:ext cx="4201456" cy="555412"/>
          </a:xfrm>
        </p:spPr>
        <p:txBody>
          <a:bodyPr anchor="b" anchorCtr="0"/>
          <a:lstStyle>
            <a:lvl1pPr marL="0" indent="0">
              <a:spcBef>
                <a:spcPts val="0"/>
              </a:spcBef>
              <a:buFont typeface="Arial" panose="020B0604020202020204" pitchFamily="34" charset="0"/>
              <a:buNone/>
              <a:defRPr sz="1015">
                <a:solidFill>
                  <a:srgbClr val="30373B"/>
                </a:solidFill>
              </a:defRPr>
            </a:lvl1pPr>
          </a:lstStyle>
          <a:p>
            <a:pPr lvl="0"/>
            <a:r>
              <a:rPr lang="da-DK"/>
              <a:t>Name</a:t>
            </a:r>
          </a:p>
          <a:p>
            <a:pPr lvl="0"/>
            <a:r>
              <a:rPr lang="da-DK"/>
              <a:t>Phone</a:t>
            </a:r>
          </a:p>
          <a:p>
            <a:pPr lvl="0"/>
            <a:r>
              <a:rPr lang="da-DK"/>
              <a:t>Email</a:t>
            </a:r>
          </a:p>
        </p:txBody>
      </p:sp>
      <p:sp>
        <p:nvSpPr>
          <p:cNvPr id="11" name="Freeform: Shape 10">
            <a:extLst>
              <a:ext uri="{FF2B5EF4-FFF2-40B4-BE49-F238E27FC236}">
                <a16:creationId xmlns:a16="http://schemas.microsoft.com/office/drawing/2014/main" id="{D627D054-E733-4AF4-96A8-BC1F94E35A96}"/>
              </a:ext>
            </a:extLst>
          </p:cNvPr>
          <p:cNvSpPr/>
          <p:nvPr userDrawn="1">
            <p:custDataLst>
              <p:tags r:id="rId1"/>
            </p:custDataLst>
          </p:nvPr>
        </p:nvSpPr>
        <p:spPr bwMode="auto">
          <a:xfrm rot="5400000">
            <a:off x="8131101" y="799617"/>
            <a:ext cx="1258889" cy="265746"/>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r>
              <a:rPr lang="da-DK" sz="1662">
                <a:solidFill>
                  <a:srgbClr val="1F2023"/>
                </a:solidFill>
              </a:rPr>
              <a:t> </a:t>
            </a:r>
          </a:p>
        </p:txBody>
      </p:sp>
      <p:sp>
        <p:nvSpPr>
          <p:cNvPr id="12" name="Slide Number Placeholder 5">
            <a:extLst>
              <a:ext uri="{FF2B5EF4-FFF2-40B4-BE49-F238E27FC236}">
                <a16:creationId xmlns:a16="http://schemas.microsoft.com/office/drawing/2014/main" id="{45917C81-1CE5-4076-B4C6-1928E494EF3C}"/>
              </a:ext>
            </a:extLst>
          </p:cNvPr>
          <p:cNvSpPr>
            <a:spLocks noGrp="1"/>
          </p:cNvSpPr>
          <p:nvPr>
            <p:ph type="sldNum" sz="quarter" idx="22"/>
          </p:nvPr>
        </p:nvSpPr>
        <p:spPr>
          <a:xfrm>
            <a:off x="8656781" y="6496424"/>
            <a:ext cx="236639" cy="112086"/>
          </a:xfrm>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3146710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Reference case_short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3C5E530-08C3-4F11-A2C6-6DF146319896}"/>
              </a:ext>
            </a:extLst>
          </p:cNvPr>
          <p:cNvGraphicFramePr>
            <a:graphicFrameLocks noChangeAspect="1"/>
          </p:cNvGraphicFramePr>
          <p:nvPr userDrawn="1">
            <p:custDataLst>
              <p:tags r:id="rId2"/>
            </p:custDataLst>
            <p:extLst>
              <p:ext uri="{D42A27DB-BD31-4B8C-83A1-F6EECF244321}">
                <p14:modId xmlns:p14="http://schemas.microsoft.com/office/powerpoint/2010/main" val="330408872"/>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spid="_x0000_s3089" name="think-cell Slide" r:id="rId5" imgW="526" imgH="526" progId="TCLayout.ActiveDocument.1">
                  <p:embed/>
                </p:oleObj>
              </mc:Choice>
              <mc:Fallback>
                <p:oleObj name="think-cell Slide" r:id="rId5" imgW="526" imgH="526" progId="TCLayout.ActiveDocument.1">
                  <p:embed/>
                  <p:pic>
                    <p:nvPicPr>
                      <p:cNvPr id="4" name="Object 3" hidden="1">
                        <a:extLst>
                          <a:ext uri="{FF2B5EF4-FFF2-40B4-BE49-F238E27FC236}">
                            <a16:creationId xmlns:a16="http://schemas.microsoft.com/office/drawing/2014/main" id="{D3C5E530-08C3-4F11-A2C6-6DF146319896}"/>
                          </a:ext>
                        </a:extLst>
                      </p:cNvPr>
                      <p:cNvPicPr/>
                      <p:nvPr/>
                    </p:nvPicPr>
                    <p:blipFill>
                      <a:blip r:embed="rId6"/>
                      <a:stretch>
                        <a:fillRect/>
                      </a:stretch>
                    </p:blipFill>
                    <p:spPr>
                      <a:xfrm>
                        <a:off x="1466" y="1588"/>
                        <a:ext cx="1466"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C39504E-4D73-4AF2-88D2-BD5DC83852B1}"/>
              </a:ext>
            </a:extLst>
          </p:cNvPr>
          <p:cNvSpPr/>
          <p:nvPr userDrawn="1">
            <p:custDataLst>
              <p:tags r:id="rId3"/>
            </p:custDataLst>
          </p:nvPr>
        </p:nvSpPr>
        <p:spPr>
          <a:xfrm>
            <a:off x="0" y="0"/>
            <a:ext cx="146538"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da-DK" sz="4616" b="0" i="0" baseline="0" noProof="0" err="1">
              <a:solidFill>
                <a:srgbClr val="2F363B"/>
              </a:solidFill>
              <a:latin typeface="Impact" panose="020B0806030902050204" pitchFamily="34" charset="0"/>
              <a:ea typeface="+mj-ea"/>
              <a:cs typeface="+mj-cs"/>
              <a:sym typeface="Impact" panose="020B0806030902050204" pitchFamily="34" charset="0"/>
            </a:endParaRPr>
          </a:p>
        </p:txBody>
      </p:sp>
      <p:sp>
        <p:nvSpPr>
          <p:cNvPr id="8" name="Picture Placeholder 13">
            <a:extLst>
              <a:ext uri="{FF2B5EF4-FFF2-40B4-BE49-F238E27FC236}">
                <a16:creationId xmlns:a16="http://schemas.microsoft.com/office/drawing/2014/main" id="{C4CFC32D-2211-4E39-9B91-7B77BE0D1016}"/>
              </a:ext>
            </a:extLst>
          </p:cNvPr>
          <p:cNvSpPr>
            <a:spLocks noGrp="1"/>
          </p:cNvSpPr>
          <p:nvPr>
            <p:ph type="pic" sz="quarter" idx="15"/>
          </p:nvPr>
        </p:nvSpPr>
        <p:spPr>
          <a:xfrm>
            <a:off x="0" y="1"/>
            <a:ext cx="9144001" cy="6858000"/>
          </a:xfrm>
          <a:solidFill>
            <a:srgbClr val="B8BBBD"/>
          </a:solidFill>
        </p:spPr>
        <p:txBody>
          <a:bodyPr vert="horz" lIns="0" tIns="0" rIns="0" bIns="0" rtlCol="0" anchor="ctr" anchorCtr="0">
            <a:noAutofit/>
          </a:bodyPr>
          <a:lstStyle>
            <a:lvl1pPr algn="ctr">
              <a:defRPr lang="da-DK" dirty="0"/>
            </a:lvl1pPr>
          </a:lstStyle>
          <a:p>
            <a:pPr lvl="0" algn="ctr">
              <a:buNone/>
            </a:pPr>
            <a:r>
              <a:rPr lang="da-DK" err="1"/>
              <a:t>Click</a:t>
            </a:r>
            <a:r>
              <a:rPr lang="da-DK"/>
              <a:t> </a:t>
            </a:r>
            <a:r>
              <a:rPr lang="da-DK" err="1"/>
              <a:t>icon</a:t>
            </a:r>
            <a:r>
              <a:rPr lang="da-DK"/>
              <a:t> to </a:t>
            </a:r>
            <a:r>
              <a:rPr lang="da-DK" err="1"/>
              <a:t>add</a:t>
            </a:r>
            <a:r>
              <a:rPr lang="da-DK"/>
              <a:t> </a:t>
            </a:r>
            <a:r>
              <a:rPr lang="da-DK" err="1"/>
              <a:t>picture</a:t>
            </a:r>
            <a:endParaRPr lang="da-DK"/>
          </a:p>
        </p:txBody>
      </p:sp>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262201" y="1092151"/>
            <a:ext cx="3558977" cy="1278555"/>
          </a:xfrm>
          <a:noFill/>
        </p:spPr>
        <p:txBody>
          <a:bodyPr lIns="0" tIns="0" rIns="0">
            <a:spAutoFit/>
          </a:bodyPr>
          <a:lstStyle>
            <a:lvl1pPr>
              <a:defRPr sz="4616" cap="all" baseline="0">
                <a:solidFill>
                  <a:schemeClr val="bg1"/>
                </a:solidFill>
                <a:latin typeface="Impact" panose="020B0806030902050204" pitchFamily="34" charset="0"/>
              </a:defRPr>
            </a:lvl1pPr>
          </a:lstStyle>
          <a:p>
            <a:r>
              <a:rPr lang="da-DK"/>
              <a:t>CLICK TO EDIT MASTER TITLE</a:t>
            </a:r>
          </a:p>
        </p:txBody>
      </p:sp>
      <p:sp>
        <p:nvSpPr>
          <p:cNvPr id="10" name="Date_GeneralDate" hidden="1">
            <a:extLst>
              <a:ext uri="{FF2B5EF4-FFF2-40B4-BE49-F238E27FC236}">
                <a16:creationId xmlns:a16="http://schemas.microsoft.com/office/drawing/2014/main" id="{0FAE2377-E2B0-4140-9CCB-1BC962EBB0E6}"/>
              </a:ext>
            </a:extLst>
          </p:cNvPr>
          <p:cNvSpPr>
            <a:spLocks noGrp="1"/>
          </p:cNvSpPr>
          <p:nvPr>
            <p:ph type="dt" sz="half" idx="10"/>
          </p:nvPr>
        </p:nvSpPr>
        <p:spPr>
          <a:xfrm>
            <a:off x="0" y="6912000"/>
            <a:ext cx="0" cy="0"/>
          </a:xfrm>
        </p:spPr>
        <p:txBody>
          <a:bodyPr/>
          <a:lstStyle>
            <a:lvl1pPr algn="l">
              <a:defRPr sz="100" cap="all" spc="150" baseline="0">
                <a:noFill/>
              </a:defRPr>
            </a:lvl1pPr>
          </a:lstStyle>
          <a:p>
            <a:endParaRPr lang="da-DK"/>
          </a:p>
        </p:txBody>
      </p:sp>
      <p:sp>
        <p:nvSpPr>
          <p:cNvPr id="6" name="Text Placeholder 5">
            <a:extLst>
              <a:ext uri="{FF2B5EF4-FFF2-40B4-BE49-F238E27FC236}">
                <a16:creationId xmlns:a16="http://schemas.microsoft.com/office/drawing/2014/main" id="{06492679-67E2-4950-9788-4A68EBA6BB0A}"/>
              </a:ext>
            </a:extLst>
          </p:cNvPr>
          <p:cNvSpPr>
            <a:spLocks noGrp="1"/>
          </p:cNvSpPr>
          <p:nvPr>
            <p:ph type="body" sz="quarter" idx="16" hasCustomPrompt="1"/>
          </p:nvPr>
        </p:nvSpPr>
        <p:spPr>
          <a:xfrm>
            <a:off x="262201" y="2740084"/>
            <a:ext cx="3159369" cy="1516063"/>
          </a:xfrm>
        </p:spPr>
        <p:txBody>
          <a:bodyPr/>
          <a:lstStyle>
            <a:lvl1pPr>
              <a:buFontTx/>
              <a:buNone/>
              <a:defRPr sz="1292">
                <a:solidFill>
                  <a:schemeClr val="bg1"/>
                </a:solidFill>
              </a:defRPr>
            </a:lvl1pPr>
            <a:lvl2pPr>
              <a:defRPr sz="1292">
                <a:solidFill>
                  <a:schemeClr val="bg1"/>
                </a:solidFill>
              </a:defRPr>
            </a:lvl2pPr>
            <a:lvl3pPr>
              <a:defRPr sz="1292">
                <a:solidFill>
                  <a:schemeClr val="bg1"/>
                </a:solidFill>
              </a:defRPr>
            </a:lvl3pPr>
            <a:lvl4pPr>
              <a:defRPr sz="1292">
                <a:solidFill>
                  <a:schemeClr val="bg1"/>
                </a:solidFill>
              </a:defRPr>
            </a:lvl4pPr>
            <a:lvl5pPr>
              <a:defRPr sz="1292">
                <a:solidFill>
                  <a:schemeClr val="bg1"/>
                </a:solidFill>
              </a:defRPr>
            </a:lvl5p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9" name="Text Placeholder 18">
            <a:extLst>
              <a:ext uri="{FF2B5EF4-FFF2-40B4-BE49-F238E27FC236}">
                <a16:creationId xmlns:a16="http://schemas.microsoft.com/office/drawing/2014/main" id="{7AA90BC2-6F20-46DE-9028-4D06826A69FC}"/>
              </a:ext>
            </a:extLst>
          </p:cNvPr>
          <p:cNvSpPr>
            <a:spLocks noGrp="1"/>
          </p:cNvSpPr>
          <p:nvPr>
            <p:ph type="body" sz="quarter" idx="17" hasCustomPrompt="1"/>
          </p:nvPr>
        </p:nvSpPr>
        <p:spPr>
          <a:xfrm>
            <a:off x="262201" y="276201"/>
            <a:ext cx="830769" cy="269875"/>
          </a:xfrm>
          <a:blipFill>
            <a:blip r:embed="rId7"/>
            <a:stretch>
              <a:fillRect/>
            </a:stretch>
          </a:blipFill>
        </p:spPr>
        <p:txBody>
          <a:bodyPr rIns="0" anchor="ctr" anchorCtr="0"/>
          <a:lstStyle>
            <a:lvl1pPr algn="l">
              <a:defRPr sz="100" b="1"/>
            </a:lvl1pPr>
            <a:lvl2pPr>
              <a:defRPr b="1"/>
            </a:lvl2pPr>
            <a:lvl3pPr>
              <a:defRPr b="1"/>
            </a:lvl3pPr>
            <a:lvl4pPr>
              <a:defRPr b="1"/>
            </a:lvl4pPr>
            <a:lvl5pPr>
              <a:defRPr b="1"/>
            </a:lvl5pPr>
          </a:lstStyle>
          <a:p>
            <a:pPr lvl="0"/>
            <a:r>
              <a:rPr lang="da-DK"/>
              <a:t>.</a:t>
            </a:r>
          </a:p>
        </p:txBody>
      </p:sp>
      <p:sp>
        <p:nvSpPr>
          <p:cNvPr id="14" name="Text Placeholder logo">
            <a:extLst>
              <a:ext uri="{FF2B5EF4-FFF2-40B4-BE49-F238E27FC236}">
                <a16:creationId xmlns:a16="http://schemas.microsoft.com/office/drawing/2014/main" id="{0CCBDCEE-CA39-4882-B9E1-3A14FEFED0F1}"/>
              </a:ext>
            </a:extLst>
          </p:cNvPr>
          <p:cNvSpPr>
            <a:spLocks noGrp="1"/>
          </p:cNvSpPr>
          <p:nvPr>
            <p:ph type="body" sz="quarter" idx="18" hasCustomPrompt="1"/>
          </p:nvPr>
        </p:nvSpPr>
        <p:spPr>
          <a:xfrm>
            <a:off x="8750526" y="303045"/>
            <a:ext cx="142892" cy="349200"/>
          </a:xfrm>
          <a:blipFill>
            <a:blip r:embed="rId8"/>
            <a:stretch>
              <a:fillRect/>
            </a:stretch>
          </a:blipFill>
        </p:spPr>
        <p:txBody>
          <a:bodyPr/>
          <a:lstStyle>
            <a:lvl1pPr>
              <a:defRPr sz="100">
                <a:noFill/>
              </a:defRPr>
            </a:lvl1pPr>
          </a:lstStyle>
          <a:p>
            <a:pPr lvl="0"/>
            <a:r>
              <a:rPr lang="da-DK"/>
              <a:t>.</a:t>
            </a:r>
          </a:p>
        </p:txBody>
      </p:sp>
      <p:sp>
        <p:nvSpPr>
          <p:cNvPr id="11" name="Slide Number Placeholder 5">
            <a:extLst>
              <a:ext uri="{FF2B5EF4-FFF2-40B4-BE49-F238E27FC236}">
                <a16:creationId xmlns:a16="http://schemas.microsoft.com/office/drawing/2014/main" id="{ABC1B5BD-E52D-4EA5-952B-536D2C6C40AB}"/>
              </a:ext>
            </a:extLst>
          </p:cNvPr>
          <p:cNvSpPr>
            <a:spLocks noGrp="1"/>
          </p:cNvSpPr>
          <p:nvPr>
            <p:ph type="sldNum" sz="quarter" idx="22"/>
          </p:nvPr>
        </p:nvSpPr>
        <p:spPr>
          <a:xfrm>
            <a:off x="8656781" y="6496424"/>
            <a:ext cx="236639" cy="112086"/>
          </a:xfrm>
        </p:spPr>
        <p:txBody>
          <a:bodyPr/>
          <a:lstStyle>
            <a:lvl1pPr>
              <a:defRPr>
                <a:solidFill>
                  <a:schemeClr val="bg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2682579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Reference case_long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7E4694B-A434-48B1-A431-0432E4744FA6}"/>
              </a:ext>
            </a:extLst>
          </p:cNvPr>
          <p:cNvGraphicFramePr>
            <a:graphicFrameLocks noChangeAspect="1"/>
          </p:cNvGraphicFramePr>
          <p:nvPr userDrawn="1">
            <p:custDataLst>
              <p:tags r:id="rId2"/>
            </p:custDataLst>
            <p:extLst>
              <p:ext uri="{D42A27DB-BD31-4B8C-83A1-F6EECF244321}">
                <p14:modId xmlns:p14="http://schemas.microsoft.com/office/powerpoint/2010/main" val="1345408726"/>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spid="_x0000_s4113" name="think-cell Slide" r:id="rId6" imgW="526" imgH="526" progId="TCLayout.ActiveDocument.1">
                  <p:embed/>
                </p:oleObj>
              </mc:Choice>
              <mc:Fallback>
                <p:oleObj name="think-cell Slide" r:id="rId6" imgW="526" imgH="526" progId="TCLayout.ActiveDocument.1">
                  <p:embed/>
                  <p:pic>
                    <p:nvPicPr>
                      <p:cNvPr id="3" name="Object 2" hidden="1">
                        <a:extLst>
                          <a:ext uri="{FF2B5EF4-FFF2-40B4-BE49-F238E27FC236}">
                            <a16:creationId xmlns:a16="http://schemas.microsoft.com/office/drawing/2014/main" id="{D7E4694B-A434-48B1-A431-0432E4744FA6}"/>
                          </a:ext>
                        </a:extLst>
                      </p:cNvPr>
                      <p:cNvPicPr/>
                      <p:nvPr/>
                    </p:nvPicPr>
                    <p:blipFill>
                      <a:blip r:embed="rId7"/>
                      <a:stretch>
                        <a:fillRect/>
                      </a:stretch>
                    </p:blipFill>
                    <p:spPr>
                      <a:xfrm>
                        <a:off x="1466" y="1588"/>
                        <a:ext cx="1466"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C3A9516-8834-4484-A04E-ECB695CB650B}"/>
              </a:ext>
            </a:extLst>
          </p:cNvPr>
          <p:cNvSpPr/>
          <p:nvPr userDrawn="1">
            <p:custDataLst>
              <p:tags r:id="rId3"/>
            </p:custDataLst>
          </p:nvPr>
        </p:nvSpPr>
        <p:spPr>
          <a:xfrm>
            <a:off x="0" y="0"/>
            <a:ext cx="146538"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da-DK" sz="2954" b="0" i="0" baseline="0" noProof="0" err="1">
              <a:solidFill>
                <a:srgbClr val="2F363B"/>
              </a:solidFill>
              <a:latin typeface="Arial" panose="020B0604020202020204" pitchFamily="34" charset="0"/>
              <a:ea typeface="+mj-ea"/>
              <a:cs typeface="+mj-cs"/>
              <a:sym typeface="Arial" panose="020B0604020202020204" pitchFamily="34" charset="0"/>
            </a:endParaRPr>
          </a:p>
        </p:txBody>
      </p:sp>
      <p:sp>
        <p:nvSpPr>
          <p:cNvPr id="21" name="Rectangle 1">
            <a:extLst>
              <a:ext uri="{FF2B5EF4-FFF2-40B4-BE49-F238E27FC236}">
                <a16:creationId xmlns:a16="http://schemas.microsoft.com/office/drawing/2014/main" id="{749152A0-09EC-4CDD-A991-4F69E37FE88A}"/>
              </a:ext>
            </a:extLst>
          </p:cNvPr>
          <p:cNvSpPr/>
          <p:nvPr userDrawn="1"/>
        </p:nvSpPr>
        <p:spPr>
          <a:xfrm>
            <a:off x="0" y="0"/>
            <a:ext cx="9144000" cy="6858000"/>
          </a:xfrm>
          <a:prstGeom prst="rect">
            <a:avLst/>
          </a:prstGeom>
          <a:solidFill>
            <a:srgbClr val="EEEBE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t" anchorCtr="0" forceAA="0" compatLnSpc="1">
            <a:prstTxWarp prst="textNoShape">
              <a:avLst/>
            </a:prstTxWarp>
            <a:noAutofit/>
          </a:bodyPr>
          <a:lstStyle/>
          <a:p>
            <a:pPr algn="l"/>
            <a:endParaRPr lang="da-DK" sz="923" noProof="0">
              <a:solidFill>
                <a:srgbClr val="1F2023"/>
              </a:solidFill>
            </a:endParaRPr>
          </a:p>
        </p:txBody>
      </p:sp>
      <p:sp>
        <p:nvSpPr>
          <p:cNvPr id="13" name="TextBox 12">
            <a:extLst>
              <a:ext uri="{FF2B5EF4-FFF2-40B4-BE49-F238E27FC236}">
                <a16:creationId xmlns:a16="http://schemas.microsoft.com/office/drawing/2014/main" id="{FAD8A034-05A2-458D-8D7A-81B7EFBAEA9F}"/>
              </a:ext>
            </a:extLst>
          </p:cNvPr>
          <p:cNvSpPr txBox="1"/>
          <p:nvPr userDrawn="1"/>
        </p:nvSpPr>
        <p:spPr>
          <a:xfrm>
            <a:off x="6029924" y="0"/>
            <a:ext cx="3114076" cy="3543301"/>
          </a:xfrm>
          <a:prstGeom prst="rect">
            <a:avLst/>
          </a:prstGeom>
          <a:solidFill>
            <a:srgbClr val="E4B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99692" rIns="99692" bIns="99692"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sz="1015">
              <a:solidFill>
                <a:srgbClr val="30373B"/>
              </a:solidFill>
              <a:sym typeface="Arial" panose="020B0604020202020204" pitchFamily="34" charset="0"/>
            </a:endParaRPr>
          </a:p>
        </p:txBody>
      </p:sp>
      <p:sp>
        <p:nvSpPr>
          <p:cNvPr id="10" name="Picture Placeholder 13">
            <a:extLst>
              <a:ext uri="{FF2B5EF4-FFF2-40B4-BE49-F238E27FC236}">
                <a16:creationId xmlns:a16="http://schemas.microsoft.com/office/drawing/2014/main" id="{96EDC17A-116C-4E16-A3DE-2E5F4B894B8C}"/>
              </a:ext>
            </a:extLst>
          </p:cNvPr>
          <p:cNvSpPr>
            <a:spLocks noGrp="1"/>
          </p:cNvSpPr>
          <p:nvPr>
            <p:ph type="pic" sz="quarter" idx="15"/>
          </p:nvPr>
        </p:nvSpPr>
        <p:spPr>
          <a:xfrm>
            <a:off x="4908841" y="3213"/>
            <a:ext cx="3589900" cy="3108288"/>
          </a:xfrm>
          <a:solidFill>
            <a:srgbClr val="B8BBBD"/>
          </a:solidFill>
        </p:spPr>
        <p:txBody>
          <a:bodyPr rIns="0" anchor="ctr" anchorCtr="0"/>
          <a:lstStyle>
            <a:lvl1pPr marL="0" indent="0" algn="ctr">
              <a:buNone/>
              <a:defRPr>
                <a:solidFill>
                  <a:srgbClr val="1F2023"/>
                </a:solidFill>
              </a:defRPr>
            </a:lvl1pPr>
          </a:lstStyle>
          <a:p>
            <a:r>
              <a:rPr lang="da-DK" err="1"/>
              <a:t>Click</a:t>
            </a:r>
            <a:r>
              <a:rPr lang="da-DK"/>
              <a:t> </a:t>
            </a:r>
            <a:r>
              <a:rPr lang="da-DK" err="1"/>
              <a:t>icon</a:t>
            </a:r>
            <a:r>
              <a:rPr lang="da-DK"/>
              <a:t> to </a:t>
            </a:r>
            <a:r>
              <a:rPr lang="da-DK" err="1"/>
              <a:t>add</a:t>
            </a:r>
            <a:r>
              <a:rPr lang="da-DK"/>
              <a:t> </a:t>
            </a:r>
            <a:r>
              <a:rPr lang="da-DK" err="1"/>
              <a:t>picture</a:t>
            </a:r>
            <a:endParaRPr lang="da-DK"/>
          </a:p>
        </p:txBody>
      </p:sp>
      <p:sp>
        <p:nvSpPr>
          <p:cNvPr id="11" name="Title 1">
            <a:extLst>
              <a:ext uri="{FF2B5EF4-FFF2-40B4-BE49-F238E27FC236}">
                <a16:creationId xmlns:a16="http://schemas.microsoft.com/office/drawing/2014/main" id="{71B800F5-D353-40A2-B9C9-A29ACB6135C1}"/>
              </a:ext>
            </a:extLst>
          </p:cNvPr>
          <p:cNvSpPr>
            <a:spLocks noGrp="1"/>
          </p:cNvSpPr>
          <p:nvPr>
            <p:ph type="title"/>
          </p:nvPr>
        </p:nvSpPr>
        <p:spPr>
          <a:xfrm>
            <a:off x="253911" y="2815076"/>
            <a:ext cx="3987692" cy="818301"/>
          </a:xfrm>
        </p:spPr>
        <p:txBody>
          <a:bodyPr anchor="b" anchorCtr="0">
            <a:spAutoFit/>
          </a:bodyPr>
          <a:lstStyle>
            <a:lvl1pPr>
              <a:defRPr sz="2954">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5" name="Freeform: Shape 14">
            <a:extLst>
              <a:ext uri="{FF2B5EF4-FFF2-40B4-BE49-F238E27FC236}">
                <a16:creationId xmlns:a16="http://schemas.microsoft.com/office/drawing/2014/main" id="{6C3A81CD-98C4-40D0-925F-38C84421F367}"/>
              </a:ext>
            </a:extLst>
          </p:cNvPr>
          <p:cNvSpPr/>
          <p:nvPr userDrawn="1">
            <p:custDataLst>
              <p:tags r:id="rId4"/>
            </p:custDataLst>
          </p:nvPr>
        </p:nvSpPr>
        <p:spPr bwMode="auto">
          <a:xfrm rot="5400000">
            <a:off x="8646962" y="406758"/>
            <a:ext cx="350168" cy="142743"/>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endParaRPr lang="da-DK" sz="1662"/>
          </a:p>
        </p:txBody>
      </p:sp>
      <p:cxnSp>
        <p:nvCxnSpPr>
          <p:cNvPr id="22" name="Straight Connector 21">
            <a:extLst>
              <a:ext uri="{FF2B5EF4-FFF2-40B4-BE49-F238E27FC236}">
                <a16:creationId xmlns:a16="http://schemas.microsoft.com/office/drawing/2014/main" id="{23430AAB-5902-4654-B9FA-AE29404FCE66}"/>
              </a:ext>
            </a:extLst>
          </p:cNvPr>
          <p:cNvCxnSpPr>
            <a:cxnSpLocks/>
          </p:cNvCxnSpPr>
          <p:nvPr userDrawn="1"/>
        </p:nvCxnSpPr>
        <p:spPr>
          <a:xfrm>
            <a:off x="253911" y="4498566"/>
            <a:ext cx="3987692" cy="0"/>
          </a:xfrm>
          <a:prstGeom prst="line">
            <a:avLst/>
          </a:prstGeom>
          <a:ln w="12700">
            <a:solidFill>
              <a:srgbClr val="30373B"/>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3F61116-2B80-4AA8-A5DE-F43ACEFB4AD3}"/>
              </a:ext>
            </a:extLst>
          </p:cNvPr>
          <p:cNvCxnSpPr>
            <a:cxnSpLocks/>
          </p:cNvCxnSpPr>
          <p:nvPr userDrawn="1"/>
        </p:nvCxnSpPr>
        <p:spPr>
          <a:xfrm>
            <a:off x="4909972" y="4497744"/>
            <a:ext cx="3987691" cy="0"/>
          </a:xfrm>
          <a:prstGeom prst="line">
            <a:avLst/>
          </a:prstGeom>
          <a:ln w="12700">
            <a:solidFill>
              <a:srgbClr val="30373B"/>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71737B9-DDE3-4847-BCBB-79FA9187C04F}"/>
              </a:ext>
            </a:extLst>
          </p:cNvPr>
          <p:cNvSpPr/>
          <p:nvPr userDrawn="1"/>
        </p:nvSpPr>
        <p:spPr>
          <a:xfrm>
            <a:off x="253911" y="4251232"/>
            <a:ext cx="1455527" cy="158570"/>
          </a:xfrm>
          <a:prstGeom prst="rect">
            <a:avLst/>
          </a:prstGeom>
        </p:spPr>
        <p:txBody>
          <a:bodyPr wrap="none" lIns="0" tIns="0" rIns="0" bIns="0">
            <a:spAutoFit/>
          </a:bodyPr>
          <a:lstStyle/>
          <a:p>
            <a:pPr lvl="1">
              <a:lnSpc>
                <a:spcPct val="93000"/>
              </a:lnSpc>
              <a:buNone/>
            </a:pPr>
            <a:r>
              <a:rPr lang="da-DK" sz="1108" b="1">
                <a:solidFill>
                  <a:srgbClr val="30373B"/>
                </a:solidFill>
              </a:rPr>
              <a:t>THE PROJECT</a:t>
            </a:r>
            <a:endParaRPr lang="da-DK" sz="1662">
              <a:solidFill>
                <a:srgbClr val="30373B"/>
              </a:solidFill>
            </a:endParaRPr>
          </a:p>
        </p:txBody>
      </p:sp>
      <p:sp>
        <p:nvSpPr>
          <p:cNvPr id="25" name="Rectangle 24">
            <a:extLst>
              <a:ext uri="{FF2B5EF4-FFF2-40B4-BE49-F238E27FC236}">
                <a16:creationId xmlns:a16="http://schemas.microsoft.com/office/drawing/2014/main" id="{09512485-4193-4DA1-A713-E51426E48AB3}"/>
              </a:ext>
            </a:extLst>
          </p:cNvPr>
          <p:cNvSpPr/>
          <p:nvPr userDrawn="1"/>
        </p:nvSpPr>
        <p:spPr>
          <a:xfrm>
            <a:off x="4908841" y="4251232"/>
            <a:ext cx="1330492" cy="158570"/>
          </a:xfrm>
          <a:prstGeom prst="rect">
            <a:avLst/>
          </a:prstGeom>
        </p:spPr>
        <p:txBody>
          <a:bodyPr wrap="none" lIns="0" tIns="0" rIns="0" bIns="0">
            <a:spAutoFit/>
          </a:bodyPr>
          <a:lstStyle/>
          <a:p>
            <a:pPr lvl="1">
              <a:lnSpc>
                <a:spcPct val="93000"/>
              </a:lnSpc>
              <a:buNone/>
            </a:pPr>
            <a:r>
              <a:rPr lang="da-DK" sz="1108" b="1">
                <a:solidFill>
                  <a:srgbClr val="30373B"/>
                </a:solidFill>
              </a:rPr>
              <a:t>THE IMPACT</a:t>
            </a:r>
            <a:endParaRPr lang="da-DK" sz="1662">
              <a:solidFill>
                <a:srgbClr val="30373B"/>
              </a:solidFill>
            </a:endParaRPr>
          </a:p>
        </p:txBody>
      </p:sp>
      <p:sp>
        <p:nvSpPr>
          <p:cNvPr id="35" name="Text Placeholder 34">
            <a:extLst>
              <a:ext uri="{FF2B5EF4-FFF2-40B4-BE49-F238E27FC236}">
                <a16:creationId xmlns:a16="http://schemas.microsoft.com/office/drawing/2014/main" id="{FD457679-0CD8-436B-B224-B5039179B055}"/>
              </a:ext>
            </a:extLst>
          </p:cNvPr>
          <p:cNvSpPr>
            <a:spLocks noGrp="1"/>
          </p:cNvSpPr>
          <p:nvPr>
            <p:ph type="body" sz="quarter" idx="18" hasCustomPrompt="1"/>
          </p:nvPr>
        </p:nvSpPr>
        <p:spPr>
          <a:xfrm>
            <a:off x="253911" y="4648331"/>
            <a:ext cx="3987692" cy="1663569"/>
          </a:xfrm>
        </p:spPr>
        <p:txBody>
          <a:bodyPr/>
          <a:lstStyle>
            <a:lvl1pPr>
              <a:buFontTx/>
              <a:buNone/>
              <a:defRPr sz="923"/>
            </a:lvl1pPr>
            <a:lvl2pPr>
              <a:defRPr sz="923"/>
            </a:lvl2pPr>
            <a:lvl3pPr>
              <a:defRPr sz="923"/>
            </a:lvl3pPr>
            <a:lvl4pPr>
              <a:defRPr sz="923"/>
            </a:lvl4pPr>
            <a:lvl5pPr>
              <a:defRPr sz="923"/>
            </a:lvl5p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37" name="Text Placeholder 36">
            <a:extLst>
              <a:ext uri="{FF2B5EF4-FFF2-40B4-BE49-F238E27FC236}">
                <a16:creationId xmlns:a16="http://schemas.microsoft.com/office/drawing/2014/main" id="{0122C995-A46A-47E3-BD5A-37630113CBDA}"/>
              </a:ext>
            </a:extLst>
          </p:cNvPr>
          <p:cNvSpPr>
            <a:spLocks noGrp="1"/>
          </p:cNvSpPr>
          <p:nvPr>
            <p:ph type="body" sz="quarter" idx="19" hasCustomPrompt="1"/>
          </p:nvPr>
        </p:nvSpPr>
        <p:spPr>
          <a:xfrm>
            <a:off x="4909972" y="4648331"/>
            <a:ext cx="3987692" cy="1663569"/>
          </a:xfrm>
        </p:spPr>
        <p:txBody>
          <a:bodyPr/>
          <a:lstStyle>
            <a:lvl1pPr>
              <a:buFontTx/>
              <a:buNone/>
              <a:defRPr sz="923"/>
            </a:lvl1pPr>
            <a:lvl2pPr>
              <a:defRPr sz="923"/>
            </a:lvl2pPr>
            <a:lvl3pPr>
              <a:defRPr sz="923"/>
            </a:lvl3pPr>
            <a:lvl4pPr>
              <a:defRPr sz="923"/>
            </a:lvl4pPr>
            <a:lvl5pPr>
              <a:defRPr sz="923"/>
            </a:lvl5p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38" name="Rectangle 37">
            <a:extLst>
              <a:ext uri="{FF2B5EF4-FFF2-40B4-BE49-F238E27FC236}">
                <a16:creationId xmlns:a16="http://schemas.microsoft.com/office/drawing/2014/main" id="{222B717F-572C-4701-890C-5980AFA4B1FF}"/>
              </a:ext>
            </a:extLst>
          </p:cNvPr>
          <p:cNvSpPr/>
          <p:nvPr userDrawn="1"/>
        </p:nvSpPr>
        <p:spPr>
          <a:xfrm>
            <a:off x="253911" y="1511114"/>
            <a:ext cx="321094" cy="511550"/>
          </a:xfrm>
          <a:prstGeom prst="rect">
            <a:avLst/>
          </a:prstGeom>
        </p:spPr>
        <p:txBody>
          <a:bodyPr wrap="square" lIns="0" tIns="0" rIns="0" bIns="0">
            <a:spAutoFit/>
          </a:bodyPr>
          <a:lstStyle/>
          <a:p>
            <a:pPr>
              <a:spcAft>
                <a:spcPts val="0"/>
              </a:spcAft>
            </a:pPr>
            <a:r>
              <a:rPr lang="da-DK" sz="1662">
                <a:solidFill>
                  <a:srgbClr val="1F2023"/>
                </a:solidFill>
              </a:rPr>
              <a:t>CASE</a:t>
            </a:r>
          </a:p>
        </p:txBody>
      </p:sp>
      <p:sp>
        <p:nvSpPr>
          <p:cNvPr id="6" name="Slide Number Placeholder 5">
            <a:extLst>
              <a:ext uri="{FF2B5EF4-FFF2-40B4-BE49-F238E27FC236}">
                <a16:creationId xmlns:a16="http://schemas.microsoft.com/office/drawing/2014/main" id="{D4A1B773-9A80-408D-977C-08C207C654EA}"/>
              </a:ext>
            </a:extLst>
          </p:cNvPr>
          <p:cNvSpPr>
            <a:spLocks noGrp="1"/>
          </p:cNvSpPr>
          <p:nvPr>
            <p:ph type="sldNum" sz="quarter" idx="22"/>
          </p:nvPr>
        </p:nvSpPr>
        <p:spPr/>
        <p:txBody>
          <a:bodyPr/>
          <a:lstStyle/>
          <a:p>
            <a:fld id="{24C8C45C-947F-4981-8B3F-4F32E973C901}" type="slidenum">
              <a:rPr lang="da-DK" smtClean="0"/>
              <a:pPr/>
              <a:t>‹nr.›</a:t>
            </a:fld>
            <a:endParaRPr lang="da-DK"/>
          </a:p>
        </p:txBody>
      </p:sp>
      <p:sp>
        <p:nvSpPr>
          <p:cNvPr id="4" name="Date Placeholder 3" hidden="1">
            <a:extLst>
              <a:ext uri="{FF2B5EF4-FFF2-40B4-BE49-F238E27FC236}">
                <a16:creationId xmlns:a16="http://schemas.microsoft.com/office/drawing/2014/main" id="{C55FEAD9-E0C4-4E4E-9EEC-4F3E52446BCE}"/>
              </a:ext>
            </a:extLst>
          </p:cNvPr>
          <p:cNvSpPr>
            <a:spLocks noGrp="1"/>
          </p:cNvSpPr>
          <p:nvPr>
            <p:ph type="dt" sz="half" idx="20"/>
          </p:nvPr>
        </p:nvSpPr>
        <p:spPr/>
        <p:txBody>
          <a:bodyPr/>
          <a:lstStyle/>
          <a:p>
            <a:endParaRPr lang="da-DK"/>
          </a:p>
        </p:txBody>
      </p:sp>
      <p:sp>
        <p:nvSpPr>
          <p:cNvPr id="5" name="Footer Placeholder 4" hidden="1">
            <a:extLst>
              <a:ext uri="{FF2B5EF4-FFF2-40B4-BE49-F238E27FC236}">
                <a16:creationId xmlns:a16="http://schemas.microsoft.com/office/drawing/2014/main" id="{1D797A1B-1250-4702-BA87-713DE7B41844}"/>
              </a:ext>
            </a:extLst>
          </p:cNvPr>
          <p:cNvSpPr>
            <a:spLocks noGrp="1"/>
          </p:cNvSpPr>
          <p:nvPr>
            <p:ph type="ftr" sz="quarter" idx="21"/>
          </p:nvPr>
        </p:nvSpPr>
        <p:spPr/>
        <p:txBody>
          <a:bodyPr/>
          <a:lstStyle/>
          <a:p>
            <a:endParaRPr lang="da-DK"/>
          </a:p>
        </p:txBody>
      </p:sp>
    </p:spTree>
    <p:extLst>
      <p:ext uri="{BB962C8B-B14F-4D97-AF65-F5344CB8AC3E}">
        <p14:creationId xmlns:p14="http://schemas.microsoft.com/office/powerpoint/2010/main" val="2464817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Reference case_long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7E4694B-A434-48B1-A431-0432E4744FA6}"/>
              </a:ext>
            </a:extLst>
          </p:cNvPr>
          <p:cNvGraphicFramePr>
            <a:graphicFrameLocks noChangeAspect="1"/>
          </p:cNvGraphicFramePr>
          <p:nvPr userDrawn="1">
            <p:custDataLst>
              <p:tags r:id="rId2"/>
            </p:custDataLst>
            <p:extLst>
              <p:ext uri="{D42A27DB-BD31-4B8C-83A1-F6EECF244321}">
                <p14:modId xmlns:p14="http://schemas.microsoft.com/office/powerpoint/2010/main" val="3158961158"/>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spid="_x0000_s5137" name="think-cell Slide" r:id="rId6" imgW="526" imgH="526" progId="TCLayout.ActiveDocument.1">
                  <p:embed/>
                </p:oleObj>
              </mc:Choice>
              <mc:Fallback>
                <p:oleObj name="think-cell Slide" r:id="rId6" imgW="526" imgH="526" progId="TCLayout.ActiveDocument.1">
                  <p:embed/>
                  <p:pic>
                    <p:nvPicPr>
                      <p:cNvPr id="3" name="Object 2" hidden="1">
                        <a:extLst>
                          <a:ext uri="{FF2B5EF4-FFF2-40B4-BE49-F238E27FC236}">
                            <a16:creationId xmlns:a16="http://schemas.microsoft.com/office/drawing/2014/main" id="{D7E4694B-A434-48B1-A431-0432E4744FA6}"/>
                          </a:ext>
                        </a:extLst>
                      </p:cNvPr>
                      <p:cNvPicPr/>
                      <p:nvPr/>
                    </p:nvPicPr>
                    <p:blipFill>
                      <a:blip r:embed="rId7"/>
                      <a:stretch>
                        <a:fillRect/>
                      </a:stretch>
                    </p:blipFill>
                    <p:spPr>
                      <a:xfrm>
                        <a:off x="1466" y="1588"/>
                        <a:ext cx="1466"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C3A9516-8834-4484-A04E-ECB695CB650B}"/>
              </a:ext>
            </a:extLst>
          </p:cNvPr>
          <p:cNvSpPr/>
          <p:nvPr userDrawn="1">
            <p:custDataLst>
              <p:tags r:id="rId3"/>
            </p:custDataLst>
          </p:nvPr>
        </p:nvSpPr>
        <p:spPr>
          <a:xfrm>
            <a:off x="0" y="0"/>
            <a:ext cx="146538"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da-DK" sz="2954" b="0" i="0" baseline="0" noProof="0" err="1">
              <a:solidFill>
                <a:srgbClr val="2F363B"/>
              </a:solidFill>
              <a:latin typeface="Arial" panose="020B0604020202020204" pitchFamily="34" charset="0"/>
              <a:ea typeface="+mj-ea"/>
              <a:cs typeface="+mj-cs"/>
              <a:sym typeface="Arial" panose="020B0604020202020204" pitchFamily="34" charset="0"/>
            </a:endParaRPr>
          </a:p>
        </p:txBody>
      </p:sp>
      <p:sp>
        <p:nvSpPr>
          <p:cNvPr id="21" name="Rectangle 1">
            <a:extLst>
              <a:ext uri="{FF2B5EF4-FFF2-40B4-BE49-F238E27FC236}">
                <a16:creationId xmlns:a16="http://schemas.microsoft.com/office/drawing/2014/main" id="{749152A0-09EC-4CDD-A991-4F69E37FE88A}"/>
              </a:ext>
            </a:extLst>
          </p:cNvPr>
          <p:cNvSpPr/>
          <p:nvPr userDrawn="1"/>
        </p:nvSpPr>
        <p:spPr>
          <a:xfrm>
            <a:off x="0" y="0"/>
            <a:ext cx="9144000" cy="6858000"/>
          </a:xfrm>
          <a:prstGeom prst="rect">
            <a:avLst/>
          </a:prstGeom>
          <a:solidFill>
            <a:srgbClr val="EEEBE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t" anchorCtr="0" forceAA="0" compatLnSpc="1">
            <a:prstTxWarp prst="textNoShape">
              <a:avLst/>
            </a:prstTxWarp>
            <a:noAutofit/>
          </a:bodyPr>
          <a:lstStyle/>
          <a:p>
            <a:pPr algn="l"/>
            <a:endParaRPr lang="da-DK" sz="923" noProof="0">
              <a:solidFill>
                <a:srgbClr val="1F2023"/>
              </a:solidFill>
            </a:endParaRPr>
          </a:p>
        </p:txBody>
      </p:sp>
      <p:sp>
        <p:nvSpPr>
          <p:cNvPr id="13" name="TextBox 12">
            <a:extLst>
              <a:ext uri="{FF2B5EF4-FFF2-40B4-BE49-F238E27FC236}">
                <a16:creationId xmlns:a16="http://schemas.microsoft.com/office/drawing/2014/main" id="{FAD8A034-05A2-458D-8D7A-81B7EFBAEA9F}"/>
              </a:ext>
            </a:extLst>
          </p:cNvPr>
          <p:cNvSpPr txBox="1"/>
          <p:nvPr userDrawn="1"/>
        </p:nvSpPr>
        <p:spPr>
          <a:xfrm>
            <a:off x="6029924" y="0"/>
            <a:ext cx="3114076" cy="3543301"/>
          </a:xfrm>
          <a:prstGeom prst="rect">
            <a:avLst/>
          </a:prstGeom>
          <a:solidFill>
            <a:srgbClr val="8AA29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99692" rIns="99692" bIns="99692"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sz="1015">
              <a:solidFill>
                <a:srgbClr val="30373B"/>
              </a:solidFill>
              <a:sym typeface="Arial" panose="020B0604020202020204" pitchFamily="34" charset="0"/>
            </a:endParaRPr>
          </a:p>
        </p:txBody>
      </p:sp>
      <p:sp>
        <p:nvSpPr>
          <p:cNvPr id="10" name="Picture Placeholder 13">
            <a:extLst>
              <a:ext uri="{FF2B5EF4-FFF2-40B4-BE49-F238E27FC236}">
                <a16:creationId xmlns:a16="http://schemas.microsoft.com/office/drawing/2014/main" id="{96EDC17A-116C-4E16-A3DE-2E5F4B894B8C}"/>
              </a:ext>
            </a:extLst>
          </p:cNvPr>
          <p:cNvSpPr>
            <a:spLocks noGrp="1"/>
          </p:cNvSpPr>
          <p:nvPr>
            <p:ph type="pic" sz="quarter" idx="15"/>
          </p:nvPr>
        </p:nvSpPr>
        <p:spPr>
          <a:xfrm>
            <a:off x="4908841" y="3213"/>
            <a:ext cx="3589900" cy="3108288"/>
          </a:xfrm>
          <a:solidFill>
            <a:srgbClr val="B8BBBD"/>
          </a:solidFill>
        </p:spPr>
        <p:txBody>
          <a:bodyPr rIns="0" anchor="ctr" anchorCtr="0"/>
          <a:lstStyle>
            <a:lvl1pPr marL="0" indent="0" algn="ctr">
              <a:buNone/>
              <a:defRPr>
                <a:solidFill>
                  <a:srgbClr val="1F2023"/>
                </a:solidFill>
              </a:defRPr>
            </a:lvl1pPr>
          </a:lstStyle>
          <a:p>
            <a:r>
              <a:rPr lang="da-DK" err="1"/>
              <a:t>Click</a:t>
            </a:r>
            <a:r>
              <a:rPr lang="da-DK"/>
              <a:t> </a:t>
            </a:r>
            <a:r>
              <a:rPr lang="da-DK" err="1"/>
              <a:t>icon</a:t>
            </a:r>
            <a:r>
              <a:rPr lang="da-DK"/>
              <a:t> to </a:t>
            </a:r>
            <a:r>
              <a:rPr lang="da-DK" err="1"/>
              <a:t>add</a:t>
            </a:r>
            <a:r>
              <a:rPr lang="da-DK"/>
              <a:t> </a:t>
            </a:r>
            <a:r>
              <a:rPr lang="da-DK" err="1"/>
              <a:t>picture</a:t>
            </a:r>
            <a:endParaRPr lang="da-DK"/>
          </a:p>
        </p:txBody>
      </p:sp>
      <p:sp>
        <p:nvSpPr>
          <p:cNvPr id="11" name="Title 1">
            <a:extLst>
              <a:ext uri="{FF2B5EF4-FFF2-40B4-BE49-F238E27FC236}">
                <a16:creationId xmlns:a16="http://schemas.microsoft.com/office/drawing/2014/main" id="{71B800F5-D353-40A2-B9C9-A29ACB6135C1}"/>
              </a:ext>
            </a:extLst>
          </p:cNvPr>
          <p:cNvSpPr>
            <a:spLocks noGrp="1"/>
          </p:cNvSpPr>
          <p:nvPr>
            <p:ph type="title"/>
          </p:nvPr>
        </p:nvSpPr>
        <p:spPr>
          <a:xfrm>
            <a:off x="253911" y="2815076"/>
            <a:ext cx="3987692" cy="818301"/>
          </a:xfrm>
        </p:spPr>
        <p:txBody>
          <a:bodyPr anchor="b" anchorCtr="0">
            <a:spAutoFit/>
          </a:bodyPr>
          <a:lstStyle>
            <a:lvl1pPr>
              <a:defRPr sz="2954">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5" name="Freeform: Shape 14">
            <a:extLst>
              <a:ext uri="{FF2B5EF4-FFF2-40B4-BE49-F238E27FC236}">
                <a16:creationId xmlns:a16="http://schemas.microsoft.com/office/drawing/2014/main" id="{6C3A81CD-98C4-40D0-925F-38C84421F367}"/>
              </a:ext>
            </a:extLst>
          </p:cNvPr>
          <p:cNvSpPr/>
          <p:nvPr userDrawn="1">
            <p:custDataLst>
              <p:tags r:id="rId4"/>
            </p:custDataLst>
          </p:nvPr>
        </p:nvSpPr>
        <p:spPr bwMode="auto">
          <a:xfrm rot="5400000">
            <a:off x="8646962" y="406758"/>
            <a:ext cx="350168" cy="142743"/>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endParaRPr lang="da-DK" sz="1662"/>
          </a:p>
        </p:txBody>
      </p:sp>
      <p:cxnSp>
        <p:nvCxnSpPr>
          <p:cNvPr id="22" name="Straight Connector 21">
            <a:extLst>
              <a:ext uri="{FF2B5EF4-FFF2-40B4-BE49-F238E27FC236}">
                <a16:creationId xmlns:a16="http://schemas.microsoft.com/office/drawing/2014/main" id="{23430AAB-5902-4654-B9FA-AE29404FCE66}"/>
              </a:ext>
            </a:extLst>
          </p:cNvPr>
          <p:cNvCxnSpPr>
            <a:cxnSpLocks/>
          </p:cNvCxnSpPr>
          <p:nvPr userDrawn="1"/>
        </p:nvCxnSpPr>
        <p:spPr>
          <a:xfrm>
            <a:off x="253911" y="4498566"/>
            <a:ext cx="3987692" cy="0"/>
          </a:xfrm>
          <a:prstGeom prst="line">
            <a:avLst/>
          </a:prstGeom>
          <a:ln w="12700">
            <a:solidFill>
              <a:srgbClr val="30373B"/>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3F61116-2B80-4AA8-A5DE-F43ACEFB4AD3}"/>
              </a:ext>
            </a:extLst>
          </p:cNvPr>
          <p:cNvCxnSpPr>
            <a:cxnSpLocks/>
          </p:cNvCxnSpPr>
          <p:nvPr userDrawn="1"/>
        </p:nvCxnSpPr>
        <p:spPr>
          <a:xfrm>
            <a:off x="4909972" y="4497744"/>
            <a:ext cx="3987691" cy="0"/>
          </a:xfrm>
          <a:prstGeom prst="line">
            <a:avLst/>
          </a:prstGeom>
          <a:ln w="12700">
            <a:solidFill>
              <a:srgbClr val="30373B"/>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71737B9-DDE3-4847-BCBB-79FA9187C04F}"/>
              </a:ext>
            </a:extLst>
          </p:cNvPr>
          <p:cNvSpPr/>
          <p:nvPr userDrawn="1"/>
        </p:nvSpPr>
        <p:spPr>
          <a:xfrm>
            <a:off x="253911" y="4251232"/>
            <a:ext cx="1455527" cy="158570"/>
          </a:xfrm>
          <a:prstGeom prst="rect">
            <a:avLst/>
          </a:prstGeom>
        </p:spPr>
        <p:txBody>
          <a:bodyPr wrap="none" lIns="0" tIns="0" rIns="0" bIns="0">
            <a:spAutoFit/>
          </a:bodyPr>
          <a:lstStyle/>
          <a:p>
            <a:pPr lvl="1">
              <a:lnSpc>
                <a:spcPct val="93000"/>
              </a:lnSpc>
              <a:buNone/>
            </a:pPr>
            <a:r>
              <a:rPr lang="da-DK" sz="1108" b="1">
                <a:solidFill>
                  <a:srgbClr val="30373B"/>
                </a:solidFill>
              </a:rPr>
              <a:t>THE PROJECT</a:t>
            </a:r>
            <a:endParaRPr lang="da-DK" sz="1662">
              <a:solidFill>
                <a:srgbClr val="30373B"/>
              </a:solidFill>
            </a:endParaRPr>
          </a:p>
        </p:txBody>
      </p:sp>
      <p:sp>
        <p:nvSpPr>
          <p:cNvPr id="25" name="Rectangle 24">
            <a:extLst>
              <a:ext uri="{FF2B5EF4-FFF2-40B4-BE49-F238E27FC236}">
                <a16:creationId xmlns:a16="http://schemas.microsoft.com/office/drawing/2014/main" id="{09512485-4193-4DA1-A713-E51426E48AB3}"/>
              </a:ext>
            </a:extLst>
          </p:cNvPr>
          <p:cNvSpPr/>
          <p:nvPr userDrawn="1"/>
        </p:nvSpPr>
        <p:spPr>
          <a:xfrm>
            <a:off x="4908841" y="4251232"/>
            <a:ext cx="1330492" cy="158570"/>
          </a:xfrm>
          <a:prstGeom prst="rect">
            <a:avLst/>
          </a:prstGeom>
        </p:spPr>
        <p:txBody>
          <a:bodyPr wrap="none" lIns="0" tIns="0" rIns="0" bIns="0">
            <a:spAutoFit/>
          </a:bodyPr>
          <a:lstStyle/>
          <a:p>
            <a:pPr lvl="1">
              <a:lnSpc>
                <a:spcPct val="93000"/>
              </a:lnSpc>
              <a:buNone/>
            </a:pPr>
            <a:r>
              <a:rPr lang="da-DK" sz="1108" b="1">
                <a:solidFill>
                  <a:srgbClr val="30373B"/>
                </a:solidFill>
              </a:rPr>
              <a:t>THE IMPACT</a:t>
            </a:r>
            <a:endParaRPr lang="da-DK" sz="1662">
              <a:solidFill>
                <a:srgbClr val="30373B"/>
              </a:solidFill>
            </a:endParaRPr>
          </a:p>
        </p:txBody>
      </p:sp>
      <p:sp>
        <p:nvSpPr>
          <p:cNvPr id="35" name="Text Placeholder 34">
            <a:extLst>
              <a:ext uri="{FF2B5EF4-FFF2-40B4-BE49-F238E27FC236}">
                <a16:creationId xmlns:a16="http://schemas.microsoft.com/office/drawing/2014/main" id="{FD457679-0CD8-436B-B224-B5039179B055}"/>
              </a:ext>
            </a:extLst>
          </p:cNvPr>
          <p:cNvSpPr>
            <a:spLocks noGrp="1"/>
          </p:cNvSpPr>
          <p:nvPr>
            <p:ph type="body" sz="quarter" idx="18" hasCustomPrompt="1"/>
          </p:nvPr>
        </p:nvSpPr>
        <p:spPr>
          <a:xfrm>
            <a:off x="253911" y="4648331"/>
            <a:ext cx="3987692" cy="1663569"/>
          </a:xfrm>
        </p:spPr>
        <p:txBody>
          <a:bodyPr/>
          <a:lstStyle>
            <a:lvl1pPr>
              <a:buFontTx/>
              <a:buNone/>
              <a:defRPr sz="923"/>
            </a:lvl1pPr>
            <a:lvl2pPr>
              <a:defRPr sz="923"/>
            </a:lvl2pPr>
            <a:lvl3pPr>
              <a:defRPr sz="923"/>
            </a:lvl3pPr>
            <a:lvl4pPr>
              <a:defRPr sz="923"/>
            </a:lvl4pPr>
            <a:lvl5pPr>
              <a:defRPr sz="923"/>
            </a:lvl5p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37" name="Text Placeholder 36">
            <a:extLst>
              <a:ext uri="{FF2B5EF4-FFF2-40B4-BE49-F238E27FC236}">
                <a16:creationId xmlns:a16="http://schemas.microsoft.com/office/drawing/2014/main" id="{0122C995-A46A-47E3-BD5A-37630113CBDA}"/>
              </a:ext>
            </a:extLst>
          </p:cNvPr>
          <p:cNvSpPr>
            <a:spLocks noGrp="1"/>
          </p:cNvSpPr>
          <p:nvPr>
            <p:ph type="body" sz="quarter" idx="19" hasCustomPrompt="1"/>
          </p:nvPr>
        </p:nvSpPr>
        <p:spPr>
          <a:xfrm>
            <a:off x="4909972" y="4648331"/>
            <a:ext cx="3987692" cy="1663569"/>
          </a:xfrm>
        </p:spPr>
        <p:txBody>
          <a:bodyPr/>
          <a:lstStyle>
            <a:lvl1pPr>
              <a:buFontTx/>
              <a:buNone/>
              <a:defRPr sz="923"/>
            </a:lvl1pPr>
            <a:lvl2pPr>
              <a:defRPr sz="923"/>
            </a:lvl2pPr>
            <a:lvl3pPr>
              <a:defRPr sz="923"/>
            </a:lvl3pPr>
            <a:lvl4pPr>
              <a:defRPr sz="923"/>
            </a:lvl4pPr>
            <a:lvl5pPr>
              <a:defRPr sz="923"/>
            </a:lvl5p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38" name="Rectangle 37">
            <a:extLst>
              <a:ext uri="{FF2B5EF4-FFF2-40B4-BE49-F238E27FC236}">
                <a16:creationId xmlns:a16="http://schemas.microsoft.com/office/drawing/2014/main" id="{222B717F-572C-4701-890C-5980AFA4B1FF}"/>
              </a:ext>
            </a:extLst>
          </p:cNvPr>
          <p:cNvSpPr/>
          <p:nvPr userDrawn="1"/>
        </p:nvSpPr>
        <p:spPr>
          <a:xfrm>
            <a:off x="253911" y="1511114"/>
            <a:ext cx="321094" cy="511550"/>
          </a:xfrm>
          <a:prstGeom prst="rect">
            <a:avLst/>
          </a:prstGeom>
        </p:spPr>
        <p:txBody>
          <a:bodyPr wrap="square" lIns="0" tIns="0" rIns="0" bIns="0">
            <a:spAutoFit/>
          </a:bodyPr>
          <a:lstStyle/>
          <a:p>
            <a:pPr>
              <a:spcAft>
                <a:spcPts val="0"/>
              </a:spcAft>
            </a:pPr>
            <a:r>
              <a:rPr lang="da-DK" sz="1662">
                <a:solidFill>
                  <a:srgbClr val="1F2023"/>
                </a:solidFill>
              </a:rPr>
              <a:t>CASE</a:t>
            </a:r>
          </a:p>
        </p:txBody>
      </p:sp>
      <p:sp>
        <p:nvSpPr>
          <p:cNvPr id="6" name="Slide Number Placeholder 5">
            <a:extLst>
              <a:ext uri="{FF2B5EF4-FFF2-40B4-BE49-F238E27FC236}">
                <a16:creationId xmlns:a16="http://schemas.microsoft.com/office/drawing/2014/main" id="{75A324BC-5AFF-4259-9509-3AB7B2AAC62E}"/>
              </a:ext>
            </a:extLst>
          </p:cNvPr>
          <p:cNvSpPr>
            <a:spLocks noGrp="1"/>
          </p:cNvSpPr>
          <p:nvPr>
            <p:ph type="sldNum" sz="quarter" idx="22"/>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173955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Reference case_long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7E4694B-A434-48B1-A431-0432E4744FA6}"/>
              </a:ext>
            </a:extLst>
          </p:cNvPr>
          <p:cNvGraphicFramePr>
            <a:graphicFrameLocks noChangeAspect="1"/>
          </p:cNvGraphicFramePr>
          <p:nvPr userDrawn="1">
            <p:custDataLst>
              <p:tags r:id="rId2"/>
            </p:custDataLst>
            <p:extLst>
              <p:ext uri="{D42A27DB-BD31-4B8C-83A1-F6EECF244321}">
                <p14:modId xmlns:p14="http://schemas.microsoft.com/office/powerpoint/2010/main" val="1509604098"/>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spid="_x0000_s6161" name="think-cell Slide" r:id="rId6" imgW="526" imgH="526" progId="TCLayout.ActiveDocument.1">
                  <p:embed/>
                </p:oleObj>
              </mc:Choice>
              <mc:Fallback>
                <p:oleObj name="think-cell Slide" r:id="rId6" imgW="526" imgH="526" progId="TCLayout.ActiveDocument.1">
                  <p:embed/>
                  <p:pic>
                    <p:nvPicPr>
                      <p:cNvPr id="3" name="Object 2" hidden="1">
                        <a:extLst>
                          <a:ext uri="{FF2B5EF4-FFF2-40B4-BE49-F238E27FC236}">
                            <a16:creationId xmlns:a16="http://schemas.microsoft.com/office/drawing/2014/main" id="{D7E4694B-A434-48B1-A431-0432E4744FA6}"/>
                          </a:ext>
                        </a:extLst>
                      </p:cNvPr>
                      <p:cNvPicPr/>
                      <p:nvPr/>
                    </p:nvPicPr>
                    <p:blipFill>
                      <a:blip r:embed="rId7"/>
                      <a:stretch>
                        <a:fillRect/>
                      </a:stretch>
                    </p:blipFill>
                    <p:spPr>
                      <a:xfrm>
                        <a:off x="1466" y="1588"/>
                        <a:ext cx="1466"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C3A9516-8834-4484-A04E-ECB695CB650B}"/>
              </a:ext>
            </a:extLst>
          </p:cNvPr>
          <p:cNvSpPr/>
          <p:nvPr userDrawn="1">
            <p:custDataLst>
              <p:tags r:id="rId3"/>
            </p:custDataLst>
          </p:nvPr>
        </p:nvSpPr>
        <p:spPr>
          <a:xfrm>
            <a:off x="0" y="0"/>
            <a:ext cx="146538"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da-DK" sz="2954" b="0" i="0" baseline="0" noProof="0" err="1">
              <a:solidFill>
                <a:srgbClr val="2F363B"/>
              </a:solidFill>
              <a:latin typeface="Arial" panose="020B0604020202020204" pitchFamily="34" charset="0"/>
              <a:ea typeface="+mj-ea"/>
              <a:cs typeface="+mj-cs"/>
              <a:sym typeface="Arial" panose="020B0604020202020204" pitchFamily="34" charset="0"/>
            </a:endParaRPr>
          </a:p>
        </p:txBody>
      </p:sp>
      <p:sp>
        <p:nvSpPr>
          <p:cNvPr id="21" name="Rectangle 1">
            <a:extLst>
              <a:ext uri="{FF2B5EF4-FFF2-40B4-BE49-F238E27FC236}">
                <a16:creationId xmlns:a16="http://schemas.microsoft.com/office/drawing/2014/main" id="{749152A0-09EC-4CDD-A991-4F69E37FE88A}"/>
              </a:ext>
            </a:extLst>
          </p:cNvPr>
          <p:cNvSpPr/>
          <p:nvPr userDrawn="1"/>
        </p:nvSpPr>
        <p:spPr>
          <a:xfrm>
            <a:off x="0" y="0"/>
            <a:ext cx="9144000" cy="6858000"/>
          </a:xfrm>
          <a:prstGeom prst="rect">
            <a:avLst/>
          </a:prstGeom>
          <a:solidFill>
            <a:srgbClr val="EEEBE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t" anchorCtr="0" forceAA="0" compatLnSpc="1">
            <a:prstTxWarp prst="textNoShape">
              <a:avLst/>
            </a:prstTxWarp>
            <a:noAutofit/>
          </a:bodyPr>
          <a:lstStyle/>
          <a:p>
            <a:pPr algn="l"/>
            <a:endParaRPr lang="da-DK" sz="923" noProof="0">
              <a:solidFill>
                <a:srgbClr val="1F2023"/>
              </a:solidFill>
            </a:endParaRPr>
          </a:p>
        </p:txBody>
      </p:sp>
      <p:sp>
        <p:nvSpPr>
          <p:cNvPr id="13" name="TextBox 12">
            <a:extLst>
              <a:ext uri="{FF2B5EF4-FFF2-40B4-BE49-F238E27FC236}">
                <a16:creationId xmlns:a16="http://schemas.microsoft.com/office/drawing/2014/main" id="{FAD8A034-05A2-458D-8D7A-81B7EFBAEA9F}"/>
              </a:ext>
            </a:extLst>
          </p:cNvPr>
          <p:cNvSpPr txBox="1"/>
          <p:nvPr userDrawn="1"/>
        </p:nvSpPr>
        <p:spPr>
          <a:xfrm>
            <a:off x="6029924" y="0"/>
            <a:ext cx="3114076" cy="3543301"/>
          </a:xfrm>
          <a:prstGeom prst="rect">
            <a:avLst/>
          </a:prstGeom>
          <a:solidFill>
            <a:srgbClr val="595F6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99692" rIns="99692" bIns="99692"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sz="1015">
              <a:solidFill>
                <a:srgbClr val="30373B"/>
              </a:solidFill>
              <a:sym typeface="Arial" panose="020B0604020202020204" pitchFamily="34" charset="0"/>
            </a:endParaRPr>
          </a:p>
        </p:txBody>
      </p:sp>
      <p:sp>
        <p:nvSpPr>
          <p:cNvPr id="10" name="Picture Placeholder 13">
            <a:extLst>
              <a:ext uri="{FF2B5EF4-FFF2-40B4-BE49-F238E27FC236}">
                <a16:creationId xmlns:a16="http://schemas.microsoft.com/office/drawing/2014/main" id="{96EDC17A-116C-4E16-A3DE-2E5F4B894B8C}"/>
              </a:ext>
            </a:extLst>
          </p:cNvPr>
          <p:cNvSpPr>
            <a:spLocks noGrp="1"/>
          </p:cNvSpPr>
          <p:nvPr>
            <p:ph type="pic" sz="quarter" idx="15"/>
          </p:nvPr>
        </p:nvSpPr>
        <p:spPr>
          <a:xfrm>
            <a:off x="4908841" y="3213"/>
            <a:ext cx="3589900" cy="3108288"/>
          </a:xfrm>
          <a:solidFill>
            <a:srgbClr val="B8BBBD"/>
          </a:solidFill>
        </p:spPr>
        <p:txBody>
          <a:bodyPr rIns="0" anchor="ctr" anchorCtr="0"/>
          <a:lstStyle>
            <a:lvl1pPr marL="0" indent="0" algn="ctr">
              <a:buNone/>
              <a:defRPr>
                <a:solidFill>
                  <a:srgbClr val="1F2023"/>
                </a:solidFill>
              </a:defRPr>
            </a:lvl1pPr>
          </a:lstStyle>
          <a:p>
            <a:r>
              <a:rPr lang="da-DK" err="1"/>
              <a:t>Click</a:t>
            </a:r>
            <a:r>
              <a:rPr lang="da-DK"/>
              <a:t> </a:t>
            </a:r>
            <a:r>
              <a:rPr lang="da-DK" err="1"/>
              <a:t>icon</a:t>
            </a:r>
            <a:r>
              <a:rPr lang="da-DK"/>
              <a:t> to </a:t>
            </a:r>
            <a:r>
              <a:rPr lang="da-DK" err="1"/>
              <a:t>add</a:t>
            </a:r>
            <a:r>
              <a:rPr lang="da-DK"/>
              <a:t> </a:t>
            </a:r>
            <a:r>
              <a:rPr lang="da-DK" err="1"/>
              <a:t>picture</a:t>
            </a:r>
            <a:endParaRPr lang="da-DK"/>
          </a:p>
        </p:txBody>
      </p:sp>
      <p:sp>
        <p:nvSpPr>
          <p:cNvPr id="11" name="Title 1">
            <a:extLst>
              <a:ext uri="{FF2B5EF4-FFF2-40B4-BE49-F238E27FC236}">
                <a16:creationId xmlns:a16="http://schemas.microsoft.com/office/drawing/2014/main" id="{71B800F5-D353-40A2-B9C9-A29ACB6135C1}"/>
              </a:ext>
            </a:extLst>
          </p:cNvPr>
          <p:cNvSpPr>
            <a:spLocks noGrp="1"/>
          </p:cNvSpPr>
          <p:nvPr>
            <p:ph type="title"/>
          </p:nvPr>
        </p:nvSpPr>
        <p:spPr>
          <a:xfrm>
            <a:off x="253911" y="2815076"/>
            <a:ext cx="3987692" cy="818301"/>
          </a:xfrm>
        </p:spPr>
        <p:txBody>
          <a:bodyPr anchor="b" anchorCtr="0">
            <a:spAutoFit/>
          </a:bodyPr>
          <a:lstStyle>
            <a:lvl1pPr>
              <a:defRPr sz="2954">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cxnSp>
        <p:nvCxnSpPr>
          <p:cNvPr id="22" name="Straight Connector 21">
            <a:extLst>
              <a:ext uri="{FF2B5EF4-FFF2-40B4-BE49-F238E27FC236}">
                <a16:creationId xmlns:a16="http://schemas.microsoft.com/office/drawing/2014/main" id="{23430AAB-5902-4654-B9FA-AE29404FCE66}"/>
              </a:ext>
            </a:extLst>
          </p:cNvPr>
          <p:cNvCxnSpPr>
            <a:cxnSpLocks/>
          </p:cNvCxnSpPr>
          <p:nvPr userDrawn="1"/>
        </p:nvCxnSpPr>
        <p:spPr>
          <a:xfrm>
            <a:off x="253911" y="4498566"/>
            <a:ext cx="3987692" cy="0"/>
          </a:xfrm>
          <a:prstGeom prst="line">
            <a:avLst/>
          </a:prstGeom>
          <a:ln w="12700">
            <a:solidFill>
              <a:srgbClr val="30373B"/>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3F61116-2B80-4AA8-A5DE-F43ACEFB4AD3}"/>
              </a:ext>
            </a:extLst>
          </p:cNvPr>
          <p:cNvCxnSpPr>
            <a:cxnSpLocks/>
          </p:cNvCxnSpPr>
          <p:nvPr userDrawn="1"/>
        </p:nvCxnSpPr>
        <p:spPr>
          <a:xfrm>
            <a:off x="4909972" y="4497744"/>
            <a:ext cx="3987691" cy="0"/>
          </a:xfrm>
          <a:prstGeom prst="line">
            <a:avLst/>
          </a:prstGeom>
          <a:ln w="12700">
            <a:solidFill>
              <a:srgbClr val="30373B"/>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71737B9-DDE3-4847-BCBB-79FA9187C04F}"/>
              </a:ext>
            </a:extLst>
          </p:cNvPr>
          <p:cNvSpPr/>
          <p:nvPr userDrawn="1"/>
        </p:nvSpPr>
        <p:spPr>
          <a:xfrm>
            <a:off x="253911" y="4251232"/>
            <a:ext cx="1455527" cy="158570"/>
          </a:xfrm>
          <a:prstGeom prst="rect">
            <a:avLst/>
          </a:prstGeom>
        </p:spPr>
        <p:txBody>
          <a:bodyPr wrap="none" lIns="0" tIns="0" rIns="0" bIns="0">
            <a:spAutoFit/>
          </a:bodyPr>
          <a:lstStyle/>
          <a:p>
            <a:pPr lvl="1">
              <a:lnSpc>
                <a:spcPct val="93000"/>
              </a:lnSpc>
              <a:buNone/>
            </a:pPr>
            <a:r>
              <a:rPr lang="da-DK" sz="1108" b="1">
                <a:solidFill>
                  <a:srgbClr val="30373B"/>
                </a:solidFill>
              </a:rPr>
              <a:t>THE PROJECT</a:t>
            </a:r>
            <a:endParaRPr lang="da-DK" sz="1662">
              <a:solidFill>
                <a:srgbClr val="30373B"/>
              </a:solidFill>
            </a:endParaRPr>
          </a:p>
        </p:txBody>
      </p:sp>
      <p:sp>
        <p:nvSpPr>
          <p:cNvPr id="25" name="Rectangle 24">
            <a:extLst>
              <a:ext uri="{FF2B5EF4-FFF2-40B4-BE49-F238E27FC236}">
                <a16:creationId xmlns:a16="http://schemas.microsoft.com/office/drawing/2014/main" id="{09512485-4193-4DA1-A713-E51426E48AB3}"/>
              </a:ext>
            </a:extLst>
          </p:cNvPr>
          <p:cNvSpPr/>
          <p:nvPr userDrawn="1"/>
        </p:nvSpPr>
        <p:spPr>
          <a:xfrm>
            <a:off x="4908841" y="4251232"/>
            <a:ext cx="1330492" cy="158570"/>
          </a:xfrm>
          <a:prstGeom prst="rect">
            <a:avLst/>
          </a:prstGeom>
        </p:spPr>
        <p:txBody>
          <a:bodyPr wrap="none" lIns="0" tIns="0" rIns="0" bIns="0">
            <a:spAutoFit/>
          </a:bodyPr>
          <a:lstStyle/>
          <a:p>
            <a:pPr lvl="1">
              <a:lnSpc>
                <a:spcPct val="93000"/>
              </a:lnSpc>
              <a:buNone/>
            </a:pPr>
            <a:r>
              <a:rPr lang="da-DK" sz="1108" b="1">
                <a:solidFill>
                  <a:srgbClr val="30373B"/>
                </a:solidFill>
              </a:rPr>
              <a:t>THE IMPACT</a:t>
            </a:r>
            <a:endParaRPr lang="da-DK" sz="1662">
              <a:solidFill>
                <a:srgbClr val="30373B"/>
              </a:solidFill>
            </a:endParaRPr>
          </a:p>
        </p:txBody>
      </p:sp>
      <p:sp>
        <p:nvSpPr>
          <p:cNvPr id="35" name="Text Placeholder 34">
            <a:extLst>
              <a:ext uri="{FF2B5EF4-FFF2-40B4-BE49-F238E27FC236}">
                <a16:creationId xmlns:a16="http://schemas.microsoft.com/office/drawing/2014/main" id="{FD457679-0CD8-436B-B224-B5039179B055}"/>
              </a:ext>
            </a:extLst>
          </p:cNvPr>
          <p:cNvSpPr>
            <a:spLocks noGrp="1"/>
          </p:cNvSpPr>
          <p:nvPr>
            <p:ph type="body" sz="quarter" idx="18" hasCustomPrompt="1"/>
          </p:nvPr>
        </p:nvSpPr>
        <p:spPr>
          <a:xfrm>
            <a:off x="253911" y="4648331"/>
            <a:ext cx="3987692" cy="1663569"/>
          </a:xfrm>
        </p:spPr>
        <p:txBody>
          <a:bodyPr/>
          <a:lstStyle>
            <a:lvl1pPr>
              <a:buFontTx/>
              <a:buNone/>
              <a:defRPr sz="923"/>
            </a:lvl1pPr>
            <a:lvl2pPr>
              <a:defRPr sz="923"/>
            </a:lvl2pPr>
            <a:lvl3pPr>
              <a:defRPr sz="923"/>
            </a:lvl3pPr>
            <a:lvl4pPr>
              <a:defRPr sz="923"/>
            </a:lvl4pPr>
            <a:lvl5pPr>
              <a:defRPr sz="923"/>
            </a:lvl5p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37" name="Text Placeholder 36">
            <a:extLst>
              <a:ext uri="{FF2B5EF4-FFF2-40B4-BE49-F238E27FC236}">
                <a16:creationId xmlns:a16="http://schemas.microsoft.com/office/drawing/2014/main" id="{0122C995-A46A-47E3-BD5A-37630113CBDA}"/>
              </a:ext>
            </a:extLst>
          </p:cNvPr>
          <p:cNvSpPr>
            <a:spLocks noGrp="1"/>
          </p:cNvSpPr>
          <p:nvPr>
            <p:ph type="body" sz="quarter" idx="19" hasCustomPrompt="1"/>
          </p:nvPr>
        </p:nvSpPr>
        <p:spPr>
          <a:xfrm>
            <a:off x="4909972" y="4648331"/>
            <a:ext cx="3987692" cy="1663569"/>
          </a:xfrm>
        </p:spPr>
        <p:txBody>
          <a:bodyPr/>
          <a:lstStyle>
            <a:lvl1pPr>
              <a:buFontTx/>
              <a:buNone/>
              <a:defRPr sz="923"/>
            </a:lvl1pPr>
            <a:lvl2pPr>
              <a:defRPr sz="923"/>
            </a:lvl2pPr>
            <a:lvl3pPr>
              <a:defRPr sz="923"/>
            </a:lvl3pPr>
            <a:lvl4pPr>
              <a:defRPr sz="923"/>
            </a:lvl4pPr>
            <a:lvl5pPr>
              <a:defRPr sz="923"/>
            </a:lvl5p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38" name="Rectangle 37">
            <a:extLst>
              <a:ext uri="{FF2B5EF4-FFF2-40B4-BE49-F238E27FC236}">
                <a16:creationId xmlns:a16="http://schemas.microsoft.com/office/drawing/2014/main" id="{222B717F-572C-4701-890C-5980AFA4B1FF}"/>
              </a:ext>
            </a:extLst>
          </p:cNvPr>
          <p:cNvSpPr/>
          <p:nvPr userDrawn="1"/>
        </p:nvSpPr>
        <p:spPr>
          <a:xfrm>
            <a:off x="253911" y="1511114"/>
            <a:ext cx="321094" cy="511550"/>
          </a:xfrm>
          <a:prstGeom prst="rect">
            <a:avLst/>
          </a:prstGeom>
        </p:spPr>
        <p:txBody>
          <a:bodyPr wrap="square" lIns="0" tIns="0" rIns="0" bIns="0">
            <a:spAutoFit/>
          </a:bodyPr>
          <a:lstStyle/>
          <a:p>
            <a:pPr>
              <a:spcAft>
                <a:spcPts val="0"/>
              </a:spcAft>
            </a:pPr>
            <a:r>
              <a:rPr lang="da-DK" sz="1662">
                <a:solidFill>
                  <a:srgbClr val="1F2023"/>
                </a:solidFill>
              </a:rPr>
              <a:t>CASE</a:t>
            </a:r>
          </a:p>
        </p:txBody>
      </p:sp>
      <p:sp>
        <p:nvSpPr>
          <p:cNvPr id="18" name="Freeform: Shape 17">
            <a:extLst>
              <a:ext uri="{FF2B5EF4-FFF2-40B4-BE49-F238E27FC236}">
                <a16:creationId xmlns:a16="http://schemas.microsoft.com/office/drawing/2014/main" id="{87FD700C-F5D8-47A6-B075-E7C3777BFD22}"/>
              </a:ext>
            </a:extLst>
          </p:cNvPr>
          <p:cNvSpPr/>
          <p:nvPr userDrawn="1">
            <p:custDataLst>
              <p:tags r:id="rId4"/>
            </p:custDataLst>
          </p:nvPr>
        </p:nvSpPr>
        <p:spPr bwMode="auto">
          <a:xfrm rot="5400000">
            <a:off x="8646962" y="406758"/>
            <a:ext cx="350168" cy="142743"/>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bg1"/>
          </a:solidFill>
          <a:ln>
            <a:noFill/>
          </a:ln>
        </p:spPr>
        <p:txBody>
          <a:bodyPr vert="horz" wrap="square" lIns="84406" tIns="42203" rIns="84406" bIns="42203" numCol="1" anchor="t" anchorCtr="0" compatLnSpc="1">
            <a:prstTxWarp prst="textNoShape">
              <a:avLst/>
            </a:prstTxWarp>
            <a:noAutofit/>
          </a:bodyPr>
          <a:lstStyle/>
          <a:p>
            <a:endParaRPr lang="da-DK" sz="1662"/>
          </a:p>
        </p:txBody>
      </p:sp>
      <p:sp>
        <p:nvSpPr>
          <p:cNvPr id="6" name="Slide Number Placeholder 5">
            <a:extLst>
              <a:ext uri="{FF2B5EF4-FFF2-40B4-BE49-F238E27FC236}">
                <a16:creationId xmlns:a16="http://schemas.microsoft.com/office/drawing/2014/main" id="{3CBA9385-3277-4A03-8C15-57A5D2485A59}"/>
              </a:ext>
            </a:extLst>
          </p:cNvPr>
          <p:cNvSpPr>
            <a:spLocks noGrp="1"/>
          </p:cNvSpPr>
          <p:nvPr>
            <p:ph type="sldNum" sz="quarter" idx="22"/>
          </p:nvPr>
        </p:nvSpPr>
        <p:spPr/>
        <p:txBody>
          <a:bodyPr/>
          <a:lstStyle/>
          <a:p>
            <a:fld id="{24C8C45C-947F-4981-8B3F-4F32E973C901}" type="slidenum">
              <a:rPr lang="da-DK" smtClean="0"/>
              <a:pPr/>
              <a:t>‹nr.›</a:t>
            </a:fld>
            <a:endParaRPr lang="da-DK"/>
          </a:p>
        </p:txBody>
      </p:sp>
      <p:sp>
        <p:nvSpPr>
          <p:cNvPr id="4" name="Date Placeholder 3" hidden="1">
            <a:extLst>
              <a:ext uri="{FF2B5EF4-FFF2-40B4-BE49-F238E27FC236}">
                <a16:creationId xmlns:a16="http://schemas.microsoft.com/office/drawing/2014/main" id="{676A9557-0521-4D63-9104-F44D76841FFE}"/>
              </a:ext>
            </a:extLst>
          </p:cNvPr>
          <p:cNvSpPr>
            <a:spLocks noGrp="1"/>
          </p:cNvSpPr>
          <p:nvPr>
            <p:ph type="dt" sz="half" idx="20"/>
          </p:nvPr>
        </p:nvSpPr>
        <p:spPr/>
        <p:txBody>
          <a:bodyPr/>
          <a:lstStyle/>
          <a:p>
            <a:endParaRPr lang="da-DK"/>
          </a:p>
        </p:txBody>
      </p:sp>
      <p:sp>
        <p:nvSpPr>
          <p:cNvPr id="5" name="Footer Placeholder 4" hidden="1">
            <a:extLst>
              <a:ext uri="{FF2B5EF4-FFF2-40B4-BE49-F238E27FC236}">
                <a16:creationId xmlns:a16="http://schemas.microsoft.com/office/drawing/2014/main" id="{C0E1CEF2-4F80-4706-AE63-0C7E8A7402DF}"/>
              </a:ext>
            </a:extLst>
          </p:cNvPr>
          <p:cNvSpPr>
            <a:spLocks noGrp="1"/>
          </p:cNvSpPr>
          <p:nvPr>
            <p:ph type="ftr" sz="quarter" idx="21"/>
          </p:nvPr>
        </p:nvSpPr>
        <p:spPr/>
        <p:txBody>
          <a:bodyPr/>
          <a:lstStyle/>
          <a:p>
            <a:endParaRPr lang="da-DK"/>
          </a:p>
        </p:txBody>
      </p:sp>
    </p:spTree>
    <p:extLst>
      <p:ext uri="{BB962C8B-B14F-4D97-AF65-F5344CB8AC3E}">
        <p14:creationId xmlns:p14="http://schemas.microsoft.com/office/powerpoint/2010/main" val="2557683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Reference case_long text_dar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7E4694B-A434-48B1-A431-0432E4744FA6}"/>
              </a:ext>
            </a:extLst>
          </p:cNvPr>
          <p:cNvGraphicFramePr>
            <a:graphicFrameLocks noChangeAspect="1"/>
          </p:cNvGraphicFramePr>
          <p:nvPr userDrawn="1">
            <p:custDataLst>
              <p:tags r:id="rId2"/>
            </p:custDataLst>
            <p:extLst>
              <p:ext uri="{D42A27DB-BD31-4B8C-83A1-F6EECF244321}">
                <p14:modId xmlns:p14="http://schemas.microsoft.com/office/powerpoint/2010/main" val="2265320806"/>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spid="_x0000_s7185" name="think-cell Slide" r:id="rId6" imgW="526" imgH="526" progId="TCLayout.ActiveDocument.1">
                  <p:embed/>
                </p:oleObj>
              </mc:Choice>
              <mc:Fallback>
                <p:oleObj name="think-cell Slide" r:id="rId6" imgW="526" imgH="526" progId="TCLayout.ActiveDocument.1">
                  <p:embed/>
                  <p:pic>
                    <p:nvPicPr>
                      <p:cNvPr id="3" name="Object 2" hidden="1">
                        <a:extLst>
                          <a:ext uri="{FF2B5EF4-FFF2-40B4-BE49-F238E27FC236}">
                            <a16:creationId xmlns:a16="http://schemas.microsoft.com/office/drawing/2014/main" id="{D7E4694B-A434-48B1-A431-0432E4744FA6}"/>
                          </a:ext>
                        </a:extLst>
                      </p:cNvPr>
                      <p:cNvPicPr/>
                      <p:nvPr/>
                    </p:nvPicPr>
                    <p:blipFill>
                      <a:blip r:embed="rId7"/>
                      <a:stretch>
                        <a:fillRect/>
                      </a:stretch>
                    </p:blipFill>
                    <p:spPr>
                      <a:xfrm>
                        <a:off x="1466" y="1588"/>
                        <a:ext cx="1466"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C3A9516-8834-4484-A04E-ECB695CB650B}"/>
              </a:ext>
            </a:extLst>
          </p:cNvPr>
          <p:cNvSpPr/>
          <p:nvPr userDrawn="1">
            <p:custDataLst>
              <p:tags r:id="rId3"/>
            </p:custDataLst>
          </p:nvPr>
        </p:nvSpPr>
        <p:spPr>
          <a:xfrm>
            <a:off x="0" y="0"/>
            <a:ext cx="146538"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da-DK" sz="2954" b="0" i="0" baseline="0" noProof="0" err="1">
              <a:solidFill>
                <a:srgbClr val="2F363B"/>
              </a:solidFill>
              <a:latin typeface="Arial" panose="020B0604020202020204" pitchFamily="34" charset="0"/>
              <a:ea typeface="+mj-ea"/>
              <a:cs typeface="+mj-cs"/>
              <a:sym typeface="Arial" panose="020B0604020202020204" pitchFamily="34" charset="0"/>
            </a:endParaRPr>
          </a:p>
        </p:txBody>
      </p:sp>
      <p:sp>
        <p:nvSpPr>
          <p:cNvPr id="26" name="Rectangle 25">
            <a:extLst>
              <a:ext uri="{FF2B5EF4-FFF2-40B4-BE49-F238E27FC236}">
                <a16:creationId xmlns:a16="http://schemas.microsoft.com/office/drawing/2014/main" id="{5C949A49-8B74-4770-82C7-FB3B75548D7F}"/>
              </a:ext>
            </a:extLst>
          </p:cNvPr>
          <p:cNvSpPr/>
          <p:nvPr userDrawn="1"/>
        </p:nvSpPr>
        <p:spPr>
          <a:xfrm>
            <a:off x="0" y="2"/>
            <a:ext cx="9144000" cy="6857999"/>
          </a:xfrm>
          <a:prstGeom prst="rect">
            <a:avLst/>
          </a:prstGeom>
          <a:solidFill>
            <a:srgbClr val="30373B"/>
          </a:solidFill>
          <a:ln w="25400" cap="flat" cmpd="sng" algn="ctr">
            <a:noFill/>
            <a:prstDash val="solid"/>
          </a:ln>
          <a:effectLst/>
        </p:spPr>
        <p:txBody>
          <a:bodyPr rtlCol="0" anchor="ctr"/>
          <a:lstStyle/>
          <a:p>
            <a:pPr marL="0" marR="0" lvl="0" indent="0" algn="ctr"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1F2023"/>
              </a:solidFill>
              <a:effectLst/>
              <a:uLnTx/>
              <a:uFillTx/>
              <a:latin typeface="Arial"/>
              <a:ea typeface="+mn-ea"/>
              <a:cs typeface="+mn-cs"/>
            </a:endParaRPr>
          </a:p>
        </p:txBody>
      </p:sp>
      <p:sp>
        <p:nvSpPr>
          <p:cNvPr id="13" name="TextBox 12">
            <a:extLst>
              <a:ext uri="{FF2B5EF4-FFF2-40B4-BE49-F238E27FC236}">
                <a16:creationId xmlns:a16="http://schemas.microsoft.com/office/drawing/2014/main" id="{FAD8A034-05A2-458D-8D7A-81B7EFBAEA9F}"/>
              </a:ext>
            </a:extLst>
          </p:cNvPr>
          <p:cNvSpPr txBox="1"/>
          <p:nvPr userDrawn="1"/>
        </p:nvSpPr>
        <p:spPr>
          <a:xfrm>
            <a:off x="6029924" y="0"/>
            <a:ext cx="3114076" cy="3543301"/>
          </a:xfrm>
          <a:prstGeom prst="rect">
            <a:avLst/>
          </a:prstGeom>
          <a:solidFill>
            <a:srgbClr val="9A6E3A"/>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99692" rIns="99692" bIns="99692"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sz="1015">
              <a:solidFill>
                <a:srgbClr val="30373B"/>
              </a:solidFill>
              <a:sym typeface="Arial" panose="020B0604020202020204" pitchFamily="34" charset="0"/>
            </a:endParaRPr>
          </a:p>
        </p:txBody>
      </p:sp>
      <p:sp>
        <p:nvSpPr>
          <p:cNvPr id="10" name="Picture Placeholder 13">
            <a:extLst>
              <a:ext uri="{FF2B5EF4-FFF2-40B4-BE49-F238E27FC236}">
                <a16:creationId xmlns:a16="http://schemas.microsoft.com/office/drawing/2014/main" id="{96EDC17A-116C-4E16-A3DE-2E5F4B894B8C}"/>
              </a:ext>
            </a:extLst>
          </p:cNvPr>
          <p:cNvSpPr>
            <a:spLocks noGrp="1"/>
          </p:cNvSpPr>
          <p:nvPr>
            <p:ph type="pic" sz="quarter" idx="15"/>
          </p:nvPr>
        </p:nvSpPr>
        <p:spPr>
          <a:xfrm>
            <a:off x="4908841" y="3213"/>
            <a:ext cx="3589900" cy="3108288"/>
          </a:xfrm>
          <a:solidFill>
            <a:srgbClr val="B8BBBD"/>
          </a:solidFill>
        </p:spPr>
        <p:txBody>
          <a:bodyPr rIns="0" anchor="ctr" anchorCtr="0"/>
          <a:lstStyle>
            <a:lvl1pPr marL="0" indent="0" algn="ctr">
              <a:buNone/>
              <a:defRPr>
                <a:solidFill>
                  <a:srgbClr val="1F2023"/>
                </a:solidFill>
              </a:defRPr>
            </a:lvl1pPr>
          </a:lstStyle>
          <a:p>
            <a:r>
              <a:rPr lang="da-DK" err="1"/>
              <a:t>Click</a:t>
            </a:r>
            <a:r>
              <a:rPr lang="da-DK"/>
              <a:t> </a:t>
            </a:r>
            <a:r>
              <a:rPr lang="da-DK" err="1"/>
              <a:t>icon</a:t>
            </a:r>
            <a:r>
              <a:rPr lang="da-DK"/>
              <a:t> to </a:t>
            </a:r>
            <a:r>
              <a:rPr lang="da-DK" err="1"/>
              <a:t>add</a:t>
            </a:r>
            <a:r>
              <a:rPr lang="da-DK"/>
              <a:t> </a:t>
            </a:r>
            <a:r>
              <a:rPr lang="da-DK" err="1"/>
              <a:t>picture</a:t>
            </a:r>
            <a:endParaRPr lang="da-DK"/>
          </a:p>
        </p:txBody>
      </p:sp>
      <p:sp>
        <p:nvSpPr>
          <p:cNvPr id="11" name="Title 1">
            <a:extLst>
              <a:ext uri="{FF2B5EF4-FFF2-40B4-BE49-F238E27FC236}">
                <a16:creationId xmlns:a16="http://schemas.microsoft.com/office/drawing/2014/main" id="{71B800F5-D353-40A2-B9C9-A29ACB6135C1}"/>
              </a:ext>
            </a:extLst>
          </p:cNvPr>
          <p:cNvSpPr>
            <a:spLocks noGrp="1"/>
          </p:cNvSpPr>
          <p:nvPr>
            <p:ph type="title"/>
          </p:nvPr>
        </p:nvSpPr>
        <p:spPr>
          <a:xfrm>
            <a:off x="253911" y="2815076"/>
            <a:ext cx="3987692" cy="818301"/>
          </a:xfrm>
        </p:spPr>
        <p:txBody>
          <a:bodyPr anchor="b" anchorCtr="0">
            <a:spAutoFit/>
          </a:bodyPr>
          <a:lstStyle>
            <a:lvl1pPr>
              <a:defRPr sz="2954">
                <a:solidFill>
                  <a:srgbClr val="F8F5E7"/>
                </a:solidFill>
              </a:defRPr>
            </a:lvl1pPr>
          </a:lstStyle>
          <a:p>
            <a:r>
              <a:rPr lang="da-DK" err="1"/>
              <a:t>Click</a:t>
            </a:r>
            <a:r>
              <a:rPr lang="da-DK"/>
              <a:t> to </a:t>
            </a:r>
            <a:r>
              <a:rPr lang="da-DK" err="1"/>
              <a:t>edit</a:t>
            </a:r>
            <a:r>
              <a:rPr lang="da-DK"/>
              <a:t> Master </a:t>
            </a:r>
            <a:r>
              <a:rPr lang="da-DK" err="1"/>
              <a:t>title</a:t>
            </a:r>
            <a:r>
              <a:rPr lang="da-DK"/>
              <a:t> style</a:t>
            </a:r>
          </a:p>
        </p:txBody>
      </p:sp>
      <p:sp>
        <p:nvSpPr>
          <p:cNvPr id="15" name="Freeform: Shape 14">
            <a:extLst>
              <a:ext uri="{FF2B5EF4-FFF2-40B4-BE49-F238E27FC236}">
                <a16:creationId xmlns:a16="http://schemas.microsoft.com/office/drawing/2014/main" id="{6C3A81CD-98C4-40D0-925F-38C84421F367}"/>
              </a:ext>
            </a:extLst>
          </p:cNvPr>
          <p:cNvSpPr/>
          <p:nvPr userDrawn="1">
            <p:custDataLst>
              <p:tags r:id="rId4"/>
            </p:custDataLst>
          </p:nvPr>
        </p:nvSpPr>
        <p:spPr bwMode="auto">
          <a:xfrm rot="5400000">
            <a:off x="8646962" y="406758"/>
            <a:ext cx="350168" cy="142743"/>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endParaRPr lang="da-DK" sz="1662"/>
          </a:p>
        </p:txBody>
      </p:sp>
      <p:cxnSp>
        <p:nvCxnSpPr>
          <p:cNvPr id="22" name="Straight Connector 21">
            <a:extLst>
              <a:ext uri="{FF2B5EF4-FFF2-40B4-BE49-F238E27FC236}">
                <a16:creationId xmlns:a16="http://schemas.microsoft.com/office/drawing/2014/main" id="{23430AAB-5902-4654-B9FA-AE29404FCE66}"/>
              </a:ext>
            </a:extLst>
          </p:cNvPr>
          <p:cNvCxnSpPr>
            <a:cxnSpLocks/>
          </p:cNvCxnSpPr>
          <p:nvPr userDrawn="1"/>
        </p:nvCxnSpPr>
        <p:spPr>
          <a:xfrm>
            <a:off x="253911" y="4498566"/>
            <a:ext cx="3987692" cy="0"/>
          </a:xfrm>
          <a:prstGeom prst="line">
            <a:avLst/>
          </a:prstGeom>
          <a:ln w="12700">
            <a:solidFill>
              <a:srgbClr val="F8F5E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3F61116-2B80-4AA8-A5DE-F43ACEFB4AD3}"/>
              </a:ext>
            </a:extLst>
          </p:cNvPr>
          <p:cNvCxnSpPr>
            <a:cxnSpLocks/>
          </p:cNvCxnSpPr>
          <p:nvPr userDrawn="1"/>
        </p:nvCxnSpPr>
        <p:spPr>
          <a:xfrm>
            <a:off x="4909972" y="4497744"/>
            <a:ext cx="3987691" cy="0"/>
          </a:xfrm>
          <a:prstGeom prst="line">
            <a:avLst/>
          </a:prstGeom>
          <a:ln w="12700">
            <a:solidFill>
              <a:srgbClr val="F8F5E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71737B9-DDE3-4847-BCBB-79FA9187C04F}"/>
              </a:ext>
            </a:extLst>
          </p:cNvPr>
          <p:cNvSpPr/>
          <p:nvPr userDrawn="1"/>
        </p:nvSpPr>
        <p:spPr>
          <a:xfrm>
            <a:off x="253911" y="4251232"/>
            <a:ext cx="1455527" cy="158570"/>
          </a:xfrm>
          <a:prstGeom prst="rect">
            <a:avLst/>
          </a:prstGeom>
        </p:spPr>
        <p:txBody>
          <a:bodyPr wrap="none" lIns="0" tIns="0" rIns="0" bIns="0">
            <a:spAutoFit/>
          </a:bodyPr>
          <a:lstStyle/>
          <a:p>
            <a:pPr lvl="1">
              <a:lnSpc>
                <a:spcPct val="93000"/>
              </a:lnSpc>
              <a:buNone/>
            </a:pPr>
            <a:r>
              <a:rPr lang="da-DK" sz="1108" b="1">
                <a:solidFill>
                  <a:srgbClr val="F8F5E7"/>
                </a:solidFill>
              </a:rPr>
              <a:t>THE PROJECT</a:t>
            </a:r>
            <a:endParaRPr lang="da-DK" sz="1662">
              <a:solidFill>
                <a:srgbClr val="F8F5E7"/>
              </a:solidFill>
            </a:endParaRPr>
          </a:p>
        </p:txBody>
      </p:sp>
      <p:sp>
        <p:nvSpPr>
          <p:cNvPr id="25" name="Rectangle 24">
            <a:extLst>
              <a:ext uri="{FF2B5EF4-FFF2-40B4-BE49-F238E27FC236}">
                <a16:creationId xmlns:a16="http://schemas.microsoft.com/office/drawing/2014/main" id="{09512485-4193-4DA1-A713-E51426E48AB3}"/>
              </a:ext>
            </a:extLst>
          </p:cNvPr>
          <p:cNvSpPr/>
          <p:nvPr userDrawn="1"/>
        </p:nvSpPr>
        <p:spPr>
          <a:xfrm>
            <a:off x="4908841" y="4251232"/>
            <a:ext cx="1330492" cy="158570"/>
          </a:xfrm>
          <a:prstGeom prst="rect">
            <a:avLst/>
          </a:prstGeom>
        </p:spPr>
        <p:txBody>
          <a:bodyPr wrap="none" lIns="0" tIns="0" rIns="0" bIns="0">
            <a:spAutoFit/>
          </a:bodyPr>
          <a:lstStyle/>
          <a:p>
            <a:pPr lvl="1">
              <a:lnSpc>
                <a:spcPct val="93000"/>
              </a:lnSpc>
              <a:buNone/>
            </a:pPr>
            <a:r>
              <a:rPr lang="da-DK" sz="1108" b="1">
                <a:solidFill>
                  <a:srgbClr val="F8F5E7"/>
                </a:solidFill>
              </a:rPr>
              <a:t>THE IMPACT</a:t>
            </a:r>
            <a:endParaRPr lang="da-DK" sz="1662">
              <a:solidFill>
                <a:srgbClr val="F8F5E7"/>
              </a:solidFill>
            </a:endParaRPr>
          </a:p>
        </p:txBody>
      </p:sp>
      <p:sp>
        <p:nvSpPr>
          <p:cNvPr id="18" name="Text Placeholder 17">
            <a:extLst>
              <a:ext uri="{FF2B5EF4-FFF2-40B4-BE49-F238E27FC236}">
                <a16:creationId xmlns:a16="http://schemas.microsoft.com/office/drawing/2014/main" id="{6E258190-5654-4F09-866D-DF2597338651}"/>
              </a:ext>
            </a:extLst>
          </p:cNvPr>
          <p:cNvSpPr>
            <a:spLocks noGrp="1"/>
          </p:cNvSpPr>
          <p:nvPr>
            <p:ph type="body" sz="quarter" idx="18" hasCustomPrompt="1"/>
          </p:nvPr>
        </p:nvSpPr>
        <p:spPr>
          <a:xfrm>
            <a:off x="253911" y="4643415"/>
            <a:ext cx="3987312" cy="1668485"/>
          </a:xfrm>
        </p:spPr>
        <p:txBody>
          <a:bodyPr/>
          <a:lstStyle>
            <a:lvl1pPr>
              <a:buFontTx/>
              <a:buNone/>
              <a:defRPr sz="923">
                <a:solidFill>
                  <a:srgbClr val="F8F5E7"/>
                </a:solidFill>
              </a:defRPr>
            </a:lvl1pPr>
            <a:lvl2pPr>
              <a:defRPr sz="923">
                <a:solidFill>
                  <a:srgbClr val="F8F5E7"/>
                </a:solidFill>
              </a:defRPr>
            </a:lvl2pPr>
            <a:lvl3pPr>
              <a:defRPr sz="923">
                <a:solidFill>
                  <a:srgbClr val="F8F5E7"/>
                </a:solidFill>
              </a:defRPr>
            </a:lvl3pPr>
            <a:lvl4pPr>
              <a:defRPr sz="923">
                <a:solidFill>
                  <a:srgbClr val="F8F5E7"/>
                </a:solidFill>
              </a:defRPr>
            </a:lvl4pPr>
            <a:lvl5pPr>
              <a:defRPr sz="923">
                <a:solidFill>
                  <a:srgbClr val="F8F5E7"/>
                </a:solidFill>
              </a:defRPr>
            </a:lvl5p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35" name="Text Placeholder 34">
            <a:extLst>
              <a:ext uri="{FF2B5EF4-FFF2-40B4-BE49-F238E27FC236}">
                <a16:creationId xmlns:a16="http://schemas.microsoft.com/office/drawing/2014/main" id="{307552BF-22B2-4AC0-889F-4545B1A418AF}"/>
              </a:ext>
            </a:extLst>
          </p:cNvPr>
          <p:cNvSpPr>
            <a:spLocks noGrp="1"/>
          </p:cNvSpPr>
          <p:nvPr>
            <p:ph type="body" sz="quarter" idx="19" hasCustomPrompt="1"/>
          </p:nvPr>
        </p:nvSpPr>
        <p:spPr>
          <a:xfrm>
            <a:off x="4909972" y="4643415"/>
            <a:ext cx="3987692" cy="1668485"/>
          </a:xfrm>
        </p:spPr>
        <p:txBody>
          <a:bodyPr/>
          <a:lstStyle>
            <a:lvl1pPr>
              <a:buFontTx/>
              <a:buNone/>
              <a:defRPr sz="923">
                <a:solidFill>
                  <a:srgbClr val="F8F5E7"/>
                </a:solidFill>
              </a:defRPr>
            </a:lvl1pPr>
            <a:lvl2pPr>
              <a:defRPr sz="923">
                <a:solidFill>
                  <a:srgbClr val="F8F5E7"/>
                </a:solidFill>
              </a:defRPr>
            </a:lvl2pPr>
            <a:lvl3pPr>
              <a:defRPr sz="923">
                <a:solidFill>
                  <a:srgbClr val="F8F5E7"/>
                </a:solidFill>
              </a:defRPr>
            </a:lvl3pPr>
            <a:lvl4pPr>
              <a:defRPr sz="923">
                <a:solidFill>
                  <a:srgbClr val="F8F5E7"/>
                </a:solidFill>
              </a:defRPr>
            </a:lvl4pPr>
            <a:lvl5pPr>
              <a:defRPr sz="923">
                <a:solidFill>
                  <a:srgbClr val="F8F5E7"/>
                </a:solidFill>
              </a:defRPr>
            </a:lvl5p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0" name="Rectangle 19">
            <a:extLst>
              <a:ext uri="{FF2B5EF4-FFF2-40B4-BE49-F238E27FC236}">
                <a16:creationId xmlns:a16="http://schemas.microsoft.com/office/drawing/2014/main" id="{0D39F5F7-9774-4481-86BE-3C43D975F2D6}"/>
              </a:ext>
            </a:extLst>
          </p:cNvPr>
          <p:cNvSpPr/>
          <p:nvPr userDrawn="1"/>
        </p:nvSpPr>
        <p:spPr>
          <a:xfrm>
            <a:off x="253911" y="1511114"/>
            <a:ext cx="321094" cy="511550"/>
          </a:xfrm>
          <a:prstGeom prst="rect">
            <a:avLst/>
          </a:prstGeom>
        </p:spPr>
        <p:txBody>
          <a:bodyPr wrap="square" lIns="0" tIns="0" rIns="0" bIns="0">
            <a:spAutoFit/>
          </a:bodyPr>
          <a:lstStyle/>
          <a:p>
            <a:pPr>
              <a:spcAft>
                <a:spcPts val="0"/>
              </a:spcAft>
            </a:pPr>
            <a:r>
              <a:rPr lang="da-DK" sz="1662">
                <a:solidFill>
                  <a:schemeClr val="bg1"/>
                </a:solidFill>
              </a:rPr>
              <a:t>CASE</a:t>
            </a:r>
          </a:p>
        </p:txBody>
      </p:sp>
      <p:sp>
        <p:nvSpPr>
          <p:cNvPr id="12" name="Slide Number Placeholder 11">
            <a:extLst>
              <a:ext uri="{FF2B5EF4-FFF2-40B4-BE49-F238E27FC236}">
                <a16:creationId xmlns:a16="http://schemas.microsoft.com/office/drawing/2014/main" id="{1E6C0587-AEC9-45F5-AFD6-9863CFF3EAC2}"/>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106995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Reference case_long text_dark">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C949A49-8B74-4770-82C7-FB3B75548D7F}"/>
              </a:ext>
            </a:extLst>
          </p:cNvPr>
          <p:cNvSpPr/>
          <p:nvPr userDrawn="1"/>
        </p:nvSpPr>
        <p:spPr>
          <a:xfrm>
            <a:off x="0" y="2"/>
            <a:ext cx="9144000" cy="6857999"/>
          </a:xfrm>
          <a:prstGeom prst="rect">
            <a:avLst/>
          </a:prstGeom>
          <a:solidFill>
            <a:srgbClr val="30373B"/>
          </a:solidFill>
          <a:ln w="25400" cap="flat" cmpd="sng" algn="ctr">
            <a:noFill/>
            <a:prstDash val="solid"/>
          </a:ln>
          <a:effectLst/>
        </p:spPr>
        <p:txBody>
          <a:bodyPr rtlCol="0" anchor="ctr"/>
          <a:lstStyle/>
          <a:p>
            <a:pPr marL="0" marR="0" lvl="0" indent="0" algn="ctr"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1F2023"/>
              </a:solidFill>
              <a:effectLst/>
              <a:uLnTx/>
              <a:uFillTx/>
              <a:latin typeface="Arial"/>
              <a:ea typeface="+mn-ea"/>
              <a:cs typeface="+mn-cs"/>
            </a:endParaRPr>
          </a:p>
        </p:txBody>
      </p:sp>
      <p:sp>
        <p:nvSpPr>
          <p:cNvPr id="13" name="TextBox 12">
            <a:extLst>
              <a:ext uri="{FF2B5EF4-FFF2-40B4-BE49-F238E27FC236}">
                <a16:creationId xmlns:a16="http://schemas.microsoft.com/office/drawing/2014/main" id="{FAD8A034-05A2-458D-8D7A-81B7EFBAEA9F}"/>
              </a:ext>
            </a:extLst>
          </p:cNvPr>
          <p:cNvSpPr txBox="1"/>
          <p:nvPr userDrawn="1"/>
        </p:nvSpPr>
        <p:spPr>
          <a:xfrm>
            <a:off x="6029924" y="0"/>
            <a:ext cx="3114076" cy="3543301"/>
          </a:xfrm>
          <a:prstGeom prst="rect">
            <a:avLst/>
          </a:prstGeom>
          <a:solidFill>
            <a:srgbClr val="893E45"/>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99692" rIns="99692" bIns="99692"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sz="1015">
              <a:solidFill>
                <a:srgbClr val="30373B"/>
              </a:solidFill>
              <a:sym typeface="Arial" panose="020B0604020202020204" pitchFamily="34" charset="0"/>
            </a:endParaRPr>
          </a:p>
        </p:txBody>
      </p:sp>
      <p:sp>
        <p:nvSpPr>
          <p:cNvPr id="10" name="Picture Placeholder 13">
            <a:extLst>
              <a:ext uri="{FF2B5EF4-FFF2-40B4-BE49-F238E27FC236}">
                <a16:creationId xmlns:a16="http://schemas.microsoft.com/office/drawing/2014/main" id="{96EDC17A-116C-4E16-A3DE-2E5F4B894B8C}"/>
              </a:ext>
            </a:extLst>
          </p:cNvPr>
          <p:cNvSpPr>
            <a:spLocks noGrp="1"/>
          </p:cNvSpPr>
          <p:nvPr>
            <p:ph type="pic" sz="quarter" idx="15"/>
          </p:nvPr>
        </p:nvSpPr>
        <p:spPr>
          <a:xfrm>
            <a:off x="4908841" y="3213"/>
            <a:ext cx="3589900" cy="3108288"/>
          </a:xfrm>
          <a:solidFill>
            <a:srgbClr val="B8BBBD"/>
          </a:solidFill>
        </p:spPr>
        <p:txBody>
          <a:bodyPr rIns="0" anchor="ctr" anchorCtr="0"/>
          <a:lstStyle>
            <a:lvl1pPr marL="0" indent="0" algn="ctr">
              <a:buNone/>
              <a:defRPr>
                <a:solidFill>
                  <a:srgbClr val="1F2023"/>
                </a:solidFill>
              </a:defRPr>
            </a:lvl1pPr>
          </a:lstStyle>
          <a:p>
            <a:r>
              <a:rPr lang="da-DK" err="1"/>
              <a:t>Click</a:t>
            </a:r>
            <a:r>
              <a:rPr lang="da-DK"/>
              <a:t> </a:t>
            </a:r>
            <a:r>
              <a:rPr lang="da-DK" err="1"/>
              <a:t>icon</a:t>
            </a:r>
            <a:r>
              <a:rPr lang="da-DK"/>
              <a:t> to </a:t>
            </a:r>
            <a:r>
              <a:rPr lang="da-DK" err="1"/>
              <a:t>add</a:t>
            </a:r>
            <a:r>
              <a:rPr lang="da-DK"/>
              <a:t> </a:t>
            </a:r>
            <a:r>
              <a:rPr lang="da-DK" err="1"/>
              <a:t>picture</a:t>
            </a:r>
            <a:endParaRPr lang="da-DK"/>
          </a:p>
        </p:txBody>
      </p:sp>
      <p:sp>
        <p:nvSpPr>
          <p:cNvPr id="11" name="Title 1">
            <a:extLst>
              <a:ext uri="{FF2B5EF4-FFF2-40B4-BE49-F238E27FC236}">
                <a16:creationId xmlns:a16="http://schemas.microsoft.com/office/drawing/2014/main" id="{71B800F5-D353-40A2-B9C9-A29ACB6135C1}"/>
              </a:ext>
            </a:extLst>
          </p:cNvPr>
          <p:cNvSpPr>
            <a:spLocks noGrp="1"/>
          </p:cNvSpPr>
          <p:nvPr>
            <p:ph type="title"/>
          </p:nvPr>
        </p:nvSpPr>
        <p:spPr>
          <a:xfrm>
            <a:off x="253911" y="2815076"/>
            <a:ext cx="3987692" cy="818301"/>
          </a:xfrm>
        </p:spPr>
        <p:txBody>
          <a:bodyPr anchor="b" anchorCtr="0">
            <a:spAutoFit/>
          </a:bodyPr>
          <a:lstStyle>
            <a:lvl1pPr>
              <a:defRPr sz="2954">
                <a:solidFill>
                  <a:srgbClr val="F8F5E7"/>
                </a:solidFill>
              </a:defRPr>
            </a:lvl1pPr>
          </a:lstStyle>
          <a:p>
            <a:r>
              <a:rPr lang="da-DK" err="1"/>
              <a:t>Click</a:t>
            </a:r>
            <a:r>
              <a:rPr lang="da-DK"/>
              <a:t> to </a:t>
            </a:r>
            <a:r>
              <a:rPr lang="da-DK" err="1"/>
              <a:t>edit</a:t>
            </a:r>
            <a:r>
              <a:rPr lang="da-DK"/>
              <a:t> Master </a:t>
            </a:r>
            <a:r>
              <a:rPr lang="da-DK" err="1"/>
              <a:t>title</a:t>
            </a:r>
            <a:r>
              <a:rPr lang="da-DK"/>
              <a:t> style</a:t>
            </a:r>
          </a:p>
        </p:txBody>
      </p:sp>
      <p:sp>
        <p:nvSpPr>
          <p:cNvPr id="15" name="Freeform: Shape 14">
            <a:extLst>
              <a:ext uri="{FF2B5EF4-FFF2-40B4-BE49-F238E27FC236}">
                <a16:creationId xmlns:a16="http://schemas.microsoft.com/office/drawing/2014/main" id="{6C3A81CD-98C4-40D0-925F-38C84421F367}"/>
              </a:ext>
            </a:extLst>
          </p:cNvPr>
          <p:cNvSpPr/>
          <p:nvPr userDrawn="1">
            <p:custDataLst>
              <p:tags r:id="rId1"/>
            </p:custDataLst>
          </p:nvPr>
        </p:nvSpPr>
        <p:spPr bwMode="auto">
          <a:xfrm rot="5400000">
            <a:off x="8646962" y="406758"/>
            <a:ext cx="350168" cy="142743"/>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endParaRPr lang="da-DK" sz="1662"/>
          </a:p>
        </p:txBody>
      </p:sp>
      <p:cxnSp>
        <p:nvCxnSpPr>
          <p:cNvPr id="22" name="Straight Connector 21">
            <a:extLst>
              <a:ext uri="{FF2B5EF4-FFF2-40B4-BE49-F238E27FC236}">
                <a16:creationId xmlns:a16="http://schemas.microsoft.com/office/drawing/2014/main" id="{23430AAB-5902-4654-B9FA-AE29404FCE66}"/>
              </a:ext>
            </a:extLst>
          </p:cNvPr>
          <p:cNvCxnSpPr>
            <a:cxnSpLocks/>
          </p:cNvCxnSpPr>
          <p:nvPr userDrawn="1"/>
        </p:nvCxnSpPr>
        <p:spPr>
          <a:xfrm>
            <a:off x="253911" y="4498566"/>
            <a:ext cx="3987692" cy="0"/>
          </a:xfrm>
          <a:prstGeom prst="line">
            <a:avLst/>
          </a:prstGeom>
          <a:ln w="12700">
            <a:solidFill>
              <a:srgbClr val="F8F5E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3F61116-2B80-4AA8-A5DE-F43ACEFB4AD3}"/>
              </a:ext>
            </a:extLst>
          </p:cNvPr>
          <p:cNvCxnSpPr>
            <a:cxnSpLocks/>
          </p:cNvCxnSpPr>
          <p:nvPr userDrawn="1"/>
        </p:nvCxnSpPr>
        <p:spPr>
          <a:xfrm>
            <a:off x="4909972" y="4497744"/>
            <a:ext cx="3987691" cy="0"/>
          </a:xfrm>
          <a:prstGeom prst="line">
            <a:avLst/>
          </a:prstGeom>
          <a:ln w="12700">
            <a:solidFill>
              <a:srgbClr val="F8F5E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71737B9-DDE3-4847-BCBB-79FA9187C04F}"/>
              </a:ext>
            </a:extLst>
          </p:cNvPr>
          <p:cNvSpPr/>
          <p:nvPr userDrawn="1"/>
        </p:nvSpPr>
        <p:spPr>
          <a:xfrm>
            <a:off x="253911" y="4251232"/>
            <a:ext cx="1455527" cy="158570"/>
          </a:xfrm>
          <a:prstGeom prst="rect">
            <a:avLst/>
          </a:prstGeom>
        </p:spPr>
        <p:txBody>
          <a:bodyPr wrap="none" lIns="0" tIns="0" rIns="0" bIns="0">
            <a:spAutoFit/>
          </a:bodyPr>
          <a:lstStyle/>
          <a:p>
            <a:pPr lvl="1">
              <a:lnSpc>
                <a:spcPct val="93000"/>
              </a:lnSpc>
              <a:buNone/>
            </a:pPr>
            <a:r>
              <a:rPr lang="da-DK" sz="1108" b="1">
                <a:solidFill>
                  <a:srgbClr val="F8F5E7"/>
                </a:solidFill>
              </a:rPr>
              <a:t>THE PROJECT</a:t>
            </a:r>
            <a:endParaRPr lang="da-DK" sz="1662">
              <a:solidFill>
                <a:srgbClr val="F8F5E7"/>
              </a:solidFill>
            </a:endParaRPr>
          </a:p>
        </p:txBody>
      </p:sp>
      <p:sp>
        <p:nvSpPr>
          <p:cNvPr id="25" name="Rectangle 24">
            <a:extLst>
              <a:ext uri="{FF2B5EF4-FFF2-40B4-BE49-F238E27FC236}">
                <a16:creationId xmlns:a16="http://schemas.microsoft.com/office/drawing/2014/main" id="{09512485-4193-4DA1-A713-E51426E48AB3}"/>
              </a:ext>
            </a:extLst>
          </p:cNvPr>
          <p:cNvSpPr/>
          <p:nvPr userDrawn="1"/>
        </p:nvSpPr>
        <p:spPr>
          <a:xfrm>
            <a:off x="4908841" y="4251232"/>
            <a:ext cx="1330492" cy="158570"/>
          </a:xfrm>
          <a:prstGeom prst="rect">
            <a:avLst/>
          </a:prstGeom>
        </p:spPr>
        <p:txBody>
          <a:bodyPr wrap="none" lIns="0" tIns="0" rIns="0" bIns="0">
            <a:spAutoFit/>
          </a:bodyPr>
          <a:lstStyle/>
          <a:p>
            <a:pPr lvl="1">
              <a:lnSpc>
                <a:spcPct val="93000"/>
              </a:lnSpc>
              <a:buNone/>
            </a:pPr>
            <a:r>
              <a:rPr lang="da-DK" sz="1108" b="1">
                <a:solidFill>
                  <a:srgbClr val="F8F5E7"/>
                </a:solidFill>
              </a:rPr>
              <a:t>THE IMPACT</a:t>
            </a:r>
            <a:endParaRPr lang="da-DK" sz="1662">
              <a:solidFill>
                <a:srgbClr val="F8F5E7"/>
              </a:solidFill>
            </a:endParaRPr>
          </a:p>
        </p:txBody>
      </p:sp>
      <p:sp>
        <p:nvSpPr>
          <p:cNvPr id="18" name="Text Placeholder 17">
            <a:extLst>
              <a:ext uri="{FF2B5EF4-FFF2-40B4-BE49-F238E27FC236}">
                <a16:creationId xmlns:a16="http://schemas.microsoft.com/office/drawing/2014/main" id="{6E258190-5654-4F09-866D-DF2597338651}"/>
              </a:ext>
            </a:extLst>
          </p:cNvPr>
          <p:cNvSpPr>
            <a:spLocks noGrp="1"/>
          </p:cNvSpPr>
          <p:nvPr>
            <p:ph type="body" sz="quarter" idx="18" hasCustomPrompt="1"/>
          </p:nvPr>
        </p:nvSpPr>
        <p:spPr>
          <a:xfrm>
            <a:off x="253911" y="4643415"/>
            <a:ext cx="3987312" cy="1668485"/>
          </a:xfrm>
        </p:spPr>
        <p:txBody>
          <a:bodyPr/>
          <a:lstStyle>
            <a:lvl1pPr>
              <a:buFontTx/>
              <a:buNone/>
              <a:defRPr sz="923">
                <a:solidFill>
                  <a:srgbClr val="F8F5E7"/>
                </a:solidFill>
              </a:defRPr>
            </a:lvl1pPr>
            <a:lvl2pPr>
              <a:defRPr sz="923">
                <a:solidFill>
                  <a:srgbClr val="F8F5E7"/>
                </a:solidFill>
              </a:defRPr>
            </a:lvl2pPr>
            <a:lvl3pPr>
              <a:defRPr sz="923">
                <a:solidFill>
                  <a:srgbClr val="F8F5E7"/>
                </a:solidFill>
              </a:defRPr>
            </a:lvl3pPr>
            <a:lvl4pPr>
              <a:defRPr sz="923">
                <a:solidFill>
                  <a:srgbClr val="F8F5E7"/>
                </a:solidFill>
              </a:defRPr>
            </a:lvl4pPr>
            <a:lvl5pPr>
              <a:defRPr sz="923">
                <a:solidFill>
                  <a:srgbClr val="F8F5E7"/>
                </a:solidFill>
              </a:defRPr>
            </a:lvl5p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35" name="Text Placeholder 34">
            <a:extLst>
              <a:ext uri="{FF2B5EF4-FFF2-40B4-BE49-F238E27FC236}">
                <a16:creationId xmlns:a16="http://schemas.microsoft.com/office/drawing/2014/main" id="{307552BF-22B2-4AC0-889F-4545B1A418AF}"/>
              </a:ext>
            </a:extLst>
          </p:cNvPr>
          <p:cNvSpPr>
            <a:spLocks noGrp="1"/>
          </p:cNvSpPr>
          <p:nvPr>
            <p:ph type="body" sz="quarter" idx="19" hasCustomPrompt="1"/>
          </p:nvPr>
        </p:nvSpPr>
        <p:spPr>
          <a:xfrm>
            <a:off x="4909972" y="4643415"/>
            <a:ext cx="3987692" cy="1668485"/>
          </a:xfrm>
        </p:spPr>
        <p:txBody>
          <a:bodyPr/>
          <a:lstStyle>
            <a:lvl1pPr>
              <a:buFontTx/>
              <a:buNone/>
              <a:defRPr sz="923">
                <a:solidFill>
                  <a:srgbClr val="F8F5E7"/>
                </a:solidFill>
              </a:defRPr>
            </a:lvl1pPr>
            <a:lvl2pPr>
              <a:defRPr sz="923">
                <a:solidFill>
                  <a:srgbClr val="F8F5E7"/>
                </a:solidFill>
              </a:defRPr>
            </a:lvl2pPr>
            <a:lvl3pPr>
              <a:defRPr sz="923">
                <a:solidFill>
                  <a:srgbClr val="F8F5E7"/>
                </a:solidFill>
              </a:defRPr>
            </a:lvl3pPr>
            <a:lvl4pPr>
              <a:defRPr sz="923">
                <a:solidFill>
                  <a:srgbClr val="F8F5E7"/>
                </a:solidFill>
              </a:defRPr>
            </a:lvl4pPr>
            <a:lvl5pPr>
              <a:defRPr sz="923">
                <a:solidFill>
                  <a:srgbClr val="F8F5E7"/>
                </a:solidFill>
              </a:defRPr>
            </a:lvl5p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0" name="Rectangle 19">
            <a:extLst>
              <a:ext uri="{FF2B5EF4-FFF2-40B4-BE49-F238E27FC236}">
                <a16:creationId xmlns:a16="http://schemas.microsoft.com/office/drawing/2014/main" id="{0D39F5F7-9774-4481-86BE-3C43D975F2D6}"/>
              </a:ext>
            </a:extLst>
          </p:cNvPr>
          <p:cNvSpPr/>
          <p:nvPr userDrawn="1"/>
        </p:nvSpPr>
        <p:spPr>
          <a:xfrm>
            <a:off x="253911" y="1511114"/>
            <a:ext cx="321094" cy="511550"/>
          </a:xfrm>
          <a:prstGeom prst="rect">
            <a:avLst/>
          </a:prstGeom>
        </p:spPr>
        <p:txBody>
          <a:bodyPr wrap="square" lIns="0" tIns="0" rIns="0" bIns="0">
            <a:spAutoFit/>
          </a:bodyPr>
          <a:lstStyle/>
          <a:p>
            <a:pPr>
              <a:spcAft>
                <a:spcPts val="0"/>
              </a:spcAft>
            </a:pPr>
            <a:r>
              <a:rPr lang="da-DK" sz="1662">
                <a:solidFill>
                  <a:schemeClr val="bg1"/>
                </a:solidFill>
              </a:rPr>
              <a:t>CASE</a:t>
            </a:r>
          </a:p>
        </p:txBody>
      </p:sp>
      <p:sp>
        <p:nvSpPr>
          <p:cNvPr id="6" name="Slide Number Placeholder 5">
            <a:extLst>
              <a:ext uri="{FF2B5EF4-FFF2-40B4-BE49-F238E27FC236}">
                <a16:creationId xmlns:a16="http://schemas.microsoft.com/office/drawing/2014/main" id="{1D02AAA1-FECE-4B6C-9784-CDD7EF78AC09}"/>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4" name="Date Placeholder 3" hidden="1">
            <a:extLst>
              <a:ext uri="{FF2B5EF4-FFF2-40B4-BE49-F238E27FC236}">
                <a16:creationId xmlns:a16="http://schemas.microsoft.com/office/drawing/2014/main" id="{BCE50D5C-BAC4-4FCE-9028-0D797DC82564}"/>
              </a:ext>
            </a:extLst>
          </p:cNvPr>
          <p:cNvSpPr>
            <a:spLocks noGrp="1"/>
          </p:cNvSpPr>
          <p:nvPr>
            <p:ph type="dt" sz="half" idx="20"/>
          </p:nvPr>
        </p:nvSpPr>
        <p:spPr/>
        <p:txBody>
          <a:bodyPr/>
          <a:lstStyle/>
          <a:p>
            <a:endParaRPr lang="da-DK"/>
          </a:p>
        </p:txBody>
      </p:sp>
      <p:sp>
        <p:nvSpPr>
          <p:cNvPr id="5" name="Footer Placeholder 4" hidden="1">
            <a:extLst>
              <a:ext uri="{FF2B5EF4-FFF2-40B4-BE49-F238E27FC236}">
                <a16:creationId xmlns:a16="http://schemas.microsoft.com/office/drawing/2014/main" id="{39F4068E-E362-489D-A634-D49ABE2508E4}"/>
              </a:ext>
            </a:extLst>
          </p:cNvPr>
          <p:cNvSpPr>
            <a:spLocks noGrp="1"/>
          </p:cNvSpPr>
          <p:nvPr>
            <p:ph type="ftr" sz="quarter" idx="21"/>
          </p:nvPr>
        </p:nvSpPr>
        <p:spPr/>
        <p:txBody>
          <a:bodyPr/>
          <a:lstStyle/>
          <a:p>
            <a:endParaRPr lang="da-DK"/>
          </a:p>
        </p:txBody>
      </p:sp>
    </p:spTree>
    <p:extLst>
      <p:ext uri="{BB962C8B-B14F-4D97-AF65-F5344CB8AC3E}">
        <p14:creationId xmlns:p14="http://schemas.microsoft.com/office/powerpoint/2010/main" val="886792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Reference case_long text_dar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7E4694B-A434-48B1-A431-0432E4744FA6}"/>
              </a:ext>
            </a:extLst>
          </p:cNvPr>
          <p:cNvGraphicFramePr>
            <a:graphicFrameLocks noChangeAspect="1"/>
          </p:cNvGraphicFramePr>
          <p:nvPr userDrawn="1">
            <p:custDataLst>
              <p:tags r:id="rId2"/>
            </p:custDataLst>
            <p:extLst>
              <p:ext uri="{D42A27DB-BD31-4B8C-83A1-F6EECF244321}">
                <p14:modId xmlns:p14="http://schemas.microsoft.com/office/powerpoint/2010/main" val="528474237"/>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spid="_x0000_s8209" name="think-cell Slide" r:id="rId6" imgW="526" imgH="526" progId="TCLayout.ActiveDocument.1">
                  <p:embed/>
                </p:oleObj>
              </mc:Choice>
              <mc:Fallback>
                <p:oleObj name="think-cell Slide" r:id="rId6" imgW="526" imgH="526" progId="TCLayout.ActiveDocument.1">
                  <p:embed/>
                  <p:pic>
                    <p:nvPicPr>
                      <p:cNvPr id="3" name="Object 2" hidden="1">
                        <a:extLst>
                          <a:ext uri="{FF2B5EF4-FFF2-40B4-BE49-F238E27FC236}">
                            <a16:creationId xmlns:a16="http://schemas.microsoft.com/office/drawing/2014/main" id="{D7E4694B-A434-48B1-A431-0432E4744FA6}"/>
                          </a:ext>
                        </a:extLst>
                      </p:cNvPr>
                      <p:cNvPicPr/>
                      <p:nvPr/>
                    </p:nvPicPr>
                    <p:blipFill>
                      <a:blip r:embed="rId7"/>
                      <a:stretch>
                        <a:fillRect/>
                      </a:stretch>
                    </p:blipFill>
                    <p:spPr>
                      <a:xfrm>
                        <a:off x="1466" y="1588"/>
                        <a:ext cx="1466"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C3A9516-8834-4484-A04E-ECB695CB650B}"/>
              </a:ext>
            </a:extLst>
          </p:cNvPr>
          <p:cNvSpPr/>
          <p:nvPr userDrawn="1">
            <p:custDataLst>
              <p:tags r:id="rId3"/>
            </p:custDataLst>
          </p:nvPr>
        </p:nvSpPr>
        <p:spPr>
          <a:xfrm>
            <a:off x="0" y="0"/>
            <a:ext cx="146538"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da-DK" sz="2954" b="0" i="0" baseline="0" noProof="0" err="1">
              <a:solidFill>
                <a:srgbClr val="2F363B"/>
              </a:solidFill>
              <a:latin typeface="Arial" panose="020B0604020202020204" pitchFamily="34" charset="0"/>
              <a:ea typeface="+mj-ea"/>
              <a:cs typeface="+mj-cs"/>
              <a:sym typeface="Arial" panose="020B0604020202020204" pitchFamily="34" charset="0"/>
            </a:endParaRPr>
          </a:p>
        </p:txBody>
      </p:sp>
      <p:sp>
        <p:nvSpPr>
          <p:cNvPr id="26" name="Rectangle 25">
            <a:extLst>
              <a:ext uri="{FF2B5EF4-FFF2-40B4-BE49-F238E27FC236}">
                <a16:creationId xmlns:a16="http://schemas.microsoft.com/office/drawing/2014/main" id="{5C949A49-8B74-4770-82C7-FB3B75548D7F}"/>
              </a:ext>
            </a:extLst>
          </p:cNvPr>
          <p:cNvSpPr/>
          <p:nvPr userDrawn="1"/>
        </p:nvSpPr>
        <p:spPr>
          <a:xfrm>
            <a:off x="0" y="2"/>
            <a:ext cx="9144000" cy="6857999"/>
          </a:xfrm>
          <a:prstGeom prst="rect">
            <a:avLst/>
          </a:prstGeom>
          <a:solidFill>
            <a:srgbClr val="30373B"/>
          </a:solidFill>
          <a:ln w="25400" cap="flat" cmpd="sng" algn="ctr">
            <a:noFill/>
            <a:prstDash val="solid"/>
          </a:ln>
          <a:effectLst/>
        </p:spPr>
        <p:txBody>
          <a:bodyPr rtlCol="0" anchor="ctr"/>
          <a:lstStyle/>
          <a:p>
            <a:pPr marL="0" marR="0" lvl="0" indent="0" algn="ctr" defTabSz="415880" eaLnBrk="1" fontAlgn="auto" latinLnBrk="0" hangingPunct="1">
              <a:lnSpc>
                <a:spcPct val="100000"/>
              </a:lnSpc>
              <a:spcBef>
                <a:spcPts val="0"/>
              </a:spcBef>
              <a:spcAft>
                <a:spcPts val="0"/>
              </a:spcAft>
              <a:buClrTx/>
              <a:buSzTx/>
              <a:buFontTx/>
              <a:buNone/>
              <a:tabLst/>
              <a:defRPr/>
            </a:pPr>
            <a:endParaRPr kumimoji="0" lang="da-DK" sz="819" b="0" i="0" u="none" strike="noStrike" kern="0" cap="none" spc="0" normalizeH="0" baseline="0" noProof="0">
              <a:ln>
                <a:noFill/>
              </a:ln>
              <a:solidFill>
                <a:srgbClr val="1F2023"/>
              </a:solidFill>
              <a:effectLst/>
              <a:uLnTx/>
              <a:uFillTx/>
              <a:latin typeface="Arial"/>
              <a:ea typeface="+mn-ea"/>
              <a:cs typeface="+mn-cs"/>
            </a:endParaRPr>
          </a:p>
        </p:txBody>
      </p:sp>
      <p:sp>
        <p:nvSpPr>
          <p:cNvPr id="13" name="TextBox 12">
            <a:extLst>
              <a:ext uri="{FF2B5EF4-FFF2-40B4-BE49-F238E27FC236}">
                <a16:creationId xmlns:a16="http://schemas.microsoft.com/office/drawing/2014/main" id="{FAD8A034-05A2-458D-8D7A-81B7EFBAEA9F}"/>
              </a:ext>
            </a:extLst>
          </p:cNvPr>
          <p:cNvSpPr txBox="1"/>
          <p:nvPr userDrawn="1"/>
        </p:nvSpPr>
        <p:spPr>
          <a:xfrm>
            <a:off x="6029924" y="0"/>
            <a:ext cx="3114076" cy="3543301"/>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99692" rIns="99692" bIns="99692"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sz="1015">
              <a:solidFill>
                <a:srgbClr val="30373B"/>
              </a:solidFill>
              <a:sym typeface="Arial" panose="020B0604020202020204" pitchFamily="34" charset="0"/>
            </a:endParaRPr>
          </a:p>
        </p:txBody>
      </p:sp>
      <p:sp>
        <p:nvSpPr>
          <p:cNvPr id="10" name="Picture Placeholder 13">
            <a:extLst>
              <a:ext uri="{FF2B5EF4-FFF2-40B4-BE49-F238E27FC236}">
                <a16:creationId xmlns:a16="http://schemas.microsoft.com/office/drawing/2014/main" id="{96EDC17A-116C-4E16-A3DE-2E5F4B894B8C}"/>
              </a:ext>
            </a:extLst>
          </p:cNvPr>
          <p:cNvSpPr>
            <a:spLocks noGrp="1"/>
          </p:cNvSpPr>
          <p:nvPr>
            <p:ph type="pic" sz="quarter" idx="15"/>
          </p:nvPr>
        </p:nvSpPr>
        <p:spPr>
          <a:xfrm>
            <a:off x="4908841" y="3213"/>
            <a:ext cx="3589900" cy="3108288"/>
          </a:xfrm>
          <a:solidFill>
            <a:srgbClr val="B8BBBD"/>
          </a:solidFill>
        </p:spPr>
        <p:txBody>
          <a:bodyPr rIns="0" anchor="ctr" anchorCtr="0"/>
          <a:lstStyle>
            <a:lvl1pPr marL="0" indent="0" algn="ctr">
              <a:buNone/>
              <a:defRPr>
                <a:solidFill>
                  <a:srgbClr val="1F2023"/>
                </a:solidFill>
              </a:defRPr>
            </a:lvl1pPr>
          </a:lstStyle>
          <a:p>
            <a:r>
              <a:rPr lang="da-DK" err="1"/>
              <a:t>Click</a:t>
            </a:r>
            <a:r>
              <a:rPr lang="da-DK"/>
              <a:t> </a:t>
            </a:r>
            <a:r>
              <a:rPr lang="da-DK" err="1"/>
              <a:t>icon</a:t>
            </a:r>
            <a:r>
              <a:rPr lang="da-DK"/>
              <a:t> to </a:t>
            </a:r>
            <a:r>
              <a:rPr lang="da-DK" err="1"/>
              <a:t>add</a:t>
            </a:r>
            <a:r>
              <a:rPr lang="da-DK"/>
              <a:t> </a:t>
            </a:r>
            <a:r>
              <a:rPr lang="da-DK" err="1"/>
              <a:t>picture</a:t>
            </a:r>
            <a:endParaRPr lang="da-DK"/>
          </a:p>
        </p:txBody>
      </p:sp>
      <p:sp>
        <p:nvSpPr>
          <p:cNvPr id="11" name="Title 1">
            <a:extLst>
              <a:ext uri="{FF2B5EF4-FFF2-40B4-BE49-F238E27FC236}">
                <a16:creationId xmlns:a16="http://schemas.microsoft.com/office/drawing/2014/main" id="{71B800F5-D353-40A2-B9C9-A29ACB6135C1}"/>
              </a:ext>
            </a:extLst>
          </p:cNvPr>
          <p:cNvSpPr>
            <a:spLocks noGrp="1"/>
          </p:cNvSpPr>
          <p:nvPr>
            <p:ph type="title"/>
          </p:nvPr>
        </p:nvSpPr>
        <p:spPr>
          <a:xfrm>
            <a:off x="253911" y="2815076"/>
            <a:ext cx="3987692" cy="818301"/>
          </a:xfrm>
        </p:spPr>
        <p:txBody>
          <a:bodyPr anchor="b" anchorCtr="0">
            <a:spAutoFit/>
          </a:bodyPr>
          <a:lstStyle>
            <a:lvl1pPr>
              <a:defRPr sz="2954">
                <a:solidFill>
                  <a:srgbClr val="F8F5E7"/>
                </a:solidFill>
              </a:defRPr>
            </a:lvl1pPr>
          </a:lstStyle>
          <a:p>
            <a:r>
              <a:rPr lang="da-DK" err="1"/>
              <a:t>Click</a:t>
            </a:r>
            <a:r>
              <a:rPr lang="da-DK"/>
              <a:t> to </a:t>
            </a:r>
            <a:r>
              <a:rPr lang="da-DK" err="1"/>
              <a:t>edit</a:t>
            </a:r>
            <a:r>
              <a:rPr lang="da-DK"/>
              <a:t> Master </a:t>
            </a:r>
            <a:r>
              <a:rPr lang="da-DK" err="1"/>
              <a:t>title</a:t>
            </a:r>
            <a:r>
              <a:rPr lang="da-DK"/>
              <a:t> style</a:t>
            </a:r>
          </a:p>
        </p:txBody>
      </p:sp>
      <p:sp>
        <p:nvSpPr>
          <p:cNvPr id="15" name="Freeform: Shape 14">
            <a:extLst>
              <a:ext uri="{FF2B5EF4-FFF2-40B4-BE49-F238E27FC236}">
                <a16:creationId xmlns:a16="http://schemas.microsoft.com/office/drawing/2014/main" id="{6C3A81CD-98C4-40D0-925F-38C84421F367}"/>
              </a:ext>
            </a:extLst>
          </p:cNvPr>
          <p:cNvSpPr/>
          <p:nvPr userDrawn="1">
            <p:custDataLst>
              <p:tags r:id="rId4"/>
            </p:custDataLst>
          </p:nvPr>
        </p:nvSpPr>
        <p:spPr bwMode="auto">
          <a:xfrm rot="5400000">
            <a:off x="8646962" y="406758"/>
            <a:ext cx="350168" cy="142743"/>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endParaRPr lang="da-DK" sz="1662"/>
          </a:p>
        </p:txBody>
      </p:sp>
      <p:cxnSp>
        <p:nvCxnSpPr>
          <p:cNvPr id="22" name="Straight Connector 21">
            <a:extLst>
              <a:ext uri="{FF2B5EF4-FFF2-40B4-BE49-F238E27FC236}">
                <a16:creationId xmlns:a16="http://schemas.microsoft.com/office/drawing/2014/main" id="{23430AAB-5902-4654-B9FA-AE29404FCE66}"/>
              </a:ext>
            </a:extLst>
          </p:cNvPr>
          <p:cNvCxnSpPr>
            <a:cxnSpLocks/>
          </p:cNvCxnSpPr>
          <p:nvPr userDrawn="1"/>
        </p:nvCxnSpPr>
        <p:spPr>
          <a:xfrm>
            <a:off x="253911" y="4498566"/>
            <a:ext cx="3987692" cy="0"/>
          </a:xfrm>
          <a:prstGeom prst="line">
            <a:avLst/>
          </a:prstGeom>
          <a:ln w="12700">
            <a:solidFill>
              <a:srgbClr val="F8F5E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3F61116-2B80-4AA8-A5DE-F43ACEFB4AD3}"/>
              </a:ext>
            </a:extLst>
          </p:cNvPr>
          <p:cNvCxnSpPr>
            <a:cxnSpLocks/>
          </p:cNvCxnSpPr>
          <p:nvPr userDrawn="1"/>
        </p:nvCxnSpPr>
        <p:spPr>
          <a:xfrm>
            <a:off x="4909972" y="4497744"/>
            <a:ext cx="3987691" cy="0"/>
          </a:xfrm>
          <a:prstGeom prst="line">
            <a:avLst/>
          </a:prstGeom>
          <a:ln w="12700">
            <a:solidFill>
              <a:srgbClr val="F8F5E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71737B9-DDE3-4847-BCBB-79FA9187C04F}"/>
              </a:ext>
            </a:extLst>
          </p:cNvPr>
          <p:cNvSpPr/>
          <p:nvPr userDrawn="1"/>
        </p:nvSpPr>
        <p:spPr>
          <a:xfrm>
            <a:off x="253911" y="4251232"/>
            <a:ext cx="1455527" cy="158570"/>
          </a:xfrm>
          <a:prstGeom prst="rect">
            <a:avLst/>
          </a:prstGeom>
        </p:spPr>
        <p:txBody>
          <a:bodyPr wrap="none" lIns="0" tIns="0" rIns="0" bIns="0">
            <a:spAutoFit/>
          </a:bodyPr>
          <a:lstStyle/>
          <a:p>
            <a:pPr lvl="1">
              <a:lnSpc>
                <a:spcPct val="93000"/>
              </a:lnSpc>
              <a:buNone/>
            </a:pPr>
            <a:r>
              <a:rPr lang="da-DK" sz="1108" b="1">
                <a:solidFill>
                  <a:srgbClr val="F8F5E7"/>
                </a:solidFill>
              </a:rPr>
              <a:t>THE PROJECT</a:t>
            </a:r>
            <a:endParaRPr lang="da-DK" sz="1662">
              <a:solidFill>
                <a:srgbClr val="F8F5E7"/>
              </a:solidFill>
            </a:endParaRPr>
          </a:p>
        </p:txBody>
      </p:sp>
      <p:sp>
        <p:nvSpPr>
          <p:cNvPr id="25" name="Rectangle 24">
            <a:extLst>
              <a:ext uri="{FF2B5EF4-FFF2-40B4-BE49-F238E27FC236}">
                <a16:creationId xmlns:a16="http://schemas.microsoft.com/office/drawing/2014/main" id="{09512485-4193-4DA1-A713-E51426E48AB3}"/>
              </a:ext>
            </a:extLst>
          </p:cNvPr>
          <p:cNvSpPr/>
          <p:nvPr userDrawn="1"/>
        </p:nvSpPr>
        <p:spPr>
          <a:xfrm>
            <a:off x="4908841" y="4251232"/>
            <a:ext cx="1330492" cy="158570"/>
          </a:xfrm>
          <a:prstGeom prst="rect">
            <a:avLst/>
          </a:prstGeom>
        </p:spPr>
        <p:txBody>
          <a:bodyPr wrap="none" lIns="0" tIns="0" rIns="0" bIns="0">
            <a:spAutoFit/>
          </a:bodyPr>
          <a:lstStyle/>
          <a:p>
            <a:pPr lvl="1">
              <a:lnSpc>
                <a:spcPct val="93000"/>
              </a:lnSpc>
              <a:buNone/>
            </a:pPr>
            <a:r>
              <a:rPr lang="da-DK" sz="1108" b="1">
                <a:solidFill>
                  <a:srgbClr val="F8F5E7"/>
                </a:solidFill>
              </a:rPr>
              <a:t>THE IMPACT</a:t>
            </a:r>
            <a:endParaRPr lang="da-DK" sz="1662">
              <a:solidFill>
                <a:srgbClr val="F8F5E7"/>
              </a:solidFill>
            </a:endParaRPr>
          </a:p>
        </p:txBody>
      </p:sp>
      <p:sp>
        <p:nvSpPr>
          <p:cNvPr id="18" name="Text Placeholder 17">
            <a:extLst>
              <a:ext uri="{FF2B5EF4-FFF2-40B4-BE49-F238E27FC236}">
                <a16:creationId xmlns:a16="http://schemas.microsoft.com/office/drawing/2014/main" id="{6E258190-5654-4F09-866D-DF2597338651}"/>
              </a:ext>
            </a:extLst>
          </p:cNvPr>
          <p:cNvSpPr>
            <a:spLocks noGrp="1"/>
          </p:cNvSpPr>
          <p:nvPr>
            <p:ph type="body" sz="quarter" idx="18" hasCustomPrompt="1"/>
          </p:nvPr>
        </p:nvSpPr>
        <p:spPr>
          <a:xfrm>
            <a:off x="253911" y="4643415"/>
            <a:ext cx="3987312" cy="1668485"/>
          </a:xfrm>
        </p:spPr>
        <p:txBody>
          <a:bodyPr/>
          <a:lstStyle>
            <a:lvl1pPr>
              <a:buFontTx/>
              <a:buNone/>
              <a:defRPr sz="923">
                <a:solidFill>
                  <a:srgbClr val="F8F5E7"/>
                </a:solidFill>
              </a:defRPr>
            </a:lvl1pPr>
            <a:lvl2pPr>
              <a:defRPr sz="923">
                <a:solidFill>
                  <a:srgbClr val="F8F5E7"/>
                </a:solidFill>
              </a:defRPr>
            </a:lvl2pPr>
            <a:lvl3pPr>
              <a:defRPr sz="923">
                <a:solidFill>
                  <a:srgbClr val="F8F5E7"/>
                </a:solidFill>
              </a:defRPr>
            </a:lvl3pPr>
            <a:lvl4pPr>
              <a:defRPr sz="923">
                <a:solidFill>
                  <a:srgbClr val="F8F5E7"/>
                </a:solidFill>
              </a:defRPr>
            </a:lvl4pPr>
            <a:lvl5pPr>
              <a:defRPr sz="923">
                <a:solidFill>
                  <a:srgbClr val="F8F5E7"/>
                </a:solidFill>
              </a:defRPr>
            </a:lvl5p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35" name="Text Placeholder 34">
            <a:extLst>
              <a:ext uri="{FF2B5EF4-FFF2-40B4-BE49-F238E27FC236}">
                <a16:creationId xmlns:a16="http://schemas.microsoft.com/office/drawing/2014/main" id="{307552BF-22B2-4AC0-889F-4545B1A418AF}"/>
              </a:ext>
            </a:extLst>
          </p:cNvPr>
          <p:cNvSpPr>
            <a:spLocks noGrp="1"/>
          </p:cNvSpPr>
          <p:nvPr>
            <p:ph type="body" sz="quarter" idx="19" hasCustomPrompt="1"/>
          </p:nvPr>
        </p:nvSpPr>
        <p:spPr>
          <a:xfrm>
            <a:off x="4909972" y="4643415"/>
            <a:ext cx="3987692" cy="1668485"/>
          </a:xfrm>
        </p:spPr>
        <p:txBody>
          <a:bodyPr/>
          <a:lstStyle>
            <a:lvl1pPr>
              <a:buFontTx/>
              <a:buNone/>
              <a:defRPr sz="923">
                <a:solidFill>
                  <a:srgbClr val="F8F5E7"/>
                </a:solidFill>
              </a:defRPr>
            </a:lvl1pPr>
            <a:lvl2pPr>
              <a:defRPr sz="923">
                <a:solidFill>
                  <a:srgbClr val="F8F5E7"/>
                </a:solidFill>
              </a:defRPr>
            </a:lvl2pPr>
            <a:lvl3pPr>
              <a:defRPr sz="923">
                <a:solidFill>
                  <a:srgbClr val="F8F5E7"/>
                </a:solidFill>
              </a:defRPr>
            </a:lvl3pPr>
            <a:lvl4pPr>
              <a:defRPr sz="923">
                <a:solidFill>
                  <a:srgbClr val="F8F5E7"/>
                </a:solidFill>
              </a:defRPr>
            </a:lvl4pPr>
            <a:lvl5pPr>
              <a:defRPr sz="923">
                <a:solidFill>
                  <a:srgbClr val="F8F5E7"/>
                </a:solidFill>
              </a:defRPr>
            </a:lvl5p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0" name="Rectangle 19">
            <a:extLst>
              <a:ext uri="{FF2B5EF4-FFF2-40B4-BE49-F238E27FC236}">
                <a16:creationId xmlns:a16="http://schemas.microsoft.com/office/drawing/2014/main" id="{0D39F5F7-9774-4481-86BE-3C43D975F2D6}"/>
              </a:ext>
            </a:extLst>
          </p:cNvPr>
          <p:cNvSpPr/>
          <p:nvPr userDrawn="1"/>
        </p:nvSpPr>
        <p:spPr>
          <a:xfrm>
            <a:off x="253911" y="1511114"/>
            <a:ext cx="321094" cy="511550"/>
          </a:xfrm>
          <a:prstGeom prst="rect">
            <a:avLst/>
          </a:prstGeom>
        </p:spPr>
        <p:txBody>
          <a:bodyPr wrap="square" lIns="0" tIns="0" rIns="0" bIns="0">
            <a:spAutoFit/>
          </a:bodyPr>
          <a:lstStyle/>
          <a:p>
            <a:pPr>
              <a:spcAft>
                <a:spcPts val="0"/>
              </a:spcAft>
            </a:pPr>
            <a:r>
              <a:rPr lang="da-DK" sz="1662">
                <a:solidFill>
                  <a:schemeClr val="bg1"/>
                </a:solidFill>
              </a:rPr>
              <a:t>CASE</a:t>
            </a:r>
          </a:p>
        </p:txBody>
      </p:sp>
      <p:sp>
        <p:nvSpPr>
          <p:cNvPr id="16" name="Slide Number Placeholder 15">
            <a:extLst>
              <a:ext uri="{FF2B5EF4-FFF2-40B4-BE49-F238E27FC236}">
                <a16:creationId xmlns:a16="http://schemas.microsoft.com/office/drawing/2014/main" id="{2F3F3725-09F2-493F-B1F6-677F9254A989}"/>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9" name="Date Placeholder 8" hidden="1">
            <a:extLst>
              <a:ext uri="{FF2B5EF4-FFF2-40B4-BE49-F238E27FC236}">
                <a16:creationId xmlns:a16="http://schemas.microsoft.com/office/drawing/2014/main" id="{5404BE8D-AE5A-46FA-AE62-EA7B11A6E33D}"/>
              </a:ext>
            </a:extLst>
          </p:cNvPr>
          <p:cNvSpPr>
            <a:spLocks noGrp="1"/>
          </p:cNvSpPr>
          <p:nvPr>
            <p:ph type="dt" sz="half" idx="20"/>
          </p:nvPr>
        </p:nvSpPr>
        <p:spPr/>
        <p:txBody>
          <a:bodyPr/>
          <a:lstStyle/>
          <a:p>
            <a:endParaRPr lang="da-DK"/>
          </a:p>
        </p:txBody>
      </p:sp>
      <p:sp>
        <p:nvSpPr>
          <p:cNvPr id="12" name="Footer Placeholder 11" hidden="1">
            <a:extLst>
              <a:ext uri="{FF2B5EF4-FFF2-40B4-BE49-F238E27FC236}">
                <a16:creationId xmlns:a16="http://schemas.microsoft.com/office/drawing/2014/main" id="{5D23A5B9-DBF2-46B4-814A-26CF3CA8B628}"/>
              </a:ext>
            </a:extLst>
          </p:cNvPr>
          <p:cNvSpPr>
            <a:spLocks noGrp="1"/>
          </p:cNvSpPr>
          <p:nvPr>
            <p:ph type="ftr" sz="quarter" idx="21"/>
          </p:nvPr>
        </p:nvSpPr>
        <p:spPr/>
        <p:txBody>
          <a:bodyPr/>
          <a:lstStyle/>
          <a:p>
            <a:endParaRPr lang="da-DK"/>
          </a:p>
        </p:txBody>
      </p:sp>
    </p:spTree>
    <p:extLst>
      <p:ext uri="{BB962C8B-B14F-4D97-AF65-F5344CB8AC3E}">
        <p14:creationId xmlns:p14="http://schemas.microsoft.com/office/powerpoint/2010/main" val="1132353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fslutningsslide">
    <p:bg>
      <p:bgPr>
        <a:solidFill>
          <a:schemeClr val="bg1"/>
        </a:solidFill>
        <a:effectLst/>
      </p:bgPr>
    </p:bg>
    <p:spTree>
      <p:nvGrpSpPr>
        <p:cNvPr id="1" name=""/>
        <p:cNvGrpSpPr/>
        <p:nvPr/>
      </p:nvGrpSpPr>
      <p:grpSpPr>
        <a:xfrm>
          <a:off x="0" y="0"/>
          <a:ext cx="0" cy="0"/>
          <a:chOff x="0" y="0"/>
          <a:chExt cx="0" cy="0"/>
        </a:xfrm>
      </p:grpSpPr>
      <p:sp>
        <p:nvSpPr>
          <p:cNvPr id="8" name="Rektangel 7"/>
          <p:cNvSpPr/>
          <p:nvPr userDrawn="1"/>
        </p:nvSpPr>
        <p:spPr>
          <a:xfrm>
            <a:off x="0" y="3869559"/>
            <a:ext cx="9144000" cy="5350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da-DK">
              <a:solidFill>
                <a:srgbClr val="8DC26A"/>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ktangel 10"/>
          <p:cNvSpPr/>
          <p:nvPr userDrawn="1"/>
        </p:nvSpPr>
        <p:spPr>
          <a:xfrm>
            <a:off x="-1" y="4705350"/>
            <a:ext cx="9144000" cy="21526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2"/>
              </a:solidFill>
            </a:endParaRPr>
          </a:p>
        </p:txBody>
      </p:sp>
      <p:sp>
        <p:nvSpPr>
          <p:cNvPr id="12" name="Rektangel 11"/>
          <p:cNvSpPr/>
          <p:nvPr userDrawn="1"/>
        </p:nvSpPr>
        <p:spPr>
          <a:xfrm>
            <a:off x="-1" y="2574288"/>
            <a:ext cx="9144000" cy="127299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da-DK">
              <a:solidFill>
                <a:srgbClr val="8DC26A"/>
              </a:solidFill>
              <a:latin typeface="Verdana" panose="020B0604030504040204" pitchFamily="34" charset="0"/>
              <a:ea typeface="Verdana" panose="020B0604030504040204" pitchFamily="34" charset="0"/>
              <a:cs typeface="Verdana" panose="020B0604030504040204" pitchFamily="34" charset="0"/>
            </a:endParaRPr>
          </a:p>
        </p:txBody>
      </p:sp>
      <p:pic>
        <p:nvPicPr>
          <p:cNvPr id="13" name="Billede 1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541264" y="5243253"/>
            <a:ext cx="3220972" cy="1251083"/>
          </a:xfrm>
          <a:prstGeom prst="rect">
            <a:avLst/>
          </a:prstGeom>
        </p:spPr>
      </p:pic>
      <p:sp>
        <p:nvSpPr>
          <p:cNvPr id="14" name="Titel 23"/>
          <p:cNvSpPr>
            <a:spLocks noGrp="1"/>
          </p:cNvSpPr>
          <p:nvPr>
            <p:ph type="title" hasCustomPrompt="1"/>
          </p:nvPr>
        </p:nvSpPr>
        <p:spPr>
          <a:xfrm>
            <a:off x="628649" y="2831740"/>
            <a:ext cx="7886700" cy="984321"/>
          </a:xfrm>
          <a:prstGeom prst="rect">
            <a:avLst/>
          </a:prstGeom>
        </p:spPr>
        <p:txBody>
          <a:bodyPr anchor="ctr"/>
          <a:lstStyle>
            <a:lvl1pPr algn="l">
              <a:defRPr sz="3200" b="1" cap="all" spc="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da-DK"/>
              <a:t>TAK FOR I DAG!</a:t>
            </a:r>
          </a:p>
        </p:txBody>
      </p:sp>
      <p:sp>
        <p:nvSpPr>
          <p:cNvPr id="9" name="Rektangel 8"/>
          <p:cNvSpPr/>
          <p:nvPr userDrawn="1"/>
        </p:nvSpPr>
        <p:spPr>
          <a:xfrm>
            <a:off x="-1" y="4445540"/>
            <a:ext cx="9144000" cy="22859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da-DK">
              <a:solidFill>
                <a:srgbClr val="8DC26A"/>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597451654"/>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9" Type="http://schemas.openxmlformats.org/officeDocument/2006/relationships/oleObject" Target="../embeddings/oleObject3.bin"/><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tags" Target="../tags/tag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tags" Target="../tags/tag7.xml"/><Relationship Id="rId40" Type="http://schemas.openxmlformats.org/officeDocument/2006/relationships/image" Target="../media/image1.emf"/><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tags" Target="../tags/tag6.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vmlDrawing" Target="../drawings/vmlDrawing3.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vmlDrawing" Target="../drawings/vmlDrawing4.vml"/><Relationship Id="rId47" Type="http://schemas.openxmlformats.org/officeDocument/2006/relationships/image" Target="../media/image3.emf"/><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oleObject" Target="../embeddings/oleObject4.bin"/><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slideLayout" Target="../slideLayouts/slideLayout77.xml"/><Relationship Id="rId41" Type="http://schemas.openxmlformats.org/officeDocument/2006/relationships/theme" Target="../theme/theme3.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tags" Target="../tags/tag25.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tags" Target="../tags/tag24.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tags" Target="../tags/tag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8"/>
            </p:custDataLst>
            <p:extLst>
              <p:ext uri="{D42A27DB-BD31-4B8C-83A1-F6EECF244321}">
                <p14:modId xmlns:p14="http://schemas.microsoft.com/office/powerpoint/2010/main" val="1351035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1" name="think-cell Slide" r:id="rId19" imgW="530" imgH="531" progId="TCLayout.ActiveDocument.1">
                  <p:embed/>
                </p:oleObj>
              </mc:Choice>
              <mc:Fallback>
                <p:oleObj name="think-cell Slide" r:id="rId19" imgW="530" imgH="531"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505183130"/>
      </p:ext>
    </p:extLst>
  </p:cSld>
  <p:clrMap bg1="lt1" tx1="dk1" bg2="lt2" tx2="dk2" accent1="accent1" accent2="accent2" accent3="accent3" accent4="accent4" accent5="accent5" accent6="accent6" hlink="hlink" folHlink="folHlink"/>
  <p:sldLayoutIdLst>
    <p:sldLayoutId id="2147483668" r:id="rId1"/>
    <p:sldLayoutId id="2147483671" r:id="rId2"/>
    <p:sldLayoutId id="2147483670" r:id="rId3"/>
    <p:sldLayoutId id="2147483662" r:id="rId4"/>
    <p:sldLayoutId id="2147483664" r:id="rId5"/>
    <p:sldLayoutId id="2147483665" r:id="rId6"/>
    <p:sldLayoutId id="2147483666" r:id="rId7"/>
    <p:sldLayoutId id="2147483675" r:id="rId8"/>
    <p:sldLayoutId id="2147483677" r:id="rId9"/>
    <p:sldLayoutId id="2147483764" r:id="rId10"/>
    <p:sldLayoutId id="2147483765" r:id="rId11"/>
    <p:sldLayoutId id="2147483766" r:id="rId12"/>
    <p:sldLayoutId id="2147483768" r:id="rId13"/>
    <p:sldLayoutId id="2147483770" r:id="rId14"/>
    <p:sldLayoutId id="2147483771" r:id="rId1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36"/>
            </p:custDataLst>
            <p:extLst>
              <p:ext uri="{D42A27DB-BD31-4B8C-83A1-F6EECF244321}">
                <p14:modId xmlns:p14="http://schemas.microsoft.com/office/powerpoint/2010/main" val="4211730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5" name="think-cell Slide" r:id="rId39" imgW="530" imgH="531" progId="TCLayout.ActiveDocument.1">
                  <p:embed/>
                </p:oleObj>
              </mc:Choice>
              <mc:Fallback>
                <p:oleObj name="think-cell Slide" r:id="rId39" imgW="530" imgH="531" progId="TCLayout.ActiveDocument.1">
                  <p:embed/>
                  <p:pic>
                    <p:nvPicPr>
                      <p:cNvPr id="0" name=""/>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ktangel 1" hidden="1"/>
          <p:cNvSpPr/>
          <p:nvPr userDrawn="1">
            <p:custDataLst>
              <p:tags r:id="rId37"/>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lvl="0" indent="0" algn="l" eaLnBrk="1"/>
            <a:endParaRPr lang="da-DK" sz="1939" b="0" i="0" baseline="0" noProof="0" dirty="0" err="1" smtClean="0">
              <a:solidFill>
                <a:srgbClr val="2F363B"/>
              </a:solidFill>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249117" y="1624015"/>
            <a:ext cx="8644303" cy="4693985"/>
          </a:xfrm>
          <a:prstGeom prst="rect">
            <a:avLst/>
          </a:prstGeom>
        </p:spPr>
        <p:txBody>
          <a:bodyPr vert="horz" lIns="0" tIns="0" rIns="360000" bIns="0" rtlCol="0">
            <a:noAutofit/>
          </a:bodyPr>
          <a:lstStyle/>
          <a:p>
            <a:pPr lvl="0"/>
            <a:r>
              <a:rPr lang="da-DK" noProof="0"/>
              <a:t>Edit Master </a:t>
            </a:r>
            <a:r>
              <a:rPr lang="da-DK" noProof="0" err="1"/>
              <a:t>text</a:t>
            </a:r>
            <a:r>
              <a:rPr lang="da-DK" noProof="0"/>
              <a:t> styles</a:t>
            </a:r>
          </a:p>
          <a:p>
            <a:pPr lvl="1"/>
            <a:r>
              <a:rPr lang="da-DK" noProof="0"/>
              <a:t>Second level</a:t>
            </a:r>
          </a:p>
          <a:p>
            <a:pPr lvl="2"/>
            <a:r>
              <a:rPr lang="da-DK" noProof="0"/>
              <a:t>Third level</a:t>
            </a:r>
          </a:p>
          <a:p>
            <a:pPr lvl="3"/>
            <a:r>
              <a:rPr lang="da-DK" noProof="0" err="1"/>
              <a:t>Fourth</a:t>
            </a:r>
            <a:r>
              <a:rPr lang="da-DK" noProof="0"/>
              <a:t>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Slide Number Placeholder 5"/>
          <p:cNvSpPr>
            <a:spLocks noGrp="1"/>
          </p:cNvSpPr>
          <p:nvPr>
            <p:ph type="sldNum" sz="quarter" idx="4"/>
          </p:nvPr>
        </p:nvSpPr>
        <p:spPr>
          <a:xfrm>
            <a:off x="8656781" y="6496424"/>
            <a:ext cx="236639" cy="112086"/>
          </a:xfrm>
          <a:prstGeom prst="rect">
            <a:avLst/>
          </a:prstGeom>
        </p:spPr>
        <p:txBody>
          <a:bodyPr vert="horz" lIns="0" tIns="0" rIns="0" bIns="0" rtlCol="0" anchor="b" anchorCtr="0"/>
          <a:lstStyle>
            <a:lvl1pPr algn="r">
              <a:defRPr sz="600" spc="0" baseline="0">
                <a:solidFill>
                  <a:srgbClr val="1F2023"/>
                </a:solidFill>
              </a:defRPr>
            </a:lvl1pPr>
          </a:lstStyle>
          <a:p>
            <a:fld id="{24C8C45C-947F-4981-8B3F-4F32E973C901}" type="slidenum">
              <a:rPr lang="da-DK" smtClean="0"/>
              <a:pPr/>
              <a:t>‹nr.›</a:t>
            </a:fld>
            <a:endParaRPr lang="da-DK"/>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249116" y="269876"/>
            <a:ext cx="7900830" cy="692336"/>
          </a:xfrm>
          <a:prstGeom prst="rect">
            <a:avLst/>
          </a:prstGeom>
        </p:spPr>
        <p:txBody>
          <a:bodyPr vert="horz" lIns="0" tIns="0" rIns="0" bIns="0" rtlCol="0" anchor="t" anchorCtr="0">
            <a:noAutofit/>
          </a:bodyPr>
          <a:lstStyle/>
          <a:p>
            <a:r>
              <a:rPr lang="da-DK"/>
              <a:t>Klik for at redigere titeltypografien i masteren</a:t>
            </a:r>
          </a:p>
        </p:txBody>
      </p:sp>
      <p:sp>
        <p:nvSpPr>
          <p:cNvPr id="19" name="AutoShape 3">
            <a:extLst>
              <a:ext uri="{FF2B5EF4-FFF2-40B4-BE49-F238E27FC236}">
                <a16:creationId xmlns:a16="http://schemas.microsoft.com/office/drawing/2014/main" id="{E2867147-DB81-464E-BD80-6F15445ABCC8}"/>
              </a:ext>
            </a:extLst>
          </p:cNvPr>
          <p:cNvSpPr>
            <a:spLocks noChangeAspect="1" noChangeArrowheads="1" noTextEdit="1"/>
          </p:cNvSpPr>
          <p:nvPr userDrawn="1"/>
        </p:nvSpPr>
        <p:spPr bwMode="auto">
          <a:xfrm>
            <a:off x="2609850" y="1446214"/>
            <a:ext cx="6047642" cy="286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da-DK" sz="1662"/>
          </a:p>
        </p:txBody>
      </p:sp>
      <p:sp>
        <p:nvSpPr>
          <p:cNvPr id="25" name="AutoShape 9">
            <a:extLst>
              <a:ext uri="{FF2B5EF4-FFF2-40B4-BE49-F238E27FC236}">
                <a16:creationId xmlns:a16="http://schemas.microsoft.com/office/drawing/2014/main" id="{6A98865A-4F5A-43E4-A695-43D74ED35345}"/>
              </a:ext>
            </a:extLst>
          </p:cNvPr>
          <p:cNvSpPr>
            <a:spLocks noChangeAspect="1" noChangeArrowheads="1" noTextEdit="1"/>
          </p:cNvSpPr>
          <p:nvPr userDrawn="1"/>
        </p:nvSpPr>
        <p:spPr bwMode="auto">
          <a:xfrm>
            <a:off x="2284535" y="3278188"/>
            <a:ext cx="9144000" cy="226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da-DK" sz="1662"/>
          </a:p>
        </p:txBody>
      </p:sp>
      <p:sp>
        <p:nvSpPr>
          <p:cNvPr id="22" name="Freeform: Shape 21">
            <a:extLst>
              <a:ext uri="{FF2B5EF4-FFF2-40B4-BE49-F238E27FC236}">
                <a16:creationId xmlns:a16="http://schemas.microsoft.com/office/drawing/2014/main" id="{44CFCE70-1EB6-4E62-B436-A8AE9BF44EE3}"/>
              </a:ext>
            </a:extLst>
          </p:cNvPr>
          <p:cNvSpPr/>
          <p:nvPr userDrawn="1">
            <p:custDataLst>
              <p:tags r:id="rId38"/>
            </p:custDataLst>
          </p:nvPr>
        </p:nvSpPr>
        <p:spPr bwMode="auto">
          <a:xfrm rot="5400000">
            <a:off x="8646962" y="406758"/>
            <a:ext cx="350168" cy="142743"/>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endParaRPr lang="da-DK" sz="1662"/>
          </a:p>
        </p:txBody>
      </p:sp>
      <p:sp>
        <p:nvSpPr>
          <p:cNvPr id="4" name="Date_GeneralDate" hidden="1"/>
          <p:cNvSpPr>
            <a:spLocks noGrp="1"/>
          </p:cNvSpPr>
          <p:nvPr>
            <p:ph type="dt" sz="half" idx="2"/>
          </p:nvPr>
        </p:nvSpPr>
        <p:spPr>
          <a:xfrm>
            <a:off x="0" y="6912000"/>
            <a:ext cx="0" cy="0"/>
          </a:xfrm>
          <a:prstGeom prst="rect">
            <a:avLst/>
          </a:prstGeom>
        </p:spPr>
        <p:txBody>
          <a:bodyPr vert="horz" lIns="0" tIns="0" rIns="0" bIns="0" rtlCol="0" anchor="b" anchorCtr="0"/>
          <a:lstStyle>
            <a:lvl1pPr algn="ctr">
              <a:defRPr sz="100" cap="none" spc="0" baseline="0">
                <a:noFill/>
              </a:defRPr>
            </a:lvl1pPr>
          </a:lstStyle>
          <a:p>
            <a:endParaRPr lang="da-DK"/>
          </a:p>
        </p:txBody>
      </p:sp>
      <p:sp>
        <p:nvSpPr>
          <p:cNvPr id="5" name="FLD_PresentationTitle" hidden="1"/>
          <p:cNvSpPr>
            <a:spLocks noGrp="1"/>
          </p:cNvSpPr>
          <p:nvPr>
            <p:ph type="ftr" sz="quarter" idx="3"/>
          </p:nvPr>
        </p:nvSpPr>
        <p:spPr>
          <a:xfrm>
            <a:off x="0" y="6912000"/>
            <a:ext cx="0" cy="0"/>
          </a:xfrm>
          <a:prstGeom prst="rect">
            <a:avLst/>
          </a:prstGeom>
        </p:spPr>
        <p:txBody>
          <a:bodyPr vert="horz" lIns="0" tIns="0" rIns="0" bIns="0" rtlCol="0" anchor="b" anchorCtr="0"/>
          <a:lstStyle>
            <a:lvl1pPr marL="0" indent="0" algn="l">
              <a:buFont typeface="Arial" panose="020B0604020202020204" pitchFamily="34" charset="0"/>
              <a:buNone/>
              <a:defRPr sz="100" cap="none" spc="0" baseline="0">
                <a:noFill/>
              </a:defRPr>
            </a:lvl1pPr>
          </a:lstStyle>
          <a:p>
            <a:endParaRPr lang="da-DK"/>
          </a:p>
        </p:txBody>
      </p:sp>
    </p:spTree>
    <p:extLst>
      <p:ext uri="{BB962C8B-B14F-4D97-AF65-F5344CB8AC3E}">
        <p14:creationId xmlns:p14="http://schemas.microsoft.com/office/powerpoint/2010/main" val="4282953811"/>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 id="2147483719" r:id="rId30"/>
    <p:sldLayoutId id="2147483720" r:id="rId31"/>
    <p:sldLayoutId id="2147483721" r:id="rId32"/>
    <p:sldLayoutId id="2147483722"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85817" rtl="0" eaLnBrk="1" latinLnBrk="0" hangingPunct="1">
        <a:lnSpc>
          <a:spcPct val="90000"/>
        </a:lnSpc>
        <a:spcBef>
          <a:spcPct val="0"/>
        </a:spcBef>
        <a:buNone/>
        <a:defRPr sz="1939" kern="1200">
          <a:solidFill>
            <a:srgbClr val="1F2023"/>
          </a:solidFill>
          <a:latin typeface="+mj-lt"/>
          <a:ea typeface="+mj-ea"/>
          <a:cs typeface="+mj-cs"/>
        </a:defRPr>
      </a:lvl1pPr>
    </p:titleStyle>
    <p:bodyStyle>
      <a:lvl1pPr marL="0" indent="0" algn="l" defTabSz="685817" rtl="0" eaLnBrk="1" latinLnBrk="0" hangingPunct="1">
        <a:lnSpc>
          <a:spcPct val="93000"/>
        </a:lnSpc>
        <a:spcBef>
          <a:spcPts val="0"/>
        </a:spcBef>
        <a:spcAft>
          <a:spcPts val="554"/>
        </a:spcAft>
        <a:buFont typeface="Arial" panose="020B0604020202020204" pitchFamily="34" charset="0"/>
        <a:buChar char="​"/>
        <a:defRPr sz="1015" kern="1200">
          <a:solidFill>
            <a:srgbClr val="1F2023"/>
          </a:solidFill>
          <a:latin typeface="+mn-lt"/>
          <a:ea typeface="+mn-ea"/>
          <a:cs typeface="+mn-cs"/>
        </a:defRPr>
      </a:lvl1pPr>
      <a:lvl2pPr marL="132926" indent="-132926" algn="l" defTabSz="685817" rtl="0" eaLnBrk="1" latinLnBrk="0" hangingPunct="1">
        <a:lnSpc>
          <a:spcPct val="93000"/>
        </a:lnSpc>
        <a:spcBef>
          <a:spcPts val="0"/>
        </a:spcBef>
        <a:spcAft>
          <a:spcPts val="554"/>
        </a:spcAft>
        <a:buFont typeface="Arial" panose="020B0604020202020204" pitchFamily="34" charset="0"/>
        <a:buChar char="•"/>
        <a:defRPr sz="1015" kern="1200">
          <a:solidFill>
            <a:srgbClr val="1F2023"/>
          </a:solidFill>
          <a:latin typeface="+mn-lt"/>
          <a:ea typeface="+mn-ea"/>
          <a:cs typeface="+mn-cs"/>
        </a:defRPr>
      </a:lvl2pPr>
      <a:lvl3pPr marL="265853" indent="-132926" algn="l" defTabSz="685817" rtl="0" eaLnBrk="1" latinLnBrk="0" hangingPunct="1">
        <a:lnSpc>
          <a:spcPct val="93000"/>
        </a:lnSpc>
        <a:spcBef>
          <a:spcPts val="0"/>
        </a:spcBef>
        <a:spcAft>
          <a:spcPts val="554"/>
        </a:spcAft>
        <a:buFont typeface="Arial" panose="020B0604020202020204" pitchFamily="34" charset="0"/>
        <a:buChar char="•"/>
        <a:defRPr sz="1015" kern="1200">
          <a:solidFill>
            <a:srgbClr val="1F2023"/>
          </a:solidFill>
          <a:latin typeface="+mn-lt"/>
          <a:ea typeface="+mn-ea"/>
          <a:cs typeface="+mn-cs"/>
        </a:defRPr>
      </a:lvl3pPr>
      <a:lvl4pPr marL="398779" indent="-132926" algn="l" defTabSz="685817" rtl="0" eaLnBrk="1" latinLnBrk="0" hangingPunct="1">
        <a:lnSpc>
          <a:spcPct val="93000"/>
        </a:lnSpc>
        <a:spcBef>
          <a:spcPts val="0"/>
        </a:spcBef>
        <a:spcAft>
          <a:spcPts val="554"/>
        </a:spcAft>
        <a:buFont typeface="Arial" panose="020B0604020202020204" pitchFamily="34" charset="0"/>
        <a:buChar char="•"/>
        <a:defRPr sz="1015" b="0" kern="1200">
          <a:solidFill>
            <a:srgbClr val="1F2023"/>
          </a:solidFill>
          <a:latin typeface="+mn-lt"/>
          <a:ea typeface="+mn-ea"/>
          <a:cs typeface="+mn-cs"/>
        </a:defRPr>
      </a:lvl4pPr>
      <a:lvl5pPr marL="0" indent="0" algn="l" defTabSz="685817" rtl="0" eaLnBrk="1" latinLnBrk="0" hangingPunct="1">
        <a:lnSpc>
          <a:spcPct val="93000"/>
        </a:lnSpc>
        <a:spcBef>
          <a:spcPts val="0"/>
        </a:spcBef>
        <a:spcAft>
          <a:spcPts val="554"/>
        </a:spcAft>
        <a:buFont typeface="Arial" panose="020B0604020202020204" pitchFamily="34" charset="0"/>
        <a:buChar char="​"/>
        <a:defRPr sz="1015" b="1" kern="1200" cap="none" baseline="0">
          <a:solidFill>
            <a:srgbClr val="1F2023"/>
          </a:solidFill>
          <a:latin typeface="+mn-lt"/>
          <a:ea typeface="+mn-ea"/>
          <a:cs typeface="+mn-cs"/>
        </a:defRPr>
      </a:lvl5pPr>
      <a:lvl6pPr marL="0" indent="0" algn="l" defTabSz="685817" rtl="0" eaLnBrk="1" latinLnBrk="0" hangingPunct="1">
        <a:lnSpc>
          <a:spcPct val="93000"/>
        </a:lnSpc>
        <a:spcBef>
          <a:spcPts val="0"/>
        </a:spcBef>
        <a:spcAft>
          <a:spcPts val="554"/>
        </a:spcAft>
        <a:buFont typeface="Arial" panose="020B0604020202020204" pitchFamily="34" charset="0"/>
        <a:buChar char="​"/>
        <a:defRPr sz="1015" b="1" kern="1200" cap="all" baseline="0">
          <a:solidFill>
            <a:srgbClr val="1F2023"/>
          </a:solidFill>
          <a:latin typeface="+mj-lt"/>
          <a:ea typeface="+mn-ea"/>
          <a:cs typeface="+mn-cs"/>
        </a:defRPr>
      </a:lvl6pPr>
      <a:lvl7pPr marL="132926" indent="-132926" algn="l" defTabSz="685817" rtl="0" eaLnBrk="1" latinLnBrk="0" hangingPunct="1">
        <a:lnSpc>
          <a:spcPct val="93000"/>
        </a:lnSpc>
        <a:spcBef>
          <a:spcPts val="0"/>
        </a:spcBef>
        <a:spcAft>
          <a:spcPts val="554"/>
        </a:spcAft>
        <a:buFont typeface="+mj-lt"/>
        <a:buAutoNum type="arabicPeriod"/>
        <a:defRPr sz="1015" kern="1200" baseline="0">
          <a:solidFill>
            <a:srgbClr val="1F2023"/>
          </a:solidFill>
          <a:latin typeface="+mn-lt"/>
          <a:ea typeface="+mn-ea"/>
          <a:cs typeface="+mn-cs"/>
        </a:defRPr>
      </a:lvl7pPr>
      <a:lvl8pPr marL="132926" indent="-132926" algn="l" defTabSz="685817" rtl="0" eaLnBrk="1" latinLnBrk="0" hangingPunct="1">
        <a:lnSpc>
          <a:spcPct val="93000"/>
        </a:lnSpc>
        <a:spcBef>
          <a:spcPts val="0"/>
        </a:spcBef>
        <a:spcAft>
          <a:spcPts val="554"/>
        </a:spcAft>
        <a:buFont typeface="+mj-lt"/>
        <a:buAutoNum type="alphaUcPeriod"/>
        <a:defRPr sz="1015" kern="1200">
          <a:solidFill>
            <a:srgbClr val="1F2023"/>
          </a:solidFill>
          <a:latin typeface="+mn-lt"/>
          <a:ea typeface="+mn-ea"/>
          <a:cs typeface="+mn-cs"/>
        </a:defRPr>
      </a:lvl8pPr>
      <a:lvl9pPr marL="0" indent="0" algn="l" defTabSz="685817" rtl="0" eaLnBrk="1" latinLnBrk="0" hangingPunct="1">
        <a:lnSpc>
          <a:spcPct val="83000"/>
        </a:lnSpc>
        <a:spcBef>
          <a:spcPts val="0"/>
        </a:spcBef>
        <a:spcAft>
          <a:spcPts val="554"/>
        </a:spcAft>
        <a:buFont typeface="Arial" panose="020B0604020202020204" pitchFamily="34" charset="0"/>
        <a:buChar char="​"/>
        <a:defRPr sz="4431" kern="1200" cap="all" baseline="0">
          <a:solidFill>
            <a:srgbClr val="1F2023"/>
          </a:solidFill>
          <a:latin typeface="Impact" panose="020B0806030902050204" pitchFamily="34" charset="0"/>
          <a:ea typeface="+mn-ea"/>
          <a:cs typeface="+mn-cs"/>
        </a:defRPr>
      </a:lvl9pPr>
    </p:bodyStyle>
    <p:otherStyle>
      <a:defPPr>
        <a:defRPr lang="en-US"/>
      </a:defPPr>
      <a:lvl1pPr marL="0" indent="0" algn="l" defTabSz="685817" rtl="0" eaLnBrk="1" latinLnBrk="0" hangingPunct="1">
        <a:lnSpc>
          <a:spcPct val="90000"/>
        </a:lnSpc>
        <a:spcBef>
          <a:spcPts val="0"/>
        </a:spcBef>
        <a:spcAft>
          <a:spcPts val="554"/>
        </a:spcAft>
        <a:buFont typeface="Arial" panose="020B0604020202020204" pitchFamily="34" charset="0"/>
        <a:buChar char="​"/>
        <a:defRPr sz="923" kern="1200">
          <a:solidFill>
            <a:srgbClr val="1F2023"/>
          </a:solidFill>
          <a:latin typeface="+mn-lt"/>
          <a:ea typeface="+mn-ea"/>
          <a:cs typeface="+mn-cs"/>
        </a:defRPr>
      </a:lvl1pPr>
      <a:lvl2pPr marL="132926" indent="-132926" algn="l" defTabSz="685817" rtl="0" eaLnBrk="1" latinLnBrk="0" hangingPunct="1">
        <a:lnSpc>
          <a:spcPct val="90000"/>
        </a:lnSpc>
        <a:spcBef>
          <a:spcPts val="0"/>
        </a:spcBef>
        <a:spcAft>
          <a:spcPts val="554"/>
        </a:spcAft>
        <a:buFont typeface="Arial" panose="020B0604020202020204" pitchFamily="34" charset="0"/>
        <a:buChar char="•"/>
        <a:defRPr sz="923" kern="1200">
          <a:solidFill>
            <a:srgbClr val="1F2023"/>
          </a:solidFill>
          <a:latin typeface="+mn-lt"/>
          <a:ea typeface="+mn-ea"/>
          <a:cs typeface="+mn-cs"/>
        </a:defRPr>
      </a:lvl2pPr>
      <a:lvl3pPr marL="265853" indent="-132926" algn="l" defTabSz="685817" rtl="0" eaLnBrk="1" latinLnBrk="0" hangingPunct="1">
        <a:lnSpc>
          <a:spcPct val="90000"/>
        </a:lnSpc>
        <a:spcBef>
          <a:spcPts val="0"/>
        </a:spcBef>
        <a:spcAft>
          <a:spcPts val="554"/>
        </a:spcAft>
        <a:buFont typeface="Arial" panose="020B0604020202020204" pitchFamily="34" charset="0"/>
        <a:buChar char="•"/>
        <a:defRPr sz="923" kern="1200">
          <a:solidFill>
            <a:srgbClr val="1F2023"/>
          </a:solidFill>
          <a:latin typeface="+mn-lt"/>
          <a:ea typeface="+mn-ea"/>
          <a:cs typeface="+mn-cs"/>
        </a:defRPr>
      </a:lvl3pPr>
      <a:lvl4pPr marL="398779" indent="-132926" algn="l" defTabSz="685817" rtl="0" eaLnBrk="1" latinLnBrk="0" hangingPunct="1">
        <a:lnSpc>
          <a:spcPct val="90000"/>
        </a:lnSpc>
        <a:spcBef>
          <a:spcPts val="0"/>
        </a:spcBef>
        <a:spcAft>
          <a:spcPts val="554"/>
        </a:spcAft>
        <a:buFont typeface="Arial" panose="020B0604020202020204" pitchFamily="34" charset="0"/>
        <a:buChar char="•"/>
        <a:defRPr sz="923" b="0" kern="1200">
          <a:solidFill>
            <a:srgbClr val="1F2023"/>
          </a:solidFill>
          <a:latin typeface="+mn-lt"/>
          <a:ea typeface="+mn-ea"/>
          <a:cs typeface="+mn-cs"/>
        </a:defRPr>
      </a:lvl4pPr>
      <a:lvl5pPr marL="0" indent="0" algn="l" defTabSz="685817" rtl="0" eaLnBrk="1" latinLnBrk="0" hangingPunct="1">
        <a:lnSpc>
          <a:spcPct val="90000"/>
        </a:lnSpc>
        <a:spcBef>
          <a:spcPts val="0"/>
        </a:spcBef>
        <a:spcAft>
          <a:spcPts val="554"/>
        </a:spcAft>
        <a:buFont typeface="Arial" panose="020B0604020202020204" pitchFamily="34" charset="0"/>
        <a:buChar char="​"/>
        <a:defRPr sz="923" b="1" kern="1200" cap="none" baseline="0">
          <a:solidFill>
            <a:srgbClr val="1F2023"/>
          </a:solidFill>
          <a:latin typeface="+mn-lt"/>
          <a:ea typeface="+mn-ea"/>
          <a:cs typeface="+mn-cs"/>
        </a:defRPr>
      </a:lvl5pPr>
      <a:lvl6pPr marL="0" indent="0" algn="l" defTabSz="685817" rtl="0" eaLnBrk="1" latinLnBrk="0" hangingPunct="1">
        <a:lnSpc>
          <a:spcPct val="90000"/>
        </a:lnSpc>
        <a:spcBef>
          <a:spcPts val="0"/>
        </a:spcBef>
        <a:spcAft>
          <a:spcPts val="554"/>
        </a:spcAft>
        <a:buFont typeface="Arial" panose="020B0604020202020204" pitchFamily="34" charset="0"/>
        <a:buChar char="​"/>
        <a:defRPr sz="923" b="1" kern="1200" cap="all" baseline="0">
          <a:solidFill>
            <a:srgbClr val="1F2023"/>
          </a:solidFill>
          <a:latin typeface="+mj-lt"/>
          <a:ea typeface="+mn-ea"/>
          <a:cs typeface="+mn-cs"/>
        </a:defRPr>
      </a:lvl6pPr>
      <a:lvl7pPr marL="132926" indent="-132926" algn="l" defTabSz="685817" rtl="0" eaLnBrk="1" latinLnBrk="0" hangingPunct="1">
        <a:lnSpc>
          <a:spcPct val="90000"/>
        </a:lnSpc>
        <a:spcBef>
          <a:spcPts val="0"/>
        </a:spcBef>
        <a:spcAft>
          <a:spcPts val="554"/>
        </a:spcAft>
        <a:buFont typeface="+mj-lt"/>
        <a:buAutoNum type="arabicPeriod"/>
        <a:defRPr sz="923" kern="1200" baseline="0">
          <a:solidFill>
            <a:srgbClr val="1F2023"/>
          </a:solidFill>
          <a:latin typeface="+mn-lt"/>
          <a:ea typeface="+mn-ea"/>
          <a:cs typeface="+mn-cs"/>
        </a:defRPr>
      </a:lvl7pPr>
      <a:lvl8pPr marL="132926" indent="-132926" algn="l" defTabSz="685817" rtl="0" eaLnBrk="1" latinLnBrk="0" hangingPunct="1">
        <a:lnSpc>
          <a:spcPct val="90000"/>
        </a:lnSpc>
        <a:spcBef>
          <a:spcPts val="0"/>
        </a:spcBef>
        <a:spcAft>
          <a:spcPts val="554"/>
        </a:spcAft>
        <a:buFont typeface="+mj-lt"/>
        <a:buAutoNum type="alphaUcPeriod"/>
        <a:defRPr sz="923" kern="1200">
          <a:solidFill>
            <a:srgbClr val="1F2023"/>
          </a:solidFill>
          <a:latin typeface="+mn-lt"/>
          <a:ea typeface="+mn-ea"/>
          <a:cs typeface="+mn-cs"/>
        </a:defRPr>
      </a:lvl8pPr>
      <a:lvl9pPr marL="0" indent="0" algn="l" defTabSz="685817" rtl="0" eaLnBrk="1" latinLnBrk="0" hangingPunct="1">
        <a:lnSpc>
          <a:spcPct val="83000"/>
        </a:lnSpc>
        <a:spcBef>
          <a:spcPts val="0"/>
        </a:spcBef>
        <a:spcAft>
          <a:spcPts val="554"/>
        </a:spcAft>
        <a:buFont typeface="Arial" panose="020B0604020202020204" pitchFamily="34" charset="0"/>
        <a:buChar char="​"/>
        <a:defRPr sz="4431" kern="1200" cap="all" baseline="0">
          <a:solidFill>
            <a:srgbClr val="1F2023"/>
          </a:solidFill>
          <a:latin typeface="Impact" panose="020B0806030902050204" pitchFamily="34" charset="0"/>
          <a:ea typeface="+mn-ea"/>
          <a:cs typeface="+mn-cs"/>
        </a:defRPr>
      </a:lvl9pPr>
    </p:otherStyle>
  </p:txStyles>
  <p:extLst mod="1">
    <p:ext uri="{27BBF7A9-308A-43DC-89C8-2F10F3537804}">
      <p15:sldGuideLst xmlns:p15="http://schemas.microsoft.com/office/powerpoint/2012/main">
        <p15:guide id="1" pos="3205">
          <p15:clr>
            <a:srgbClr val="F26B43"/>
          </p15:clr>
        </p15:guide>
        <p15:guide id="2" pos="6068">
          <p15:clr>
            <a:srgbClr val="F26B43"/>
          </p15:clr>
        </p15:guide>
        <p15:guide id="3" orient="horz" pos="1025">
          <p15:clr>
            <a:srgbClr val="F26B43"/>
          </p15:clr>
        </p15:guide>
        <p15:guide id="4" orient="horz" pos="3979">
          <p15:clr>
            <a:srgbClr val="F26B43"/>
          </p15:clr>
        </p15:guide>
        <p15:guide id="5" pos="170">
          <p15:clr>
            <a:srgbClr val="F26B43"/>
          </p15:clr>
        </p15:guide>
        <p15:guide id="6" orient="horz" pos="170">
          <p15:clr>
            <a:srgbClr val="F26B43"/>
          </p15:clr>
        </p15:guide>
        <p15:guide id="7" orient="horz" pos="606">
          <p15:clr>
            <a:srgbClr val="F26B43"/>
          </p15:clr>
        </p15:guide>
        <p15:guide id="8" pos="303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AF36E31-F7DD-41C7-836B-9BCFFA2B9860}"/>
              </a:ext>
            </a:extLst>
          </p:cNvPr>
          <p:cNvGraphicFramePr>
            <a:graphicFrameLocks noChangeAspect="1"/>
          </p:cNvGraphicFramePr>
          <p:nvPr userDrawn="1">
            <p:custDataLst>
              <p:tags r:id="rId43"/>
            </p:custDataLst>
            <p:extLst>
              <p:ext uri="{D42A27DB-BD31-4B8C-83A1-F6EECF244321}">
                <p14:modId xmlns:p14="http://schemas.microsoft.com/office/powerpoint/2010/main" val="536020447"/>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spid="_x0000_s2065" name="think-cell Slide" r:id="rId46" imgW="395" imgH="394" progId="TCLayout.ActiveDocument.1">
                  <p:embed/>
                </p:oleObj>
              </mc:Choice>
              <mc:Fallback>
                <p:oleObj name="think-cell Slide" r:id="rId46" imgW="395" imgH="394" progId="TCLayout.ActiveDocument.1">
                  <p:embed/>
                  <p:pic>
                    <p:nvPicPr>
                      <p:cNvPr id="8" name="Object 7" hidden="1">
                        <a:extLst>
                          <a:ext uri="{FF2B5EF4-FFF2-40B4-BE49-F238E27FC236}">
                            <a16:creationId xmlns:a16="http://schemas.microsoft.com/office/drawing/2014/main" id="{CAF36E31-F7DD-41C7-836B-9BCFFA2B9860}"/>
                          </a:ext>
                        </a:extLst>
                      </p:cNvPr>
                      <p:cNvPicPr/>
                      <p:nvPr/>
                    </p:nvPicPr>
                    <p:blipFill>
                      <a:blip r:embed="rId47"/>
                      <a:stretch>
                        <a:fillRect/>
                      </a:stretch>
                    </p:blipFill>
                    <p:spPr>
                      <a:xfrm>
                        <a:off x="1466" y="1588"/>
                        <a:ext cx="1466"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FE317EE-754B-4D6A-98C8-66EF0D007068}"/>
              </a:ext>
            </a:extLst>
          </p:cNvPr>
          <p:cNvSpPr/>
          <p:nvPr userDrawn="1">
            <p:custDataLst>
              <p:tags r:id="rId44"/>
            </p:custDataLst>
          </p:nvPr>
        </p:nvSpPr>
        <p:spPr>
          <a:xfrm>
            <a:off x="0" y="0"/>
            <a:ext cx="146538"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da-DK" sz="1939" b="0" i="0" baseline="0" noProof="0" dirty="0">
              <a:solidFill>
                <a:srgbClr val="2F363B"/>
              </a:solidFill>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251314" y="1628777"/>
            <a:ext cx="8644303" cy="4693985"/>
          </a:xfrm>
          <a:prstGeom prst="rect">
            <a:avLst/>
          </a:prstGeom>
        </p:spPr>
        <p:txBody>
          <a:bodyPr vert="horz" lIns="0" tIns="0" rIns="360000" bIns="0" rtlCol="0">
            <a:noAutofit/>
          </a:bodyPr>
          <a:lstStyle/>
          <a:p>
            <a:pPr lvl="0"/>
            <a:r>
              <a:rPr lang="da-DK" noProof="0"/>
              <a:t>Edit Master </a:t>
            </a:r>
            <a:r>
              <a:rPr lang="da-DK" noProof="0" err="1"/>
              <a:t>text</a:t>
            </a:r>
            <a:r>
              <a:rPr lang="da-DK" noProof="0"/>
              <a:t> styles</a:t>
            </a:r>
          </a:p>
          <a:p>
            <a:pPr lvl="1"/>
            <a:r>
              <a:rPr lang="da-DK" noProof="0"/>
              <a:t>Second level</a:t>
            </a:r>
          </a:p>
          <a:p>
            <a:pPr lvl="2"/>
            <a:r>
              <a:rPr lang="da-DK" noProof="0"/>
              <a:t>Third level</a:t>
            </a:r>
          </a:p>
          <a:p>
            <a:pPr lvl="3"/>
            <a:r>
              <a:rPr lang="da-DK" noProof="0" err="1"/>
              <a:t>Fourth</a:t>
            </a:r>
            <a:r>
              <a:rPr lang="da-DK" noProof="0"/>
              <a:t>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Slide Number Placeholder 5"/>
          <p:cNvSpPr>
            <a:spLocks noGrp="1"/>
          </p:cNvSpPr>
          <p:nvPr>
            <p:ph type="sldNum" sz="quarter" idx="4"/>
          </p:nvPr>
        </p:nvSpPr>
        <p:spPr>
          <a:xfrm>
            <a:off x="8656781" y="6496424"/>
            <a:ext cx="236639" cy="112086"/>
          </a:xfrm>
          <a:prstGeom prst="rect">
            <a:avLst/>
          </a:prstGeom>
        </p:spPr>
        <p:txBody>
          <a:bodyPr vert="horz" lIns="0" tIns="0" rIns="0" bIns="0" rtlCol="0" anchor="b" anchorCtr="0"/>
          <a:lstStyle>
            <a:lvl1pPr algn="r">
              <a:defRPr sz="600" spc="0" baseline="0">
                <a:solidFill>
                  <a:srgbClr val="1F2023"/>
                </a:solidFill>
              </a:defRPr>
            </a:lvl1pPr>
          </a:lstStyle>
          <a:p>
            <a:fld id="{24C8C45C-947F-4981-8B3F-4F32E973C901}" type="slidenum">
              <a:rPr lang="da-DK" smtClean="0"/>
              <a:pPr/>
              <a:t>‹nr.›</a:t>
            </a:fld>
            <a:endParaRPr lang="da-DK"/>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249116" y="269876"/>
            <a:ext cx="7900830" cy="692336"/>
          </a:xfrm>
          <a:prstGeom prst="rect">
            <a:avLst/>
          </a:prstGeom>
        </p:spPr>
        <p:txBody>
          <a:bodyPr vert="horz" lIns="0" tIns="0" rIns="0" bIns="0" rtlCol="0" anchor="t" anchorCtr="0">
            <a:noAutofit/>
          </a:bodyPr>
          <a:lstStyle/>
          <a:p>
            <a:r>
              <a:rPr lang="da-DK"/>
              <a:t>Klik for at redigere titeltypografien i masteren</a:t>
            </a:r>
          </a:p>
        </p:txBody>
      </p:sp>
      <p:sp>
        <p:nvSpPr>
          <p:cNvPr id="19" name="AutoShape 3">
            <a:extLst>
              <a:ext uri="{FF2B5EF4-FFF2-40B4-BE49-F238E27FC236}">
                <a16:creationId xmlns:a16="http://schemas.microsoft.com/office/drawing/2014/main" id="{E2867147-DB81-464E-BD80-6F15445ABCC8}"/>
              </a:ext>
            </a:extLst>
          </p:cNvPr>
          <p:cNvSpPr>
            <a:spLocks noChangeAspect="1" noChangeArrowheads="1" noTextEdit="1"/>
          </p:cNvSpPr>
          <p:nvPr userDrawn="1"/>
        </p:nvSpPr>
        <p:spPr bwMode="auto">
          <a:xfrm>
            <a:off x="2609850" y="1446214"/>
            <a:ext cx="6047642" cy="286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da-DK" sz="1662"/>
          </a:p>
        </p:txBody>
      </p:sp>
      <p:sp>
        <p:nvSpPr>
          <p:cNvPr id="25" name="AutoShape 9">
            <a:extLst>
              <a:ext uri="{FF2B5EF4-FFF2-40B4-BE49-F238E27FC236}">
                <a16:creationId xmlns:a16="http://schemas.microsoft.com/office/drawing/2014/main" id="{6A98865A-4F5A-43E4-A695-43D74ED35345}"/>
              </a:ext>
            </a:extLst>
          </p:cNvPr>
          <p:cNvSpPr>
            <a:spLocks noChangeAspect="1" noChangeArrowheads="1" noTextEdit="1"/>
          </p:cNvSpPr>
          <p:nvPr userDrawn="1"/>
        </p:nvSpPr>
        <p:spPr bwMode="auto">
          <a:xfrm>
            <a:off x="2284535" y="3278188"/>
            <a:ext cx="9144000" cy="226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da-DK" sz="1662"/>
          </a:p>
        </p:txBody>
      </p:sp>
      <p:sp>
        <p:nvSpPr>
          <p:cNvPr id="22" name="Freeform: Shape 21">
            <a:extLst>
              <a:ext uri="{FF2B5EF4-FFF2-40B4-BE49-F238E27FC236}">
                <a16:creationId xmlns:a16="http://schemas.microsoft.com/office/drawing/2014/main" id="{44CFCE70-1EB6-4E62-B436-A8AE9BF44EE3}"/>
              </a:ext>
            </a:extLst>
          </p:cNvPr>
          <p:cNvSpPr/>
          <p:nvPr userDrawn="1">
            <p:custDataLst>
              <p:tags r:id="rId45"/>
            </p:custDataLst>
          </p:nvPr>
        </p:nvSpPr>
        <p:spPr bwMode="auto">
          <a:xfrm rot="5400000">
            <a:off x="8646962" y="406758"/>
            <a:ext cx="350168" cy="142743"/>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84406" tIns="42203" rIns="84406" bIns="42203" numCol="1" anchor="t" anchorCtr="0" compatLnSpc="1">
            <a:prstTxWarp prst="textNoShape">
              <a:avLst/>
            </a:prstTxWarp>
            <a:noAutofit/>
          </a:bodyPr>
          <a:lstStyle/>
          <a:p>
            <a:endParaRPr lang="da-DK" sz="1662"/>
          </a:p>
        </p:txBody>
      </p:sp>
      <p:sp>
        <p:nvSpPr>
          <p:cNvPr id="4" name="Date_GeneralDate" hidden="1"/>
          <p:cNvSpPr>
            <a:spLocks noGrp="1"/>
          </p:cNvSpPr>
          <p:nvPr>
            <p:ph type="dt" sz="half" idx="2"/>
          </p:nvPr>
        </p:nvSpPr>
        <p:spPr>
          <a:xfrm>
            <a:off x="0" y="6864702"/>
            <a:ext cx="0" cy="0"/>
          </a:xfrm>
          <a:prstGeom prst="rect">
            <a:avLst/>
          </a:prstGeom>
        </p:spPr>
        <p:txBody>
          <a:bodyPr vert="horz" lIns="0" tIns="0" rIns="0" bIns="0" rtlCol="0" anchor="b" anchorCtr="0"/>
          <a:lstStyle>
            <a:lvl1pPr algn="ctr">
              <a:defRPr sz="100" cap="none" spc="0" baseline="0">
                <a:noFill/>
              </a:defRPr>
            </a:lvl1pPr>
          </a:lstStyle>
          <a:p>
            <a:endParaRPr lang="da-DK"/>
          </a:p>
        </p:txBody>
      </p:sp>
      <p:sp>
        <p:nvSpPr>
          <p:cNvPr id="5" name="FLD_PresentationTitle" hidden="1"/>
          <p:cNvSpPr>
            <a:spLocks noGrp="1"/>
          </p:cNvSpPr>
          <p:nvPr>
            <p:ph type="ftr" sz="quarter" idx="3"/>
          </p:nvPr>
        </p:nvSpPr>
        <p:spPr>
          <a:xfrm>
            <a:off x="0" y="6864702"/>
            <a:ext cx="0" cy="0"/>
          </a:xfrm>
          <a:prstGeom prst="rect">
            <a:avLst/>
          </a:prstGeom>
        </p:spPr>
        <p:txBody>
          <a:bodyPr vert="horz" lIns="0" tIns="0" rIns="0" bIns="0" rtlCol="0" anchor="b" anchorCtr="0"/>
          <a:lstStyle>
            <a:lvl1pPr marL="0" indent="0" algn="l">
              <a:buFont typeface="Arial" panose="020B0604020202020204" pitchFamily="34" charset="0"/>
              <a:buNone/>
              <a:defRPr sz="100" cap="none" spc="0" baseline="0">
                <a:noFill/>
              </a:defRPr>
            </a:lvl1pPr>
          </a:lstStyle>
          <a:p>
            <a:endParaRPr lang="da-DK"/>
          </a:p>
        </p:txBody>
      </p:sp>
    </p:spTree>
    <p:extLst>
      <p:ext uri="{BB962C8B-B14F-4D97-AF65-F5344CB8AC3E}">
        <p14:creationId xmlns:p14="http://schemas.microsoft.com/office/powerpoint/2010/main" val="2029268512"/>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 id="2147483750" r:id="rId27"/>
    <p:sldLayoutId id="2147483751" r:id="rId28"/>
    <p:sldLayoutId id="2147483752" r:id="rId29"/>
    <p:sldLayoutId id="2147483753" r:id="rId30"/>
    <p:sldLayoutId id="2147483754" r:id="rId31"/>
    <p:sldLayoutId id="2147483755" r:id="rId32"/>
    <p:sldLayoutId id="2147483756" r:id="rId33"/>
    <p:sldLayoutId id="2147483757" r:id="rId34"/>
    <p:sldLayoutId id="2147483758" r:id="rId35"/>
    <p:sldLayoutId id="2147483759" r:id="rId36"/>
    <p:sldLayoutId id="2147483760" r:id="rId37"/>
    <p:sldLayoutId id="2147483761" r:id="rId38"/>
    <p:sldLayoutId id="2147483762" r:id="rId39"/>
    <p:sldLayoutId id="2147483763"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85817" rtl="0" eaLnBrk="1" latinLnBrk="0" hangingPunct="1">
        <a:lnSpc>
          <a:spcPct val="90000"/>
        </a:lnSpc>
        <a:spcBef>
          <a:spcPct val="0"/>
        </a:spcBef>
        <a:buNone/>
        <a:defRPr sz="1939" kern="1200">
          <a:solidFill>
            <a:srgbClr val="1F2023"/>
          </a:solidFill>
          <a:latin typeface="+mj-lt"/>
          <a:ea typeface="+mj-ea"/>
          <a:cs typeface="+mj-cs"/>
        </a:defRPr>
      </a:lvl1pPr>
    </p:titleStyle>
    <p:bodyStyle>
      <a:lvl1pPr marL="0" indent="0" algn="l" defTabSz="685817" rtl="0" eaLnBrk="1" latinLnBrk="0" hangingPunct="1">
        <a:lnSpc>
          <a:spcPct val="93000"/>
        </a:lnSpc>
        <a:spcBef>
          <a:spcPts val="0"/>
        </a:spcBef>
        <a:spcAft>
          <a:spcPts val="554"/>
        </a:spcAft>
        <a:buFont typeface="Arial" panose="020B0604020202020204" pitchFamily="34" charset="0"/>
        <a:buChar char="​"/>
        <a:defRPr sz="1015" kern="1200">
          <a:solidFill>
            <a:srgbClr val="1F2023"/>
          </a:solidFill>
          <a:latin typeface="+mn-lt"/>
          <a:ea typeface="+mn-ea"/>
          <a:cs typeface="+mn-cs"/>
        </a:defRPr>
      </a:lvl1pPr>
      <a:lvl2pPr marL="132926" indent="-132926" algn="l" defTabSz="685817" rtl="0" eaLnBrk="1" latinLnBrk="0" hangingPunct="1">
        <a:lnSpc>
          <a:spcPct val="93000"/>
        </a:lnSpc>
        <a:spcBef>
          <a:spcPts val="0"/>
        </a:spcBef>
        <a:spcAft>
          <a:spcPts val="554"/>
        </a:spcAft>
        <a:buFont typeface="Arial" panose="020B0604020202020204" pitchFamily="34" charset="0"/>
        <a:buChar char="•"/>
        <a:defRPr sz="1015" kern="1200">
          <a:solidFill>
            <a:srgbClr val="1F2023"/>
          </a:solidFill>
          <a:latin typeface="+mn-lt"/>
          <a:ea typeface="+mn-ea"/>
          <a:cs typeface="+mn-cs"/>
        </a:defRPr>
      </a:lvl2pPr>
      <a:lvl3pPr marL="265853" indent="-132926" algn="l" defTabSz="685817" rtl="0" eaLnBrk="1" latinLnBrk="0" hangingPunct="1">
        <a:lnSpc>
          <a:spcPct val="93000"/>
        </a:lnSpc>
        <a:spcBef>
          <a:spcPts val="0"/>
        </a:spcBef>
        <a:spcAft>
          <a:spcPts val="554"/>
        </a:spcAft>
        <a:buFont typeface="Arial" panose="020B0604020202020204" pitchFamily="34" charset="0"/>
        <a:buChar char="•"/>
        <a:defRPr sz="1015" kern="1200">
          <a:solidFill>
            <a:srgbClr val="1F2023"/>
          </a:solidFill>
          <a:latin typeface="+mn-lt"/>
          <a:ea typeface="+mn-ea"/>
          <a:cs typeface="+mn-cs"/>
        </a:defRPr>
      </a:lvl3pPr>
      <a:lvl4pPr marL="398779" indent="-132926" algn="l" defTabSz="685817" rtl="0" eaLnBrk="1" latinLnBrk="0" hangingPunct="1">
        <a:lnSpc>
          <a:spcPct val="93000"/>
        </a:lnSpc>
        <a:spcBef>
          <a:spcPts val="0"/>
        </a:spcBef>
        <a:spcAft>
          <a:spcPts val="554"/>
        </a:spcAft>
        <a:buFont typeface="Arial" panose="020B0604020202020204" pitchFamily="34" charset="0"/>
        <a:buChar char="•"/>
        <a:defRPr sz="1015" b="0" kern="1200">
          <a:solidFill>
            <a:srgbClr val="1F2023"/>
          </a:solidFill>
          <a:latin typeface="+mn-lt"/>
          <a:ea typeface="+mn-ea"/>
          <a:cs typeface="+mn-cs"/>
        </a:defRPr>
      </a:lvl4pPr>
      <a:lvl5pPr marL="0" indent="0" algn="l" defTabSz="685817" rtl="0" eaLnBrk="1" latinLnBrk="0" hangingPunct="1">
        <a:lnSpc>
          <a:spcPct val="93000"/>
        </a:lnSpc>
        <a:spcBef>
          <a:spcPts val="0"/>
        </a:spcBef>
        <a:spcAft>
          <a:spcPts val="554"/>
        </a:spcAft>
        <a:buFont typeface="Arial" panose="020B0604020202020204" pitchFamily="34" charset="0"/>
        <a:buChar char="​"/>
        <a:defRPr sz="1015" b="1" kern="1200" cap="none" baseline="0">
          <a:solidFill>
            <a:srgbClr val="1F2023"/>
          </a:solidFill>
          <a:latin typeface="+mn-lt"/>
          <a:ea typeface="+mn-ea"/>
          <a:cs typeface="+mn-cs"/>
        </a:defRPr>
      </a:lvl5pPr>
      <a:lvl6pPr marL="0" indent="0" algn="l" defTabSz="685817" rtl="0" eaLnBrk="1" latinLnBrk="0" hangingPunct="1">
        <a:lnSpc>
          <a:spcPct val="93000"/>
        </a:lnSpc>
        <a:spcBef>
          <a:spcPts val="0"/>
        </a:spcBef>
        <a:spcAft>
          <a:spcPts val="554"/>
        </a:spcAft>
        <a:buFont typeface="Arial" panose="020B0604020202020204" pitchFamily="34" charset="0"/>
        <a:buChar char="​"/>
        <a:defRPr sz="1015" b="1" kern="1200" cap="all" baseline="0">
          <a:solidFill>
            <a:srgbClr val="1F2023"/>
          </a:solidFill>
          <a:latin typeface="+mj-lt"/>
          <a:ea typeface="+mn-ea"/>
          <a:cs typeface="+mn-cs"/>
        </a:defRPr>
      </a:lvl6pPr>
      <a:lvl7pPr marL="132926" indent="-132926" algn="l" defTabSz="685817" rtl="0" eaLnBrk="1" latinLnBrk="0" hangingPunct="1">
        <a:lnSpc>
          <a:spcPct val="93000"/>
        </a:lnSpc>
        <a:spcBef>
          <a:spcPts val="0"/>
        </a:spcBef>
        <a:spcAft>
          <a:spcPts val="554"/>
        </a:spcAft>
        <a:buFont typeface="+mj-lt"/>
        <a:buAutoNum type="arabicPeriod"/>
        <a:defRPr sz="1015" kern="1200" baseline="0">
          <a:solidFill>
            <a:srgbClr val="1F2023"/>
          </a:solidFill>
          <a:latin typeface="+mn-lt"/>
          <a:ea typeface="+mn-ea"/>
          <a:cs typeface="+mn-cs"/>
        </a:defRPr>
      </a:lvl7pPr>
      <a:lvl8pPr marL="132926" indent="-132926" algn="l" defTabSz="685817" rtl="0" eaLnBrk="1" latinLnBrk="0" hangingPunct="1">
        <a:lnSpc>
          <a:spcPct val="93000"/>
        </a:lnSpc>
        <a:spcBef>
          <a:spcPts val="0"/>
        </a:spcBef>
        <a:spcAft>
          <a:spcPts val="554"/>
        </a:spcAft>
        <a:buFont typeface="+mj-lt"/>
        <a:buAutoNum type="alphaUcPeriod"/>
        <a:defRPr sz="1015" kern="1200">
          <a:solidFill>
            <a:srgbClr val="1F2023"/>
          </a:solidFill>
          <a:latin typeface="+mn-lt"/>
          <a:ea typeface="+mn-ea"/>
          <a:cs typeface="+mn-cs"/>
        </a:defRPr>
      </a:lvl8pPr>
      <a:lvl9pPr marL="0" indent="0" algn="l" defTabSz="685817" rtl="0" eaLnBrk="1" latinLnBrk="0" hangingPunct="1">
        <a:lnSpc>
          <a:spcPct val="83000"/>
        </a:lnSpc>
        <a:spcBef>
          <a:spcPts val="0"/>
        </a:spcBef>
        <a:spcAft>
          <a:spcPts val="554"/>
        </a:spcAft>
        <a:buFont typeface="Arial" panose="020B0604020202020204" pitchFamily="34" charset="0"/>
        <a:buChar char="​"/>
        <a:defRPr sz="4431" kern="1200" cap="all" baseline="0">
          <a:solidFill>
            <a:srgbClr val="1F2023"/>
          </a:solidFill>
          <a:latin typeface="Impact" panose="020B0806030902050204" pitchFamily="34" charset="0"/>
          <a:ea typeface="+mn-ea"/>
          <a:cs typeface="+mn-cs"/>
        </a:defRPr>
      </a:lvl9pPr>
    </p:bodyStyle>
    <p:otherStyle>
      <a:defPPr>
        <a:defRPr lang="en-US"/>
      </a:defPPr>
      <a:lvl1pPr marL="0" indent="0" algn="l" defTabSz="685817" rtl="0" eaLnBrk="1" latinLnBrk="0" hangingPunct="1">
        <a:lnSpc>
          <a:spcPct val="90000"/>
        </a:lnSpc>
        <a:spcBef>
          <a:spcPts val="0"/>
        </a:spcBef>
        <a:spcAft>
          <a:spcPts val="554"/>
        </a:spcAft>
        <a:buFont typeface="Arial" panose="020B0604020202020204" pitchFamily="34" charset="0"/>
        <a:buChar char="​"/>
        <a:defRPr sz="923" kern="1200">
          <a:solidFill>
            <a:srgbClr val="1F2023"/>
          </a:solidFill>
          <a:latin typeface="+mn-lt"/>
          <a:ea typeface="+mn-ea"/>
          <a:cs typeface="+mn-cs"/>
        </a:defRPr>
      </a:lvl1pPr>
      <a:lvl2pPr marL="132926" indent="-132926" algn="l" defTabSz="685817" rtl="0" eaLnBrk="1" latinLnBrk="0" hangingPunct="1">
        <a:lnSpc>
          <a:spcPct val="90000"/>
        </a:lnSpc>
        <a:spcBef>
          <a:spcPts val="0"/>
        </a:spcBef>
        <a:spcAft>
          <a:spcPts val="554"/>
        </a:spcAft>
        <a:buFont typeface="Arial" panose="020B0604020202020204" pitchFamily="34" charset="0"/>
        <a:buChar char="•"/>
        <a:defRPr sz="923" kern="1200">
          <a:solidFill>
            <a:srgbClr val="1F2023"/>
          </a:solidFill>
          <a:latin typeface="+mn-lt"/>
          <a:ea typeface="+mn-ea"/>
          <a:cs typeface="+mn-cs"/>
        </a:defRPr>
      </a:lvl2pPr>
      <a:lvl3pPr marL="265853" indent="-132926" algn="l" defTabSz="685817" rtl="0" eaLnBrk="1" latinLnBrk="0" hangingPunct="1">
        <a:lnSpc>
          <a:spcPct val="90000"/>
        </a:lnSpc>
        <a:spcBef>
          <a:spcPts val="0"/>
        </a:spcBef>
        <a:spcAft>
          <a:spcPts val="554"/>
        </a:spcAft>
        <a:buFont typeface="Arial" panose="020B0604020202020204" pitchFamily="34" charset="0"/>
        <a:buChar char="•"/>
        <a:defRPr sz="923" kern="1200">
          <a:solidFill>
            <a:srgbClr val="1F2023"/>
          </a:solidFill>
          <a:latin typeface="+mn-lt"/>
          <a:ea typeface="+mn-ea"/>
          <a:cs typeface="+mn-cs"/>
        </a:defRPr>
      </a:lvl3pPr>
      <a:lvl4pPr marL="398779" indent="-132926" algn="l" defTabSz="685817" rtl="0" eaLnBrk="1" latinLnBrk="0" hangingPunct="1">
        <a:lnSpc>
          <a:spcPct val="90000"/>
        </a:lnSpc>
        <a:spcBef>
          <a:spcPts val="0"/>
        </a:spcBef>
        <a:spcAft>
          <a:spcPts val="554"/>
        </a:spcAft>
        <a:buFont typeface="Arial" panose="020B0604020202020204" pitchFamily="34" charset="0"/>
        <a:buChar char="•"/>
        <a:defRPr sz="923" b="0" kern="1200">
          <a:solidFill>
            <a:srgbClr val="1F2023"/>
          </a:solidFill>
          <a:latin typeface="+mn-lt"/>
          <a:ea typeface="+mn-ea"/>
          <a:cs typeface="+mn-cs"/>
        </a:defRPr>
      </a:lvl4pPr>
      <a:lvl5pPr marL="0" indent="0" algn="l" defTabSz="685817" rtl="0" eaLnBrk="1" latinLnBrk="0" hangingPunct="1">
        <a:lnSpc>
          <a:spcPct val="90000"/>
        </a:lnSpc>
        <a:spcBef>
          <a:spcPts val="0"/>
        </a:spcBef>
        <a:spcAft>
          <a:spcPts val="554"/>
        </a:spcAft>
        <a:buFont typeface="Arial" panose="020B0604020202020204" pitchFamily="34" charset="0"/>
        <a:buChar char="​"/>
        <a:defRPr sz="923" b="1" kern="1200" cap="none" baseline="0">
          <a:solidFill>
            <a:srgbClr val="1F2023"/>
          </a:solidFill>
          <a:latin typeface="+mn-lt"/>
          <a:ea typeface="+mn-ea"/>
          <a:cs typeface="+mn-cs"/>
        </a:defRPr>
      </a:lvl5pPr>
      <a:lvl6pPr marL="0" indent="0" algn="l" defTabSz="685817" rtl="0" eaLnBrk="1" latinLnBrk="0" hangingPunct="1">
        <a:lnSpc>
          <a:spcPct val="90000"/>
        </a:lnSpc>
        <a:spcBef>
          <a:spcPts val="0"/>
        </a:spcBef>
        <a:spcAft>
          <a:spcPts val="554"/>
        </a:spcAft>
        <a:buFont typeface="Arial" panose="020B0604020202020204" pitchFamily="34" charset="0"/>
        <a:buChar char="​"/>
        <a:defRPr sz="923" b="1" kern="1200" cap="all" baseline="0">
          <a:solidFill>
            <a:srgbClr val="1F2023"/>
          </a:solidFill>
          <a:latin typeface="+mj-lt"/>
          <a:ea typeface="+mn-ea"/>
          <a:cs typeface="+mn-cs"/>
        </a:defRPr>
      </a:lvl6pPr>
      <a:lvl7pPr marL="132926" indent="-132926" algn="l" defTabSz="685817" rtl="0" eaLnBrk="1" latinLnBrk="0" hangingPunct="1">
        <a:lnSpc>
          <a:spcPct val="90000"/>
        </a:lnSpc>
        <a:spcBef>
          <a:spcPts val="0"/>
        </a:spcBef>
        <a:spcAft>
          <a:spcPts val="554"/>
        </a:spcAft>
        <a:buFont typeface="+mj-lt"/>
        <a:buAutoNum type="arabicPeriod"/>
        <a:defRPr sz="923" kern="1200" baseline="0">
          <a:solidFill>
            <a:srgbClr val="1F2023"/>
          </a:solidFill>
          <a:latin typeface="+mn-lt"/>
          <a:ea typeface="+mn-ea"/>
          <a:cs typeface="+mn-cs"/>
        </a:defRPr>
      </a:lvl7pPr>
      <a:lvl8pPr marL="132926" indent="-132926" algn="l" defTabSz="685817" rtl="0" eaLnBrk="1" latinLnBrk="0" hangingPunct="1">
        <a:lnSpc>
          <a:spcPct val="90000"/>
        </a:lnSpc>
        <a:spcBef>
          <a:spcPts val="0"/>
        </a:spcBef>
        <a:spcAft>
          <a:spcPts val="554"/>
        </a:spcAft>
        <a:buFont typeface="+mj-lt"/>
        <a:buAutoNum type="alphaUcPeriod"/>
        <a:defRPr sz="923" kern="1200">
          <a:solidFill>
            <a:srgbClr val="1F2023"/>
          </a:solidFill>
          <a:latin typeface="+mn-lt"/>
          <a:ea typeface="+mn-ea"/>
          <a:cs typeface="+mn-cs"/>
        </a:defRPr>
      </a:lvl8pPr>
      <a:lvl9pPr marL="0" indent="0" algn="l" defTabSz="685817" rtl="0" eaLnBrk="1" latinLnBrk="0" hangingPunct="1">
        <a:lnSpc>
          <a:spcPct val="83000"/>
        </a:lnSpc>
        <a:spcBef>
          <a:spcPts val="0"/>
        </a:spcBef>
        <a:spcAft>
          <a:spcPts val="554"/>
        </a:spcAft>
        <a:buFont typeface="Arial" panose="020B0604020202020204" pitchFamily="34" charset="0"/>
        <a:buChar char="​"/>
        <a:defRPr sz="4431" kern="1200" cap="all" baseline="0">
          <a:solidFill>
            <a:srgbClr val="1F2023"/>
          </a:solidFill>
          <a:latin typeface="Impact" panose="020B0806030902050204" pitchFamily="34" charset="0"/>
          <a:ea typeface="+mn-ea"/>
          <a:cs typeface="+mn-cs"/>
        </a:defRPr>
      </a:lvl9pPr>
    </p:otherStyle>
  </p:txStyles>
  <p:extLst mod="1">
    <p:ext uri="{27BBF7A9-308A-43DC-89C8-2F10F3537804}">
      <p15:sldGuideLst xmlns:p15="http://schemas.microsoft.com/office/powerpoint/2012/main">
        <p15:guide id="1" pos="3205">
          <p15:clr>
            <a:srgbClr val="F26B43"/>
          </p15:clr>
        </p15:guide>
        <p15:guide id="2" pos="6068">
          <p15:clr>
            <a:srgbClr val="F26B43"/>
          </p15:clr>
        </p15:guide>
        <p15:guide id="3" orient="horz" pos="1025">
          <p15:clr>
            <a:srgbClr val="F26B43"/>
          </p15:clr>
        </p15:guide>
        <p15:guide id="4" orient="horz" pos="3979">
          <p15:clr>
            <a:srgbClr val="F26B43"/>
          </p15:clr>
        </p15:guide>
        <p15:guide id="5" pos="170">
          <p15:clr>
            <a:srgbClr val="F26B43"/>
          </p15:clr>
        </p15:guide>
        <p15:guide id="6" orient="horz" pos="170">
          <p15:clr>
            <a:srgbClr val="F26B43"/>
          </p15:clr>
        </p15:guide>
        <p15:guide id="7" orient="horz" pos="606">
          <p15:clr>
            <a:srgbClr val="F26B43"/>
          </p15:clr>
        </p15:guide>
        <p15:guide id="8" pos="3034">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57.xml"/><Relationship Id="rId7" Type="http://schemas.openxmlformats.org/officeDocument/2006/relationships/oleObject" Target="../embeddings/oleObject11.bin"/><Relationship Id="rId2" Type="http://schemas.openxmlformats.org/officeDocument/2006/relationships/tags" Target="../tags/tag56.xml"/><Relationship Id="rId1" Type="http://schemas.openxmlformats.org/officeDocument/2006/relationships/vmlDrawing" Target="../drawings/vmlDrawing11.vml"/><Relationship Id="rId6" Type="http://schemas.openxmlformats.org/officeDocument/2006/relationships/image" Target="../media/image9.jpeg"/><Relationship Id="rId5" Type="http://schemas.openxmlformats.org/officeDocument/2006/relationships/notesSlide" Target="../notesSlides/notesSlide1.xml"/><Relationship Id="rId4" Type="http://schemas.openxmlformats.org/officeDocument/2006/relationships/slideLayout" Target="../slideLayouts/slideLayout11.xml"/><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3.emf"/><Relationship Id="rId2" Type="http://schemas.openxmlformats.org/officeDocument/2006/relationships/tags" Target="../tags/tag65.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0.xml"/><Relationship Id="rId4"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3.emf"/><Relationship Id="rId2" Type="http://schemas.openxmlformats.org/officeDocument/2006/relationships/tags" Target="../tags/tag6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1.xml"/><Relationship Id="rId4"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3.emf"/><Relationship Id="rId13" Type="http://schemas.openxmlformats.org/officeDocument/2006/relationships/image" Target="../media/image16.png"/><Relationship Id="rId3" Type="http://schemas.openxmlformats.org/officeDocument/2006/relationships/tags" Target="../tags/tag70.xml"/><Relationship Id="rId7" Type="http://schemas.openxmlformats.org/officeDocument/2006/relationships/oleObject" Target="../embeddings/oleObject17.bin"/><Relationship Id="rId12" Type="http://schemas.openxmlformats.org/officeDocument/2006/relationships/image" Target="../media/image15.png"/><Relationship Id="rId2" Type="http://schemas.openxmlformats.org/officeDocument/2006/relationships/tags" Target="../tags/tag69.xml"/><Relationship Id="rId1" Type="http://schemas.openxmlformats.org/officeDocument/2006/relationships/vmlDrawing" Target="../drawings/vmlDrawing17.vml"/><Relationship Id="rId6" Type="http://schemas.openxmlformats.org/officeDocument/2006/relationships/image" Target="../media/image11.png"/><Relationship Id="rId11" Type="http://schemas.openxmlformats.org/officeDocument/2006/relationships/image" Target="../media/image14.png"/><Relationship Id="rId5" Type="http://schemas.openxmlformats.org/officeDocument/2006/relationships/notesSlide" Target="../notesSlides/notesSlide12.xml"/><Relationship Id="rId10" Type="http://schemas.openxmlformats.org/officeDocument/2006/relationships/image" Target="../media/image13.png"/><Relationship Id="rId4" Type="http://schemas.openxmlformats.org/officeDocument/2006/relationships/slideLayout" Target="../slideLayouts/slideLayout4.xml"/><Relationship Id="rId9" Type="http://schemas.openxmlformats.org/officeDocument/2006/relationships/image" Target="../media/image12.png"/></Relationships>
</file>

<file path=ppt/slides/_rels/slide1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72.xml"/><Relationship Id="rId7" Type="http://schemas.openxmlformats.org/officeDocument/2006/relationships/image" Target="../media/image3.emf"/><Relationship Id="rId2" Type="http://schemas.openxmlformats.org/officeDocument/2006/relationships/tags" Target="../tags/tag71.xml"/><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image" Target="../media/image20.png"/><Relationship Id="rId5" Type="http://schemas.openxmlformats.org/officeDocument/2006/relationships/notesSlide" Target="../notesSlides/notesSlide13.xml"/><Relationship Id="rId10" Type="http://schemas.openxmlformats.org/officeDocument/2006/relationships/image" Target="../media/image19.png"/><Relationship Id="rId4" Type="http://schemas.openxmlformats.org/officeDocument/2006/relationships/slideLayout" Target="../slideLayouts/slideLayout4.xml"/><Relationship Id="rId9" Type="http://schemas.openxmlformats.org/officeDocument/2006/relationships/image" Target="../media/image18.png"/></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74.xml"/><Relationship Id="rId7" Type="http://schemas.openxmlformats.org/officeDocument/2006/relationships/image" Target="../media/image3.emf"/><Relationship Id="rId2" Type="http://schemas.openxmlformats.org/officeDocument/2006/relationships/tags" Target="../tags/tag73.xml"/><Relationship Id="rId1" Type="http://schemas.openxmlformats.org/officeDocument/2006/relationships/vmlDrawing" Target="../drawings/vmlDrawing19.vml"/><Relationship Id="rId6" Type="http://schemas.openxmlformats.org/officeDocument/2006/relationships/oleObject" Target="../embeddings/oleObject19.bin"/><Relationship Id="rId11" Type="http://schemas.openxmlformats.org/officeDocument/2006/relationships/image" Target="../media/image23.png"/><Relationship Id="rId5" Type="http://schemas.openxmlformats.org/officeDocument/2006/relationships/notesSlide" Target="../notesSlides/notesSlide14.xml"/><Relationship Id="rId10" Type="http://schemas.openxmlformats.org/officeDocument/2006/relationships/image" Target="../media/image22.png"/><Relationship Id="rId4" Type="http://schemas.openxmlformats.org/officeDocument/2006/relationships/slideLayout" Target="../slideLayouts/slideLayout4.xml"/><Relationship Id="rId9" Type="http://schemas.openxmlformats.org/officeDocument/2006/relationships/image" Target="../media/image15.png"/></Relationships>
</file>

<file path=ppt/slides/_rels/slide1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76.xml"/><Relationship Id="rId7" Type="http://schemas.openxmlformats.org/officeDocument/2006/relationships/image" Target="../media/image3.emf"/><Relationship Id="rId2" Type="http://schemas.openxmlformats.org/officeDocument/2006/relationships/tags" Target="../tags/tag75.xml"/><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image" Target="../media/image26.png"/><Relationship Id="rId5" Type="http://schemas.openxmlformats.org/officeDocument/2006/relationships/notesSlide" Target="../notesSlides/notesSlide15.xml"/><Relationship Id="rId10" Type="http://schemas.openxmlformats.org/officeDocument/2006/relationships/image" Target="../media/image14.png"/><Relationship Id="rId4" Type="http://schemas.openxmlformats.org/officeDocument/2006/relationships/slideLayout" Target="../slideLayouts/slideLayout4.xml"/><Relationship Id="rId9" Type="http://schemas.openxmlformats.org/officeDocument/2006/relationships/image" Target="../media/image25.png"/></Relationships>
</file>

<file path=ppt/slides/_rels/slide1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78.xml"/><Relationship Id="rId7" Type="http://schemas.openxmlformats.org/officeDocument/2006/relationships/image" Target="../media/image3.emf"/><Relationship Id="rId2" Type="http://schemas.openxmlformats.org/officeDocument/2006/relationships/tags" Target="../tags/tag77.xml"/><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image" Target="../media/image29.png"/><Relationship Id="rId5" Type="http://schemas.openxmlformats.org/officeDocument/2006/relationships/notesSlide" Target="../notesSlides/notesSlide16.xml"/><Relationship Id="rId10" Type="http://schemas.openxmlformats.org/officeDocument/2006/relationships/image" Target="../media/image19.png"/><Relationship Id="rId4" Type="http://schemas.openxmlformats.org/officeDocument/2006/relationships/slideLayout" Target="../slideLayouts/slideLayout4.xml"/><Relationship Id="rId9" Type="http://schemas.openxmlformats.org/officeDocument/2006/relationships/image" Target="../media/image28.png"/></Relationships>
</file>

<file path=ppt/slides/_rels/slide1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80.xml"/><Relationship Id="rId7" Type="http://schemas.openxmlformats.org/officeDocument/2006/relationships/image" Target="../media/image3.emf"/><Relationship Id="rId2" Type="http://schemas.openxmlformats.org/officeDocument/2006/relationships/tags" Target="../tags/tag79.xml"/><Relationship Id="rId1" Type="http://schemas.openxmlformats.org/officeDocument/2006/relationships/vmlDrawing" Target="../drawings/vmlDrawing22.vml"/><Relationship Id="rId6" Type="http://schemas.openxmlformats.org/officeDocument/2006/relationships/oleObject" Target="../embeddings/oleObject22.bin"/><Relationship Id="rId11" Type="http://schemas.openxmlformats.org/officeDocument/2006/relationships/image" Target="../media/image14.png"/><Relationship Id="rId5" Type="http://schemas.openxmlformats.org/officeDocument/2006/relationships/notesSlide" Target="../notesSlides/notesSlide17.xml"/><Relationship Id="rId10" Type="http://schemas.openxmlformats.org/officeDocument/2006/relationships/image" Target="../media/image29.png"/><Relationship Id="rId4" Type="http://schemas.openxmlformats.org/officeDocument/2006/relationships/slideLayout" Target="../slideLayouts/slideLayout4.xml"/><Relationship Id="rId9" Type="http://schemas.openxmlformats.org/officeDocument/2006/relationships/image" Target="../media/image19.png"/></Relationships>
</file>

<file path=ppt/slides/_rels/slide1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82.xml"/><Relationship Id="rId7" Type="http://schemas.openxmlformats.org/officeDocument/2006/relationships/image" Target="../media/image3.emf"/><Relationship Id="rId2" Type="http://schemas.openxmlformats.org/officeDocument/2006/relationships/tags" Target="../tags/tag81.xml"/><Relationship Id="rId1" Type="http://schemas.openxmlformats.org/officeDocument/2006/relationships/vmlDrawing" Target="../drawings/vmlDrawing23.vml"/><Relationship Id="rId6" Type="http://schemas.openxmlformats.org/officeDocument/2006/relationships/oleObject" Target="../embeddings/oleObject23.bin"/><Relationship Id="rId11" Type="http://schemas.openxmlformats.org/officeDocument/2006/relationships/image" Target="../media/image23.png"/><Relationship Id="rId5" Type="http://schemas.openxmlformats.org/officeDocument/2006/relationships/notesSlide" Target="../notesSlides/notesSlide18.xml"/><Relationship Id="rId10" Type="http://schemas.openxmlformats.org/officeDocument/2006/relationships/image" Target="../media/image21.png"/><Relationship Id="rId4" Type="http://schemas.openxmlformats.org/officeDocument/2006/relationships/slideLayout" Target="../slideLayouts/slideLayout4.xml"/><Relationship Id="rId9" Type="http://schemas.openxmlformats.org/officeDocument/2006/relationships/image" Target="../media/image25.png"/></Relationships>
</file>

<file path=ppt/slides/_rels/slide1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84.xml"/><Relationship Id="rId7" Type="http://schemas.openxmlformats.org/officeDocument/2006/relationships/image" Target="../media/image3.emf"/><Relationship Id="rId2" Type="http://schemas.openxmlformats.org/officeDocument/2006/relationships/tags" Target="../tags/tag83.xml"/><Relationship Id="rId1" Type="http://schemas.openxmlformats.org/officeDocument/2006/relationships/vmlDrawing" Target="../drawings/vmlDrawing24.vml"/><Relationship Id="rId6" Type="http://schemas.openxmlformats.org/officeDocument/2006/relationships/oleObject" Target="../embeddings/oleObject24.bin"/><Relationship Id="rId11" Type="http://schemas.openxmlformats.org/officeDocument/2006/relationships/image" Target="../media/image14.png"/><Relationship Id="rId5" Type="http://schemas.openxmlformats.org/officeDocument/2006/relationships/notesSlide" Target="../notesSlides/notesSlide19.xml"/><Relationship Id="rId10" Type="http://schemas.openxmlformats.org/officeDocument/2006/relationships/image" Target="../media/image15.png"/><Relationship Id="rId4" Type="http://schemas.openxmlformats.org/officeDocument/2006/relationships/slideLayout" Target="../slideLayouts/slideLayout4.xml"/><Relationship Id="rId9"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58.xml"/></Relationships>
</file>

<file path=ppt/slides/_rels/slide20.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emf"/><Relationship Id="rId2" Type="http://schemas.openxmlformats.org/officeDocument/2006/relationships/tags" Target="../tags/tag85.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0.xml"/><Relationship Id="rId4"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7.xml"/><Relationship Id="rId1" Type="http://schemas.openxmlformats.org/officeDocument/2006/relationships/vmlDrawing" Target="../drawings/vmlDrawing26.vml"/><Relationship Id="rId6" Type="http://schemas.openxmlformats.org/officeDocument/2006/relationships/image" Target="../media/image3.emf"/><Relationship Id="rId5" Type="http://schemas.openxmlformats.org/officeDocument/2006/relationships/oleObject" Target="../embeddings/oleObject26.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8.xml"/><Relationship Id="rId1" Type="http://schemas.openxmlformats.org/officeDocument/2006/relationships/vmlDrawing" Target="../drawings/vmlDrawing27.vml"/><Relationship Id="rId6" Type="http://schemas.openxmlformats.org/officeDocument/2006/relationships/image" Target="../media/image3.emf"/><Relationship Id="rId5" Type="http://schemas.openxmlformats.org/officeDocument/2006/relationships/oleObject" Target="../embeddings/oleObject27.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image" Target="../media/image30.emf"/><Relationship Id="rId3" Type="http://schemas.openxmlformats.org/officeDocument/2006/relationships/tags" Target="../tags/tag90.xml"/><Relationship Id="rId7" Type="http://schemas.openxmlformats.org/officeDocument/2006/relationships/oleObject" Target="../embeddings/oleObject28.bin"/><Relationship Id="rId2" Type="http://schemas.openxmlformats.org/officeDocument/2006/relationships/tags" Target="../tags/tag89.xml"/><Relationship Id="rId1" Type="http://schemas.openxmlformats.org/officeDocument/2006/relationships/vmlDrawing" Target="../drawings/vmlDrawing28.vml"/><Relationship Id="rId6" Type="http://schemas.openxmlformats.org/officeDocument/2006/relationships/notesSlide" Target="../notesSlides/notesSlide23.xml"/><Relationship Id="rId5" Type="http://schemas.openxmlformats.org/officeDocument/2006/relationships/slideLayout" Target="../slideLayouts/slideLayout15.xml"/><Relationship Id="rId4" Type="http://schemas.openxmlformats.org/officeDocument/2006/relationships/tags" Target="../tags/tag91.xml"/></Relationships>
</file>

<file path=ppt/slides/_rels/slide24.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3.emf"/><Relationship Id="rId2" Type="http://schemas.openxmlformats.org/officeDocument/2006/relationships/tags" Target="../tags/tag92.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24.xml"/><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9.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6.xml"/><Relationship Id="rId4"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64.xml"/><Relationship Id="rId4" Type="http://schemas.openxmlformats.org/officeDocument/2006/relationships/hyperlink" Target="https://oes.dk/media/32859/indfak_produkstrategi_web.pdf"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6988" name="Picture 12" descr="Nyheder fra Økonomistyrelsen">
            <a:extLst>
              <a:ext uri="{FF2B5EF4-FFF2-40B4-BE49-F238E27FC236}">
                <a16:creationId xmlns:a16="http://schemas.microsoft.com/office/drawing/2014/main" id="{307FCD17-80F7-4ACF-8C19-085DAE92E38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15120"/>
          <a:stretch/>
        </p:blipFill>
        <p:spPr bwMode="auto">
          <a:xfrm>
            <a:off x="3757959" y="3292171"/>
            <a:ext cx="5386039" cy="356582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A98C6C21-C1F3-4771-A294-9CC2C5735B39}"/>
              </a:ext>
            </a:extLst>
          </p:cNvPr>
          <p:cNvGraphicFramePr>
            <a:graphicFrameLocks noChangeAspect="1"/>
          </p:cNvGraphicFramePr>
          <p:nvPr>
            <p:custDataLst>
              <p:tags r:id="rId2"/>
            </p:custDataLst>
            <p:extLst>
              <p:ext uri="{D42A27DB-BD31-4B8C-83A1-F6EECF244321}">
                <p14:modId xmlns:p14="http://schemas.microsoft.com/office/powerpoint/2010/main" val="1696879660"/>
              </p:ext>
            </p:extLst>
          </p:nvPr>
        </p:nvGraphicFramePr>
        <p:xfrm>
          <a:off x="1466" y="265235"/>
          <a:ext cx="1466" cy="1466"/>
        </p:xfrm>
        <a:graphic>
          <a:graphicData uri="http://schemas.openxmlformats.org/presentationml/2006/ole">
            <mc:AlternateContent xmlns:mc="http://schemas.openxmlformats.org/markup-compatibility/2006">
              <mc:Choice xmlns:v="urn:schemas-microsoft-com:vml" Requires="v">
                <p:oleObj spid="_x0000_s9233" name="think-cell Slide" r:id="rId7" imgW="347" imgH="348" progId="TCLayout.ActiveDocument.1">
                  <p:embed/>
                </p:oleObj>
              </mc:Choice>
              <mc:Fallback>
                <p:oleObj name="think-cell Slide" r:id="rId7" imgW="347" imgH="348" progId="TCLayout.ActiveDocument.1">
                  <p:embed/>
                  <p:pic>
                    <p:nvPicPr>
                      <p:cNvPr id="7" name="Object 6" hidden="1">
                        <a:extLst>
                          <a:ext uri="{FF2B5EF4-FFF2-40B4-BE49-F238E27FC236}">
                            <a16:creationId xmlns:a16="http://schemas.microsoft.com/office/drawing/2014/main" id="{A98C6C21-C1F3-4771-A294-9CC2C5735B39}"/>
                          </a:ext>
                        </a:extLst>
                      </p:cNvPr>
                      <p:cNvPicPr/>
                      <p:nvPr/>
                    </p:nvPicPr>
                    <p:blipFill>
                      <a:blip r:embed="rId8"/>
                      <a:stretch>
                        <a:fillRect/>
                      </a:stretch>
                    </p:blipFill>
                    <p:spPr>
                      <a:xfrm>
                        <a:off x="1466" y="265235"/>
                        <a:ext cx="1466" cy="146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AA09CBE-4306-4E45-8EC4-3E29DFA9AB61}"/>
              </a:ext>
            </a:extLst>
          </p:cNvPr>
          <p:cNvSpPr/>
          <p:nvPr>
            <p:custDataLst>
              <p:tags r:id="rId3"/>
            </p:custDataLst>
          </p:nvPr>
        </p:nvSpPr>
        <p:spPr>
          <a:xfrm>
            <a:off x="0" y="263769"/>
            <a:ext cx="146538" cy="146538"/>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83000"/>
              </a:lnSpc>
              <a:spcBef>
                <a:spcPct val="0"/>
              </a:spcBef>
              <a:spcAft>
                <a:spcPct val="0"/>
              </a:spcAft>
            </a:pPr>
            <a:endParaRPr lang="da-DK" sz="2220" dirty="0">
              <a:solidFill>
                <a:srgbClr val="2F363B"/>
              </a:solidFill>
              <a:latin typeface="Impact" panose="020B0806030902050204" pitchFamily="34" charset="0"/>
              <a:ea typeface="+mj-ea"/>
              <a:cs typeface="+mj-cs"/>
              <a:sym typeface="Impact" panose="020B0806030902050204" pitchFamily="34" charset="0"/>
            </a:endParaRPr>
          </a:p>
        </p:txBody>
      </p:sp>
      <p:sp>
        <p:nvSpPr>
          <p:cNvPr id="3" name="Title 2">
            <a:extLst>
              <a:ext uri="{FF2B5EF4-FFF2-40B4-BE49-F238E27FC236}">
                <a16:creationId xmlns:a16="http://schemas.microsoft.com/office/drawing/2014/main" id="{C3CAEA78-364C-4833-849F-603964037097}"/>
              </a:ext>
            </a:extLst>
          </p:cNvPr>
          <p:cNvSpPr>
            <a:spLocks noGrp="1"/>
          </p:cNvSpPr>
          <p:nvPr>
            <p:ph type="ctrTitle"/>
          </p:nvPr>
        </p:nvSpPr>
        <p:spPr>
          <a:xfrm>
            <a:off x="259374" y="1777524"/>
            <a:ext cx="4585539" cy="2053741"/>
          </a:xfrm>
        </p:spPr>
        <p:txBody>
          <a:bodyPr/>
          <a:lstStyle/>
          <a:p>
            <a:r>
              <a:rPr lang="da-DK" sz="4200" dirty="0">
                <a:solidFill>
                  <a:schemeClr val="bg1"/>
                </a:solidFill>
              </a:rPr>
              <a:t>Forhold som ønskes belyst i besvarelsen</a:t>
            </a:r>
            <a:r>
              <a:rPr lang="da-DK" dirty="0">
                <a:solidFill>
                  <a:schemeClr val="bg1"/>
                </a:solidFill>
              </a:rPr>
              <a:t/>
            </a:r>
            <a:br>
              <a:rPr lang="da-DK" dirty="0">
                <a:solidFill>
                  <a:schemeClr val="bg1"/>
                </a:solidFill>
              </a:rPr>
            </a:br>
            <a:r>
              <a:rPr lang="da-DK" dirty="0"/>
              <a:t/>
            </a:r>
            <a:br>
              <a:rPr lang="da-DK" dirty="0"/>
            </a:br>
            <a:r>
              <a:rPr lang="da-DK" dirty="0"/>
              <a:t/>
            </a:r>
            <a:br>
              <a:rPr lang="da-DK" dirty="0"/>
            </a:br>
            <a:r>
              <a:rPr lang="da-DK" sz="2400" dirty="0">
                <a:solidFill>
                  <a:schemeClr val="bg1"/>
                </a:solidFill>
              </a:rPr>
              <a:t>Bilag 2 til RFI vejledning</a:t>
            </a:r>
            <a:r>
              <a:rPr lang="da-DK" sz="2220" dirty="0">
                <a:solidFill>
                  <a:schemeClr val="bg1"/>
                </a:solidFill>
              </a:rPr>
              <a:t> </a:t>
            </a:r>
            <a:r>
              <a:rPr lang="da-DK" sz="2220" dirty="0"/>
              <a:t/>
            </a:r>
            <a:br>
              <a:rPr lang="da-DK" sz="2220" dirty="0"/>
            </a:br>
            <a:r>
              <a:rPr lang="da-DK" sz="2220" dirty="0" smtClean="0">
                <a:solidFill>
                  <a:srgbClr val="FF0000"/>
                </a:solidFill>
              </a:rPr>
              <a:t>02</a:t>
            </a:r>
            <a:r>
              <a:rPr lang="da-DK" sz="2220" dirty="0" smtClean="0">
                <a:solidFill>
                  <a:srgbClr val="FF0000"/>
                </a:solidFill>
              </a:rPr>
              <a:t>. 10 </a:t>
            </a:r>
            <a:r>
              <a:rPr lang="da-DK" sz="2220" dirty="0">
                <a:solidFill>
                  <a:srgbClr val="FF0000"/>
                </a:solidFill>
              </a:rPr>
              <a:t>2020</a:t>
            </a:r>
            <a:r>
              <a:rPr lang="da-DK" sz="2400" dirty="0">
                <a:solidFill>
                  <a:schemeClr val="bg1"/>
                </a:solidFill>
              </a:rPr>
              <a:t/>
            </a:r>
            <a:br>
              <a:rPr lang="da-DK" sz="2400" dirty="0">
                <a:solidFill>
                  <a:schemeClr val="bg1"/>
                </a:solidFill>
              </a:rPr>
            </a:br>
            <a:endParaRPr lang="da-DK" dirty="0"/>
          </a:p>
        </p:txBody>
      </p:sp>
      <p:sp>
        <p:nvSpPr>
          <p:cNvPr id="5" name="Date Placeholder 4">
            <a:extLst>
              <a:ext uri="{FF2B5EF4-FFF2-40B4-BE49-F238E27FC236}">
                <a16:creationId xmlns:a16="http://schemas.microsoft.com/office/drawing/2014/main" id="{A29311F0-821A-4AAC-BDE9-AA253B2BFD7C}"/>
              </a:ext>
            </a:extLst>
          </p:cNvPr>
          <p:cNvSpPr>
            <a:spLocks noGrp="1"/>
          </p:cNvSpPr>
          <p:nvPr>
            <p:ph type="dt" sz="half" idx="10"/>
          </p:nvPr>
        </p:nvSpPr>
        <p:spPr/>
        <p:txBody>
          <a:bodyPr/>
          <a:lstStyle/>
          <a:p>
            <a:fld id="{8A6E0422-6ECB-43C9-8CFE-4C39AC685875}" type="datetime1">
              <a:rPr lang="da-DK" smtClean="0"/>
              <a:pPr/>
              <a:t>01-10-2020</a:t>
            </a:fld>
            <a:endParaRPr lang="da-DK"/>
          </a:p>
        </p:txBody>
      </p:sp>
      <p:sp>
        <p:nvSpPr>
          <p:cNvPr id="6" name="Slide Number Placeholder 5">
            <a:extLst>
              <a:ext uri="{FF2B5EF4-FFF2-40B4-BE49-F238E27FC236}">
                <a16:creationId xmlns:a16="http://schemas.microsoft.com/office/drawing/2014/main" id="{57790861-E968-43BB-932B-A867BD494C0D}"/>
              </a:ext>
            </a:extLst>
          </p:cNvPr>
          <p:cNvSpPr>
            <a:spLocks noGrp="1"/>
          </p:cNvSpPr>
          <p:nvPr>
            <p:ph type="sldNum" sz="quarter" idx="12"/>
          </p:nvPr>
        </p:nvSpPr>
        <p:spPr/>
        <p:txBody>
          <a:bodyPr/>
          <a:lstStyle/>
          <a:p>
            <a:fld id="{24C8C45C-947F-4981-8B3F-4F32E973C901}" type="slidenum">
              <a:rPr lang="da-DK" smtClean="0"/>
              <a:pPr/>
              <a:t>0</a:t>
            </a:fld>
            <a:endParaRPr lang="da-DK"/>
          </a:p>
        </p:txBody>
      </p:sp>
      <p:sp>
        <p:nvSpPr>
          <p:cNvPr id="14" name="Text Placeholder 3">
            <a:extLst>
              <a:ext uri="{FF2B5EF4-FFF2-40B4-BE49-F238E27FC236}">
                <a16:creationId xmlns:a16="http://schemas.microsoft.com/office/drawing/2014/main" id="{09EBEE5F-BF42-487E-B185-DA54261B0C19}"/>
              </a:ext>
            </a:extLst>
          </p:cNvPr>
          <p:cNvSpPr txBox="1">
            <a:spLocks/>
          </p:cNvSpPr>
          <p:nvPr/>
        </p:nvSpPr>
        <p:spPr>
          <a:xfrm>
            <a:off x="273664" y="5906242"/>
            <a:ext cx="3080492" cy="295429"/>
          </a:xfrm>
          <a:prstGeom prst="rect">
            <a:avLst/>
          </a:prstGeom>
        </p:spPr>
        <p:txBody>
          <a:bodyPr vert="horz" lIns="0" tIns="0" rIns="0" bIns="0" rtlCol="0" anchor="b" anchorCtr="0">
            <a:noAutofit/>
          </a:bodyPr>
          <a:lstStyle>
            <a:lvl1pPr marL="0" indent="0" algn="l" defTabSz="742950" rtl="0" eaLnBrk="1" latinLnBrk="0" hangingPunct="1">
              <a:lnSpc>
                <a:spcPct val="90000"/>
              </a:lnSpc>
              <a:spcBef>
                <a:spcPts val="0"/>
              </a:spcBef>
              <a:spcAft>
                <a:spcPts val="600"/>
              </a:spcAft>
              <a:buFont typeface="Arial" panose="020B0604020202020204" pitchFamily="34" charset="0"/>
              <a:buChar char="​"/>
              <a:defRPr sz="900" kern="1200">
                <a:solidFill>
                  <a:srgbClr val="F8F5E7"/>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rgbClr val="1F2023"/>
                </a:solidFill>
                <a:latin typeface="+mj-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rgbClr val="1F2023"/>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lvl="0"/>
            <a:endParaRPr lang="da-DK" sz="831">
              <a:latin typeface="Arial"/>
            </a:endParaRPr>
          </a:p>
        </p:txBody>
      </p:sp>
      <p:sp>
        <p:nvSpPr>
          <p:cNvPr id="9" name="Oval 8">
            <a:extLst>
              <a:ext uri="{FF2B5EF4-FFF2-40B4-BE49-F238E27FC236}">
                <a16:creationId xmlns:a16="http://schemas.microsoft.com/office/drawing/2014/main" id="{FE996E86-0E14-4307-A371-746072FC9C69}"/>
              </a:ext>
            </a:extLst>
          </p:cNvPr>
          <p:cNvSpPr/>
          <p:nvPr/>
        </p:nvSpPr>
        <p:spPr>
          <a:xfrm>
            <a:off x="4029983" y="3380813"/>
            <a:ext cx="853401" cy="853401"/>
          </a:xfrm>
          <a:prstGeom prst="ellipse">
            <a:avLst/>
          </a:prstGeom>
          <a:solidFill>
            <a:srgbClr val="E2DE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6982" name="Picture 6" descr="Økonomistyrelsen søger en vicedirektør - Altinget - Alt om politik">
            <a:extLst>
              <a:ext uri="{FF2B5EF4-FFF2-40B4-BE49-F238E27FC236}">
                <a16:creationId xmlns:a16="http://schemas.microsoft.com/office/drawing/2014/main" id="{E582517D-60B5-4994-ACDD-A24B7C4DC923}"/>
              </a:ext>
            </a:extLst>
          </p:cNvPr>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4068456" y="3626097"/>
            <a:ext cx="776457" cy="205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6679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E46615F5-D91A-4C7E-9A4D-4BD64468ECB7}"/>
              </a:ext>
            </a:extLst>
          </p:cNvPr>
          <p:cNvGraphicFramePr>
            <a:graphicFrameLocks noChangeAspect="1"/>
          </p:cNvGraphicFramePr>
          <p:nvPr>
            <p:custDataLst>
              <p:tags r:id="rId2"/>
            </p:custDataLst>
            <p:extLst>
              <p:ext uri="{D42A27DB-BD31-4B8C-83A1-F6EECF244321}">
                <p14:modId xmlns:p14="http://schemas.microsoft.com/office/powerpoint/2010/main" val="1848567756"/>
              </p:ext>
            </p:extLst>
          </p:nvPr>
        </p:nvGraphicFramePr>
        <p:xfrm>
          <a:off x="1466" y="265235"/>
          <a:ext cx="1466" cy="1466"/>
        </p:xfrm>
        <a:graphic>
          <a:graphicData uri="http://schemas.openxmlformats.org/presentationml/2006/ole">
            <mc:AlternateContent xmlns:mc="http://schemas.openxmlformats.org/markup-compatibility/2006">
              <mc:Choice xmlns:v="urn:schemas-microsoft-com:vml" Requires="v">
                <p:oleObj spid="_x0000_s13329" name="think-cell Slide" r:id="rId6" imgW="473" imgH="473" progId="TCLayout.ActiveDocument.1">
                  <p:embed/>
                </p:oleObj>
              </mc:Choice>
              <mc:Fallback>
                <p:oleObj name="think-cell Slide" r:id="rId6" imgW="473" imgH="473" progId="TCLayout.ActiveDocument.1">
                  <p:embed/>
                  <p:pic>
                    <p:nvPicPr>
                      <p:cNvPr id="14" name="Object 13" hidden="1">
                        <a:extLst>
                          <a:ext uri="{FF2B5EF4-FFF2-40B4-BE49-F238E27FC236}">
                            <a16:creationId xmlns:a16="http://schemas.microsoft.com/office/drawing/2014/main" id="{E46615F5-D91A-4C7E-9A4D-4BD64468ECB7}"/>
                          </a:ext>
                        </a:extLst>
                      </p:cNvPr>
                      <p:cNvPicPr/>
                      <p:nvPr/>
                    </p:nvPicPr>
                    <p:blipFill>
                      <a:blip r:embed="rId7"/>
                      <a:stretch>
                        <a:fillRect/>
                      </a:stretch>
                    </p:blipFill>
                    <p:spPr>
                      <a:xfrm>
                        <a:off x="1466" y="265235"/>
                        <a:ext cx="1466" cy="1466"/>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F750C791-34CC-4A64-A79C-B2BCD9BE0F7F}"/>
              </a:ext>
            </a:extLst>
          </p:cNvPr>
          <p:cNvSpPr/>
          <p:nvPr>
            <p:custDataLst>
              <p:tags r:id="rId3"/>
            </p:custDataLst>
          </p:nvPr>
        </p:nvSpPr>
        <p:spPr>
          <a:xfrm>
            <a:off x="0" y="263769"/>
            <a:ext cx="146538" cy="146538"/>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endParaRPr lang="da-DK" dirty="0">
              <a:solidFill>
                <a:srgbClr val="2F363B"/>
              </a:solidFill>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1"/>
          <p:cNvSpPr>
            <a:spLocks noGrp="1"/>
          </p:cNvSpPr>
          <p:nvPr>
            <p:ph type="title"/>
          </p:nvPr>
        </p:nvSpPr>
        <p:spPr>
          <a:xfrm>
            <a:off x="258151" y="274761"/>
            <a:ext cx="8433929" cy="639079"/>
          </a:xfrm>
        </p:spPr>
        <p:txBody>
          <a:bodyPr lIns="91440" tIns="45720" rIns="91440" bIns="45720" anchor="t"/>
          <a:lstStyle/>
          <a:p>
            <a:r>
              <a:rPr lang="da-DK" sz="2450" cap="all" dirty="0">
                <a:latin typeface="Impact"/>
              </a:rPr>
              <a:t>3. Løsningen</a:t>
            </a:r>
            <a:r>
              <a:rPr lang="da-DK" sz="2450" dirty="0">
                <a:latin typeface="Impact"/>
              </a:rPr>
              <a:t/>
            </a:r>
            <a:br>
              <a:rPr lang="da-DK" sz="2450" dirty="0">
                <a:latin typeface="Impact"/>
              </a:rPr>
            </a:br>
            <a:r>
              <a:rPr lang="da-DK" sz="1800" dirty="0">
                <a:latin typeface="Verdana"/>
                <a:ea typeface="Verdana"/>
                <a:cs typeface="Verdana"/>
              </a:rPr>
              <a:t>3.1.1 FUNKTIONELT SCOPE FOR NY INDFAK LØSNING</a:t>
            </a:r>
            <a:r>
              <a:rPr lang="da-DK" sz="2200" dirty="0">
                <a:latin typeface="Impact" panose="020B0806030902050204" pitchFamily="34" charset="0"/>
              </a:rPr>
              <a:t/>
            </a:r>
            <a:br>
              <a:rPr lang="da-DK" sz="2200" dirty="0">
                <a:latin typeface="Impact" panose="020B0806030902050204" pitchFamily="34" charset="0"/>
              </a:rPr>
            </a:br>
            <a:endParaRPr lang="en-US" dirty="0"/>
          </a:p>
        </p:txBody>
      </p:sp>
      <p:sp>
        <p:nvSpPr>
          <p:cNvPr id="4" name="Rektangel: afrundede hjørner 3">
            <a:extLst>
              <a:ext uri="{FF2B5EF4-FFF2-40B4-BE49-F238E27FC236}">
                <a16:creationId xmlns:a16="http://schemas.microsoft.com/office/drawing/2014/main" id="{4CC1A6F4-16C9-498D-9443-379F3F35371B}"/>
              </a:ext>
            </a:extLst>
          </p:cNvPr>
          <p:cNvSpPr/>
          <p:nvPr/>
        </p:nvSpPr>
        <p:spPr>
          <a:xfrm>
            <a:off x="249115" y="1282907"/>
            <a:ext cx="1993846" cy="2334039"/>
          </a:xfrm>
          <a:prstGeom prst="roundRect">
            <a:avLst>
              <a:gd name="adj" fmla="val 5481"/>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9692" tIns="99692" rIns="72000" bIns="99692" rtlCol="0" anchor="t" anchorCtr="0">
            <a:noAutofit/>
          </a:bodyPr>
          <a:lstStyle/>
          <a:p>
            <a:pPr marL="158265" indent="-158265" defTabSz="844083" fontAlgn="base">
              <a:spcBef>
                <a:spcPct val="30000"/>
              </a:spcBef>
              <a:spcAft>
                <a:spcPct val="0"/>
              </a:spcAft>
              <a:buClr>
                <a:srgbClr val="00B050"/>
              </a:buClr>
              <a:buFont typeface="Wingdings" panose="05000000000000000000" pitchFamily="2" charset="2"/>
              <a:buChar char="q"/>
            </a:pPr>
            <a:endParaRPr lang="da-DK" sz="700" dirty="0">
              <a:solidFill>
                <a:schemeClr val="tx1"/>
              </a:solidFill>
            </a:endParaRP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Kategorianalyse- og styring</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Forslag til nye kontrakter (AI)</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Udbudsstyring inkl. workflow</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Udbudsspecifikation og bilag</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Miniudbud og udbudsstyring</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Evaluering og udvælgelse af tilbud</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Online-auktioner</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Kontrakter og rammeaftaler</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Håndtering af dokumenter og vilkår </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Notifikationer vedr. aftaleudløb</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Godkendelse af </a:t>
            </a:r>
            <a:r>
              <a:rPr lang="da-DK" sz="700" dirty="0" smtClean="0">
                <a:solidFill>
                  <a:schemeClr val="tx1"/>
                </a:solidFill>
              </a:rPr>
              <a:t>aftaler.</a:t>
            </a:r>
            <a:endParaRPr lang="da-DK" sz="700" dirty="0">
              <a:solidFill>
                <a:schemeClr val="tx1"/>
              </a:solidFill>
            </a:endParaRPr>
          </a:p>
          <a:p>
            <a:pPr marL="158265" indent="-158265" defTabSz="844083" fontAlgn="base">
              <a:spcBef>
                <a:spcPct val="30000"/>
              </a:spcBef>
              <a:spcAft>
                <a:spcPct val="0"/>
              </a:spcAft>
              <a:buClr>
                <a:srgbClr val="00B050"/>
              </a:buClr>
              <a:buFont typeface="Wingdings" panose="05000000000000000000" pitchFamily="2" charset="2"/>
              <a:buChar char="q"/>
            </a:pPr>
            <a:endParaRPr lang="da-DK" sz="700" dirty="0">
              <a:solidFill>
                <a:schemeClr val="tx1"/>
              </a:solidFill>
            </a:endParaRPr>
          </a:p>
        </p:txBody>
      </p:sp>
      <p:sp>
        <p:nvSpPr>
          <p:cNvPr id="3" name="Rektangel: afrundede hjørner 2">
            <a:extLst>
              <a:ext uri="{FF2B5EF4-FFF2-40B4-BE49-F238E27FC236}">
                <a16:creationId xmlns:a16="http://schemas.microsoft.com/office/drawing/2014/main" id="{3430EB18-41C5-40F1-9817-E075AB073DCE}"/>
              </a:ext>
            </a:extLst>
          </p:cNvPr>
          <p:cNvSpPr/>
          <p:nvPr/>
        </p:nvSpPr>
        <p:spPr>
          <a:xfrm>
            <a:off x="586317" y="1221170"/>
            <a:ext cx="1220801" cy="137598"/>
          </a:xfrm>
          <a:prstGeom prst="roundRect">
            <a:avLst/>
          </a:prstGeom>
          <a:solidFill>
            <a:srgbClr val="8AA299"/>
          </a:solidFill>
          <a:ln w="9525" cap="flat" cmpd="sng" algn="ctr">
            <a:solidFill>
              <a:srgbClr val="95999B"/>
            </a:solidFill>
            <a:prstDash val="solid"/>
            <a:miter lim="800000"/>
          </a:ln>
          <a:effectLst/>
        </p:spPr>
        <p:txBody>
          <a:bodyPr lIns="99692" tIns="99692" rIns="99692" bIns="99692" rtlCol="0" anchor="ctr" anchorCtr="0">
            <a:noAutofit/>
          </a:bodyPr>
          <a:lstStyle/>
          <a:p>
            <a:pPr algn="ctr"/>
            <a:r>
              <a:rPr lang="da-DK" sz="800" b="1" kern="0" dirty="0">
                <a:latin typeface="Arial"/>
                <a:ea typeface="ＭＳ Ｐゴシック"/>
              </a:rPr>
              <a:t>1. Strategisk Indkøb</a:t>
            </a:r>
          </a:p>
        </p:txBody>
      </p:sp>
      <p:sp>
        <p:nvSpPr>
          <p:cNvPr id="22" name="Rektangel: afrundede hjørner 21">
            <a:extLst>
              <a:ext uri="{FF2B5EF4-FFF2-40B4-BE49-F238E27FC236}">
                <a16:creationId xmlns:a16="http://schemas.microsoft.com/office/drawing/2014/main" id="{397FDABC-C034-48FF-B22B-C5F133CAA755}"/>
              </a:ext>
            </a:extLst>
          </p:cNvPr>
          <p:cNvSpPr/>
          <p:nvPr/>
        </p:nvSpPr>
        <p:spPr>
          <a:xfrm>
            <a:off x="2411947" y="1277500"/>
            <a:ext cx="1993846" cy="2339446"/>
          </a:xfrm>
          <a:prstGeom prst="roundRect">
            <a:avLst>
              <a:gd name="adj" fmla="val 5481"/>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9692" tIns="99692" rIns="99692" bIns="99692" rtlCol="0" anchor="t" anchorCtr="0">
            <a:noAutofit/>
          </a:bodyPr>
          <a:lstStyle/>
          <a:p>
            <a:pPr marL="158265" indent="-158265" defTabSz="844083" fontAlgn="base">
              <a:spcBef>
                <a:spcPct val="30000"/>
              </a:spcBef>
              <a:spcAft>
                <a:spcPct val="0"/>
              </a:spcAft>
              <a:buClr>
                <a:srgbClr val="00B050"/>
              </a:buClr>
              <a:buFont typeface="Wingdings" panose="05000000000000000000" pitchFamily="2" charset="2"/>
              <a:buChar char="q"/>
            </a:pPr>
            <a:endParaRPr lang="da-DK" sz="700" dirty="0">
              <a:solidFill>
                <a:schemeClr val="tx1"/>
              </a:solidFill>
            </a:endParaRP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Indlæsning af varekataloger</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Kvalitetssikring af varekataloger</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Godkendelse af varekataloger</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Integration til markedspladser</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Punch-out kataloger</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Fri-tekst formularer</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Notifikationer ved udløb</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Varealiasser.</a:t>
            </a:r>
          </a:p>
        </p:txBody>
      </p:sp>
      <p:sp>
        <p:nvSpPr>
          <p:cNvPr id="20" name="Rektangel: afrundede hjørner 19">
            <a:extLst>
              <a:ext uri="{FF2B5EF4-FFF2-40B4-BE49-F238E27FC236}">
                <a16:creationId xmlns:a16="http://schemas.microsoft.com/office/drawing/2014/main" id="{0AA1D0FE-DA4E-447B-9F14-82704EEE82E8}"/>
              </a:ext>
            </a:extLst>
          </p:cNvPr>
          <p:cNvSpPr/>
          <p:nvPr/>
        </p:nvSpPr>
        <p:spPr>
          <a:xfrm>
            <a:off x="2672620" y="1221170"/>
            <a:ext cx="1485154" cy="137598"/>
          </a:xfrm>
          <a:prstGeom prst="roundRect">
            <a:avLst/>
          </a:prstGeom>
          <a:solidFill>
            <a:srgbClr val="8AA299"/>
          </a:solidFill>
          <a:ln w="9525" cap="flat" cmpd="sng" algn="ctr">
            <a:solidFill>
              <a:srgbClr val="95999B"/>
            </a:solidFill>
            <a:prstDash val="solid"/>
            <a:miter lim="800000"/>
          </a:ln>
          <a:effectLst/>
        </p:spPr>
        <p:txBody>
          <a:bodyPr lIns="99692" tIns="99692" rIns="99692" bIns="99692" rtlCol="0" anchor="ctr" anchorCtr="0">
            <a:noAutofit/>
          </a:bodyPr>
          <a:lstStyle/>
          <a:p>
            <a:pPr algn="ctr"/>
            <a:r>
              <a:rPr lang="da-DK" sz="831" b="1" kern="0" dirty="0">
                <a:latin typeface="Arial"/>
                <a:ea typeface="ＭＳ Ｐゴシック" charset="0"/>
              </a:rPr>
              <a:t>2. Kataloger</a:t>
            </a:r>
          </a:p>
        </p:txBody>
      </p:sp>
      <p:sp>
        <p:nvSpPr>
          <p:cNvPr id="23" name="Rektangel: afrundede hjørner 22">
            <a:extLst>
              <a:ext uri="{FF2B5EF4-FFF2-40B4-BE49-F238E27FC236}">
                <a16:creationId xmlns:a16="http://schemas.microsoft.com/office/drawing/2014/main" id="{CE5EDFFD-A49D-42FC-ABFB-1C15179A4C0F}"/>
              </a:ext>
            </a:extLst>
          </p:cNvPr>
          <p:cNvSpPr/>
          <p:nvPr/>
        </p:nvSpPr>
        <p:spPr>
          <a:xfrm>
            <a:off x="4574778" y="1289091"/>
            <a:ext cx="1993846" cy="2346905"/>
          </a:xfrm>
          <a:prstGeom prst="roundRect">
            <a:avLst>
              <a:gd name="adj" fmla="val 5481"/>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9692" tIns="99692" rIns="99692" bIns="99692" rtlCol="0" anchor="t" anchorCtr="0">
            <a:noAutofit/>
          </a:bodyPr>
          <a:lstStyle/>
          <a:p>
            <a:pPr marL="158265" indent="-158265" defTabSz="844083" fontAlgn="base">
              <a:spcBef>
                <a:spcPct val="30000"/>
              </a:spcBef>
              <a:spcAft>
                <a:spcPct val="0"/>
              </a:spcAft>
              <a:buClr>
                <a:srgbClr val="00B050"/>
              </a:buClr>
              <a:buFont typeface="Wingdings" panose="05000000000000000000" pitchFamily="2" charset="2"/>
              <a:buChar char="q"/>
            </a:pPr>
            <a:endParaRPr lang="da-DK" sz="700" dirty="0">
              <a:solidFill>
                <a:schemeClr val="tx1"/>
              </a:solidFill>
            </a:endParaRP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Dash-Boards</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AI baseret søgning</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Skabeloner til varebestilling</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Rekvisitioner og godkendelse</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Indkøbsordrer</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Stående ordre / service indkøb</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Kontoforslag (AI)</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Behandle og afsende indkøbsordre</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Ændringshåndtering</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Varemodtagelse</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Returnering.</a:t>
            </a:r>
          </a:p>
        </p:txBody>
      </p:sp>
      <p:sp>
        <p:nvSpPr>
          <p:cNvPr id="21" name="Rektangel: afrundede hjørner 20">
            <a:extLst>
              <a:ext uri="{FF2B5EF4-FFF2-40B4-BE49-F238E27FC236}">
                <a16:creationId xmlns:a16="http://schemas.microsoft.com/office/drawing/2014/main" id="{E5BA3CD9-81AD-4648-B768-2B1952A7704F}"/>
              </a:ext>
            </a:extLst>
          </p:cNvPr>
          <p:cNvSpPr/>
          <p:nvPr/>
        </p:nvSpPr>
        <p:spPr>
          <a:xfrm>
            <a:off x="5043758" y="1220292"/>
            <a:ext cx="1184824" cy="137598"/>
          </a:xfrm>
          <a:prstGeom prst="roundRect">
            <a:avLst/>
          </a:prstGeom>
          <a:solidFill>
            <a:srgbClr val="8AA299"/>
          </a:solidFill>
          <a:ln w="9525" cap="flat" cmpd="sng" algn="ctr">
            <a:solidFill>
              <a:srgbClr val="95999B"/>
            </a:solidFill>
            <a:prstDash val="solid"/>
            <a:miter lim="800000"/>
          </a:ln>
          <a:effectLst/>
        </p:spPr>
        <p:txBody>
          <a:bodyPr lIns="99692" tIns="99692" rIns="99692" bIns="99692" rtlCol="0" anchor="ctr" anchorCtr="0">
            <a:noAutofit/>
          </a:bodyPr>
          <a:lstStyle/>
          <a:p>
            <a:pPr algn="ctr"/>
            <a:r>
              <a:rPr lang="da-DK" sz="831" b="1" kern="0" dirty="0">
                <a:latin typeface="Arial"/>
                <a:ea typeface="ＭＳ Ｐゴシック" charset="0"/>
              </a:rPr>
              <a:t>3. Indkøb</a:t>
            </a:r>
          </a:p>
        </p:txBody>
      </p:sp>
      <p:sp>
        <p:nvSpPr>
          <p:cNvPr id="24" name="Rektangel: afrundede hjørner 23">
            <a:extLst>
              <a:ext uri="{FF2B5EF4-FFF2-40B4-BE49-F238E27FC236}">
                <a16:creationId xmlns:a16="http://schemas.microsoft.com/office/drawing/2014/main" id="{8B8E6E67-8EBB-48C2-96BA-50514C5EB13C}"/>
              </a:ext>
            </a:extLst>
          </p:cNvPr>
          <p:cNvSpPr/>
          <p:nvPr/>
        </p:nvSpPr>
        <p:spPr>
          <a:xfrm>
            <a:off x="6737610" y="1299579"/>
            <a:ext cx="1993846" cy="2355467"/>
          </a:xfrm>
          <a:prstGeom prst="roundRect">
            <a:avLst>
              <a:gd name="adj" fmla="val 5481"/>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9692" tIns="99692" rIns="99692" bIns="99692" rtlCol="0" anchor="t" anchorCtr="0">
            <a:noAutofit/>
          </a:bodyPr>
          <a:lstStyle/>
          <a:p>
            <a:pPr marL="158265" indent="-158265" defTabSz="844083" fontAlgn="base">
              <a:spcAft>
                <a:spcPct val="0"/>
              </a:spcAft>
              <a:buClr>
                <a:srgbClr val="00B050"/>
              </a:buClr>
              <a:buFont typeface="Wingdings" panose="05000000000000000000" pitchFamily="2" charset="2"/>
              <a:buChar char="q"/>
            </a:pPr>
            <a:endParaRPr lang="da-DK" sz="738" dirty="0">
              <a:solidFill>
                <a:srgbClr val="1F2023"/>
              </a:solidFill>
            </a:endParaRP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Elektronisk faktura DK + EU</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Afvisning af fakturaer ift. match</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Indscanning af faktura / kreditnota</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Manuel faktura / kreditnota</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Behandling/workflow inkl. etiketter</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2- og 3-vejs match</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Matchregler og autogodkendelse</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AI kontering</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Massekontering</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Fakturagodkendelse på </a:t>
            </a:r>
            <a:r>
              <a:rPr lang="da-DK" sz="700" dirty="0" smtClean="0">
                <a:solidFill>
                  <a:schemeClr val="tx1"/>
                </a:solidFill>
              </a:rPr>
              <a:t>linjeniveau</a:t>
            </a:r>
            <a:endParaRPr lang="da-DK" sz="700" dirty="0">
              <a:solidFill>
                <a:schemeClr val="tx1"/>
              </a:solidFill>
            </a:endParaRP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Afvigelseshåndtering</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e-mail notifikationer / opfølgning.</a:t>
            </a:r>
          </a:p>
          <a:p>
            <a:pPr marL="158265" indent="-158265" defTabSz="844083" fontAlgn="base">
              <a:spcAft>
                <a:spcPct val="0"/>
              </a:spcAft>
              <a:buClr>
                <a:srgbClr val="00B050"/>
              </a:buClr>
              <a:buFont typeface="Wingdings" panose="05000000000000000000" pitchFamily="2" charset="2"/>
              <a:buChar char="q"/>
            </a:pPr>
            <a:endParaRPr lang="da-DK" sz="738" dirty="0">
              <a:solidFill>
                <a:srgbClr val="1F2023"/>
              </a:solidFill>
            </a:endParaRPr>
          </a:p>
        </p:txBody>
      </p:sp>
      <p:sp>
        <p:nvSpPr>
          <p:cNvPr id="25" name="Rektangel: afrundede hjørner 24">
            <a:extLst>
              <a:ext uri="{FF2B5EF4-FFF2-40B4-BE49-F238E27FC236}">
                <a16:creationId xmlns:a16="http://schemas.microsoft.com/office/drawing/2014/main" id="{27F33833-DA88-42F0-A938-4B8BA979492A}"/>
              </a:ext>
            </a:extLst>
          </p:cNvPr>
          <p:cNvSpPr/>
          <p:nvPr/>
        </p:nvSpPr>
        <p:spPr>
          <a:xfrm>
            <a:off x="7096109" y="1237517"/>
            <a:ext cx="1276848" cy="137598"/>
          </a:xfrm>
          <a:prstGeom prst="roundRect">
            <a:avLst/>
          </a:prstGeom>
          <a:solidFill>
            <a:srgbClr val="8AA299"/>
          </a:solidFill>
          <a:ln w="9525" cap="flat" cmpd="sng" algn="ctr">
            <a:solidFill>
              <a:srgbClr val="95999B"/>
            </a:solidFill>
            <a:prstDash val="solid"/>
            <a:miter lim="800000"/>
          </a:ln>
          <a:effectLst/>
        </p:spPr>
        <p:txBody>
          <a:bodyPr lIns="99692" tIns="99692" rIns="99692" bIns="99692" rtlCol="0" anchor="ctr" anchorCtr="0">
            <a:noAutofit/>
          </a:bodyPr>
          <a:lstStyle/>
          <a:p>
            <a:pPr algn="ctr"/>
            <a:r>
              <a:rPr lang="da-DK" sz="831" b="1" kern="0" dirty="0">
                <a:latin typeface="Arial"/>
                <a:ea typeface="ＭＳ Ｐゴシック" charset="0"/>
              </a:rPr>
              <a:t>4. Fakturabehandling</a:t>
            </a:r>
          </a:p>
        </p:txBody>
      </p:sp>
      <p:sp>
        <p:nvSpPr>
          <p:cNvPr id="28" name="Rektangel: afrundede hjørner 27">
            <a:extLst>
              <a:ext uri="{FF2B5EF4-FFF2-40B4-BE49-F238E27FC236}">
                <a16:creationId xmlns:a16="http://schemas.microsoft.com/office/drawing/2014/main" id="{96EEA2DD-A4F5-46B8-BD50-E2152C1348AF}"/>
              </a:ext>
            </a:extLst>
          </p:cNvPr>
          <p:cNvSpPr/>
          <p:nvPr/>
        </p:nvSpPr>
        <p:spPr>
          <a:xfrm>
            <a:off x="6742334" y="3941374"/>
            <a:ext cx="1993846" cy="2339446"/>
          </a:xfrm>
          <a:prstGeom prst="roundRect">
            <a:avLst>
              <a:gd name="adj" fmla="val 5481"/>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9692" tIns="99692" rIns="99692" bIns="99692" rtlCol="0" anchor="t" anchorCtr="0">
            <a:noAutofit/>
          </a:bodyPr>
          <a:lstStyle/>
          <a:p>
            <a:pPr marL="158115" indent="-158115" defTabSz="844083" fontAlgn="base">
              <a:spcBef>
                <a:spcPct val="30000"/>
              </a:spcBef>
              <a:spcAft>
                <a:spcPct val="0"/>
              </a:spcAft>
              <a:buClr>
                <a:srgbClr val="00B050"/>
              </a:buClr>
              <a:buFont typeface="Wingdings" panose="05000000000000000000" pitchFamily="2" charset="2"/>
              <a:buChar char="q"/>
            </a:pPr>
            <a:endParaRPr lang="da-DK" sz="700" dirty="0">
              <a:solidFill>
                <a:schemeClr val="tx1"/>
              </a:solidFill>
            </a:endParaRPr>
          </a:p>
          <a:p>
            <a:pPr marL="158115" indent="-15811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Leverandører </a:t>
            </a:r>
            <a:endParaRPr lang="da-DK" sz="700" dirty="0">
              <a:solidFill>
                <a:schemeClr val="tx1"/>
              </a:solidFill>
              <a:ea typeface="Verdana"/>
              <a:cs typeface="Verdana"/>
            </a:endParaRPr>
          </a:p>
          <a:p>
            <a:pPr marL="158115" indent="-15811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Forbrugskonti</a:t>
            </a:r>
            <a:endParaRPr lang="da-DK" sz="700" dirty="0">
              <a:solidFill>
                <a:schemeClr val="tx1"/>
              </a:solidFill>
              <a:ea typeface="Verdana"/>
              <a:cs typeface="Verdana"/>
            </a:endParaRPr>
          </a:p>
          <a:p>
            <a:pPr marL="158115" indent="-15811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Konteringsdimensioner</a:t>
            </a:r>
            <a:endParaRPr lang="da-DK" sz="700" dirty="0">
              <a:solidFill>
                <a:schemeClr val="tx1"/>
              </a:solidFill>
              <a:ea typeface="Verdana"/>
              <a:cs typeface="Verdana"/>
            </a:endParaRPr>
          </a:p>
          <a:p>
            <a:pPr marL="158115" indent="-15811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Momskoder</a:t>
            </a:r>
            <a:endParaRPr lang="da-DK" sz="700" dirty="0">
              <a:solidFill>
                <a:schemeClr val="tx1"/>
              </a:solidFill>
              <a:ea typeface="Verdana"/>
              <a:cs typeface="Verdana"/>
            </a:endParaRPr>
          </a:p>
          <a:p>
            <a:pPr defTabSz="844083" fontAlgn="base">
              <a:spcBef>
                <a:spcPct val="30000"/>
              </a:spcBef>
              <a:spcAft>
                <a:spcPct val="0"/>
              </a:spcAft>
              <a:buClr>
                <a:srgbClr val="00B050"/>
              </a:buClr>
            </a:pPr>
            <a:endParaRPr lang="da-DK" sz="700" dirty="0">
              <a:solidFill>
                <a:schemeClr val="tx1"/>
              </a:solidFill>
            </a:endParaRPr>
          </a:p>
          <a:p>
            <a:pPr marL="158115" indent="-15811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Bogføring </a:t>
            </a:r>
            <a:endParaRPr lang="da-DK" sz="700" dirty="0">
              <a:solidFill>
                <a:schemeClr val="tx1"/>
              </a:solidFill>
              <a:ea typeface="Verdana"/>
              <a:cs typeface="Verdana"/>
            </a:endParaRPr>
          </a:p>
          <a:p>
            <a:pPr marL="158115" indent="-15811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Betaling</a:t>
            </a:r>
          </a:p>
          <a:p>
            <a:pPr marL="158115" indent="-15811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Betalingsstatus.</a:t>
            </a:r>
            <a:endParaRPr lang="da-DK" sz="700" dirty="0">
              <a:solidFill>
                <a:schemeClr val="tx1"/>
              </a:solidFill>
              <a:ea typeface="Verdana"/>
              <a:cs typeface="Verdana"/>
            </a:endParaRPr>
          </a:p>
          <a:p>
            <a:pPr algn="ctr" defTabSz="844083" fontAlgn="base">
              <a:spcBef>
                <a:spcPct val="30000"/>
              </a:spcBef>
              <a:spcAft>
                <a:spcPct val="0"/>
              </a:spcAft>
              <a:buClr>
                <a:srgbClr val="00B050"/>
              </a:buClr>
            </a:pPr>
            <a:endParaRPr lang="da-DK" sz="700" i="1" dirty="0">
              <a:solidFill>
                <a:schemeClr val="tx1"/>
              </a:solidFill>
            </a:endParaRPr>
          </a:p>
          <a:p>
            <a:pPr algn="ctr" defTabSz="844083" fontAlgn="base">
              <a:spcBef>
                <a:spcPct val="30000"/>
              </a:spcBef>
              <a:spcAft>
                <a:spcPct val="0"/>
              </a:spcAft>
              <a:buClr>
                <a:srgbClr val="00B050"/>
              </a:buClr>
            </a:pPr>
            <a:endParaRPr lang="da-DK" sz="700" i="1" dirty="0">
              <a:solidFill>
                <a:schemeClr val="tx1"/>
              </a:solidFill>
            </a:endParaRPr>
          </a:p>
          <a:p>
            <a:pPr algn="ctr" defTabSz="844083" fontAlgn="base">
              <a:spcBef>
                <a:spcPct val="30000"/>
              </a:spcBef>
              <a:spcAft>
                <a:spcPct val="0"/>
              </a:spcAft>
              <a:buClr>
                <a:srgbClr val="00B050"/>
              </a:buClr>
            </a:pPr>
            <a:endParaRPr lang="da-DK" sz="700" i="1" dirty="0">
              <a:solidFill>
                <a:schemeClr val="tx1"/>
              </a:solidFill>
            </a:endParaRPr>
          </a:p>
          <a:p>
            <a:pPr algn="ctr" defTabSz="844083" fontAlgn="base">
              <a:spcBef>
                <a:spcPct val="30000"/>
              </a:spcBef>
              <a:spcAft>
                <a:spcPct val="0"/>
              </a:spcAft>
              <a:buClr>
                <a:srgbClr val="00B050"/>
              </a:buClr>
            </a:pPr>
            <a:endParaRPr lang="da-DK" sz="700" i="1" dirty="0">
              <a:solidFill>
                <a:schemeClr val="tx1"/>
              </a:solidFill>
            </a:endParaRPr>
          </a:p>
          <a:p>
            <a:pPr algn="ctr" defTabSz="844083" fontAlgn="base">
              <a:spcBef>
                <a:spcPct val="30000"/>
              </a:spcBef>
              <a:spcAft>
                <a:spcPct val="0"/>
              </a:spcAft>
              <a:buClr>
                <a:srgbClr val="00B050"/>
              </a:buClr>
            </a:pPr>
            <a:r>
              <a:rPr lang="da-DK" sz="700" i="1" dirty="0">
                <a:solidFill>
                  <a:schemeClr val="tx1"/>
                </a:solidFill>
              </a:rPr>
              <a:t>(Eksempler ikke udtømmende)</a:t>
            </a:r>
          </a:p>
          <a:p>
            <a:pPr algn="ctr" defTabSz="844083">
              <a:spcBef>
                <a:spcPct val="30000"/>
              </a:spcBef>
              <a:spcAft>
                <a:spcPct val="0"/>
              </a:spcAft>
              <a:buClr>
                <a:srgbClr val="00B050"/>
              </a:buClr>
            </a:pPr>
            <a:r>
              <a:rPr lang="da-DK" sz="700" b="1" i="1" dirty="0">
                <a:solidFill>
                  <a:schemeClr val="tx1"/>
                </a:solidFill>
              </a:rPr>
              <a:t>Varetages i Navision Stat </a:t>
            </a:r>
          </a:p>
          <a:p>
            <a:pPr algn="ctr" defTabSz="844083">
              <a:spcBef>
                <a:spcPct val="30000"/>
              </a:spcBef>
              <a:spcAft>
                <a:spcPct val="0"/>
              </a:spcAft>
              <a:buClr>
                <a:srgbClr val="00B050"/>
              </a:buClr>
            </a:pPr>
            <a:endParaRPr lang="da-DK" sz="700" b="1" dirty="0">
              <a:solidFill>
                <a:schemeClr val="tx1"/>
              </a:solidFill>
            </a:endParaRPr>
          </a:p>
          <a:p>
            <a:pPr defTabSz="844083" fontAlgn="base">
              <a:spcBef>
                <a:spcPct val="30000"/>
              </a:spcBef>
              <a:spcAft>
                <a:spcPct val="0"/>
              </a:spcAft>
              <a:buClr>
                <a:srgbClr val="00B050"/>
              </a:buClr>
            </a:pPr>
            <a:endParaRPr lang="da-DK" sz="700" dirty="0">
              <a:solidFill>
                <a:schemeClr val="tx1"/>
              </a:solidFill>
            </a:endParaRPr>
          </a:p>
        </p:txBody>
      </p:sp>
      <p:sp>
        <p:nvSpPr>
          <p:cNvPr id="29" name="Rektangel: afrundede hjørner 28">
            <a:extLst>
              <a:ext uri="{FF2B5EF4-FFF2-40B4-BE49-F238E27FC236}">
                <a16:creationId xmlns:a16="http://schemas.microsoft.com/office/drawing/2014/main" id="{865A8DA1-F7C9-4871-BB27-F03E1A58B6E5}"/>
              </a:ext>
            </a:extLst>
          </p:cNvPr>
          <p:cNvSpPr/>
          <p:nvPr/>
        </p:nvSpPr>
        <p:spPr>
          <a:xfrm>
            <a:off x="2410454" y="3934669"/>
            <a:ext cx="1993846" cy="2339446"/>
          </a:xfrm>
          <a:prstGeom prst="roundRect">
            <a:avLst>
              <a:gd name="adj" fmla="val 5481"/>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9692" tIns="99692" rIns="99692" bIns="99692" rtlCol="0" anchor="t" anchorCtr="0">
            <a:noAutofit/>
          </a:bodyPr>
          <a:lstStyle/>
          <a:p>
            <a:pPr marL="158265" indent="-158265" defTabSz="844083" fontAlgn="base">
              <a:spcBef>
                <a:spcPct val="30000"/>
              </a:spcBef>
              <a:spcAft>
                <a:spcPct val="0"/>
              </a:spcAft>
              <a:buClr>
                <a:srgbClr val="00B050"/>
              </a:buClr>
              <a:buFont typeface="Wingdings" panose="05000000000000000000" pitchFamily="2" charset="2"/>
              <a:buChar char="q"/>
            </a:pPr>
            <a:endParaRPr lang="da-DK" sz="700" dirty="0">
              <a:solidFill>
                <a:schemeClr val="tx1"/>
              </a:solidFill>
            </a:endParaRP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Brugeradministration</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Godkendelseshierarkier og prokura</a:t>
            </a:r>
            <a:endParaRPr lang="da-DK" sz="700" dirty="0">
              <a:solidFill>
                <a:schemeClr val="tx1"/>
              </a:solidFill>
              <a:cs typeface="Arial"/>
            </a:endParaRPr>
          </a:p>
          <a:p>
            <a:pPr marL="158265" indent="-158265" defTabSz="844083">
              <a:spcBef>
                <a:spcPct val="30000"/>
              </a:spcBef>
              <a:spcAft>
                <a:spcPct val="0"/>
              </a:spcAft>
              <a:buClr>
                <a:srgbClr val="00B050"/>
              </a:buClr>
              <a:buFont typeface="Wingdings" panose="05000000000000000000" pitchFamily="2" charset="2"/>
              <a:buChar char="q"/>
            </a:pPr>
            <a:r>
              <a:rPr lang="da-DK" sz="700" dirty="0">
                <a:solidFill>
                  <a:schemeClr val="tx1"/>
                </a:solidFill>
                <a:cs typeface="Arial"/>
              </a:rPr>
              <a:t>Transaktionslog</a:t>
            </a:r>
          </a:p>
          <a:p>
            <a:pPr marL="158265" indent="-158265" defTabSz="844083">
              <a:spcBef>
                <a:spcPct val="30000"/>
              </a:spcBef>
              <a:spcAft>
                <a:spcPct val="0"/>
              </a:spcAft>
              <a:buClr>
                <a:srgbClr val="00B050"/>
              </a:buClr>
              <a:buFont typeface="Wingdings" panose="05000000000000000000" pitchFamily="2" charset="2"/>
              <a:buChar char="q"/>
            </a:pPr>
            <a:r>
              <a:rPr lang="da-DK" sz="700" dirty="0">
                <a:solidFill>
                  <a:schemeClr val="tx1"/>
                </a:solidFill>
                <a:cs typeface="Arial"/>
              </a:rPr>
              <a:t>Håndtering af GDPR</a:t>
            </a:r>
            <a:endParaRPr lang="da-DK" sz="700" dirty="0">
              <a:solidFill>
                <a:schemeClr val="tx1"/>
              </a:solidFill>
            </a:endParaRP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Administration af organisationer</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E-learning</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SSO</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Funktionsadskillelse.</a:t>
            </a:r>
          </a:p>
          <a:p>
            <a:pPr marL="158265" indent="-158265" defTabSz="844083" fontAlgn="base">
              <a:spcBef>
                <a:spcPct val="30000"/>
              </a:spcBef>
              <a:spcAft>
                <a:spcPct val="0"/>
              </a:spcAft>
              <a:buClr>
                <a:srgbClr val="00B050"/>
              </a:buClr>
              <a:buFont typeface="Wingdings" panose="05000000000000000000" pitchFamily="2" charset="2"/>
              <a:buChar char="q"/>
            </a:pPr>
            <a:endParaRPr lang="da-DK" sz="700" dirty="0">
              <a:solidFill>
                <a:schemeClr val="tx1"/>
              </a:solidFill>
            </a:endParaRPr>
          </a:p>
        </p:txBody>
      </p:sp>
      <p:sp>
        <p:nvSpPr>
          <p:cNvPr id="30" name="Rektangel: afrundede hjørner 29">
            <a:extLst>
              <a:ext uri="{FF2B5EF4-FFF2-40B4-BE49-F238E27FC236}">
                <a16:creationId xmlns:a16="http://schemas.microsoft.com/office/drawing/2014/main" id="{F767B439-F7E3-465B-B0EA-D3D0412EA4C1}"/>
              </a:ext>
            </a:extLst>
          </p:cNvPr>
          <p:cNvSpPr/>
          <p:nvPr/>
        </p:nvSpPr>
        <p:spPr>
          <a:xfrm>
            <a:off x="247622" y="3934669"/>
            <a:ext cx="1993846" cy="2339446"/>
          </a:xfrm>
          <a:prstGeom prst="roundRect">
            <a:avLst>
              <a:gd name="adj" fmla="val 5481"/>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9692" tIns="99692" rIns="99692" bIns="99692" rtlCol="0" anchor="t" anchorCtr="0">
            <a:noAutofit/>
          </a:bodyPr>
          <a:lstStyle/>
          <a:p>
            <a:pPr marL="158265" indent="-158265" defTabSz="844083" fontAlgn="base">
              <a:spcBef>
                <a:spcPct val="30000"/>
              </a:spcBef>
              <a:spcAft>
                <a:spcPct val="0"/>
              </a:spcAft>
              <a:buClr>
                <a:srgbClr val="00B050"/>
              </a:buClr>
              <a:buFont typeface="Wingdings" panose="05000000000000000000" pitchFamily="2" charset="2"/>
              <a:buChar char="q"/>
            </a:pPr>
            <a:endParaRPr lang="da-DK" sz="700" dirty="0">
              <a:solidFill>
                <a:schemeClr val="tx1"/>
              </a:solidFill>
            </a:endParaRP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Daglig rapportering</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Ekstern rapportering </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Performance og KPI rapportering</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Leverandørevalueringer.</a:t>
            </a:r>
          </a:p>
          <a:p>
            <a:pPr defTabSz="844083" fontAlgn="base">
              <a:spcBef>
                <a:spcPct val="30000"/>
              </a:spcBef>
              <a:spcAft>
                <a:spcPct val="0"/>
              </a:spcAft>
              <a:buClr>
                <a:srgbClr val="00B050"/>
              </a:buClr>
            </a:pPr>
            <a:endParaRPr lang="da-DK" sz="700" dirty="0">
              <a:solidFill>
                <a:schemeClr val="tx1"/>
              </a:solidFill>
            </a:endParaRPr>
          </a:p>
          <a:p>
            <a:pPr marL="158265" indent="-158265" defTabSz="844083" fontAlgn="base">
              <a:spcBef>
                <a:spcPct val="30000"/>
              </a:spcBef>
              <a:spcAft>
                <a:spcPct val="0"/>
              </a:spcAft>
              <a:buClr>
                <a:srgbClr val="00B050"/>
              </a:buClr>
              <a:buFont typeface="Wingdings" panose="05000000000000000000" pitchFamily="2" charset="2"/>
              <a:buChar char="q"/>
            </a:pPr>
            <a:endParaRPr lang="da-DK" sz="700" dirty="0">
              <a:solidFill>
                <a:schemeClr val="tx1"/>
              </a:solidFill>
            </a:endParaRPr>
          </a:p>
        </p:txBody>
      </p:sp>
      <p:sp>
        <p:nvSpPr>
          <p:cNvPr id="33" name="Rektangel: afrundede hjørner 32">
            <a:extLst>
              <a:ext uri="{FF2B5EF4-FFF2-40B4-BE49-F238E27FC236}">
                <a16:creationId xmlns:a16="http://schemas.microsoft.com/office/drawing/2014/main" id="{E6A34BE1-7272-4FE0-BB9E-25A6C49A7B9C}"/>
              </a:ext>
            </a:extLst>
          </p:cNvPr>
          <p:cNvSpPr/>
          <p:nvPr/>
        </p:nvSpPr>
        <p:spPr>
          <a:xfrm>
            <a:off x="7346711" y="3872575"/>
            <a:ext cx="785093" cy="137598"/>
          </a:xfrm>
          <a:prstGeom prst="roundRect">
            <a:avLst/>
          </a:prstGeom>
          <a:solidFill>
            <a:srgbClr val="8AA299"/>
          </a:solidFill>
          <a:ln w="9525" cap="flat" cmpd="sng" algn="ctr">
            <a:solidFill>
              <a:srgbClr val="95999B"/>
            </a:solidFill>
            <a:prstDash val="solid"/>
            <a:miter lim="800000"/>
          </a:ln>
          <a:effectLst/>
        </p:spPr>
        <p:txBody>
          <a:bodyPr lIns="99692" tIns="99692" rIns="99692" bIns="99692" rtlCol="0" anchor="ctr" anchorCtr="0">
            <a:noAutofit/>
          </a:bodyPr>
          <a:lstStyle/>
          <a:p>
            <a:pPr algn="ctr"/>
            <a:r>
              <a:rPr lang="da-DK" sz="831" b="1" kern="0" dirty="0">
                <a:latin typeface="Arial"/>
                <a:ea typeface="ＭＳ Ｐゴシック" charset="0"/>
              </a:rPr>
              <a:t>8. Finans</a:t>
            </a:r>
          </a:p>
        </p:txBody>
      </p:sp>
      <p:sp>
        <p:nvSpPr>
          <p:cNvPr id="34" name="Rektangel: afrundede hjørner 33">
            <a:extLst>
              <a:ext uri="{FF2B5EF4-FFF2-40B4-BE49-F238E27FC236}">
                <a16:creationId xmlns:a16="http://schemas.microsoft.com/office/drawing/2014/main" id="{E5065226-0C79-4EE2-9C71-DA6908CBF76F}"/>
              </a:ext>
            </a:extLst>
          </p:cNvPr>
          <p:cNvSpPr/>
          <p:nvPr/>
        </p:nvSpPr>
        <p:spPr>
          <a:xfrm>
            <a:off x="2756036" y="3872576"/>
            <a:ext cx="1231261" cy="137598"/>
          </a:xfrm>
          <a:prstGeom prst="roundRect">
            <a:avLst/>
          </a:prstGeom>
          <a:solidFill>
            <a:srgbClr val="8AA299"/>
          </a:solidFill>
          <a:ln w="9525" cap="flat" cmpd="sng" algn="ctr">
            <a:solidFill>
              <a:srgbClr val="95999B"/>
            </a:solidFill>
            <a:prstDash val="solid"/>
            <a:miter lim="800000"/>
          </a:ln>
          <a:effectLst/>
        </p:spPr>
        <p:txBody>
          <a:bodyPr lIns="99692" tIns="99692" rIns="99692" bIns="99692" rtlCol="0" anchor="ctr" anchorCtr="0">
            <a:noAutofit/>
          </a:bodyPr>
          <a:lstStyle/>
          <a:p>
            <a:pPr algn="ctr"/>
            <a:r>
              <a:rPr lang="da-DK" sz="831" b="1" kern="0" dirty="0">
                <a:latin typeface="Arial"/>
                <a:ea typeface="ＭＳ Ｐゴシック" charset="0"/>
              </a:rPr>
              <a:t>6. Administration</a:t>
            </a:r>
          </a:p>
        </p:txBody>
      </p:sp>
      <p:sp>
        <p:nvSpPr>
          <p:cNvPr id="35" name="Rektangel: afrundede hjørner 34">
            <a:extLst>
              <a:ext uri="{FF2B5EF4-FFF2-40B4-BE49-F238E27FC236}">
                <a16:creationId xmlns:a16="http://schemas.microsoft.com/office/drawing/2014/main" id="{7663B1C3-BCDF-409E-A888-746638FF6AB8}"/>
              </a:ext>
            </a:extLst>
          </p:cNvPr>
          <p:cNvSpPr/>
          <p:nvPr/>
        </p:nvSpPr>
        <p:spPr>
          <a:xfrm>
            <a:off x="760111" y="3872575"/>
            <a:ext cx="1027234" cy="137598"/>
          </a:xfrm>
          <a:prstGeom prst="roundRect">
            <a:avLst/>
          </a:prstGeom>
          <a:solidFill>
            <a:srgbClr val="8AA299"/>
          </a:solidFill>
          <a:ln w="9525" cap="flat" cmpd="sng" algn="ctr">
            <a:solidFill>
              <a:srgbClr val="95999B"/>
            </a:solidFill>
            <a:prstDash val="solid"/>
            <a:miter lim="800000"/>
          </a:ln>
          <a:effectLst/>
        </p:spPr>
        <p:txBody>
          <a:bodyPr lIns="99692" tIns="99692" rIns="99692" bIns="99692" rtlCol="0" anchor="ctr" anchorCtr="0">
            <a:noAutofit/>
          </a:bodyPr>
          <a:lstStyle/>
          <a:p>
            <a:pPr algn="ctr"/>
            <a:r>
              <a:rPr lang="da-DK" sz="831" b="1" kern="0" dirty="0">
                <a:latin typeface="Arial"/>
                <a:ea typeface="ＭＳ Ｐゴシック" charset="0"/>
              </a:rPr>
              <a:t>5. Rapportering</a:t>
            </a:r>
          </a:p>
        </p:txBody>
      </p:sp>
      <p:sp>
        <p:nvSpPr>
          <p:cNvPr id="36" name="Rektangel: afrundede hjørner 35">
            <a:extLst>
              <a:ext uri="{FF2B5EF4-FFF2-40B4-BE49-F238E27FC236}">
                <a16:creationId xmlns:a16="http://schemas.microsoft.com/office/drawing/2014/main" id="{7BF9AA17-7D2C-4F43-A715-440CC552B118}"/>
              </a:ext>
            </a:extLst>
          </p:cNvPr>
          <p:cNvSpPr/>
          <p:nvPr/>
        </p:nvSpPr>
        <p:spPr>
          <a:xfrm>
            <a:off x="4556708" y="3941374"/>
            <a:ext cx="1993846" cy="2330921"/>
          </a:xfrm>
          <a:prstGeom prst="roundRect">
            <a:avLst>
              <a:gd name="adj" fmla="val 5481"/>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9692" tIns="99692" rIns="99692" bIns="99692" rtlCol="0" anchor="t" anchorCtr="0">
            <a:noAutofit/>
          </a:bodyPr>
          <a:lstStyle/>
          <a:p>
            <a:pPr marL="158265" indent="-158265" defTabSz="844083" fontAlgn="base">
              <a:spcBef>
                <a:spcPct val="30000"/>
              </a:spcBef>
              <a:spcAft>
                <a:spcPct val="0"/>
              </a:spcAft>
              <a:buClr>
                <a:srgbClr val="00B050"/>
              </a:buClr>
              <a:buFont typeface="Wingdings" panose="05000000000000000000" pitchFamily="2" charset="2"/>
              <a:buChar char="q"/>
            </a:pPr>
            <a:endParaRPr lang="da-DK" sz="700" dirty="0">
              <a:solidFill>
                <a:schemeClr val="tx1"/>
              </a:solidFill>
            </a:endParaRP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Ordreoprettelse</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Ordrebekræftelse</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Ordreannullering</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Ordreændring</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Faktura</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Kreditnota</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Rykker</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Kontoudtog</a:t>
            </a:r>
          </a:p>
          <a:p>
            <a:pPr marL="158265" indent="-158265" defTabSz="844083" fontAlgn="base">
              <a:spcBef>
                <a:spcPct val="30000"/>
              </a:spcBef>
              <a:spcAft>
                <a:spcPct val="0"/>
              </a:spcAft>
              <a:buClr>
                <a:srgbClr val="00B050"/>
              </a:buClr>
              <a:buFont typeface="Wingdings" panose="05000000000000000000" pitchFamily="2" charset="2"/>
              <a:buChar char="q"/>
            </a:pPr>
            <a:r>
              <a:rPr lang="da-DK" sz="700" dirty="0">
                <a:solidFill>
                  <a:schemeClr val="tx1"/>
                </a:solidFill>
              </a:rPr>
              <a:t>UTS håndtering.</a:t>
            </a:r>
          </a:p>
          <a:p>
            <a:pPr marL="158265" indent="-158265" defTabSz="844083" fontAlgn="base">
              <a:spcBef>
                <a:spcPct val="30000"/>
              </a:spcBef>
              <a:spcAft>
                <a:spcPct val="0"/>
              </a:spcAft>
              <a:buClr>
                <a:srgbClr val="00B050"/>
              </a:buClr>
              <a:buFont typeface="Wingdings" panose="05000000000000000000" pitchFamily="2" charset="2"/>
              <a:buChar char="q"/>
            </a:pPr>
            <a:endParaRPr lang="da-DK" sz="700" dirty="0">
              <a:solidFill>
                <a:schemeClr val="tx1"/>
              </a:solidFill>
            </a:endParaRPr>
          </a:p>
          <a:p>
            <a:pPr marL="158265" indent="-158265" defTabSz="844083" fontAlgn="base">
              <a:spcBef>
                <a:spcPct val="30000"/>
              </a:spcBef>
              <a:spcAft>
                <a:spcPct val="0"/>
              </a:spcAft>
              <a:buClr>
                <a:srgbClr val="00B050"/>
              </a:buClr>
              <a:buFont typeface="Wingdings" panose="05000000000000000000" pitchFamily="2" charset="2"/>
              <a:buChar char="q"/>
            </a:pPr>
            <a:endParaRPr lang="da-DK" sz="700" dirty="0">
              <a:solidFill>
                <a:schemeClr val="tx1"/>
              </a:solidFill>
            </a:endParaRPr>
          </a:p>
          <a:p>
            <a:pPr marL="158265" indent="-158265" defTabSz="844083" fontAlgn="base">
              <a:spcBef>
                <a:spcPct val="30000"/>
              </a:spcBef>
              <a:spcAft>
                <a:spcPct val="0"/>
              </a:spcAft>
              <a:buClr>
                <a:srgbClr val="00B050"/>
              </a:buClr>
              <a:buFont typeface="Wingdings" panose="05000000000000000000" pitchFamily="2" charset="2"/>
              <a:buChar char="q"/>
            </a:pPr>
            <a:endParaRPr lang="da-DK" sz="700" dirty="0">
              <a:solidFill>
                <a:schemeClr val="tx1"/>
              </a:solidFill>
            </a:endParaRPr>
          </a:p>
          <a:p>
            <a:pPr marL="158265" indent="-158265" defTabSz="844083" fontAlgn="base">
              <a:spcBef>
                <a:spcPct val="30000"/>
              </a:spcBef>
              <a:spcAft>
                <a:spcPct val="0"/>
              </a:spcAft>
              <a:buClr>
                <a:srgbClr val="00B050"/>
              </a:buClr>
              <a:buFont typeface="Wingdings" panose="05000000000000000000" pitchFamily="2" charset="2"/>
              <a:buChar char="q"/>
            </a:pPr>
            <a:endParaRPr lang="da-DK" sz="700" dirty="0">
              <a:solidFill>
                <a:schemeClr val="tx1"/>
              </a:solidFill>
            </a:endParaRPr>
          </a:p>
        </p:txBody>
      </p:sp>
      <p:sp>
        <p:nvSpPr>
          <p:cNvPr id="37" name="Rektangel: afrundede hjørner 36">
            <a:extLst>
              <a:ext uri="{FF2B5EF4-FFF2-40B4-BE49-F238E27FC236}">
                <a16:creationId xmlns:a16="http://schemas.microsoft.com/office/drawing/2014/main" id="{C9367622-73ED-4CB5-9F69-7FDB9E3102AF}"/>
              </a:ext>
            </a:extLst>
          </p:cNvPr>
          <p:cNvSpPr/>
          <p:nvPr/>
        </p:nvSpPr>
        <p:spPr>
          <a:xfrm>
            <a:off x="4855633" y="3869361"/>
            <a:ext cx="1432577" cy="137598"/>
          </a:xfrm>
          <a:prstGeom prst="roundRect">
            <a:avLst/>
          </a:prstGeom>
          <a:solidFill>
            <a:srgbClr val="8AA299"/>
          </a:solidFill>
          <a:ln w="9525" cap="flat" cmpd="sng" algn="ctr">
            <a:solidFill>
              <a:srgbClr val="95999B"/>
            </a:solidFill>
            <a:prstDash val="solid"/>
            <a:miter lim="800000"/>
          </a:ln>
          <a:effectLst/>
        </p:spPr>
        <p:txBody>
          <a:bodyPr lIns="99692" tIns="99692" rIns="99692" bIns="99692" rtlCol="0" anchor="ctr" anchorCtr="0">
            <a:noAutofit/>
          </a:bodyPr>
          <a:lstStyle/>
          <a:p>
            <a:pPr algn="ctr"/>
            <a:r>
              <a:rPr lang="da-DK" sz="831" b="1" kern="0" dirty="0">
                <a:latin typeface="Arial"/>
                <a:ea typeface="ＭＳ Ｐゴシック"/>
              </a:rPr>
              <a:t>7. Nemhandel / Peppol</a:t>
            </a:r>
            <a:endParaRPr lang="da-DK" sz="831" b="1" kern="0" dirty="0">
              <a:latin typeface="Arial"/>
              <a:ea typeface="ＭＳ Ｐゴシック" charset="0"/>
            </a:endParaRPr>
          </a:p>
        </p:txBody>
      </p:sp>
      <p:grpSp>
        <p:nvGrpSpPr>
          <p:cNvPr id="40" name="Group 309">
            <a:extLst>
              <a:ext uri="{FF2B5EF4-FFF2-40B4-BE49-F238E27FC236}">
                <a16:creationId xmlns:a16="http://schemas.microsoft.com/office/drawing/2014/main" id="{DE566E30-1DF2-4673-8A09-BB6C571372B1}"/>
              </a:ext>
            </a:extLst>
          </p:cNvPr>
          <p:cNvGrpSpPr/>
          <p:nvPr/>
        </p:nvGrpSpPr>
        <p:grpSpPr>
          <a:xfrm>
            <a:off x="1081059" y="5471574"/>
            <a:ext cx="374329" cy="337997"/>
            <a:chOff x="5431278" y="1766888"/>
            <a:chExt cx="539751" cy="487363"/>
          </a:xfrm>
        </p:grpSpPr>
        <p:sp>
          <p:nvSpPr>
            <p:cNvPr id="41" name="Freeform 17">
              <a:extLst>
                <a:ext uri="{FF2B5EF4-FFF2-40B4-BE49-F238E27FC236}">
                  <a16:creationId xmlns:a16="http://schemas.microsoft.com/office/drawing/2014/main" id="{DDF8A4ED-1EB0-42E6-B796-BCE17E7051EE}"/>
                </a:ext>
              </a:extLst>
            </p:cNvPr>
            <p:cNvSpPr>
              <a:spLocks/>
            </p:cNvSpPr>
            <p:nvPr/>
          </p:nvSpPr>
          <p:spPr bwMode="auto">
            <a:xfrm>
              <a:off x="5794816" y="1817688"/>
              <a:ext cx="176213" cy="436563"/>
            </a:xfrm>
            <a:custGeom>
              <a:avLst/>
              <a:gdLst>
                <a:gd name="T0" fmla="*/ 33 w 39"/>
                <a:gd name="T1" fmla="*/ 97 h 97"/>
                <a:gd name="T2" fmla="*/ 7 w 39"/>
                <a:gd name="T3" fmla="*/ 97 h 97"/>
                <a:gd name="T4" fmla="*/ 0 w 39"/>
                <a:gd name="T5" fmla="*/ 50 h 97"/>
                <a:gd name="T6" fmla="*/ 0 w 39"/>
                <a:gd name="T7" fmla="*/ 20 h 97"/>
                <a:gd name="T8" fmla="*/ 20 w 39"/>
                <a:gd name="T9" fmla="*/ 0 h 97"/>
                <a:gd name="T10" fmla="*/ 20 w 39"/>
                <a:gd name="T11" fmla="*/ 0 h 97"/>
                <a:gd name="T12" fmla="*/ 39 w 39"/>
                <a:gd name="T13" fmla="*/ 20 h 97"/>
                <a:gd name="T14" fmla="*/ 39 w 39"/>
                <a:gd name="T15" fmla="*/ 49 h 97"/>
                <a:gd name="T16" fmla="*/ 33 w 39"/>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97">
                  <a:moveTo>
                    <a:pt x="33" y="97"/>
                  </a:moveTo>
                  <a:cubicBezTo>
                    <a:pt x="7" y="97"/>
                    <a:pt x="7" y="97"/>
                    <a:pt x="7" y="97"/>
                  </a:cubicBezTo>
                  <a:cubicBezTo>
                    <a:pt x="0" y="50"/>
                    <a:pt x="0" y="50"/>
                    <a:pt x="0" y="50"/>
                  </a:cubicBezTo>
                  <a:cubicBezTo>
                    <a:pt x="0" y="20"/>
                    <a:pt x="0" y="20"/>
                    <a:pt x="0" y="20"/>
                  </a:cubicBezTo>
                  <a:cubicBezTo>
                    <a:pt x="0" y="9"/>
                    <a:pt x="9" y="0"/>
                    <a:pt x="20" y="0"/>
                  </a:cubicBezTo>
                  <a:cubicBezTo>
                    <a:pt x="20" y="0"/>
                    <a:pt x="20" y="0"/>
                    <a:pt x="20" y="0"/>
                  </a:cubicBezTo>
                  <a:cubicBezTo>
                    <a:pt x="31" y="0"/>
                    <a:pt x="39" y="9"/>
                    <a:pt x="39" y="20"/>
                  </a:cubicBezTo>
                  <a:cubicBezTo>
                    <a:pt x="39" y="49"/>
                    <a:pt x="39" y="49"/>
                    <a:pt x="39" y="49"/>
                  </a:cubicBezTo>
                  <a:lnTo>
                    <a:pt x="33" y="97"/>
                  </a:lnTo>
                  <a:close/>
                </a:path>
              </a:pathLst>
            </a:custGeom>
            <a:solidFill>
              <a:srgbClr val="8AA299"/>
            </a:solidFill>
            <a:ln>
              <a:noFill/>
            </a:ln>
          </p:spPr>
          <p:txBody>
            <a:bodyPr vert="horz" wrap="square" lIns="84406" tIns="42203" rIns="84406" bIns="42203" numCol="1" anchor="t" anchorCtr="0" compatLnSpc="1">
              <a:prstTxWarp prst="textNoShape">
                <a:avLst/>
              </a:prstTxWarp>
            </a:bodyPr>
            <a:lstStyle/>
            <a:p>
              <a:endParaRPr lang="en-GB" sz="1662"/>
            </a:p>
          </p:txBody>
        </p:sp>
        <p:grpSp>
          <p:nvGrpSpPr>
            <p:cNvPr id="42" name="Group 286">
              <a:extLst>
                <a:ext uri="{FF2B5EF4-FFF2-40B4-BE49-F238E27FC236}">
                  <a16:creationId xmlns:a16="http://schemas.microsoft.com/office/drawing/2014/main" id="{D07367C4-63C1-41CF-ADDD-94887FFB5408}"/>
                </a:ext>
              </a:extLst>
            </p:cNvPr>
            <p:cNvGrpSpPr/>
            <p:nvPr/>
          </p:nvGrpSpPr>
          <p:grpSpPr>
            <a:xfrm>
              <a:off x="5431278" y="1766888"/>
              <a:ext cx="508001" cy="465138"/>
              <a:chOff x="5431278" y="1766888"/>
              <a:chExt cx="508001" cy="465138"/>
            </a:xfrm>
          </p:grpSpPr>
          <p:sp>
            <p:nvSpPr>
              <p:cNvPr id="43" name="Freeform 18">
                <a:extLst>
                  <a:ext uri="{FF2B5EF4-FFF2-40B4-BE49-F238E27FC236}">
                    <a16:creationId xmlns:a16="http://schemas.microsoft.com/office/drawing/2014/main" id="{92DA31D9-B2F6-42FB-9A7F-C997C07FC246}"/>
                  </a:ext>
                </a:extLst>
              </p:cNvPr>
              <p:cNvSpPr>
                <a:spLocks/>
              </p:cNvSpPr>
              <p:nvPr/>
            </p:nvSpPr>
            <p:spPr bwMode="auto">
              <a:xfrm>
                <a:off x="5826566" y="1970088"/>
                <a:ext cx="17463" cy="261938"/>
              </a:xfrm>
              <a:custGeom>
                <a:avLst/>
                <a:gdLst>
                  <a:gd name="T0" fmla="*/ 11 w 11"/>
                  <a:gd name="T1" fmla="*/ 165 h 165"/>
                  <a:gd name="T2" fmla="*/ 0 w 11"/>
                  <a:gd name="T3" fmla="*/ 34 h 165"/>
                  <a:gd name="T4" fmla="*/ 3 w 11"/>
                  <a:gd name="T5" fmla="*/ 0 h 165"/>
                </a:gdLst>
                <a:ahLst/>
                <a:cxnLst>
                  <a:cxn ang="0">
                    <a:pos x="T0" y="T1"/>
                  </a:cxn>
                  <a:cxn ang="0">
                    <a:pos x="T2" y="T3"/>
                  </a:cxn>
                  <a:cxn ang="0">
                    <a:pos x="T4" y="T5"/>
                  </a:cxn>
                </a:cxnLst>
                <a:rect l="0" t="0" r="r" b="b"/>
                <a:pathLst>
                  <a:path w="11" h="165">
                    <a:moveTo>
                      <a:pt x="11" y="165"/>
                    </a:moveTo>
                    <a:lnTo>
                      <a:pt x="0" y="34"/>
                    </a:lnTo>
                    <a:lnTo>
                      <a:pt x="3"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en-GB" sz="1662"/>
              </a:p>
            </p:txBody>
          </p:sp>
          <p:sp>
            <p:nvSpPr>
              <p:cNvPr id="44" name="Line 19">
                <a:extLst>
                  <a:ext uri="{FF2B5EF4-FFF2-40B4-BE49-F238E27FC236}">
                    <a16:creationId xmlns:a16="http://schemas.microsoft.com/office/drawing/2014/main" id="{F02185B6-B294-42A2-AB02-E853BEC31B3F}"/>
                  </a:ext>
                </a:extLst>
              </p:cNvPr>
              <p:cNvSpPr>
                <a:spLocks noChangeShapeType="1"/>
              </p:cNvSpPr>
              <p:nvPr/>
            </p:nvSpPr>
            <p:spPr bwMode="auto">
              <a:xfrm flipH="1">
                <a:off x="5898003" y="2046288"/>
                <a:ext cx="14288" cy="18573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en-GB" sz="1662"/>
              </a:p>
            </p:txBody>
          </p:sp>
          <p:sp>
            <p:nvSpPr>
              <p:cNvPr id="45" name="Line 20">
                <a:extLst>
                  <a:ext uri="{FF2B5EF4-FFF2-40B4-BE49-F238E27FC236}">
                    <a16:creationId xmlns:a16="http://schemas.microsoft.com/office/drawing/2014/main" id="{8E10B175-EAD6-4E87-A356-AB05EDC5EBFD}"/>
                  </a:ext>
                </a:extLst>
              </p:cNvPr>
              <p:cNvSpPr>
                <a:spLocks noChangeShapeType="1"/>
              </p:cNvSpPr>
              <p:nvPr/>
            </p:nvSpPr>
            <p:spPr bwMode="auto">
              <a:xfrm>
                <a:off x="5871016" y="2065338"/>
                <a:ext cx="0" cy="16668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en-GB" sz="1662"/>
              </a:p>
            </p:txBody>
          </p:sp>
          <p:sp>
            <p:nvSpPr>
              <p:cNvPr id="46" name="Line 21">
                <a:extLst>
                  <a:ext uri="{FF2B5EF4-FFF2-40B4-BE49-F238E27FC236}">
                    <a16:creationId xmlns:a16="http://schemas.microsoft.com/office/drawing/2014/main" id="{ABACBB89-DE39-43C6-A446-4F1E3E82BAB8}"/>
                  </a:ext>
                </a:extLst>
              </p:cNvPr>
              <p:cNvSpPr>
                <a:spLocks noChangeShapeType="1"/>
              </p:cNvSpPr>
              <p:nvPr/>
            </p:nvSpPr>
            <p:spPr bwMode="auto">
              <a:xfrm>
                <a:off x="5894828" y="1893888"/>
                <a:ext cx="0"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en-GB" sz="1662"/>
              </a:p>
            </p:txBody>
          </p:sp>
          <p:sp>
            <p:nvSpPr>
              <p:cNvPr id="47" name="Freeform 22">
                <a:extLst>
                  <a:ext uri="{FF2B5EF4-FFF2-40B4-BE49-F238E27FC236}">
                    <a16:creationId xmlns:a16="http://schemas.microsoft.com/office/drawing/2014/main" id="{5F24AE8B-7338-49D5-85EB-F840F2300AA7}"/>
                  </a:ext>
                </a:extLst>
              </p:cNvPr>
              <p:cNvSpPr>
                <a:spLocks/>
              </p:cNvSpPr>
              <p:nvPr/>
            </p:nvSpPr>
            <p:spPr bwMode="auto">
              <a:xfrm>
                <a:off x="5840853" y="1830388"/>
                <a:ext cx="61913" cy="80963"/>
              </a:xfrm>
              <a:custGeom>
                <a:avLst/>
                <a:gdLst>
                  <a:gd name="T0" fmla="*/ 7 w 14"/>
                  <a:gd name="T1" fmla="*/ 18 h 18"/>
                  <a:gd name="T2" fmla="*/ 0 w 14"/>
                  <a:gd name="T3" fmla="*/ 9 h 18"/>
                  <a:gd name="T4" fmla="*/ 7 w 14"/>
                  <a:gd name="T5" fmla="*/ 0 h 18"/>
                  <a:gd name="T6" fmla="*/ 13 w 14"/>
                  <a:gd name="T7" fmla="*/ 9 h 18"/>
                  <a:gd name="T8" fmla="*/ 12 w 14"/>
                  <a:gd name="T9" fmla="*/ 13 h 18"/>
                </a:gdLst>
                <a:ahLst/>
                <a:cxnLst>
                  <a:cxn ang="0">
                    <a:pos x="T0" y="T1"/>
                  </a:cxn>
                  <a:cxn ang="0">
                    <a:pos x="T2" y="T3"/>
                  </a:cxn>
                  <a:cxn ang="0">
                    <a:pos x="T4" y="T5"/>
                  </a:cxn>
                  <a:cxn ang="0">
                    <a:pos x="T6" y="T7"/>
                  </a:cxn>
                  <a:cxn ang="0">
                    <a:pos x="T8" y="T9"/>
                  </a:cxn>
                </a:cxnLst>
                <a:rect l="0" t="0" r="r" b="b"/>
                <a:pathLst>
                  <a:path w="14" h="18">
                    <a:moveTo>
                      <a:pt x="7" y="18"/>
                    </a:moveTo>
                    <a:cubicBezTo>
                      <a:pt x="4" y="18"/>
                      <a:pt x="1" y="14"/>
                      <a:pt x="0" y="9"/>
                    </a:cubicBezTo>
                    <a:cubicBezTo>
                      <a:pt x="0" y="4"/>
                      <a:pt x="2" y="0"/>
                      <a:pt x="7" y="0"/>
                    </a:cubicBezTo>
                    <a:cubicBezTo>
                      <a:pt x="12" y="0"/>
                      <a:pt x="14" y="4"/>
                      <a:pt x="13" y="9"/>
                    </a:cubicBezTo>
                    <a:cubicBezTo>
                      <a:pt x="13" y="10"/>
                      <a:pt x="13" y="12"/>
                      <a:pt x="12" y="13"/>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en-GB" sz="1662"/>
              </a:p>
            </p:txBody>
          </p:sp>
          <p:sp>
            <p:nvSpPr>
              <p:cNvPr id="48" name="Freeform 23">
                <a:extLst>
                  <a:ext uri="{FF2B5EF4-FFF2-40B4-BE49-F238E27FC236}">
                    <a16:creationId xmlns:a16="http://schemas.microsoft.com/office/drawing/2014/main" id="{490E63B1-1D97-42ED-9BE7-FB98452B2DE3}"/>
                  </a:ext>
                </a:extLst>
              </p:cNvPr>
              <p:cNvSpPr>
                <a:spLocks/>
              </p:cNvSpPr>
              <p:nvPr/>
            </p:nvSpPr>
            <p:spPr bwMode="auto">
              <a:xfrm>
                <a:off x="5453503" y="1817688"/>
                <a:ext cx="292100" cy="238125"/>
              </a:xfrm>
              <a:custGeom>
                <a:avLst/>
                <a:gdLst>
                  <a:gd name="T0" fmla="*/ 184 w 184"/>
                  <a:gd name="T1" fmla="*/ 150 h 150"/>
                  <a:gd name="T2" fmla="*/ 0 w 184"/>
                  <a:gd name="T3" fmla="*/ 150 h 150"/>
                  <a:gd name="T4" fmla="*/ 0 w 184"/>
                  <a:gd name="T5" fmla="*/ 0 h 150"/>
                </a:gdLst>
                <a:ahLst/>
                <a:cxnLst>
                  <a:cxn ang="0">
                    <a:pos x="T0" y="T1"/>
                  </a:cxn>
                  <a:cxn ang="0">
                    <a:pos x="T2" y="T3"/>
                  </a:cxn>
                  <a:cxn ang="0">
                    <a:pos x="T4" y="T5"/>
                  </a:cxn>
                </a:cxnLst>
                <a:rect l="0" t="0" r="r" b="b"/>
                <a:pathLst>
                  <a:path w="184" h="150">
                    <a:moveTo>
                      <a:pt x="184" y="150"/>
                    </a:moveTo>
                    <a:lnTo>
                      <a:pt x="0" y="150"/>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en-GB" sz="1662"/>
              </a:p>
            </p:txBody>
          </p:sp>
          <p:sp>
            <p:nvSpPr>
              <p:cNvPr id="49" name="Line 24">
                <a:extLst>
                  <a:ext uri="{FF2B5EF4-FFF2-40B4-BE49-F238E27FC236}">
                    <a16:creationId xmlns:a16="http://schemas.microsoft.com/office/drawing/2014/main" id="{148C1CE9-83EB-4EFB-9D89-487B9CCCB94F}"/>
                  </a:ext>
                </a:extLst>
              </p:cNvPr>
              <p:cNvSpPr>
                <a:spLocks noChangeShapeType="1"/>
              </p:cNvSpPr>
              <p:nvPr/>
            </p:nvSpPr>
            <p:spPr bwMode="auto">
              <a:xfrm>
                <a:off x="5431278" y="1766888"/>
                <a:ext cx="412750"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en-GB" sz="1662"/>
              </a:p>
            </p:txBody>
          </p:sp>
          <p:sp>
            <p:nvSpPr>
              <p:cNvPr id="50" name="Line 25">
                <a:extLst>
                  <a:ext uri="{FF2B5EF4-FFF2-40B4-BE49-F238E27FC236}">
                    <a16:creationId xmlns:a16="http://schemas.microsoft.com/office/drawing/2014/main" id="{542303D0-49B9-43F1-A6AE-1DFB9FB4932E}"/>
                  </a:ext>
                </a:extLst>
              </p:cNvPr>
              <p:cNvSpPr>
                <a:spLocks noChangeShapeType="1"/>
              </p:cNvSpPr>
              <p:nvPr/>
            </p:nvSpPr>
            <p:spPr bwMode="auto">
              <a:xfrm flipH="1">
                <a:off x="5520178" y="2095500"/>
                <a:ext cx="49213" cy="11747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en-GB" sz="1662"/>
              </a:p>
            </p:txBody>
          </p:sp>
          <p:sp>
            <p:nvSpPr>
              <p:cNvPr id="51" name="Line 26">
                <a:extLst>
                  <a:ext uri="{FF2B5EF4-FFF2-40B4-BE49-F238E27FC236}">
                    <a16:creationId xmlns:a16="http://schemas.microsoft.com/office/drawing/2014/main" id="{79E8C050-3529-4E74-8C9A-E251CE85D857}"/>
                  </a:ext>
                </a:extLst>
              </p:cNvPr>
              <p:cNvSpPr>
                <a:spLocks noChangeShapeType="1"/>
              </p:cNvSpPr>
              <p:nvPr/>
            </p:nvSpPr>
            <p:spPr bwMode="auto">
              <a:xfrm flipH="1" flipV="1">
                <a:off x="5709091" y="2095500"/>
                <a:ext cx="49213" cy="11747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en-GB" sz="1662"/>
              </a:p>
            </p:txBody>
          </p:sp>
          <p:sp>
            <p:nvSpPr>
              <p:cNvPr id="53" name="Freeform 27">
                <a:extLst>
                  <a:ext uri="{FF2B5EF4-FFF2-40B4-BE49-F238E27FC236}">
                    <a16:creationId xmlns:a16="http://schemas.microsoft.com/office/drawing/2014/main" id="{C5B8DE4F-C0E6-427D-8129-0370381999B3}"/>
                  </a:ext>
                </a:extLst>
              </p:cNvPr>
              <p:cNvSpPr>
                <a:spLocks/>
              </p:cNvSpPr>
              <p:nvPr/>
            </p:nvSpPr>
            <p:spPr bwMode="auto">
              <a:xfrm>
                <a:off x="5547166" y="1874838"/>
                <a:ext cx="184150" cy="85725"/>
              </a:xfrm>
              <a:custGeom>
                <a:avLst/>
                <a:gdLst>
                  <a:gd name="T0" fmla="*/ 0 w 116"/>
                  <a:gd name="T1" fmla="*/ 54 h 54"/>
                  <a:gd name="T2" fmla="*/ 26 w 116"/>
                  <a:gd name="T3" fmla="*/ 32 h 54"/>
                  <a:gd name="T4" fmla="*/ 51 w 116"/>
                  <a:gd name="T5" fmla="*/ 43 h 54"/>
                  <a:gd name="T6" fmla="*/ 77 w 116"/>
                  <a:gd name="T7" fmla="*/ 26 h 54"/>
                  <a:gd name="T8" fmla="*/ 91 w 116"/>
                  <a:gd name="T9" fmla="*/ 49 h 54"/>
                  <a:gd name="T10" fmla="*/ 116 w 116"/>
                  <a:gd name="T11" fmla="*/ 0 h 54"/>
                </a:gdLst>
                <a:ahLst/>
                <a:cxnLst>
                  <a:cxn ang="0">
                    <a:pos x="T0" y="T1"/>
                  </a:cxn>
                  <a:cxn ang="0">
                    <a:pos x="T2" y="T3"/>
                  </a:cxn>
                  <a:cxn ang="0">
                    <a:pos x="T4" y="T5"/>
                  </a:cxn>
                  <a:cxn ang="0">
                    <a:pos x="T6" y="T7"/>
                  </a:cxn>
                  <a:cxn ang="0">
                    <a:pos x="T8" y="T9"/>
                  </a:cxn>
                  <a:cxn ang="0">
                    <a:pos x="T10" y="T11"/>
                  </a:cxn>
                </a:cxnLst>
                <a:rect l="0" t="0" r="r" b="b"/>
                <a:pathLst>
                  <a:path w="116" h="54">
                    <a:moveTo>
                      <a:pt x="0" y="54"/>
                    </a:moveTo>
                    <a:lnTo>
                      <a:pt x="26" y="32"/>
                    </a:lnTo>
                    <a:lnTo>
                      <a:pt x="51" y="43"/>
                    </a:lnTo>
                    <a:lnTo>
                      <a:pt x="77" y="26"/>
                    </a:lnTo>
                    <a:lnTo>
                      <a:pt x="91" y="49"/>
                    </a:lnTo>
                    <a:lnTo>
                      <a:pt x="116"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en-GB" sz="1662"/>
              </a:p>
            </p:txBody>
          </p:sp>
          <p:sp>
            <p:nvSpPr>
              <p:cNvPr id="54" name="Freeform 28">
                <a:extLst>
                  <a:ext uri="{FF2B5EF4-FFF2-40B4-BE49-F238E27FC236}">
                    <a16:creationId xmlns:a16="http://schemas.microsoft.com/office/drawing/2014/main" id="{B4A38E01-64BA-465B-BCC2-D54A9FA739B0}"/>
                  </a:ext>
                </a:extLst>
              </p:cNvPr>
              <p:cNvSpPr>
                <a:spLocks/>
              </p:cNvSpPr>
              <p:nvPr/>
            </p:nvSpPr>
            <p:spPr bwMode="auto">
              <a:xfrm>
                <a:off x="5731316" y="1911350"/>
                <a:ext cx="207963" cy="122238"/>
              </a:xfrm>
              <a:custGeom>
                <a:avLst/>
                <a:gdLst>
                  <a:gd name="T0" fmla="*/ 28 w 46"/>
                  <a:gd name="T1" fmla="*/ 25 h 27"/>
                  <a:gd name="T2" fmla="*/ 46 w 46"/>
                  <a:gd name="T3" fmla="*/ 11 h 27"/>
                  <a:gd name="T4" fmla="*/ 36 w 46"/>
                  <a:gd name="T5" fmla="*/ 0 h 27"/>
                  <a:gd name="T6" fmla="*/ 29 w 46"/>
                  <a:gd name="T7" fmla="*/ 0 h 27"/>
                  <a:gd name="T8" fmla="*/ 15 w 46"/>
                  <a:gd name="T9" fmla="*/ 10 h 27"/>
                  <a:gd name="T10" fmla="*/ 0 w 46"/>
                  <a:gd name="T11" fmla="*/ 17 h 27"/>
                </a:gdLst>
                <a:ahLst/>
                <a:cxnLst>
                  <a:cxn ang="0">
                    <a:pos x="T0" y="T1"/>
                  </a:cxn>
                  <a:cxn ang="0">
                    <a:pos x="T2" y="T3"/>
                  </a:cxn>
                  <a:cxn ang="0">
                    <a:pos x="T4" y="T5"/>
                  </a:cxn>
                  <a:cxn ang="0">
                    <a:pos x="T6" y="T7"/>
                  </a:cxn>
                  <a:cxn ang="0">
                    <a:pos x="T8" y="T9"/>
                  </a:cxn>
                  <a:cxn ang="0">
                    <a:pos x="T10" y="T11"/>
                  </a:cxn>
                </a:cxnLst>
                <a:rect l="0" t="0" r="r" b="b"/>
                <a:pathLst>
                  <a:path w="46" h="27">
                    <a:moveTo>
                      <a:pt x="28" y="25"/>
                    </a:moveTo>
                    <a:cubicBezTo>
                      <a:pt x="28" y="25"/>
                      <a:pt x="46" y="27"/>
                      <a:pt x="46" y="11"/>
                    </a:cubicBezTo>
                    <a:cubicBezTo>
                      <a:pt x="46" y="5"/>
                      <a:pt x="42" y="0"/>
                      <a:pt x="36" y="0"/>
                    </a:cubicBezTo>
                    <a:cubicBezTo>
                      <a:pt x="29" y="0"/>
                      <a:pt x="29" y="0"/>
                      <a:pt x="29" y="0"/>
                    </a:cubicBezTo>
                    <a:cubicBezTo>
                      <a:pt x="23" y="0"/>
                      <a:pt x="19" y="0"/>
                      <a:pt x="15" y="10"/>
                    </a:cubicBezTo>
                    <a:cubicBezTo>
                      <a:pt x="12" y="21"/>
                      <a:pt x="0" y="17"/>
                      <a:pt x="0" y="1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en-GB" sz="1662"/>
              </a:p>
            </p:txBody>
          </p:sp>
        </p:grpSp>
      </p:grpSp>
      <p:grpSp>
        <p:nvGrpSpPr>
          <p:cNvPr id="80" name="Group 501">
            <a:extLst>
              <a:ext uri="{FF2B5EF4-FFF2-40B4-BE49-F238E27FC236}">
                <a16:creationId xmlns:a16="http://schemas.microsoft.com/office/drawing/2014/main" id="{DDAA9121-8B76-4989-B905-01A855C0B78F}"/>
              </a:ext>
            </a:extLst>
          </p:cNvPr>
          <p:cNvGrpSpPr/>
          <p:nvPr/>
        </p:nvGrpSpPr>
        <p:grpSpPr>
          <a:xfrm>
            <a:off x="5382264" y="3227825"/>
            <a:ext cx="400351" cy="263130"/>
            <a:chOff x="394609" y="3992288"/>
            <a:chExt cx="635000" cy="379412"/>
          </a:xfrm>
        </p:grpSpPr>
        <p:sp>
          <p:nvSpPr>
            <p:cNvPr id="81" name="Freeform 67">
              <a:extLst>
                <a:ext uri="{FF2B5EF4-FFF2-40B4-BE49-F238E27FC236}">
                  <a16:creationId xmlns:a16="http://schemas.microsoft.com/office/drawing/2014/main" id="{02AD0B8E-710B-4251-9246-AAA40E92E5EE}"/>
                </a:ext>
              </a:extLst>
            </p:cNvPr>
            <p:cNvSpPr>
              <a:spLocks/>
            </p:cNvSpPr>
            <p:nvPr/>
          </p:nvSpPr>
          <p:spPr bwMode="auto">
            <a:xfrm>
              <a:off x="394609" y="4068488"/>
              <a:ext cx="460375" cy="182562"/>
            </a:xfrm>
            <a:custGeom>
              <a:avLst/>
              <a:gdLst>
                <a:gd name="T0" fmla="*/ 0 w 290"/>
                <a:gd name="T1" fmla="*/ 0 h 115"/>
                <a:gd name="T2" fmla="*/ 42 w 290"/>
                <a:gd name="T3" fmla="*/ 115 h 115"/>
                <a:gd name="T4" fmla="*/ 231 w 290"/>
                <a:gd name="T5" fmla="*/ 115 h 115"/>
                <a:gd name="T6" fmla="*/ 290 w 290"/>
                <a:gd name="T7" fmla="*/ 0 h 115"/>
                <a:gd name="T8" fmla="*/ 0 w 290"/>
                <a:gd name="T9" fmla="*/ 0 h 115"/>
              </a:gdLst>
              <a:ahLst/>
              <a:cxnLst>
                <a:cxn ang="0">
                  <a:pos x="T0" y="T1"/>
                </a:cxn>
                <a:cxn ang="0">
                  <a:pos x="T2" y="T3"/>
                </a:cxn>
                <a:cxn ang="0">
                  <a:pos x="T4" y="T5"/>
                </a:cxn>
                <a:cxn ang="0">
                  <a:pos x="T6" y="T7"/>
                </a:cxn>
                <a:cxn ang="0">
                  <a:pos x="T8" y="T9"/>
                </a:cxn>
              </a:cxnLst>
              <a:rect l="0" t="0" r="r" b="b"/>
              <a:pathLst>
                <a:path w="290" h="115">
                  <a:moveTo>
                    <a:pt x="0" y="0"/>
                  </a:moveTo>
                  <a:lnTo>
                    <a:pt x="42" y="115"/>
                  </a:lnTo>
                  <a:lnTo>
                    <a:pt x="231" y="115"/>
                  </a:lnTo>
                  <a:lnTo>
                    <a:pt x="290" y="0"/>
                  </a:lnTo>
                  <a:lnTo>
                    <a:pt x="0" y="0"/>
                  </a:lnTo>
                  <a:close/>
                </a:path>
              </a:pathLst>
            </a:custGeom>
            <a:solidFill>
              <a:srgbClr val="8AA299"/>
            </a:solidFill>
            <a:ln>
              <a:noFill/>
            </a:ln>
          </p:spPr>
          <p:txBody>
            <a:bodyPr vert="horz" wrap="square" lIns="84406" tIns="42203" rIns="84406" bIns="42203" numCol="1" anchor="t" anchorCtr="0" compatLnSpc="1">
              <a:prstTxWarp prst="textNoShape">
                <a:avLst/>
              </a:prstTxWarp>
            </a:bodyPr>
            <a:lstStyle/>
            <a:p>
              <a:endParaRPr lang="en-GB" sz="1662"/>
            </a:p>
          </p:txBody>
        </p:sp>
        <p:grpSp>
          <p:nvGrpSpPr>
            <p:cNvPr id="82" name="Group 503">
              <a:extLst>
                <a:ext uri="{FF2B5EF4-FFF2-40B4-BE49-F238E27FC236}">
                  <a16:creationId xmlns:a16="http://schemas.microsoft.com/office/drawing/2014/main" id="{E0B83E01-6820-4E8F-B305-61CD6C5BED87}"/>
                </a:ext>
              </a:extLst>
            </p:cNvPr>
            <p:cNvGrpSpPr/>
            <p:nvPr/>
          </p:nvGrpSpPr>
          <p:grpSpPr>
            <a:xfrm>
              <a:off x="439059" y="3992288"/>
              <a:ext cx="590550" cy="379412"/>
              <a:chOff x="439059" y="3992288"/>
              <a:chExt cx="590550" cy="379412"/>
            </a:xfrm>
          </p:grpSpPr>
          <p:sp>
            <p:nvSpPr>
              <p:cNvPr id="83" name="Freeform 68">
                <a:extLst>
                  <a:ext uri="{FF2B5EF4-FFF2-40B4-BE49-F238E27FC236}">
                    <a16:creationId xmlns:a16="http://schemas.microsoft.com/office/drawing/2014/main" id="{95AE7614-EB72-4F57-9D26-1CC49795DAFD}"/>
                  </a:ext>
                </a:extLst>
              </p:cNvPr>
              <p:cNvSpPr>
                <a:spLocks/>
              </p:cNvSpPr>
              <p:nvPr/>
            </p:nvSpPr>
            <p:spPr bwMode="auto">
              <a:xfrm>
                <a:off x="439059" y="3992288"/>
                <a:ext cx="590550" cy="258762"/>
              </a:xfrm>
              <a:custGeom>
                <a:avLst/>
                <a:gdLst>
                  <a:gd name="T0" fmla="*/ 0 w 132"/>
                  <a:gd name="T1" fmla="*/ 17 h 58"/>
                  <a:gd name="T2" fmla="*/ 15 w 132"/>
                  <a:gd name="T3" fmla="*/ 58 h 58"/>
                  <a:gd name="T4" fmla="*/ 82 w 132"/>
                  <a:gd name="T5" fmla="*/ 58 h 58"/>
                  <a:gd name="T6" fmla="*/ 108 w 132"/>
                  <a:gd name="T7" fmla="*/ 6 h 58"/>
                  <a:gd name="T8" fmla="*/ 118 w 132"/>
                  <a:gd name="T9" fmla="*/ 0 h 58"/>
                  <a:gd name="T10" fmla="*/ 132 w 132"/>
                  <a:gd name="T11" fmla="*/ 0 h 58"/>
                </a:gdLst>
                <a:ahLst/>
                <a:cxnLst>
                  <a:cxn ang="0">
                    <a:pos x="T0" y="T1"/>
                  </a:cxn>
                  <a:cxn ang="0">
                    <a:pos x="T2" y="T3"/>
                  </a:cxn>
                  <a:cxn ang="0">
                    <a:pos x="T4" y="T5"/>
                  </a:cxn>
                  <a:cxn ang="0">
                    <a:pos x="T6" y="T7"/>
                  </a:cxn>
                  <a:cxn ang="0">
                    <a:pos x="T8" y="T9"/>
                  </a:cxn>
                  <a:cxn ang="0">
                    <a:pos x="T10" y="T11"/>
                  </a:cxn>
                </a:cxnLst>
                <a:rect l="0" t="0" r="r" b="b"/>
                <a:pathLst>
                  <a:path w="132" h="58">
                    <a:moveTo>
                      <a:pt x="0" y="17"/>
                    </a:moveTo>
                    <a:cubicBezTo>
                      <a:pt x="15" y="58"/>
                      <a:pt x="15" y="58"/>
                      <a:pt x="15" y="58"/>
                    </a:cubicBezTo>
                    <a:cubicBezTo>
                      <a:pt x="82" y="58"/>
                      <a:pt x="82" y="58"/>
                      <a:pt x="82" y="58"/>
                    </a:cubicBezTo>
                    <a:cubicBezTo>
                      <a:pt x="108" y="6"/>
                      <a:pt x="108" y="6"/>
                      <a:pt x="108" y="6"/>
                    </a:cubicBezTo>
                    <a:cubicBezTo>
                      <a:pt x="110" y="2"/>
                      <a:pt x="114" y="0"/>
                      <a:pt x="118" y="0"/>
                    </a:cubicBezTo>
                    <a:cubicBezTo>
                      <a:pt x="132" y="0"/>
                      <a:pt x="132" y="0"/>
                      <a:pt x="132"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en-GB" sz="1662"/>
              </a:p>
            </p:txBody>
          </p:sp>
          <p:sp>
            <p:nvSpPr>
              <p:cNvPr id="84" name="Oval 69">
                <a:extLst>
                  <a:ext uri="{FF2B5EF4-FFF2-40B4-BE49-F238E27FC236}">
                    <a16:creationId xmlns:a16="http://schemas.microsoft.com/office/drawing/2014/main" id="{8F495119-B2E5-4DE4-AF47-68E3F1C90915}"/>
                  </a:ext>
                </a:extLst>
              </p:cNvPr>
              <p:cNvSpPr>
                <a:spLocks noChangeArrowheads="1"/>
              </p:cNvSpPr>
              <p:nvPr/>
            </p:nvSpPr>
            <p:spPr bwMode="auto">
              <a:xfrm>
                <a:off x="493034" y="4292325"/>
                <a:ext cx="79375" cy="79375"/>
              </a:xfrm>
              <a:prstGeom prst="ellipse">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en-GB" sz="1662"/>
              </a:p>
            </p:txBody>
          </p:sp>
          <p:sp>
            <p:nvSpPr>
              <p:cNvPr id="85" name="Oval 70">
                <a:extLst>
                  <a:ext uri="{FF2B5EF4-FFF2-40B4-BE49-F238E27FC236}">
                    <a16:creationId xmlns:a16="http://schemas.microsoft.com/office/drawing/2014/main" id="{7413D767-CB55-4C7B-BE0D-063BC83F4367}"/>
                  </a:ext>
                </a:extLst>
              </p:cNvPr>
              <p:cNvSpPr>
                <a:spLocks noChangeArrowheads="1"/>
              </p:cNvSpPr>
              <p:nvPr/>
            </p:nvSpPr>
            <p:spPr bwMode="auto">
              <a:xfrm>
                <a:off x="729571" y="4292325"/>
                <a:ext cx="76200" cy="79375"/>
              </a:xfrm>
              <a:prstGeom prst="ellipse">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en-GB" sz="1662"/>
              </a:p>
            </p:txBody>
          </p:sp>
          <p:sp>
            <p:nvSpPr>
              <p:cNvPr id="86" name="Line 71">
                <a:extLst>
                  <a:ext uri="{FF2B5EF4-FFF2-40B4-BE49-F238E27FC236}">
                    <a16:creationId xmlns:a16="http://schemas.microsoft.com/office/drawing/2014/main" id="{72A92EB5-8A95-42B3-AD2F-1E23E99BD03B}"/>
                  </a:ext>
                </a:extLst>
              </p:cNvPr>
              <p:cNvSpPr>
                <a:spLocks noChangeShapeType="1"/>
              </p:cNvSpPr>
              <p:nvPr/>
            </p:nvSpPr>
            <p:spPr bwMode="auto">
              <a:xfrm>
                <a:off x="443821" y="4068488"/>
                <a:ext cx="393700"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en-GB" sz="1662"/>
              </a:p>
            </p:txBody>
          </p:sp>
          <p:sp>
            <p:nvSpPr>
              <p:cNvPr id="87" name="Line 72">
                <a:extLst>
                  <a:ext uri="{FF2B5EF4-FFF2-40B4-BE49-F238E27FC236}">
                    <a16:creationId xmlns:a16="http://schemas.microsoft.com/office/drawing/2014/main" id="{C5AB890C-1E35-46A5-A207-4414AB919929}"/>
                  </a:ext>
                </a:extLst>
              </p:cNvPr>
              <p:cNvSpPr>
                <a:spLocks noChangeShapeType="1"/>
              </p:cNvSpPr>
              <p:nvPr/>
            </p:nvSpPr>
            <p:spPr bwMode="auto">
              <a:xfrm>
                <a:off x="523196" y="4157388"/>
                <a:ext cx="260350"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en-GB" sz="1662"/>
              </a:p>
            </p:txBody>
          </p:sp>
        </p:grpSp>
      </p:grpSp>
      <p:grpSp>
        <p:nvGrpSpPr>
          <p:cNvPr id="88" name="Group 301">
            <a:extLst>
              <a:ext uri="{FF2B5EF4-FFF2-40B4-BE49-F238E27FC236}">
                <a16:creationId xmlns:a16="http://schemas.microsoft.com/office/drawing/2014/main" id="{D6FD6E61-D7B5-48C2-BB98-9AF3E01D05DC}"/>
              </a:ext>
            </a:extLst>
          </p:cNvPr>
          <p:cNvGrpSpPr/>
          <p:nvPr/>
        </p:nvGrpSpPr>
        <p:grpSpPr>
          <a:xfrm>
            <a:off x="7578205" y="5442563"/>
            <a:ext cx="270011" cy="362310"/>
            <a:chOff x="4043216" y="3589489"/>
            <a:chExt cx="389333" cy="522420"/>
          </a:xfrm>
        </p:grpSpPr>
        <p:sp>
          <p:nvSpPr>
            <p:cNvPr id="89" name="Freeform: Shape 630">
              <a:extLst>
                <a:ext uri="{FF2B5EF4-FFF2-40B4-BE49-F238E27FC236}">
                  <a16:creationId xmlns:a16="http://schemas.microsoft.com/office/drawing/2014/main" id="{4566F5C6-E36F-4B89-BE17-7D6CD18E651F}"/>
                </a:ext>
              </a:extLst>
            </p:cNvPr>
            <p:cNvSpPr/>
            <p:nvPr/>
          </p:nvSpPr>
          <p:spPr>
            <a:xfrm>
              <a:off x="4043216" y="3839831"/>
              <a:ext cx="340475" cy="262823"/>
            </a:xfrm>
            <a:custGeom>
              <a:avLst/>
              <a:gdLst>
                <a:gd name="connsiteX0" fmla="*/ 72213 w 340475"/>
                <a:gd name="connsiteY0" fmla="*/ 2864 h 262822"/>
                <a:gd name="connsiteX1" fmla="*/ 26876 w 340475"/>
                <a:gd name="connsiteY1" fmla="*/ 30162 h 262822"/>
                <a:gd name="connsiteX2" fmla="*/ 2804 w 340475"/>
                <a:gd name="connsiteY2" fmla="*/ 122448 h 262822"/>
                <a:gd name="connsiteX3" fmla="*/ 171130 w 340475"/>
                <a:gd name="connsiteY3" fmla="*/ 264134 h 262822"/>
                <a:gd name="connsiteX4" fmla="*/ 339576 w 340475"/>
                <a:gd name="connsiteY4" fmla="*/ 122568 h 262822"/>
                <a:gd name="connsiteX5" fmla="*/ 316818 w 340475"/>
                <a:gd name="connsiteY5" fmla="*/ 30819 h 262822"/>
                <a:gd name="connsiteX6" fmla="*/ 271123 w 340475"/>
                <a:gd name="connsiteY6" fmla="*/ 2804 h 262822"/>
                <a:gd name="connsiteX7" fmla="*/ 72213 w 340475"/>
                <a:gd name="connsiteY7" fmla="*/ 2804 h 26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0475" h="262822">
                  <a:moveTo>
                    <a:pt x="72213" y="2864"/>
                  </a:moveTo>
                  <a:cubicBezTo>
                    <a:pt x="53219" y="2864"/>
                    <a:pt x="35777" y="13377"/>
                    <a:pt x="26876" y="30162"/>
                  </a:cubicBezTo>
                  <a:cubicBezTo>
                    <a:pt x="11645" y="58953"/>
                    <a:pt x="2804" y="91089"/>
                    <a:pt x="2804" y="122448"/>
                  </a:cubicBezTo>
                  <a:cubicBezTo>
                    <a:pt x="2745" y="215452"/>
                    <a:pt x="78127" y="264134"/>
                    <a:pt x="171130" y="264134"/>
                  </a:cubicBezTo>
                  <a:cubicBezTo>
                    <a:pt x="264134" y="264193"/>
                    <a:pt x="339516" y="215571"/>
                    <a:pt x="339576" y="122568"/>
                  </a:cubicBezTo>
                  <a:cubicBezTo>
                    <a:pt x="339576" y="91387"/>
                    <a:pt x="331333" y="59490"/>
                    <a:pt x="316818" y="30819"/>
                  </a:cubicBezTo>
                  <a:cubicBezTo>
                    <a:pt x="308097" y="13616"/>
                    <a:pt x="290416" y="2804"/>
                    <a:pt x="271123" y="2804"/>
                  </a:cubicBezTo>
                  <a:lnTo>
                    <a:pt x="72213" y="2804"/>
                  </a:lnTo>
                  <a:close/>
                </a:path>
              </a:pathLst>
            </a:custGeom>
            <a:solidFill>
              <a:srgbClr val="8AA299"/>
            </a:solidFill>
            <a:ln w="5962" cap="flat">
              <a:noFill/>
              <a:prstDash val="solid"/>
              <a:miter/>
            </a:ln>
          </p:spPr>
          <p:txBody>
            <a:bodyPr rtlCol="0" anchor="ctr"/>
            <a:lstStyle/>
            <a:p>
              <a:endParaRPr lang="en-GB" sz="1662"/>
            </a:p>
          </p:txBody>
        </p:sp>
        <p:grpSp>
          <p:nvGrpSpPr>
            <p:cNvPr id="90" name="Group 298">
              <a:extLst>
                <a:ext uri="{FF2B5EF4-FFF2-40B4-BE49-F238E27FC236}">
                  <a16:creationId xmlns:a16="http://schemas.microsoft.com/office/drawing/2014/main" id="{99095615-1FC1-4CE7-814C-CD2DECFCE99C}"/>
                </a:ext>
              </a:extLst>
            </p:cNvPr>
            <p:cNvGrpSpPr/>
            <p:nvPr/>
          </p:nvGrpSpPr>
          <p:grpSpPr>
            <a:xfrm>
              <a:off x="4068181" y="3589489"/>
              <a:ext cx="364368" cy="522420"/>
              <a:chOff x="4068181" y="3589489"/>
              <a:chExt cx="364368" cy="522420"/>
            </a:xfrm>
          </p:grpSpPr>
          <p:sp>
            <p:nvSpPr>
              <p:cNvPr id="91" name="Freeform: Shape 278">
                <a:extLst>
                  <a:ext uri="{FF2B5EF4-FFF2-40B4-BE49-F238E27FC236}">
                    <a16:creationId xmlns:a16="http://schemas.microsoft.com/office/drawing/2014/main" id="{4AC6AF30-4E74-4AEF-B8C8-7E8440C944A3}"/>
                  </a:ext>
                </a:extLst>
              </p:cNvPr>
              <p:cNvSpPr/>
              <p:nvPr/>
            </p:nvSpPr>
            <p:spPr>
              <a:xfrm>
                <a:off x="4232446" y="3608245"/>
                <a:ext cx="59732" cy="71679"/>
              </a:xfrm>
              <a:custGeom>
                <a:avLst/>
                <a:gdLst>
                  <a:gd name="connsiteX0" fmla="*/ 30404 w 59732"/>
                  <a:gd name="connsiteY0" fmla="*/ 8960 h 71678"/>
                  <a:gd name="connsiteX1" fmla="*/ 11946 w 59732"/>
                  <a:gd name="connsiteY1" fmla="*/ 31121 h 71678"/>
                  <a:gd name="connsiteX2" fmla="*/ 8960 w 59732"/>
                  <a:gd name="connsiteY2" fmla="*/ 41932 h 71678"/>
                  <a:gd name="connsiteX3" fmla="*/ 30404 w 59732"/>
                  <a:gd name="connsiteY3" fmla="*/ 63376 h 71678"/>
                  <a:gd name="connsiteX4" fmla="*/ 51848 w 59732"/>
                  <a:gd name="connsiteY4" fmla="*/ 41932 h 71678"/>
                  <a:gd name="connsiteX5" fmla="*/ 48921 w 59732"/>
                  <a:gd name="connsiteY5" fmla="*/ 31121 h 71678"/>
                  <a:gd name="connsiteX6" fmla="*/ 30404 w 59732"/>
                  <a:gd name="connsiteY6" fmla="*/ 8960 h 7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32" h="71678">
                    <a:moveTo>
                      <a:pt x="30404" y="8960"/>
                    </a:moveTo>
                    <a:cubicBezTo>
                      <a:pt x="30404" y="8960"/>
                      <a:pt x="20488" y="17502"/>
                      <a:pt x="11946" y="31121"/>
                    </a:cubicBezTo>
                    <a:cubicBezTo>
                      <a:pt x="9677" y="34525"/>
                      <a:pt x="8960" y="37512"/>
                      <a:pt x="8960" y="41932"/>
                    </a:cubicBezTo>
                    <a:cubicBezTo>
                      <a:pt x="8960" y="53759"/>
                      <a:pt x="18577" y="63376"/>
                      <a:pt x="30404" y="63376"/>
                    </a:cubicBezTo>
                    <a:cubicBezTo>
                      <a:pt x="42231" y="63376"/>
                      <a:pt x="51848" y="53759"/>
                      <a:pt x="51848" y="41932"/>
                    </a:cubicBezTo>
                    <a:cubicBezTo>
                      <a:pt x="51848" y="38050"/>
                      <a:pt x="50653" y="34286"/>
                      <a:pt x="48921" y="31121"/>
                    </a:cubicBezTo>
                    <a:cubicBezTo>
                      <a:pt x="40439" y="17442"/>
                      <a:pt x="30404" y="8960"/>
                      <a:pt x="30404" y="8960"/>
                    </a:cubicBezTo>
                  </a:path>
                </a:pathLst>
              </a:custGeom>
              <a:noFill/>
              <a:ln w="12700" cap="rnd">
                <a:solidFill>
                  <a:srgbClr val="30373B"/>
                </a:solidFill>
                <a:prstDash val="solid"/>
                <a:round/>
              </a:ln>
            </p:spPr>
            <p:txBody>
              <a:bodyPr rtlCol="0" anchor="ctr"/>
              <a:lstStyle/>
              <a:p>
                <a:endParaRPr lang="en-GB" sz="1662"/>
              </a:p>
            </p:txBody>
          </p:sp>
          <p:sp>
            <p:nvSpPr>
              <p:cNvPr id="92" name="Freeform: Shape 292">
                <a:extLst>
                  <a:ext uri="{FF2B5EF4-FFF2-40B4-BE49-F238E27FC236}">
                    <a16:creationId xmlns:a16="http://schemas.microsoft.com/office/drawing/2014/main" id="{EA07DBA6-8B0E-4E4E-A5F1-2C9DC66229DD}"/>
                  </a:ext>
                </a:extLst>
              </p:cNvPr>
              <p:cNvSpPr/>
              <p:nvPr/>
            </p:nvSpPr>
            <p:spPr>
              <a:xfrm>
                <a:off x="4068181" y="3759488"/>
                <a:ext cx="364368" cy="352421"/>
              </a:xfrm>
              <a:custGeom>
                <a:avLst/>
                <a:gdLst>
                  <a:gd name="connsiteX0" fmla="*/ 254281 w 364368"/>
                  <a:gd name="connsiteY0" fmla="*/ 14097 h 352421"/>
                  <a:gd name="connsiteX1" fmla="*/ 359589 w 364368"/>
                  <a:gd name="connsiteY1" fmla="*/ 197177 h 352421"/>
                  <a:gd name="connsiteX2" fmla="*/ 184215 w 364368"/>
                  <a:gd name="connsiteY2" fmla="*/ 344537 h 352421"/>
                  <a:gd name="connsiteX3" fmla="*/ 8960 w 364368"/>
                  <a:gd name="connsiteY3" fmla="*/ 196998 h 352421"/>
                  <a:gd name="connsiteX4" fmla="*/ 128186 w 364368"/>
                  <a:gd name="connsiteY4" fmla="*/ 8960 h 352421"/>
                  <a:gd name="connsiteX5" fmla="*/ 209840 w 364368"/>
                  <a:gd name="connsiteY5" fmla="*/ 9020 h 352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4368" h="352421">
                    <a:moveTo>
                      <a:pt x="254281" y="14097"/>
                    </a:moveTo>
                    <a:cubicBezTo>
                      <a:pt x="316642" y="47905"/>
                      <a:pt x="359649" y="124602"/>
                      <a:pt x="359589" y="197177"/>
                    </a:cubicBezTo>
                    <a:cubicBezTo>
                      <a:pt x="359530" y="294003"/>
                      <a:pt x="281041" y="344596"/>
                      <a:pt x="184215" y="344537"/>
                    </a:cubicBezTo>
                    <a:cubicBezTo>
                      <a:pt x="87389" y="344477"/>
                      <a:pt x="8960" y="293824"/>
                      <a:pt x="8960" y="196998"/>
                    </a:cubicBezTo>
                    <a:cubicBezTo>
                      <a:pt x="9020" y="120480"/>
                      <a:pt x="59314" y="39483"/>
                      <a:pt x="128186" y="8960"/>
                    </a:cubicBezTo>
                    <a:lnTo>
                      <a:pt x="209840" y="9020"/>
                    </a:lnTo>
                  </a:path>
                </a:pathLst>
              </a:custGeom>
              <a:noFill/>
              <a:ln w="12700" cap="rnd">
                <a:solidFill>
                  <a:srgbClr val="30373B"/>
                </a:solidFill>
                <a:prstDash val="solid"/>
                <a:round/>
              </a:ln>
            </p:spPr>
            <p:txBody>
              <a:bodyPr rtlCol="0" anchor="ctr"/>
              <a:lstStyle/>
              <a:p>
                <a:endParaRPr lang="en-GB" sz="1662"/>
              </a:p>
            </p:txBody>
          </p:sp>
          <p:sp>
            <p:nvSpPr>
              <p:cNvPr id="93" name="Freeform: Shape 293">
                <a:extLst>
                  <a:ext uri="{FF2B5EF4-FFF2-40B4-BE49-F238E27FC236}">
                    <a16:creationId xmlns:a16="http://schemas.microsoft.com/office/drawing/2014/main" id="{B70DDE95-D451-47B0-84F7-5FD3DBB23F2B}"/>
                  </a:ext>
                </a:extLst>
              </p:cNvPr>
              <p:cNvSpPr/>
              <p:nvPr/>
            </p:nvSpPr>
            <p:spPr>
              <a:xfrm>
                <a:off x="4192544" y="3732966"/>
                <a:ext cx="131411" cy="17920"/>
              </a:xfrm>
              <a:custGeom>
                <a:avLst/>
                <a:gdLst>
                  <a:gd name="connsiteX0" fmla="*/ 8960 w 131411"/>
                  <a:gd name="connsiteY0" fmla="*/ 8960 h 17919"/>
                  <a:gd name="connsiteX1" fmla="*/ 124602 w 131411"/>
                  <a:gd name="connsiteY1" fmla="*/ 8960 h 17919"/>
                </a:gdLst>
                <a:ahLst/>
                <a:cxnLst>
                  <a:cxn ang="0">
                    <a:pos x="connsiteX0" y="connsiteY0"/>
                  </a:cxn>
                  <a:cxn ang="0">
                    <a:pos x="connsiteX1" y="connsiteY1"/>
                  </a:cxn>
                </a:cxnLst>
                <a:rect l="l" t="t" r="r" b="b"/>
                <a:pathLst>
                  <a:path w="131411" h="17919">
                    <a:moveTo>
                      <a:pt x="8960" y="8960"/>
                    </a:moveTo>
                    <a:lnTo>
                      <a:pt x="124602" y="8960"/>
                    </a:lnTo>
                  </a:path>
                </a:pathLst>
              </a:custGeom>
              <a:ln w="12700" cap="rnd">
                <a:solidFill>
                  <a:srgbClr val="30373B"/>
                </a:solidFill>
                <a:prstDash val="solid"/>
                <a:round/>
              </a:ln>
            </p:spPr>
            <p:txBody>
              <a:bodyPr rtlCol="0" anchor="ctr"/>
              <a:lstStyle/>
              <a:p>
                <a:endParaRPr lang="en-GB" sz="1662"/>
              </a:p>
            </p:txBody>
          </p:sp>
          <p:sp>
            <p:nvSpPr>
              <p:cNvPr id="94" name="Freeform: Shape 294">
                <a:extLst>
                  <a:ext uri="{FF2B5EF4-FFF2-40B4-BE49-F238E27FC236}">
                    <a16:creationId xmlns:a16="http://schemas.microsoft.com/office/drawing/2014/main" id="{E6B0F310-B8AD-44D9-A38B-8C128764EEE7}"/>
                  </a:ext>
                </a:extLst>
              </p:cNvPr>
              <p:cNvSpPr/>
              <p:nvPr/>
            </p:nvSpPr>
            <p:spPr>
              <a:xfrm>
                <a:off x="4171638" y="3589489"/>
                <a:ext cx="173224" cy="131411"/>
              </a:xfrm>
              <a:custGeom>
                <a:avLst/>
                <a:gdLst>
                  <a:gd name="connsiteX0" fmla="*/ 36676 w 173224"/>
                  <a:gd name="connsiteY0" fmla="*/ 124243 h 131411"/>
                  <a:gd name="connsiteX1" fmla="*/ 8960 w 173224"/>
                  <a:gd name="connsiteY1" fmla="*/ 8960 h 131411"/>
                  <a:gd name="connsiteX2" fmla="*/ 45397 w 173224"/>
                  <a:gd name="connsiteY2" fmla="*/ 8960 h 131411"/>
                  <a:gd name="connsiteX3" fmla="*/ 91212 w 173224"/>
                  <a:gd name="connsiteY3" fmla="*/ 27716 h 131411"/>
                  <a:gd name="connsiteX4" fmla="*/ 131889 w 173224"/>
                  <a:gd name="connsiteY4" fmla="*/ 9079 h 131411"/>
                  <a:gd name="connsiteX5" fmla="*/ 168326 w 173224"/>
                  <a:gd name="connsiteY5" fmla="*/ 8960 h 131411"/>
                  <a:gd name="connsiteX6" fmla="*/ 140610 w 173224"/>
                  <a:gd name="connsiteY6" fmla="*/ 124243 h 131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224" h="131411">
                    <a:moveTo>
                      <a:pt x="36676" y="124243"/>
                    </a:moveTo>
                    <a:lnTo>
                      <a:pt x="8960" y="8960"/>
                    </a:lnTo>
                    <a:lnTo>
                      <a:pt x="45397" y="8960"/>
                    </a:lnTo>
                    <a:cubicBezTo>
                      <a:pt x="63257" y="8960"/>
                      <a:pt x="79444" y="16128"/>
                      <a:pt x="91212" y="27716"/>
                    </a:cubicBezTo>
                    <a:cubicBezTo>
                      <a:pt x="101844" y="17203"/>
                      <a:pt x="116060" y="10334"/>
                      <a:pt x="131889" y="9079"/>
                    </a:cubicBezTo>
                    <a:lnTo>
                      <a:pt x="168326" y="8960"/>
                    </a:lnTo>
                    <a:lnTo>
                      <a:pt x="140610" y="124243"/>
                    </a:lnTo>
                  </a:path>
                </a:pathLst>
              </a:custGeom>
              <a:noFill/>
              <a:ln w="12700" cap="rnd">
                <a:solidFill>
                  <a:srgbClr val="30373B"/>
                </a:solidFill>
                <a:prstDash val="solid"/>
                <a:round/>
              </a:ln>
            </p:spPr>
            <p:txBody>
              <a:bodyPr rtlCol="0" anchor="ctr"/>
              <a:lstStyle/>
              <a:p>
                <a:endParaRPr lang="en-GB" sz="1662"/>
              </a:p>
            </p:txBody>
          </p:sp>
          <p:sp>
            <p:nvSpPr>
              <p:cNvPr id="95" name="Freeform: Shape 295">
                <a:extLst>
                  <a:ext uri="{FF2B5EF4-FFF2-40B4-BE49-F238E27FC236}">
                    <a16:creationId xmlns:a16="http://schemas.microsoft.com/office/drawing/2014/main" id="{A4F274F3-1D33-4B30-9736-22D1F24DA100}"/>
                  </a:ext>
                </a:extLst>
              </p:cNvPr>
              <p:cNvSpPr/>
              <p:nvPr/>
            </p:nvSpPr>
            <p:spPr>
              <a:xfrm>
                <a:off x="4206402" y="3840995"/>
                <a:ext cx="83625" cy="179197"/>
              </a:xfrm>
              <a:custGeom>
                <a:avLst/>
                <a:gdLst>
                  <a:gd name="connsiteX0" fmla="*/ 8960 w 83625"/>
                  <a:gd name="connsiteY0" fmla="*/ 134127 h 179197"/>
                  <a:gd name="connsiteX1" fmla="*/ 45337 w 83625"/>
                  <a:gd name="connsiteY1" fmla="*/ 173490 h 179197"/>
                  <a:gd name="connsiteX2" fmla="*/ 77174 w 83625"/>
                  <a:gd name="connsiteY2" fmla="*/ 131140 h 179197"/>
                  <a:gd name="connsiteX3" fmla="*/ 45695 w 83625"/>
                  <a:gd name="connsiteY3" fmla="*/ 91299 h 179197"/>
                  <a:gd name="connsiteX4" fmla="*/ 13081 w 83625"/>
                  <a:gd name="connsiteY4" fmla="*/ 36285 h 179197"/>
                  <a:gd name="connsiteX5" fmla="*/ 41932 w 83625"/>
                  <a:gd name="connsiteY5" fmla="*/ 8987 h 179197"/>
                  <a:gd name="connsiteX6" fmla="*/ 67916 w 83625"/>
                  <a:gd name="connsiteY6" fmla="*/ 20098 h 179197"/>
                  <a:gd name="connsiteX7" fmla="*/ 76577 w 83625"/>
                  <a:gd name="connsiteY7" fmla="*/ 42856 h 17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625" h="179197">
                    <a:moveTo>
                      <a:pt x="8960" y="134127"/>
                    </a:moveTo>
                    <a:cubicBezTo>
                      <a:pt x="8960" y="134127"/>
                      <a:pt x="10453" y="173909"/>
                      <a:pt x="45337" y="173490"/>
                    </a:cubicBezTo>
                    <a:cubicBezTo>
                      <a:pt x="80699" y="173013"/>
                      <a:pt x="79384" y="139801"/>
                      <a:pt x="77174" y="131140"/>
                    </a:cubicBezTo>
                    <a:cubicBezTo>
                      <a:pt x="74666" y="121284"/>
                      <a:pt x="69887" y="113937"/>
                      <a:pt x="45695" y="91299"/>
                    </a:cubicBezTo>
                    <a:cubicBezTo>
                      <a:pt x="21802" y="68959"/>
                      <a:pt x="11289" y="59879"/>
                      <a:pt x="13081" y="36285"/>
                    </a:cubicBezTo>
                    <a:cubicBezTo>
                      <a:pt x="14814" y="13647"/>
                      <a:pt x="33928" y="9286"/>
                      <a:pt x="41932" y="8987"/>
                    </a:cubicBezTo>
                    <a:cubicBezTo>
                      <a:pt x="49936" y="8689"/>
                      <a:pt x="60449" y="10720"/>
                      <a:pt x="67916" y="20098"/>
                    </a:cubicBezTo>
                    <a:cubicBezTo>
                      <a:pt x="74367" y="28161"/>
                      <a:pt x="76577" y="42856"/>
                      <a:pt x="76577" y="42856"/>
                    </a:cubicBezTo>
                  </a:path>
                </a:pathLst>
              </a:custGeom>
              <a:noFill/>
              <a:ln w="12700" cap="rnd">
                <a:solidFill>
                  <a:srgbClr val="30373B"/>
                </a:solidFill>
                <a:prstDash val="solid"/>
                <a:round/>
              </a:ln>
            </p:spPr>
            <p:txBody>
              <a:bodyPr rtlCol="0" anchor="ctr"/>
              <a:lstStyle/>
              <a:p>
                <a:endParaRPr lang="en-GB" sz="1662"/>
              </a:p>
            </p:txBody>
          </p:sp>
          <p:sp>
            <p:nvSpPr>
              <p:cNvPr id="96" name="Freeform: Shape 296">
                <a:extLst>
                  <a:ext uri="{FF2B5EF4-FFF2-40B4-BE49-F238E27FC236}">
                    <a16:creationId xmlns:a16="http://schemas.microsoft.com/office/drawing/2014/main" id="{24008940-B23A-4CFB-9091-D583286F2FA5}"/>
                  </a:ext>
                </a:extLst>
              </p:cNvPr>
              <p:cNvSpPr/>
              <p:nvPr/>
            </p:nvSpPr>
            <p:spPr>
              <a:xfrm>
                <a:off x="4239972" y="3816592"/>
                <a:ext cx="17920" cy="35839"/>
              </a:xfrm>
              <a:custGeom>
                <a:avLst/>
                <a:gdLst>
                  <a:gd name="connsiteX0" fmla="*/ 8960 w 17919"/>
                  <a:gd name="connsiteY0" fmla="*/ 30225 h 35839"/>
                  <a:gd name="connsiteX1" fmla="*/ 8960 w 17919"/>
                  <a:gd name="connsiteY1" fmla="*/ 8960 h 35839"/>
                </a:gdLst>
                <a:ahLst/>
                <a:cxnLst>
                  <a:cxn ang="0">
                    <a:pos x="connsiteX0" y="connsiteY0"/>
                  </a:cxn>
                  <a:cxn ang="0">
                    <a:pos x="connsiteX1" y="connsiteY1"/>
                  </a:cxn>
                </a:cxnLst>
                <a:rect l="l" t="t" r="r" b="b"/>
                <a:pathLst>
                  <a:path w="17919" h="35839">
                    <a:moveTo>
                      <a:pt x="8960" y="30225"/>
                    </a:moveTo>
                    <a:lnTo>
                      <a:pt x="8960" y="8960"/>
                    </a:lnTo>
                  </a:path>
                </a:pathLst>
              </a:custGeom>
              <a:ln w="12700" cap="rnd">
                <a:solidFill>
                  <a:srgbClr val="30373B"/>
                </a:solidFill>
                <a:prstDash val="solid"/>
                <a:round/>
              </a:ln>
            </p:spPr>
            <p:txBody>
              <a:bodyPr rtlCol="0" anchor="ctr"/>
              <a:lstStyle/>
              <a:p>
                <a:endParaRPr lang="en-GB" sz="1662"/>
              </a:p>
            </p:txBody>
          </p:sp>
          <p:sp>
            <p:nvSpPr>
              <p:cNvPr id="97" name="Freeform: Shape 297">
                <a:extLst>
                  <a:ext uri="{FF2B5EF4-FFF2-40B4-BE49-F238E27FC236}">
                    <a16:creationId xmlns:a16="http://schemas.microsoft.com/office/drawing/2014/main" id="{C1D6D377-7214-49D5-A3B4-903D078F0C9E}"/>
                  </a:ext>
                </a:extLst>
              </p:cNvPr>
              <p:cNvSpPr/>
              <p:nvPr/>
            </p:nvSpPr>
            <p:spPr>
              <a:xfrm>
                <a:off x="4239912" y="4006601"/>
                <a:ext cx="17920" cy="35839"/>
              </a:xfrm>
              <a:custGeom>
                <a:avLst/>
                <a:gdLst>
                  <a:gd name="connsiteX0" fmla="*/ 8960 w 17919"/>
                  <a:gd name="connsiteY0" fmla="*/ 30165 h 35839"/>
                  <a:gd name="connsiteX1" fmla="*/ 8960 w 17919"/>
                  <a:gd name="connsiteY1" fmla="*/ 8960 h 35839"/>
                </a:gdLst>
                <a:ahLst/>
                <a:cxnLst>
                  <a:cxn ang="0">
                    <a:pos x="connsiteX0" y="connsiteY0"/>
                  </a:cxn>
                  <a:cxn ang="0">
                    <a:pos x="connsiteX1" y="connsiteY1"/>
                  </a:cxn>
                </a:cxnLst>
                <a:rect l="l" t="t" r="r" b="b"/>
                <a:pathLst>
                  <a:path w="17919" h="35839">
                    <a:moveTo>
                      <a:pt x="8960" y="30165"/>
                    </a:moveTo>
                    <a:lnTo>
                      <a:pt x="8960" y="8960"/>
                    </a:lnTo>
                  </a:path>
                </a:pathLst>
              </a:custGeom>
              <a:ln w="12700" cap="rnd">
                <a:solidFill>
                  <a:srgbClr val="30373B"/>
                </a:solidFill>
                <a:prstDash val="solid"/>
                <a:round/>
              </a:ln>
            </p:spPr>
            <p:txBody>
              <a:bodyPr rtlCol="0" anchor="ctr"/>
              <a:lstStyle/>
              <a:p>
                <a:endParaRPr lang="en-GB" sz="1662"/>
              </a:p>
            </p:txBody>
          </p:sp>
        </p:grpSp>
      </p:grpSp>
      <p:grpSp>
        <p:nvGrpSpPr>
          <p:cNvPr id="106" name="Group 197">
            <a:extLst>
              <a:ext uri="{FF2B5EF4-FFF2-40B4-BE49-F238E27FC236}">
                <a16:creationId xmlns:a16="http://schemas.microsoft.com/office/drawing/2014/main" id="{9B97A86A-5A5B-4736-80EB-3BDACA1AC831}"/>
              </a:ext>
            </a:extLst>
          </p:cNvPr>
          <p:cNvGrpSpPr/>
          <p:nvPr/>
        </p:nvGrpSpPr>
        <p:grpSpPr>
          <a:xfrm>
            <a:off x="3180677" y="5482456"/>
            <a:ext cx="392912" cy="368894"/>
            <a:chOff x="4547393" y="520434"/>
            <a:chExt cx="854528" cy="802291"/>
          </a:xfrm>
        </p:grpSpPr>
        <p:grpSp>
          <p:nvGrpSpPr>
            <p:cNvPr id="107" name="Group 198">
              <a:extLst>
                <a:ext uri="{FF2B5EF4-FFF2-40B4-BE49-F238E27FC236}">
                  <a16:creationId xmlns:a16="http://schemas.microsoft.com/office/drawing/2014/main" id="{18D7F496-1760-471C-B51F-63AD9EDB5E77}"/>
                </a:ext>
              </a:extLst>
            </p:cNvPr>
            <p:cNvGrpSpPr/>
            <p:nvPr/>
          </p:nvGrpSpPr>
          <p:grpSpPr>
            <a:xfrm>
              <a:off x="4547393" y="520434"/>
              <a:ext cx="793052" cy="802291"/>
              <a:chOff x="4547393" y="520434"/>
              <a:chExt cx="793052" cy="802291"/>
            </a:xfrm>
            <a:solidFill>
              <a:schemeClr val="accent2"/>
            </a:solidFill>
          </p:grpSpPr>
          <p:sp>
            <p:nvSpPr>
              <p:cNvPr id="112" name="Freeform: Shape 206">
                <a:extLst>
                  <a:ext uri="{FF2B5EF4-FFF2-40B4-BE49-F238E27FC236}">
                    <a16:creationId xmlns:a16="http://schemas.microsoft.com/office/drawing/2014/main" id="{7A2E095B-4A12-4052-BB36-4F76ED3CB6A9}"/>
                  </a:ext>
                </a:extLst>
              </p:cNvPr>
              <p:cNvSpPr/>
              <p:nvPr/>
            </p:nvSpPr>
            <p:spPr>
              <a:xfrm>
                <a:off x="4547393" y="760750"/>
                <a:ext cx="561975" cy="561975"/>
              </a:xfrm>
              <a:custGeom>
                <a:avLst/>
                <a:gdLst>
                  <a:gd name="connsiteX0" fmla="*/ 281845 w 561975"/>
                  <a:gd name="connsiteY0" fmla="*/ 7144 h 561975"/>
                  <a:gd name="connsiteX1" fmla="*/ 7144 w 561975"/>
                  <a:gd name="connsiteY1" fmla="*/ 281940 h 561975"/>
                  <a:gd name="connsiteX2" fmla="*/ 281845 w 561975"/>
                  <a:gd name="connsiteY2" fmla="*/ 556641 h 561975"/>
                  <a:gd name="connsiteX3" fmla="*/ 556546 w 561975"/>
                  <a:gd name="connsiteY3" fmla="*/ 281940 h 561975"/>
                  <a:gd name="connsiteX4" fmla="*/ 281845 w 561975"/>
                  <a:gd name="connsiteY4" fmla="*/ 7144 h 561975"/>
                  <a:gd name="connsiteX5" fmla="*/ 281845 w 561975"/>
                  <a:gd name="connsiteY5" fmla="*/ 392430 h 561975"/>
                  <a:gd name="connsiteX6" fmla="*/ 171355 w 561975"/>
                  <a:gd name="connsiteY6" fmla="*/ 281940 h 561975"/>
                  <a:gd name="connsiteX7" fmla="*/ 281845 w 561975"/>
                  <a:gd name="connsiteY7" fmla="*/ 171450 h 561975"/>
                  <a:gd name="connsiteX8" fmla="*/ 392335 w 561975"/>
                  <a:gd name="connsiteY8" fmla="*/ 281940 h 561975"/>
                  <a:gd name="connsiteX9" fmla="*/ 281845 w 561975"/>
                  <a:gd name="connsiteY9" fmla="*/ 392430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1975" h="561975">
                    <a:moveTo>
                      <a:pt x="281845" y="7144"/>
                    </a:moveTo>
                    <a:cubicBezTo>
                      <a:pt x="130112" y="7144"/>
                      <a:pt x="7144" y="130207"/>
                      <a:pt x="7144" y="281940"/>
                    </a:cubicBezTo>
                    <a:cubicBezTo>
                      <a:pt x="7144" y="433673"/>
                      <a:pt x="130112" y="556641"/>
                      <a:pt x="281845" y="556641"/>
                    </a:cubicBezTo>
                    <a:cubicBezTo>
                      <a:pt x="433578" y="556641"/>
                      <a:pt x="556546" y="433673"/>
                      <a:pt x="556546" y="281940"/>
                    </a:cubicBezTo>
                    <a:cubicBezTo>
                      <a:pt x="556546" y="130207"/>
                      <a:pt x="433578" y="7144"/>
                      <a:pt x="281845" y="7144"/>
                    </a:cubicBezTo>
                    <a:close/>
                    <a:moveTo>
                      <a:pt x="281845" y="392430"/>
                    </a:moveTo>
                    <a:cubicBezTo>
                      <a:pt x="220790" y="392430"/>
                      <a:pt x="171355" y="342995"/>
                      <a:pt x="171355" y="281940"/>
                    </a:cubicBezTo>
                    <a:cubicBezTo>
                      <a:pt x="171355" y="220885"/>
                      <a:pt x="220790" y="171450"/>
                      <a:pt x="281845" y="171450"/>
                    </a:cubicBezTo>
                    <a:cubicBezTo>
                      <a:pt x="342900" y="171450"/>
                      <a:pt x="392335" y="220885"/>
                      <a:pt x="392335" y="281940"/>
                    </a:cubicBezTo>
                    <a:cubicBezTo>
                      <a:pt x="392335" y="342995"/>
                      <a:pt x="342900" y="392430"/>
                      <a:pt x="281845" y="392430"/>
                    </a:cubicBezTo>
                    <a:close/>
                  </a:path>
                </a:pathLst>
              </a:custGeom>
              <a:solidFill>
                <a:srgbClr val="8AA299"/>
              </a:solidFill>
              <a:ln w="9525" cap="flat">
                <a:noFill/>
                <a:prstDash val="solid"/>
                <a:miter/>
              </a:ln>
            </p:spPr>
            <p:txBody>
              <a:bodyPr rtlCol="0" anchor="ctr"/>
              <a:lstStyle/>
              <a:p>
                <a:endParaRPr lang="en-GB" sz="1662"/>
              </a:p>
            </p:txBody>
          </p:sp>
          <p:sp>
            <p:nvSpPr>
              <p:cNvPr id="113" name="Freeform: Shape 207">
                <a:extLst>
                  <a:ext uri="{FF2B5EF4-FFF2-40B4-BE49-F238E27FC236}">
                    <a16:creationId xmlns:a16="http://schemas.microsoft.com/office/drawing/2014/main" id="{998C8AE2-A483-4490-9076-F1985CE183DC}"/>
                  </a:ext>
                </a:extLst>
              </p:cNvPr>
              <p:cNvSpPr/>
              <p:nvPr/>
            </p:nvSpPr>
            <p:spPr>
              <a:xfrm>
                <a:off x="4949920" y="520434"/>
                <a:ext cx="390525" cy="390525"/>
              </a:xfrm>
              <a:custGeom>
                <a:avLst/>
                <a:gdLst>
                  <a:gd name="connsiteX0" fmla="*/ 387572 w 390525"/>
                  <a:gd name="connsiteY0" fmla="*/ 197358 h 390525"/>
                  <a:gd name="connsiteX1" fmla="*/ 197358 w 390525"/>
                  <a:gd name="connsiteY1" fmla="*/ 387572 h 390525"/>
                  <a:gd name="connsiteX2" fmla="*/ 7144 w 390525"/>
                  <a:gd name="connsiteY2" fmla="*/ 197358 h 390525"/>
                  <a:gd name="connsiteX3" fmla="*/ 197358 w 390525"/>
                  <a:gd name="connsiteY3" fmla="*/ 7144 h 390525"/>
                  <a:gd name="connsiteX4" fmla="*/ 387572 w 390525"/>
                  <a:gd name="connsiteY4" fmla="*/ 197358 h 390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5" h="390525">
                    <a:moveTo>
                      <a:pt x="387572" y="197358"/>
                    </a:moveTo>
                    <a:cubicBezTo>
                      <a:pt x="387572" y="302410"/>
                      <a:pt x="302410" y="387572"/>
                      <a:pt x="197358" y="387572"/>
                    </a:cubicBezTo>
                    <a:cubicBezTo>
                      <a:pt x="92306" y="387572"/>
                      <a:pt x="7144" y="302410"/>
                      <a:pt x="7144" y="197358"/>
                    </a:cubicBezTo>
                    <a:cubicBezTo>
                      <a:pt x="7144" y="92306"/>
                      <a:pt x="92306" y="7144"/>
                      <a:pt x="197358" y="7144"/>
                    </a:cubicBezTo>
                    <a:cubicBezTo>
                      <a:pt x="302410" y="7144"/>
                      <a:pt x="387572" y="92306"/>
                      <a:pt x="387572" y="197358"/>
                    </a:cubicBezTo>
                    <a:close/>
                  </a:path>
                </a:pathLst>
              </a:custGeom>
              <a:solidFill>
                <a:srgbClr val="8AA299"/>
              </a:solidFill>
              <a:ln w="9525" cap="flat">
                <a:noFill/>
                <a:prstDash val="solid"/>
                <a:miter/>
              </a:ln>
            </p:spPr>
            <p:txBody>
              <a:bodyPr rtlCol="0" anchor="ctr"/>
              <a:lstStyle/>
              <a:p>
                <a:endParaRPr lang="en-GB" sz="1662"/>
              </a:p>
            </p:txBody>
          </p:sp>
        </p:grpSp>
        <p:grpSp>
          <p:nvGrpSpPr>
            <p:cNvPr id="108" name="Group 199">
              <a:extLst>
                <a:ext uri="{FF2B5EF4-FFF2-40B4-BE49-F238E27FC236}">
                  <a16:creationId xmlns:a16="http://schemas.microsoft.com/office/drawing/2014/main" id="{F0B8B0D4-785A-4AF6-8734-B07B1840B701}"/>
                </a:ext>
              </a:extLst>
            </p:cNvPr>
            <p:cNvGrpSpPr/>
            <p:nvPr/>
          </p:nvGrpSpPr>
          <p:grpSpPr>
            <a:xfrm>
              <a:off x="4638357" y="538883"/>
              <a:ext cx="763564" cy="770316"/>
              <a:chOff x="4638357" y="538883"/>
              <a:chExt cx="763564" cy="770316"/>
            </a:xfrm>
          </p:grpSpPr>
          <p:sp>
            <p:nvSpPr>
              <p:cNvPr id="109" name="Freeform: Shape 200">
                <a:extLst>
                  <a:ext uri="{FF2B5EF4-FFF2-40B4-BE49-F238E27FC236}">
                    <a16:creationId xmlns:a16="http://schemas.microsoft.com/office/drawing/2014/main" id="{23EEC3FA-5136-4079-8484-D3B74AE6C281}"/>
                  </a:ext>
                </a:extLst>
              </p:cNvPr>
              <p:cNvSpPr/>
              <p:nvPr/>
            </p:nvSpPr>
            <p:spPr>
              <a:xfrm>
                <a:off x="4638357" y="775799"/>
                <a:ext cx="533400" cy="533400"/>
              </a:xfrm>
              <a:custGeom>
                <a:avLst/>
                <a:gdLst>
                  <a:gd name="connsiteX0" fmla="*/ 499015 w 533400"/>
                  <a:gd name="connsiteY0" fmla="*/ 390620 h 533400"/>
                  <a:gd name="connsiteX1" fmla="*/ 519779 w 533400"/>
                  <a:gd name="connsiteY1" fmla="*/ 340328 h 533400"/>
                  <a:gd name="connsiteX2" fmla="*/ 471202 w 533400"/>
                  <a:gd name="connsiteY2" fmla="*/ 266891 h 533400"/>
                  <a:gd name="connsiteX3" fmla="*/ 519779 w 533400"/>
                  <a:gd name="connsiteY3" fmla="*/ 193453 h 533400"/>
                  <a:gd name="connsiteX4" fmla="*/ 499015 w 533400"/>
                  <a:gd name="connsiteY4" fmla="*/ 143161 h 533400"/>
                  <a:gd name="connsiteX5" fmla="*/ 417481 w 533400"/>
                  <a:gd name="connsiteY5" fmla="*/ 116586 h 533400"/>
                  <a:gd name="connsiteX6" fmla="*/ 396907 w 533400"/>
                  <a:gd name="connsiteY6" fmla="*/ 35052 h 533400"/>
                  <a:gd name="connsiteX7" fmla="*/ 346615 w 533400"/>
                  <a:gd name="connsiteY7" fmla="*/ 14288 h 533400"/>
                  <a:gd name="connsiteX8" fmla="*/ 267081 w 533400"/>
                  <a:gd name="connsiteY8" fmla="*/ 62865 h 533400"/>
                  <a:gd name="connsiteX9" fmla="*/ 187547 w 533400"/>
                  <a:gd name="connsiteY9" fmla="*/ 14288 h 533400"/>
                  <a:gd name="connsiteX10" fmla="*/ 137255 w 533400"/>
                  <a:gd name="connsiteY10" fmla="*/ 35052 h 533400"/>
                  <a:gd name="connsiteX11" fmla="*/ 116681 w 533400"/>
                  <a:gd name="connsiteY11" fmla="*/ 116586 h 533400"/>
                  <a:gd name="connsiteX12" fmla="*/ 35147 w 533400"/>
                  <a:gd name="connsiteY12" fmla="*/ 143161 h 533400"/>
                  <a:gd name="connsiteX13" fmla="*/ 14288 w 533400"/>
                  <a:gd name="connsiteY13" fmla="*/ 193453 h 533400"/>
                  <a:gd name="connsiteX14" fmla="*/ 62865 w 533400"/>
                  <a:gd name="connsiteY14" fmla="*/ 266891 h 533400"/>
                  <a:gd name="connsiteX15" fmla="*/ 14288 w 533400"/>
                  <a:gd name="connsiteY15" fmla="*/ 346424 h 533400"/>
                  <a:gd name="connsiteX16" fmla="*/ 35147 w 533400"/>
                  <a:gd name="connsiteY16" fmla="*/ 396716 h 533400"/>
                  <a:gd name="connsiteX17" fmla="*/ 116681 w 533400"/>
                  <a:gd name="connsiteY17" fmla="*/ 417195 h 533400"/>
                  <a:gd name="connsiteX18" fmla="*/ 137255 w 533400"/>
                  <a:gd name="connsiteY18" fmla="*/ 498729 h 533400"/>
                  <a:gd name="connsiteX19" fmla="*/ 187547 w 533400"/>
                  <a:gd name="connsiteY19" fmla="*/ 519589 h 533400"/>
                  <a:gd name="connsiteX20" fmla="*/ 267081 w 533400"/>
                  <a:gd name="connsiteY20" fmla="*/ 471011 h 533400"/>
                  <a:gd name="connsiteX21" fmla="*/ 346615 w 533400"/>
                  <a:gd name="connsiteY21" fmla="*/ 519589 h 533400"/>
                  <a:gd name="connsiteX22" fmla="*/ 396907 w 533400"/>
                  <a:gd name="connsiteY22" fmla="*/ 498729 h 533400"/>
                  <a:gd name="connsiteX23" fmla="*/ 417481 w 533400"/>
                  <a:gd name="connsiteY23" fmla="*/ 417195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3400" h="533400">
                    <a:moveTo>
                      <a:pt x="499015" y="390620"/>
                    </a:moveTo>
                    <a:cubicBezTo>
                      <a:pt x="507587" y="374714"/>
                      <a:pt x="514541" y="357950"/>
                      <a:pt x="519779" y="340328"/>
                    </a:cubicBezTo>
                    <a:cubicBezTo>
                      <a:pt x="490538" y="323279"/>
                      <a:pt x="471202" y="298323"/>
                      <a:pt x="471202" y="266891"/>
                    </a:cubicBezTo>
                    <a:cubicBezTo>
                      <a:pt x="471202" y="235363"/>
                      <a:pt x="490633" y="210503"/>
                      <a:pt x="519779" y="193453"/>
                    </a:cubicBezTo>
                    <a:cubicBezTo>
                      <a:pt x="514541" y="175832"/>
                      <a:pt x="507587" y="159067"/>
                      <a:pt x="499015" y="143161"/>
                    </a:cubicBezTo>
                    <a:cubicBezTo>
                      <a:pt x="466249" y="151733"/>
                      <a:pt x="439769" y="138875"/>
                      <a:pt x="417481" y="116586"/>
                    </a:cubicBezTo>
                    <a:cubicBezTo>
                      <a:pt x="395192" y="94298"/>
                      <a:pt x="388334" y="67818"/>
                      <a:pt x="396907" y="35052"/>
                    </a:cubicBezTo>
                    <a:cubicBezTo>
                      <a:pt x="381000" y="26480"/>
                      <a:pt x="364236" y="19526"/>
                      <a:pt x="346615" y="14288"/>
                    </a:cubicBezTo>
                    <a:cubicBezTo>
                      <a:pt x="329565" y="43529"/>
                      <a:pt x="298609" y="62865"/>
                      <a:pt x="267081" y="62865"/>
                    </a:cubicBezTo>
                    <a:cubicBezTo>
                      <a:pt x="235553" y="62865"/>
                      <a:pt x="204692" y="43434"/>
                      <a:pt x="187547" y="14288"/>
                    </a:cubicBezTo>
                    <a:cubicBezTo>
                      <a:pt x="169926" y="19526"/>
                      <a:pt x="153067" y="26480"/>
                      <a:pt x="137255" y="35052"/>
                    </a:cubicBezTo>
                    <a:cubicBezTo>
                      <a:pt x="145828" y="67818"/>
                      <a:pt x="138970" y="94298"/>
                      <a:pt x="116681" y="116586"/>
                    </a:cubicBezTo>
                    <a:cubicBezTo>
                      <a:pt x="94393" y="138875"/>
                      <a:pt x="67913" y="151733"/>
                      <a:pt x="35147" y="143161"/>
                    </a:cubicBezTo>
                    <a:cubicBezTo>
                      <a:pt x="26575" y="159067"/>
                      <a:pt x="19621" y="175832"/>
                      <a:pt x="14288" y="193453"/>
                    </a:cubicBezTo>
                    <a:cubicBezTo>
                      <a:pt x="43529" y="210598"/>
                      <a:pt x="62865" y="235458"/>
                      <a:pt x="62865" y="266891"/>
                    </a:cubicBezTo>
                    <a:cubicBezTo>
                      <a:pt x="62865" y="298418"/>
                      <a:pt x="43434" y="329279"/>
                      <a:pt x="14288" y="346424"/>
                    </a:cubicBezTo>
                    <a:cubicBezTo>
                      <a:pt x="19526" y="364046"/>
                      <a:pt x="26479" y="380905"/>
                      <a:pt x="35147" y="396716"/>
                    </a:cubicBezTo>
                    <a:cubicBezTo>
                      <a:pt x="67913" y="388144"/>
                      <a:pt x="94393" y="395002"/>
                      <a:pt x="116681" y="417195"/>
                    </a:cubicBezTo>
                    <a:cubicBezTo>
                      <a:pt x="138970" y="439483"/>
                      <a:pt x="145733" y="465963"/>
                      <a:pt x="137255" y="498729"/>
                    </a:cubicBezTo>
                    <a:cubicBezTo>
                      <a:pt x="153067" y="507302"/>
                      <a:pt x="169926" y="514350"/>
                      <a:pt x="187547" y="519589"/>
                    </a:cubicBezTo>
                    <a:cubicBezTo>
                      <a:pt x="204692" y="490347"/>
                      <a:pt x="235553" y="471011"/>
                      <a:pt x="267081" y="471011"/>
                    </a:cubicBezTo>
                    <a:cubicBezTo>
                      <a:pt x="298609" y="471011"/>
                      <a:pt x="329470" y="490442"/>
                      <a:pt x="346615" y="519589"/>
                    </a:cubicBezTo>
                    <a:cubicBezTo>
                      <a:pt x="364236" y="514350"/>
                      <a:pt x="381095" y="507397"/>
                      <a:pt x="396907" y="498729"/>
                    </a:cubicBezTo>
                    <a:cubicBezTo>
                      <a:pt x="388334" y="465963"/>
                      <a:pt x="395192" y="439483"/>
                      <a:pt x="417481" y="417195"/>
                    </a:cubicBezTo>
                  </a:path>
                </a:pathLst>
              </a:custGeom>
              <a:noFill/>
              <a:ln w="12700" cap="rnd">
                <a:solidFill>
                  <a:srgbClr val="30373B"/>
                </a:solidFill>
                <a:prstDash val="solid"/>
                <a:round/>
              </a:ln>
            </p:spPr>
            <p:txBody>
              <a:bodyPr rtlCol="0" anchor="ctr"/>
              <a:lstStyle/>
              <a:p>
                <a:endParaRPr lang="en-GB" sz="1662"/>
              </a:p>
            </p:txBody>
          </p:sp>
          <p:sp>
            <p:nvSpPr>
              <p:cNvPr id="110" name="Freeform: Shape 204">
                <a:extLst>
                  <a:ext uri="{FF2B5EF4-FFF2-40B4-BE49-F238E27FC236}">
                    <a16:creationId xmlns:a16="http://schemas.microsoft.com/office/drawing/2014/main" id="{16A625E5-5CE9-4666-B424-309EE4FA144D}"/>
                  </a:ext>
                </a:extLst>
              </p:cNvPr>
              <p:cNvSpPr/>
              <p:nvPr/>
            </p:nvSpPr>
            <p:spPr>
              <a:xfrm>
                <a:off x="4769707" y="906959"/>
                <a:ext cx="266700" cy="266700"/>
              </a:xfrm>
              <a:custGeom>
                <a:avLst/>
                <a:gdLst>
                  <a:gd name="connsiteX0" fmla="*/ 257175 w 266700"/>
                  <a:gd name="connsiteY0" fmla="*/ 135731 h 266700"/>
                  <a:gd name="connsiteX1" fmla="*/ 135731 w 266700"/>
                  <a:gd name="connsiteY1" fmla="*/ 257175 h 266700"/>
                  <a:gd name="connsiteX2" fmla="*/ 14288 w 266700"/>
                  <a:gd name="connsiteY2" fmla="*/ 135731 h 266700"/>
                  <a:gd name="connsiteX3" fmla="*/ 135731 w 266700"/>
                  <a:gd name="connsiteY3" fmla="*/ 14288 h 266700"/>
                  <a:gd name="connsiteX4" fmla="*/ 257175 w 266700"/>
                  <a:gd name="connsiteY4" fmla="*/ 135731 h 266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266700">
                    <a:moveTo>
                      <a:pt x="257175" y="135731"/>
                    </a:moveTo>
                    <a:cubicBezTo>
                      <a:pt x="257175" y="202803"/>
                      <a:pt x="202803" y="257175"/>
                      <a:pt x="135731" y="257175"/>
                    </a:cubicBezTo>
                    <a:cubicBezTo>
                      <a:pt x="68660" y="257175"/>
                      <a:pt x="14288" y="202803"/>
                      <a:pt x="14288" y="135731"/>
                    </a:cubicBezTo>
                    <a:cubicBezTo>
                      <a:pt x="14288" y="68660"/>
                      <a:pt x="68660" y="14288"/>
                      <a:pt x="135731" y="14288"/>
                    </a:cubicBezTo>
                    <a:cubicBezTo>
                      <a:pt x="202803" y="14288"/>
                      <a:pt x="257175" y="68660"/>
                      <a:pt x="257175" y="135731"/>
                    </a:cubicBezTo>
                    <a:close/>
                  </a:path>
                </a:pathLst>
              </a:custGeom>
              <a:noFill/>
              <a:ln w="12700" cap="rnd">
                <a:solidFill>
                  <a:srgbClr val="30373B"/>
                </a:solidFill>
                <a:prstDash val="solid"/>
                <a:round/>
              </a:ln>
            </p:spPr>
            <p:txBody>
              <a:bodyPr rtlCol="0" anchor="ctr"/>
              <a:lstStyle/>
              <a:p>
                <a:endParaRPr lang="en-GB" sz="1662"/>
              </a:p>
            </p:txBody>
          </p:sp>
          <p:sp>
            <p:nvSpPr>
              <p:cNvPr id="111" name="Freeform: Shape 205">
                <a:extLst>
                  <a:ext uri="{FF2B5EF4-FFF2-40B4-BE49-F238E27FC236}">
                    <a16:creationId xmlns:a16="http://schemas.microsoft.com/office/drawing/2014/main" id="{36E935E4-B315-46E7-8E47-98ED569EF377}"/>
                  </a:ext>
                </a:extLst>
              </p:cNvPr>
              <p:cNvSpPr/>
              <p:nvPr/>
            </p:nvSpPr>
            <p:spPr>
              <a:xfrm>
                <a:off x="5049496" y="538883"/>
                <a:ext cx="352425" cy="333375"/>
              </a:xfrm>
              <a:custGeom>
                <a:avLst/>
                <a:gdLst>
                  <a:gd name="connsiteX0" fmla="*/ 271899 w 352425"/>
                  <a:gd name="connsiteY0" fmla="*/ 314259 h 333375"/>
                  <a:gd name="connsiteX1" fmla="*/ 272946 w 352425"/>
                  <a:gd name="connsiteY1" fmla="*/ 267492 h 333375"/>
                  <a:gd name="connsiteX2" fmla="*/ 319619 w 352425"/>
                  <a:gd name="connsiteY2" fmla="*/ 263682 h 333375"/>
                  <a:gd name="connsiteX3" fmla="*/ 319619 w 352425"/>
                  <a:gd name="connsiteY3" fmla="*/ 263682 h 333375"/>
                  <a:gd name="connsiteX4" fmla="*/ 338859 w 352425"/>
                  <a:gd name="connsiteY4" fmla="*/ 216533 h 333375"/>
                  <a:gd name="connsiteX5" fmla="*/ 342669 w 352425"/>
                  <a:gd name="connsiteY5" fmla="*/ 165764 h 333375"/>
                  <a:gd name="connsiteX6" fmla="*/ 302569 w 352425"/>
                  <a:gd name="connsiteY6" fmla="*/ 141476 h 333375"/>
                  <a:gd name="connsiteX7" fmla="*/ 322476 w 352425"/>
                  <a:gd name="connsiteY7" fmla="*/ 99185 h 333375"/>
                  <a:gd name="connsiteX8" fmla="*/ 249420 w 352425"/>
                  <a:gd name="connsiteY8" fmla="*/ 30224 h 333375"/>
                  <a:gd name="connsiteX9" fmla="*/ 208367 w 352425"/>
                  <a:gd name="connsiteY9" fmla="*/ 52798 h 333375"/>
                  <a:gd name="connsiteX10" fmla="*/ 181697 w 352425"/>
                  <a:gd name="connsiteY10" fmla="*/ 14317 h 333375"/>
                  <a:gd name="connsiteX11" fmla="*/ 85590 w 352425"/>
                  <a:gd name="connsiteY11" fmla="*/ 43368 h 333375"/>
                  <a:gd name="connsiteX12" fmla="*/ 84542 w 352425"/>
                  <a:gd name="connsiteY12" fmla="*/ 90136 h 333375"/>
                  <a:gd name="connsiteX13" fmla="*/ 37869 w 352425"/>
                  <a:gd name="connsiteY13" fmla="*/ 93946 h 333375"/>
                  <a:gd name="connsiteX14" fmla="*/ 18629 w 352425"/>
                  <a:gd name="connsiteY14" fmla="*/ 141095 h 333375"/>
                  <a:gd name="connsiteX15" fmla="*/ 14819 w 352425"/>
                  <a:gd name="connsiteY15" fmla="*/ 191863 h 333375"/>
                  <a:gd name="connsiteX16" fmla="*/ 54919 w 352425"/>
                  <a:gd name="connsiteY16" fmla="*/ 216152 h 333375"/>
                  <a:gd name="connsiteX17" fmla="*/ 35012 w 352425"/>
                  <a:gd name="connsiteY17" fmla="*/ 258443 h 333375"/>
                  <a:gd name="connsiteX18" fmla="*/ 108069 w 352425"/>
                  <a:gd name="connsiteY18" fmla="*/ 327404 h 333375"/>
                  <a:gd name="connsiteX19" fmla="*/ 149121 w 352425"/>
                  <a:gd name="connsiteY19" fmla="*/ 304829 h 333375"/>
                  <a:gd name="connsiteX20" fmla="*/ 167695 w 352425"/>
                  <a:gd name="connsiteY20" fmla="*/ 225582 h 333375"/>
                  <a:gd name="connsiteX21" fmla="*/ 131976 w 352425"/>
                  <a:gd name="connsiteY21" fmla="*/ 167860 h 333375"/>
                  <a:gd name="connsiteX22" fmla="*/ 189698 w 352425"/>
                  <a:gd name="connsiteY22" fmla="*/ 132141 h 333375"/>
                  <a:gd name="connsiteX23" fmla="*/ 225417 w 352425"/>
                  <a:gd name="connsiteY23" fmla="*/ 189863 h 333375"/>
                  <a:gd name="connsiteX24" fmla="*/ 167695 w 352425"/>
                  <a:gd name="connsiteY24" fmla="*/ 225582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2425" h="333375">
                    <a:moveTo>
                      <a:pt x="271899" y="314259"/>
                    </a:moveTo>
                    <a:cubicBezTo>
                      <a:pt x="260469" y="300829"/>
                      <a:pt x="260564" y="280731"/>
                      <a:pt x="272946" y="267492"/>
                    </a:cubicBezTo>
                    <a:cubicBezTo>
                      <a:pt x="285329" y="254252"/>
                      <a:pt x="305522" y="253013"/>
                      <a:pt x="319619" y="263682"/>
                    </a:cubicBezTo>
                    <a:moveTo>
                      <a:pt x="319619" y="263682"/>
                    </a:moveTo>
                    <a:cubicBezTo>
                      <a:pt x="328191" y="249394"/>
                      <a:pt x="334764" y="233678"/>
                      <a:pt x="338859" y="216533"/>
                    </a:cubicBezTo>
                    <a:cubicBezTo>
                      <a:pt x="342860" y="199483"/>
                      <a:pt x="344003" y="182433"/>
                      <a:pt x="342669" y="165764"/>
                    </a:cubicBezTo>
                    <a:cubicBezTo>
                      <a:pt x="325239" y="169003"/>
                      <a:pt x="307808" y="158907"/>
                      <a:pt x="302569" y="141476"/>
                    </a:cubicBezTo>
                    <a:cubicBezTo>
                      <a:pt x="297330" y="124140"/>
                      <a:pt x="306189" y="106138"/>
                      <a:pt x="322476" y="99185"/>
                    </a:cubicBezTo>
                    <a:cubicBezTo>
                      <a:pt x="306189" y="69657"/>
                      <a:pt x="280947" y="45273"/>
                      <a:pt x="249420" y="30224"/>
                    </a:cubicBezTo>
                    <a:cubicBezTo>
                      <a:pt x="243514" y="46988"/>
                      <a:pt x="225988" y="56989"/>
                      <a:pt x="208367" y="52798"/>
                    </a:cubicBezTo>
                    <a:cubicBezTo>
                      <a:pt x="190746" y="48607"/>
                      <a:pt x="179506" y="31843"/>
                      <a:pt x="181697" y="14317"/>
                    </a:cubicBezTo>
                    <a:cubicBezTo>
                      <a:pt x="146740" y="13650"/>
                      <a:pt x="113307" y="24318"/>
                      <a:pt x="85590" y="43368"/>
                    </a:cubicBezTo>
                    <a:cubicBezTo>
                      <a:pt x="97020" y="56798"/>
                      <a:pt x="96924" y="76896"/>
                      <a:pt x="84542" y="90136"/>
                    </a:cubicBezTo>
                    <a:cubicBezTo>
                      <a:pt x="72159" y="103376"/>
                      <a:pt x="51966" y="104614"/>
                      <a:pt x="37869" y="93946"/>
                    </a:cubicBezTo>
                    <a:cubicBezTo>
                      <a:pt x="29297" y="108233"/>
                      <a:pt x="22725" y="123950"/>
                      <a:pt x="18629" y="141095"/>
                    </a:cubicBezTo>
                    <a:cubicBezTo>
                      <a:pt x="14628" y="158145"/>
                      <a:pt x="13485" y="175194"/>
                      <a:pt x="14819" y="191863"/>
                    </a:cubicBezTo>
                    <a:cubicBezTo>
                      <a:pt x="32250" y="188624"/>
                      <a:pt x="49680" y="198721"/>
                      <a:pt x="54919" y="216152"/>
                    </a:cubicBezTo>
                    <a:cubicBezTo>
                      <a:pt x="60158" y="233487"/>
                      <a:pt x="51300" y="251489"/>
                      <a:pt x="35012" y="258443"/>
                    </a:cubicBezTo>
                    <a:cubicBezTo>
                      <a:pt x="51300" y="287970"/>
                      <a:pt x="76541" y="312354"/>
                      <a:pt x="108069" y="327404"/>
                    </a:cubicBezTo>
                    <a:cubicBezTo>
                      <a:pt x="113974" y="310640"/>
                      <a:pt x="131500" y="300639"/>
                      <a:pt x="149121" y="304829"/>
                    </a:cubicBezTo>
                    <a:moveTo>
                      <a:pt x="167695" y="225582"/>
                    </a:moveTo>
                    <a:cubicBezTo>
                      <a:pt x="141882" y="219485"/>
                      <a:pt x="125880" y="193673"/>
                      <a:pt x="131976" y="167860"/>
                    </a:cubicBezTo>
                    <a:cubicBezTo>
                      <a:pt x="138072" y="142047"/>
                      <a:pt x="163885" y="126045"/>
                      <a:pt x="189698" y="132141"/>
                    </a:cubicBezTo>
                    <a:cubicBezTo>
                      <a:pt x="215511" y="138237"/>
                      <a:pt x="231513" y="164050"/>
                      <a:pt x="225417" y="189863"/>
                    </a:cubicBezTo>
                    <a:cubicBezTo>
                      <a:pt x="219416" y="215675"/>
                      <a:pt x="193508" y="231678"/>
                      <a:pt x="167695" y="225582"/>
                    </a:cubicBezTo>
                    <a:close/>
                  </a:path>
                </a:pathLst>
              </a:custGeom>
              <a:noFill/>
              <a:ln w="12700" cap="rnd">
                <a:solidFill>
                  <a:srgbClr val="30373B"/>
                </a:solidFill>
                <a:prstDash val="solid"/>
                <a:round/>
              </a:ln>
            </p:spPr>
            <p:txBody>
              <a:bodyPr rtlCol="0" anchor="ctr"/>
              <a:lstStyle/>
              <a:p>
                <a:endParaRPr lang="en-GB" sz="1662"/>
              </a:p>
            </p:txBody>
          </p:sp>
        </p:grpSp>
      </p:grpSp>
      <p:grpSp>
        <p:nvGrpSpPr>
          <p:cNvPr id="114" name="Group 511">
            <a:extLst>
              <a:ext uri="{FF2B5EF4-FFF2-40B4-BE49-F238E27FC236}">
                <a16:creationId xmlns:a16="http://schemas.microsoft.com/office/drawing/2014/main" id="{D1946E3B-7A5A-4A20-A5E1-F46D8A80DE98}"/>
              </a:ext>
            </a:extLst>
          </p:cNvPr>
          <p:cNvGrpSpPr/>
          <p:nvPr/>
        </p:nvGrpSpPr>
        <p:grpSpPr>
          <a:xfrm>
            <a:off x="1034260" y="3216233"/>
            <a:ext cx="340199" cy="225698"/>
            <a:chOff x="3777510" y="3275632"/>
            <a:chExt cx="490538" cy="325438"/>
          </a:xfrm>
        </p:grpSpPr>
        <p:grpSp>
          <p:nvGrpSpPr>
            <p:cNvPr id="115" name="Group 512">
              <a:extLst>
                <a:ext uri="{FF2B5EF4-FFF2-40B4-BE49-F238E27FC236}">
                  <a16:creationId xmlns:a16="http://schemas.microsoft.com/office/drawing/2014/main" id="{39966A9A-C9F2-4429-8631-2E183A7CE40F}"/>
                </a:ext>
              </a:extLst>
            </p:cNvPr>
            <p:cNvGrpSpPr/>
            <p:nvPr/>
          </p:nvGrpSpPr>
          <p:grpSpPr>
            <a:xfrm>
              <a:off x="3777510" y="3275632"/>
              <a:ext cx="396876" cy="241300"/>
              <a:chOff x="3777510" y="3275632"/>
              <a:chExt cx="396876" cy="241300"/>
            </a:xfrm>
            <a:solidFill>
              <a:schemeClr val="accent2"/>
            </a:solidFill>
          </p:grpSpPr>
          <p:sp>
            <p:nvSpPr>
              <p:cNvPr id="124" name="Freeform 114">
                <a:extLst>
                  <a:ext uri="{FF2B5EF4-FFF2-40B4-BE49-F238E27FC236}">
                    <a16:creationId xmlns:a16="http://schemas.microsoft.com/office/drawing/2014/main" id="{04D58FBE-5A4A-457F-8972-10274B4E3946}"/>
                  </a:ext>
                </a:extLst>
              </p:cNvPr>
              <p:cNvSpPr>
                <a:spLocks/>
              </p:cNvSpPr>
              <p:nvPr/>
            </p:nvSpPr>
            <p:spPr bwMode="auto">
              <a:xfrm>
                <a:off x="3807673" y="3275632"/>
                <a:ext cx="366713" cy="241300"/>
              </a:xfrm>
              <a:custGeom>
                <a:avLst/>
                <a:gdLst>
                  <a:gd name="T0" fmla="*/ 71 w 82"/>
                  <a:gd name="T1" fmla="*/ 1 h 54"/>
                  <a:gd name="T2" fmla="*/ 68 w 82"/>
                  <a:gd name="T3" fmla="*/ 1 h 54"/>
                  <a:gd name="T4" fmla="*/ 56 w 82"/>
                  <a:gd name="T5" fmla="*/ 13 h 54"/>
                  <a:gd name="T6" fmla="*/ 56 w 82"/>
                  <a:gd name="T7" fmla="*/ 19 h 54"/>
                  <a:gd name="T8" fmla="*/ 57 w 82"/>
                  <a:gd name="T9" fmla="*/ 23 h 54"/>
                  <a:gd name="T10" fmla="*/ 55 w 82"/>
                  <a:gd name="T11" fmla="*/ 26 h 54"/>
                  <a:gd name="T12" fmla="*/ 46 w 82"/>
                  <a:gd name="T13" fmla="*/ 26 h 54"/>
                  <a:gd name="T14" fmla="*/ 43 w 82"/>
                  <a:gd name="T15" fmla="*/ 23 h 54"/>
                  <a:gd name="T16" fmla="*/ 44 w 82"/>
                  <a:gd name="T17" fmla="*/ 19 h 54"/>
                  <a:gd name="T18" fmla="*/ 44 w 82"/>
                  <a:gd name="T19" fmla="*/ 13 h 54"/>
                  <a:gd name="T20" fmla="*/ 32 w 82"/>
                  <a:gd name="T21" fmla="*/ 1 h 54"/>
                  <a:gd name="T22" fmla="*/ 16 w 82"/>
                  <a:gd name="T23" fmla="*/ 9 h 54"/>
                  <a:gd name="T24" fmla="*/ 0 w 82"/>
                  <a:gd name="T25" fmla="*/ 39 h 54"/>
                  <a:gd name="T26" fmla="*/ 0 w 82"/>
                  <a:gd name="T27" fmla="*/ 39 h 54"/>
                  <a:gd name="T28" fmla="*/ 18 w 82"/>
                  <a:gd name="T29" fmla="*/ 30 h 54"/>
                  <a:gd name="T30" fmla="*/ 39 w 82"/>
                  <a:gd name="T31" fmla="*/ 51 h 54"/>
                  <a:gd name="T32" fmla="*/ 38 w 82"/>
                  <a:gd name="T33" fmla="*/ 54 h 54"/>
                  <a:gd name="T34" fmla="*/ 38 w 82"/>
                  <a:gd name="T35" fmla="*/ 54 h 54"/>
                  <a:gd name="T36" fmla="*/ 39 w 82"/>
                  <a:gd name="T37" fmla="*/ 50 h 54"/>
                  <a:gd name="T38" fmla="*/ 50 w 82"/>
                  <a:gd name="T39" fmla="*/ 41 h 54"/>
                  <a:gd name="T40" fmla="*/ 61 w 82"/>
                  <a:gd name="T41" fmla="*/ 50 h 54"/>
                  <a:gd name="T42" fmla="*/ 62 w 82"/>
                  <a:gd name="T43" fmla="*/ 54 h 54"/>
                  <a:gd name="T44" fmla="*/ 62 w 82"/>
                  <a:gd name="T45" fmla="*/ 54 h 54"/>
                  <a:gd name="T46" fmla="*/ 61 w 82"/>
                  <a:gd name="T47" fmla="*/ 51 h 54"/>
                  <a:gd name="T48" fmla="*/ 82 w 82"/>
                  <a:gd name="T49" fmla="*/ 30 h 54"/>
                  <a:gd name="T50" fmla="*/ 82 w 82"/>
                  <a:gd name="T51" fmla="*/ 30 h 54"/>
                  <a:gd name="T52" fmla="*/ 71 w 82"/>
                  <a:gd name="T53" fmla="*/ 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54">
                    <a:moveTo>
                      <a:pt x="71" y="1"/>
                    </a:moveTo>
                    <a:cubicBezTo>
                      <a:pt x="70" y="1"/>
                      <a:pt x="69" y="1"/>
                      <a:pt x="68" y="1"/>
                    </a:cubicBezTo>
                    <a:cubicBezTo>
                      <a:pt x="62" y="2"/>
                      <a:pt x="57" y="7"/>
                      <a:pt x="56" y="13"/>
                    </a:cubicBezTo>
                    <a:cubicBezTo>
                      <a:pt x="56" y="15"/>
                      <a:pt x="56" y="17"/>
                      <a:pt x="56" y="19"/>
                    </a:cubicBezTo>
                    <a:cubicBezTo>
                      <a:pt x="57" y="23"/>
                      <a:pt x="57" y="23"/>
                      <a:pt x="57" y="23"/>
                    </a:cubicBezTo>
                    <a:cubicBezTo>
                      <a:pt x="57" y="25"/>
                      <a:pt x="56" y="26"/>
                      <a:pt x="55" y="26"/>
                    </a:cubicBezTo>
                    <a:cubicBezTo>
                      <a:pt x="46" y="26"/>
                      <a:pt x="46" y="26"/>
                      <a:pt x="46" y="26"/>
                    </a:cubicBezTo>
                    <a:cubicBezTo>
                      <a:pt x="44" y="26"/>
                      <a:pt x="43" y="25"/>
                      <a:pt x="43" y="23"/>
                    </a:cubicBezTo>
                    <a:cubicBezTo>
                      <a:pt x="44" y="19"/>
                      <a:pt x="44" y="19"/>
                      <a:pt x="44" y="19"/>
                    </a:cubicBezTo>
                    <a:cubicBezTo>
                      <a:pt x="44" y="17"/>
                      <a:pt x="44" y="15"/>
                      <a:pt x="44" y="13"/>
                    </a:cubicBezTo>
                    <a:cubicBezTo>
                      <a:pt x="43" y="7"/>
                      <a:pt x="38" y="2"/>
                      <a:pt x="32" y="1"/>
                    </a:cubicBezTo>
                    <a:cubicBezTo>
                      <a:pt x="25" y="0"/>
                      <a:pt x="19" y="4"/>
                      <a:pt x="16" y="9"/>
                    </a:cubicBezTo>
                    <a:cubicBezTo>
                      <a:pt x="0" y="39"/>
                      <a:pt x="0" y="39"/>
                      <a:pt x="0" y="39"/>
                    </a:cubicBezTo>
                    <a:cubicBezTo>
                      <a:pt x="0" y="39"/>
                      <a:pt x="0" y="39"/>
                      <a:pt x="0" y="39"/>
                    </a:cubicBezTo>
                    <a:cubicBezTo>
                      <a:pt x="4" y="34"/>
                      <a:pt x="10" y="30"/>
                      <a:pt x="18" y="30"/>
                    </a:cubicBezTo>
                    <a:cubicBezTo>
                      <a:pt x="29" y="30"/>
                      <a:pt x="39" y="39"/>
                      <a:pt x="39" y="51"/>
                    </a:cubicBezTo>
                    <a:cubicBezTo>
                      <a:pt x="39" y="52"/>
                      <a:pt x="39" y="53"/>
                      <a:pt x="38" y="54"/>
                    </a:cubicBezTo>
                    <a:cubicBezTo>
                      <a:pt x="38" y="54"/>
                      <a:pt x="38" y="54"/>
                      <a:pt x="38" y="54"/>
                    </a:cubicBezTo>
                    <a:cubicBezTo>
                      <a:pt x="39" y="50"/>
                      <a:pt x="39" y="50"/>
                      <a:pt x="39" y="50"/>
                    </a:cubicBezTo>
                    <a:cubicBezTo>
                      <a:pt x="40" y="45"/>
                      <a:pt x="45" y="41"/>
                      <a:pt x="50" y="41"/>
                    </a:cubicBezTo>
                    <a:cubicBezTo>
                      <a:pt x="56" y="41"/>
                      <a:pt x="60" y="45"/>
                      <a:pt x="61" y="50"/>
                    </a:cubicBezTo>
                    <a:cubicBezTo>
                      <a:pt x="62" y="54"/>
                      <a:pt x="62" y="54"/>
                      <a:pt x="62" y="54"/>
                    </a:cubicBezTo>
                    <a:cubicBezTo>
                      <a:pt x="62" y="54"/>
                      <a:pt x="62" y="54"/>
                      <a:pt x="62" y="54"/>
                    </a:cubicBezTo>
                    <a:cubicBezTo>
                      <a:pt x="61" y="53"/>
                      <a:pt x="61" y="52"/>
                      <a:pt x="61" y="51"/>
                    </a:cubicBezTo>
                    <a:cubicBezTo>
                      <a:pt x="61" y="39"/>
                      <a:pt x="71" y="30"/>
                      <a:pt x="82" y="30"/>
                    </a:cubicBezTo>
                    <a:cubicBezTo>
                      <a:pt x="82" y="30"/>
                      <a:pt x="82" y="30"/>
                      <a:pt x="82" y="30"/>
                    </a:cubicBezTo>
                    <a:lnTo>
                      <a:pt x="71" y="1"/>
                    </a:lnTo>
                    <a:close/>
                  </a:path>
                </a:pathLst>
              </a:custGeom>
              <a:solidFill>
                <a:srgbClr val="8AA299"/>
              </a:solidFill>
              <a:ln w="12700">
                <a:noFill/>
              </a:ln>
            </p:spPr>
            <p:txBody>
              <a:bodyPr vert="horz" wrap="square" lIns="84406" tIns="42203" rIns="84406" bIns="42203" numCol="1" anchor="t" anchorCtr="0" compatLnSpc="1">
                <a:prstTxWarp prst="textNoShape">
                  <a:avLst/>
                </a:prstTxWarp>
              </a:bodyPr>
              <a:lstStyle/>
              <a:p>
                <a:endParaRPr lang="en-GB" sz="1662"/>
              </a:p>
            </p:txBody>
          </p:sp>
          <p:sp>
            <p:nvSpPr>
              <p:cNvPr id="125" name="Freeform 115">
                <a:extLst>
                  <a:ext uri="{FF2B5EF4-FFF2-40B4-BE49-F238E27FC236}">
                    <a16:creationId xmlns:a16="http://schemas.microsoft.com/office/drawing/2014/main" id="{9D4A8208-6D4D-4F31-A20B-89F5C9B021BA}"/>
                  </a:ext>
                </a:extLst>
              </p:cNvPr>
              <p:cNvSpPr>
                <a:spLocks/>
              </p:cNvSpPr>
              <p:nvPr/>
            </p:nvSpPr>
            <p:spPr bwMode="auto">
              <a:xfrm>
                <a:off x="3777510" y="3288332"/>
                <a:ext cx="138113" cy="184150"/>
              </a:xfrm>
              <a:custGeom>
                <a:avLst/>
                <a:gdLst>
                  <a:gd name="T0" fmla="*/ 31 w 31"/>
                  <a:gd name="T1" fmla="*/ 1 h 41"/>
                  <a:gd name="T2" fmla="*/ 15 w 31"/>
                  <a:gd name="T3" fmla="*/ 9 h 41"/>
                  <a:gd name="T4" fmla="*/ 2 w 31"/>
                  <a:gd name="T5" fmla="*/ 34 h 41"/>
                  <a:gd name="T6" fmla="*/ 5 w 31"/>
                  <a:gd name="T7" fmla="*/ 41 h 41"/>
                  <a:gd name="T8" fmla="*/ 5 w 31"/>
                  <a:gd name="T9" fmla="*/ 41 h 41"/>
                  <a:gd name="T10" fmla="*/ 16 w 31"/>
                  <a:gd name="T11" fmla="*/ 30 h 41"/>
                </a:gdLst>
                <a:ahLst/>
                <a:cxnLst>
                  <a:cxn ang="0">
                    <a:pos x="T0" y="T1"/>
                  </a:cxn>
                  <a:cxn ang="0">
                    <a:pos x="T2" y="T3"/>
                  </a:cxn>
                  <a:cxn ang="0">
                    <a:pos x="T4" y="T5"/>
                  </a:cxn>
                  <a:cxn ang="0">
                    <a:pos x="T6" y="T7"/>
                  </a:cxn>
                  <a:cxn ang="0">
                    <a:pos x="T8" y="T9"/>
                  </a:cxn>
                  <a:cxn ang="0">
                    <a:pos x="T10" y="T11"/>
                  </a:cxn>
                </a:cxnLst>
                <a:rect l="0" t="0" r="r" b="b"/>
                <a:pathLst>
                  <a:path w="31" h="41">
                    <a:moveTo>
                      <a:pt x="31" y="1"/>
                    </a:moveTo>
                    <a:cubicBezTo>
                      <a:pt x="24" y="0"/>
                      <a:pt x="18" y="3"/>
                      <a:pt x="15" y="9"/>
                    </a:cubicBezTo>
                    <a:cubicBezTo>
                      <a:pt x="2" y="34"/>
                      <a:pt x="2" y="34"/>
                      <a:pt x="2" y="34"/>
                    </a:cubicBezTo>
                    <a:cubicBezTo>
                      <a:pt x="0" y="37"/>
                      <a:pt x="2" y="40"/>
                      <a:pt x="5" y="41"/>
                    </a:cubicBezTo>
                    <a:cubicBezTo>
                      <a:pt x="5" y="41"/>
                      <a:pt x="5" y="41"/>
                      <a:pt x="5" y="41"/>
                    </a:cubicBezTo>
                    <a:cubicBezTo>
                      <a:pt x="8" y="36"/>
                      <a:pt x="9" y="30"/>
                      <a:pt x="16" y="30"/>
                    </a:cubicBezTo>
                  </a:path>
                </a:pathLst>
              </a:custGeom>
              <a:solidFill>
                <a:srgbClr val="8AA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662"/>
              </a:p>
            </p:txBody>
          </p:sp>
        </p:grpSp>
        <p:grpSp>
          <p:nvGrpSpPr>
            <p:cNvPr id="116" name="Group 514">
              <a:extLst>
                <a:ext uri="{FF2B5EF4-FFF2-40B4-BE49-F238E27FC236}">
                  <a16:creationId xmlns:a16="http://schemas.microsoft.com/office/drawing/2014/main" id="{0F26853D-0938-4D63-AC22-41F47A01BD3B}"/>
                </a:ext>
              </a:extLst>
            </p:cNvPr>
            <p:cNvGrpSpPr/>
            <p:nvPr/>
          </p:nvGrpSpPr>
          <p:grpSpPr>
            <a:xfrm>
              <a:off x="3794973" y="3278807"/>
              <a:ext cx="473075" cy="322263"/>
              <a:chOff x="3794973" y="3278807"/>
              <a:chExt cx="473075" cy="322263"/>
            </a:xfrm>
          </p:grpSpPr>
          <p:sp>
            <p:nvSpPr>
              <p:cNvPr id="117" name="Oval 116">
                <a:extLst>
                  <a:ext uri="{FF2B5EF4-FFF2-40B4-BE49-F238E27FC236}">
                    <a16:creationId xmlns:a16="http://schemas.microsoft.com/office/drawing/2014/main" id="{8ACB1137-FACF-4B0A-A7B0-3B956FE9E6B8}"/>
                  </a:ext>
                </a:extLst>
              </p:cNvPr>
              <p:cNvSpPr>
                <a:spLocks noChangeArrowheads="1"/>
              </p:cNvSpPr>
              <p:nvPr/>
            </p:nvSpPr>
            <p:spPr bwMode="auto">
              <a:xfrm>
                <a:off x="3794973" y="3413745"/>
                <a:ext cx="187325" cy="187325"/>
              </a:xfrm>
              <a:prstGeom prst="ellipse">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en-GB" sz="1662"/>
              </a:p>
            </p:txBody>
          </p:sp>
          <p:sp>
            <p:nvSpPr>
              <p:cNvPr id="118" name="Freeform 117">
                <a:extLst>
                  <a:ext uri="{FF2B5EF4-FFF2-40B4-BE49-F238E27FC236}">
                    <a16:creationId xmlns:a16="http://schemas.microsoft.com/office/drawing/2014/main" id="{70E687EB-8566-4E56-8D9B-98BC3A76F80D}"/>
                  </a:ext>
                </a:extLst>
              </p:cNvPr>
              <p:cNvSpPr>
                <a:spLocks/>
              </p:cNvSpPr>
              <p:nvPr/>
            </p:nvSpPr>
            <p:spPr bwMode="auto">
              <a:xfrm>
                <a:off x="3888635" y="3448670"/>
                <a:ext cx="58738" cy="103188"/>
              </a:xfrm>
              <a:custGeom>
                <a:avLst/>
                <a:gdLst>
                  <a:gd name="T0" fmla="*/ 0 w 13"/>
                  <a:gd name="T1" fmla="*/ 0 h 23"/>
                  <a:gd name="T2" fmla="*/ 13 w 13"/>
                  <a:gd name="T3" fmla="*/ 13 h 23"/>
                  <a:gd name="T4" fmla="*/ 7 w 13"/>
                  <a:gd name="T5" fmla="*/ 23 h 23"/>
                </a:gdLst>
                <a:ahLst/>
                <a:cxnLst>
                  <a:cxn ang="0">
                    <a:pos x="T0" y="T1"/>
                  </a:cxn>
                  <a:cxn ang="0">
                    <a:pos x="T2" y="T3"/>
                  </a:cxn>
                  <a:cxn ang="0">
                    <a:pos x="T4" y="T5"/>
                  </a:cxn>
                </a:cxnLst>
                <a:rect l="0" t="0" r="r" b="b"/>
                <a:pathLst>
                  <a:path w="13" h="23">
                    <a:moveTo>
                      <a:pt x="0" y="0"/>
                    </a:moveTo>
                    <a:cubicBezTo>
                      <a:pt x="7" y="0"/>
                      <a:pt x="13" y="5"/>
                      <a:pt x="13" y="13"/>
                    </a:cubicBezTo>
                    <a:cubicBezTo>
                      <a:pt x="13" y="17"/>
                      <a:pt x="11" y="21"/>
                      <a:pt x="7" y="23"/>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en-GB" sz="1662"/>
              </a:p>
            </p:txBody>
          </p:sp>
          <p:sp>
            <p:nvSpPr>
              <p:cNvPr id="119" name="Freeform 118">
                <a:extLst>
                  <a:ext uri="{FF2B5EF4-FFF2-40B4-BE49-F238E27FC236}">
                    <a16:creationId xmlns:a16="http://schemas.microsoft.com/office/drawing/2014/main" id="{DF29E2CC-AAF0-4279-97C4-E1D2CA916B3C}"/>
                  </a:ext>
                </a:extLst>
              </p:cNvPr>
              <p:cNvSpPr>
                <a:spLocks/>
              </p:cNvSpPr>
              <p:nvPr/>
            </p:nvSpPr>
            <p:spPr bwMode="auto">
              <a:xfrm>
                <a:off x="4080723" y="3413745"/>
                <a:ext cx="187325" cy="187325"/>
              </a:xfrm>
              <a:custGeom>
                <a:avLst/>
                <a:gdLst>
                  <a:gd name="T0" fmla="*/ 28 w 42"/>
                  <a:gd name="T1" fmla="*/ 41 h 42"/>
                  <a:gd name="T2" fmla="*/ 21 w 42"/>
                  <a:gd name="T3" fmla="*/ 42 h 42"/>
                  <a:gd name="T4" fmla="*/ 0 w 42"/>
                  <a:gd name="T5" fmla="*/ 21 h 42"/>
                  <a:gd name="T6" fmla="*/ 21 w 42"/>
                  <a:gd name="T7" fmla="*/ 0 h 42"/>
                  <a:gd name="T8" fmla="*/ 42 w 42"/>
                  <a:gd name="T9" fmla="*/ 19 h 42"/>
                </a:gdLst>
                <a:ahLst/>
                <a:cxnLst>
                  <a:cxn ang="0">
                    <a:pos x="T0" y="T1"/>
                  </a:cxn>
                  <a:cxn ang="0">
                    <a:pos x="T2" y="T3"/>
                  </a:cxn>
                  <a:cxn ang="0">
                    <a:pos x="T4" y="T5"/>
                  </a:cxn>
                  <a:cxn ang="0">
                    <a:pos x="T6" y="T7"/>
                  </a:cxn>
                  <a:cxn ang="0">
                    <a:pos x="T8" y="T9"/>
                  </a:cxn>
                </a:cxnLst>
                <a:rect l="0" t="0" r="r" b="b"/>
                <a:pathLst>
                  <a:path w="42" h="42">
                    <a:moveTo>
                      <a:pt x="28" y="41"/>
                    </a:moveTo>
                    <a:cubicBezTo>
                      <a:pt x="26" y="41"/>
                      <a:pt x="24" y="42"/>
                      <a:pt x="21" y="42"/>
                    </a:cubicBezTo>
                    <a:cubicBezTo>
                      <a:pt x="10" y="42"/>
                      <a:pt x="0" y="32"/>
                      <a:pt x="0" y="21"/>
                    </a:cubicBezTo>
                    <a:cubicBezTo>
                      <a:pt x="0" y="9"/>
                      <a:pt x="10" y="0"/>
                      <a:pt x="21" y="0"/>
                    </a:cubicBezTo>
                    <a:cubicBezTo>
                      <a:pt x="32" y="0"/>
                      <a:pt x="41" y="8"/>
                      <a:pt x="42" y="19"/>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en-GB" sz="1662"/>
              </a:p>
            </p:txBody>
          </p:sp>
          <p:sp>
            <p:nvSpPr>
              <p:cNvPr id="120" name="Line 119">
                <a:extLst>
                  <a:ext uri="{FF2B5EF4-FFF2-40B4-BE49-F238E27FC236}">
                    <a16:creationId xmlns:a16="http://schemas.microsoft.com/office/drawing/2014/main" id="{E0BE9875-E023-4473-B070-0C7D39AF5F58}"/>
                  </a:ext>
                </a:extLst>
              </p:cNvPr>
              <p:cNvSpPr>
                <a:spLocks noChangeShapeType="1"/>
              </p:cNvSpPr>
              <p:nvPr/>
            </p:nvSpPr>
            <p:spPr bwMode="auto">
              <a:xfrm flipH="1" flipV="1">
                <a:off x="4223598" y="3391520"/>
                <a:ext cx="31750" cy="61913"/>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en-GB" sz="1662"/>
              </a:p>
            </p:txBody>
          </p:sp>
          <p:sp>
            <p:nvSpPr>
              <p:cNvPr id="121" name="Freeform 120">
                <a:extLst>
                  <a:ext uri="{FF2B5EF4-FFF2-40B4-BE49-F238E27FC236}">
                    <a16:creationId xmlns:a16="http://schemas.microsoft.com/office/drawing/2014/main" id="{F9ED20E5-96FC-48B8-B5AC-9B61B05A3E3C}"/>
                  </a:ext>
                </a:extLst>
              </p:cNvPr>
              <p:cNvSpPr>
                <a:spLocks/>
              </p:cNvSpPr>
              <p:nvPr/>
            </p:nvSpPr>
            <p:spPr bwMode="auto">
              <a:xfrm>
                <a:off x="4174385" y="3448670"/>
                <a:ext cx="58738" cy="103188"/>
              </a:xfrm>
              <a:custGeom>
                <a:avLst/>
                <a:gdLst>
                  <a:gd name="T0" fmla="*/ 0 w 13"/>
                  <a:gd name="T1" fmla="*/ 0 h 23"/>
                  <a:gd name="T2" fmla="*/ 13 w 13"/>
                  <a:gd name="T3" fmla="*/ 13 h 23"/>
                  <a:gd name="T4" fmla="*/ 8 w 13"/>
                  <a:gd name="T5" fmla="*/ 23 h 23"/>
                </a:gdLst>
                <a:ahLst/>
                <a:cxnLst>
                  <a:cxn ang="0">
                    <a:pos x="T0" y="T1"/>
                  </a:cxn>
                  <a:cxn ang="0">
                    <a:pos x="T2" y="T3"/>
                  </a:cxn>
                  <a:cxn ang="0">
                    <a:pos x="T4" y="T5"/>
                  </a:cxn>
                </a:cxnLst>
                <a:rect l="0" t="0" r="r" b="b"/>
                <a:pathLst>
                  <a:path w="13" h="23">
                    <a:moveTo>
                      <a:pt x="0" y="0"/>
                    </a:moveTo>
                    <a:cubicBezTo>
                      <a:pt x="8" y="0"/>
                      <a:pt x="13" y="5"/>
                      <a:pt x="13" y="13"/>
                    </a:cubicBezTo>
                    <a:cubicBezTo>
                      <a:pt x="13" y="17"/>
                      <a:pt x="11" y="21"/>
                      <a:pt x="8" y="23"/>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en-GB" sz="1662"/>
              </a:p>
            </p:txBody>
          </p:sp>
          <p:sp>
            <p:nvSpPr>
              <p:cNvPr id="122" name="Freeform 121">
                <a:extLst>
                  <a:ext uri="{FF2B5EF4-FFF2-40B4-BE49-F238E27FC236}">
                    <a16:creationId xmlns:a16="http://schemas.microsoft.com/office/drawing/2014/main" id="{B67D53C7-6B13-4770-8999-41FD17BD82FA}"/>
                  </a:ext>
                </a:extLst>
              </p:cNvPr>
              <p:cNvSpPr>
                <a:spLocks/>
              </p:cNvSpPr>
              <p:nvPr/>
            </p:nvSpPr>
            <p:spPr bwMode="auto">
              <a:xfrm>
                <a:off x="3977535" y="3458195"/>
                <a:ext cx="107950" cy="63500"/>
              </a:xfrm>
              <a:custGeom>
                <a:avLst/>
                <a:gdLst>
                  <a:gd name="T0" fmla="*/ 0 w 24"/>
                  <a:gd name="T1" fmla="*/ 14 h 14"/>
                  <a:gd name="T2" fmla="*/ 1 w 24"/>
                  <a:gd name="T3" fmla="*/ 10 h 14"/>
                  <a:gd name="T4" fmla="*/ 12 w 24"/>
                  <a:gd name="T5" fmla="*/ 0 h 14"/>
                  <a:gd name="T6" fmla="*/ 12 w 24"/>
                  <a:gd name="T7" fmla="*/ 0 h 14"/>
                  <a:gd name="T8" fmla="*/ 23 w 24"/>
                  <a:gd name="T9" fmla="*/ 10 h 14"/>
                  <a:gd name="T10" fmla="*/ 24 w 24"/>
                  <a:gd name="T11" fmla="*/ 13 h 14"/>
                </a:gdLst>
                <a:ahLst/>
                <a:cxnLst>
                  <a:cxn ang="0">
                    <a:pos x="T0" y="T1"/>
                  </a:cxn>
                  <a:cxn ang="0">
                    <a:pos x="T2" y="T3"/>
                  </a:cxn>
                  <a:cxn ang="0">
                    <a:pos x="T4" y="T5"/>
                  </a:cxn>
                  <a:cxn ang="0">
                    <a:pos x="T6" y="T7"/>
                  </a:cxn>
                  <a:cxn ang="0">
                    <a:pos x="T8" y="T9"/>
                  </a:cxn>
                  <a:cxn ang="0">
                    <a:pos x="T10" y="T11"/>
                  </a:cxn>
                </a:cxnLst>
                <a:rect l="0" t="0" r="r" b="b"/>
                <a:pathLst>
                  <a:path w="24" h="14">
                    <a:moveTo>
                      <a:pt x="0" y="14"/>
                    </a:moveTo>
                    <a:cubicBezTo>
                      <a:pt x="1" y="10"/>
                      <a:pt x="1" y="10"/>
                      <a:pt x="1" y="10"/>
                    </a:cubicBezTo>
                    <a:cubicBezTo>
                      <a:pt x="2" y="4"/>
                      <a:pt x="7" y="0"/>
                      <a:pt x="12" y="0"/>
                    </a:cubicBezTo>
                    <a:cubicBezTo>
                      <a:pt x="12" y="0"/>
                      <a:pt x="12" y="0"/>
                      <a:pt x="12" y="0"/>
                    </a:cubicBezTo>
                    <a:cubicBezTo>
                      <a:pt x="18" y="0"/>
                      <a:pt x="22" y="4"/>
                      <a:pt x="23" y="10"/>
                    </a:cubicBezTo>
                    <a:cubicBezTo>
                      <a:pt x="24" y="13"/>
                      <a:pt x="24" y="13"/>
                      <a:pt x="24" y="13"/>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en-GB" sz="1662"/>
              </a:p>
            </p:txBody>
          </p:sp>
          <p:sp>
            <p:nvSpPr>
              <p:cNvPr id="123" name="Freeform 122">
                <a:extLst>
                  <a:ext uri="{FF2B5EF4-FFF2-40B4-BE49-F238E27FC236}">
                    <a16:creationId xmlns:a16="http://schemas.microsoft.com/office/drawing/2014/main" id="{29D6CC5D-2942-4C27-89CE-0DC166D07341}"/>
                  </a:ext>
                </a:extLst>
              </p:cNvPr>
              <p:cNvSpPr>
                <a:spLocks/>
              </p:cNvSpPr>
              <p:nvPr/>
            </p:nvSpPr>
            <p:spPr bwMode="auto">
              <a:xfrm>
                <a:off x="3807673" y="3278807"/>
                <a:ext cx="415925" cy="174625"/>
              </a:xfrm>
              <a:custGeom>
                <a:avLst/>
                <a:gdLst>
                  <a:gd name="T0" fmla="*/ 0 w 93"/>
                  <a:gd name="T1" fmla="*/ 39 h 39"/>
                  <a:gd name="T2" fmla="*/ 16 w 93"/>
                  <a:gd name="T3" fmla="*/ 9 h 39"/>
                  <a:gd name="T4" fmla="*/ 32 w 93"/>
                  <a:gd name="T5" fmla="*/ 1 h 39"/>
                  <a:gd name="T6" fmla="*/ 44 w 93"/>
                  <a:gd name="T7" fmla="*/ 13 h 39"/>
                  <a:gd name="T8" fmla="*/ 44 w 93"/>
                  <a:gd name="T9" fmla="*/ 19 h 39"/>
                  <a:gd name="T10" fmla="*/ 43 w 93"/>
                  <a:gd name="T11" fmla="*/ 23 h 39"/>
                  <a:gd name="T12" fmla="*/ 46 w 93"/>
                  <a:gd name="T13" fmla="*/ 26 h 39"/>
                  <a:gd name="T14" fmla="*/ 55 w 93"/>
                  <a:gd name="T15" fmla="*/ 26 h 39"/>
                  <a:gd name="T16" fmla="*/ 57 w 93"/>
                  <a:gd name="T17" fmla="*/ 23 h 39"/>
                  <a:gd name="T18" fmla="*/ 56 w 93"/>
                  <a:gd name="T19" fmla="*/ 19 h 39"/>
                  <a:gd name="T20" fmla="*/ 56 w 93"/>
                  <a:gd name="T21" fmla="*/ 13 h 39"/>
                  <a:gd name="T22" fmla="*/ 68 w 93"/>
                  <a:gd name="T23" fmla="*/ 1 h 39"/>
                  <a:gd name="T24" fmla="*/ 84 w 93"/>
                  <a:gd name="T25" fmla="*/ 9 h 39"/>
                  <a:gd name="T26" fmla="*/ 93 w 93"/>
                  <a:gd name="T27" fmla="*/ 2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39">
                    <a:moveTo>
                      <a:pt x="0" y="39"/>
                    </a:moveTo>
                    <a:cubicBezTo>
                      <a:pt x="16" y="9"/>
                      <a:pt x="16" y="9"/>
                      <a:pt x="16" y="9"/>
                    </a:cubicBezTo>
                    <a:cubicBezTo>
                      <a:pt x="19" y="3"/>
                      <a:pt x="25" y="0"/>
                      <a:pt x="32" y="1"/>
                    </a:cubicBezTo>
                    <a:cubicBezTo>
                      <a:pt x="38" y="2"/>
                      <a:pt x="43" y="7"/>
                      <a:pt x="44" y="13"/>
                    </a:cubicBezTo>
                    <a:cubicBezTo>
                      <a:pt x="44" y="15"/>
                      <a:pt x="44" y="17"/>
                      <a:pt x="44" y="19"/>
                    </a:cubicBezTo>
                    <a:cubicBezTo>
                      <a:pt x="43" y="23"/>
                      <a:pt x="43" y="23"/>
                      <a:pt x="43" y="23"/>
                    </a:cubicBezTo>
                    <a:cubicBezTo>
                      <a:pt x="43" y="24"/>
                      <a:pt x="44" y="26"/>
                      <a:pt x="46" y="26"/>
                    </a:cubicBezTo>
                    <a:cubicBezTo>
                      <a:pt x="55" y="26"/>
                      <a:pt x="55" y="26"/>
                      <a:pt x="55" y="26"/>
                    </a:cubicBezTo>
                    <a:cubicBezTo>
                      <a:pt x="56" y="26"/>
                      <a:pt x="57" y="24"/>
                      <a:pt x="57" y="23"/>
                    </a:cubicBezTo>
                    <a:cubicBezTo>
                      <a:pt x="56" y="19"/>
                      <a:pt x="56" y="19"/>
                      <a:pt x="56" y="19"/>
                    </a:cubicBezTo>
                    <a:cubicBezTo>
                      <a:pt x="56" y="17"/>
                      <a:pt x="56" y="15"/>
                      <a:pt x="56" y="13"/>
                    </a:cubicBezTo>
                    <a:cubicBezTo>
                      <a:pt x="57" y="7"/>
                      <a:pt x="62" y="2"/>
                      <a:pt x="68" y="1"/>
                    </a:cubicBezTo>
                    <a:cubicBezTo>
                      <a:pt x="75" y="0"/>
                      <a:pt x="81" y="3"/>
                      <a:pt x="84" y="9"/>
                    </a:cubicBezTo>
                    <a:cubicBezTo>
                      <a:pt x="93" y="25"/>
                      <a:pt x="93" y="25"/>
                      <a:pt x="93" y="25"/>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en-GB" sz="1662"/>
              </a:p>
            </p:txBody>
          </p:sp>
        </p:grpSp>
      </p:grpSp>
      <p:grpSp>
        <p:nvGrpSpPr>
          <p:cNvPr id="135" name="Group 397">
            <a:extLst>
              <a:ext uri="{FF2B5EF4-FFF2-40B4-BE49-F238E27FC236}">
                <a16:creationId xmlns:a16="http://schemas.microsoft.com/office/drawing/2014/main" id="{FAFB9E57-5EE5-4167-BEB5-487A10171B56}"/>
              </a:ext>
            </a:extLst>
          </p:cNvPr>
          <p:cNvGrpSpPr/>
          <p:nvPr/>
        </p:nvGrpSpPr>
        <p:grpSpPr>
          <a:xfrm>
            <a:off x="5375655" y="5545970"/>
            <a:ext cx="306489" cy="308490"/>
            <a:chOff x="7810530" y="4271624"/>
            <a:chExt cx="549275" cy="504826"/>
          </a:xfrm>
        </p:grpSpPr>
        <p:grpSp>
          <p:nvGrpSpPr>
            <p:cNvPr id="136" name="Group 396">
              <a:extLst>
                <a:ext uri="{FF2B5EF4-FFF2-40B4-BE49-F238E27FC236}">
                  <a16:creationId xmlns:a16="http://schemas.microsoft.com/office/drawing/2014/main" id="{096A48E4-5185-481E-9015-1915075B00E4}"/>
                </a:ext>
              </a:extLst>
            </p:cNvPr>
            <p:cNvGrpSpPr/>
            <p:nvPr/>
          </p:nvGrpSpPr>
          <p:grpSpPr>
            <a:xfrm>
              <a:off x="7810530" y="4271624"/>
              <a:ext cx="504825" cy="504826"/>
              <a:chOff x="7810530" y="4271624"/>
              <a:chExt cx="504825" cy="504826"/>
            </a:xfrm>
            <a:solidFill>
              <a:schemeClr val="accent2"/>
            </a:solidFill>
          </p:grpSpPr>
          <p:sp>
            <p:nvSpPr>
              <p:cNvPr id="142" name="Freeform 11">
                <a:extLst>
                  <a:ext uri="{FF2B5EF4-FFF2-40B4-BE49-F238E27FC236}">
                    <a16:creationId xmlns:a16="http://schemas.microsoft.com/office/drawing/2014/main" id="{F57B0EB6-E4CF-4183-BC4F-1EB3DB57DF9A}"/>
                  </a:ext>
                </a:extLst>
              </p:cNvPr>
              <p:cNvSpPr>
                <a:spLocks/>
              </p:cNvSpPr>
              <p:nvPr/>
            </p:nvSpPr>
            <p:spPr bwMode="auto">
              <a:xfrm>
                <a:off x="7810530" y="4555787"/>
                <a:ext cx="220663" cy="220663"/>
              </a:xfrm>
              <a:custGeom>
                <a:avLst/>
                <a:gdLst>
                  <a:gd name="T0" fmla="*/ 139 w 139"/>
                  <a:gd name="T1" fmla="*/ 139 h 139"/>
                  <a:gd name="T2" fmla="*/ 0 w 139"/>
                  <a:gd name="T3" fmla="*/ 139 h 139"/>
                  <a:gd name="T4" fmla="*/ 0 w 139"/>
                  <a:gd name="T5" fmla="*/ 0 h 139"/>
                  <a:gd name="T6" fmla="*/ 139 w 139"/>
                  <a:gd name="T7" fmla="*/ 139 h 139"/>
                </a:gdLst>
                <a:ahLst/>
                <a:cxnLst>
                  <a:cxn ang="0">
                    <a:pos x="T0" y="T1"/>
                  </a:cxn>
                  <a:cxn ang="0">
                    <a:pos x="T2" y="T3"/>
                  </a:cxn>
                  <a:cxn ang="0">
                    <a:pos x="T4" y="T5"/>
                  </a:cxn>
                  <a:cxn ang="0">
                    <a:pos x="T6" y="T7"/>
                  </a:cxn>
                </a:cxnLst>
                <a:rect l="0" t="0" r="r" b="b"/>
                <a:pathLst>
                  <a:path w="139" h="139">
                    <a:moveTo>
                      <a:pt x="139" y="139"/>
                    </a:moveTo>
                    <a:lnTo>
                      <a:pt x="0" y="139"/>
                    </a:lnTo>
                    <a:lnTo>
                      <a:pt x="0" y="0"/>
                    </a:lnTo>
                    <a:lnTo>
                      <a:pt x="139" y="139"/>
                    </a:lnTo>
                    <a:close/>
                  </a:path>
                </a:pathLst>
              </a:custGeom>
              <a:solidFill>
                <a:srgbClr val="8AA299"/>
              </a:solid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43" name="Freeform 12">
                <a:extLst>
                  <a:ext uri="{FF2B5EF4-FFF2-40B4-BE49-F238E27FC236}">
                    <a16:creationId xmlns:a16="http://schemas.microsoft.com/office/drawing/2014/main" id="{D67065F3-50F3-4EA9-ADFD-BDB93E1FDA54}"/>
                  </a:ext>
                </a:extLst>
              </p:cNvPr>
              <p:cNvSpPr>
                <a:spLocks/>
              </p:cNvSpPr>
              <p:nvPr/>
            </p:nvSpPr>
            <p:spPr bwMode="auto">
              <a:xfrm>
                <a:off x="8089930" y="4271624"/>
                <a:ext cx="225425" cy="220663"/>
              </a:xfrm>
              <a:custGeom>
                <a:avLst/>
                <a:gdLst>
                  <a:gd name="T0" fmla="*/ 0 w 142"/>
                  <a:gd name="T1" fmla="*/ 0 h 139"/>
                  <a:gd name="T2" fmla="*/ 142 w 142"/>
                  <a:gd name="T3" fmla="*/ 0 h 139"/>
                  <a:gd name="T4" fmla="*/ 142 w 142"/>
                  <a:gd name="T5" fmla="*/ 139 h 139"/>
                  <a:gd name="T6" fmla="*/ 0 w 142"/>
                  <a:gd name="T7" fmla="*/ 0 h 139"/>
                </a:gdLst>
                <a:ahLst/>
                <a:cxnLst>
                  <a:cxn ang="0">
                    <a:pos x="T0" y="T1"/>
                  </a:cxn>
                  <a:cxn ang="0">
                    <a:pos x="T2" y="T3"/>
                  </a:cxn>
                  <a:cxn ang="0">
                    <a:pos x="T4" y="T5"/>
                  </a:cxn>
                  <a:cxn ang="0">
                    <a:pos x="T6" y="T7"/>
                  </a:cxn>
                </a:cxnLst>
                <a:rect l="0" t="0" r="r" b="b"/>
                <a:pathLst>
                  <a:path w="142" h="139">
                    <a:moveTo>
                      <a:pt x="0" y="0"/>
                    </a:moveTo>
                    <a:lnTo>
                      <a:pt x="142" y="0"/>
                    </a:lnTo>
                    <a:lnTo>
                      <a:pt x="142" y="139"/>
                    </a:lnTo>
                    <a:lnTo>
                      <a:pt x="0" y="0"/>
                    </a:lnTo>
                    <a:close/>
                  </a:path>
                </a:pathLst>
              </a:custGeom>
              <a:solidFill>
                <a:srgbClr val="8AA299"/>
              </a:solid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grpSp>
        <p:grpSp>
          <p:nvGrpSpPr>
            <p:cNvPr id="137" name="Group 395">
              <a:extLst>
                <a:ext uri="{FF2B5EF4-FFF2-40B4-BE49-F238E27FC236}">
                  <a16:creationId xmlns:a16="http://schemas.microsoft.com/office/drawing/2014/main" id="{9E4EDB78-9E3B-45B6-94B9-9A5DFDA3437F}"/>
                </a:ext>
              </a:extLst>
            </p:cNvPr>
            <p:cNvGrpSpPr/>
            <p:nvPr/>
          </p:nvGrpSpPr>
          <p:grpSpPr>
            <a:xfrm>
              <a:off x="7851805" y="4271624"/>
              <a:ext cx="508000" cy="504825"/>
              <a:chOff x="7851805" y="4271624"/>
              <a:chExt cx="508000" cy="504825"/>
            </a:xfrm>
          </p:grpSpPr>
          <p:sp>
            <p:nvSpPr>
              <p:cNvPr id="138" name="Freeform 13">
                <a:extLst>
                  <a:ext uri="{FF2B5EF4-FFF2-40B4-BE49-F238E27FC236}">
                    <a16:creationId xmlns:a16="http://schemas.microsoft.com/office/drawing/2014/main" id="{EAE50138-D161-4738-87B0-1AE0FC6E9B6E}"/>
                  </a:ext>
                </a:extLst>
              </p:cNvPr>
              <p:cNvSpPr>
                <a:spLocks/>
              </p:cNvSpPr>
              <p:nvPr/>
            </p:nvSpPr>
            <p:spPr bwMode="auto">
              <a:xfrm>
                <a:off x="7851805" y="4604999"/>
                <a:ext cx="169863" cy="171450"/>
              </a:xfrm>
              <a:custGeom>
                <a:avLst/>
                <a:gdLst>
                  <a:gd name="T0" fmla="*/ 107 w 107"/>
                  <a:gd name="T1" fmla="*/ 108 h 108"/>
                  <a:gd name="T2" fmla="*/ 0 w 107"/>
                  <a:gd name="T3" fmla="*/ 108 h 108"/>
                  <a:gd name="T4" fmla="*/ 0 w 107"/>
                  <a:gd name="T5" fmla="*/ 0 h 108"/>
                </a:gdLst>
                <a:ahLst/>
                <a:cxnLst>
                  <a:cxn ang="0">
                    <a:pos x="T0" y="T1"/>
                  </a:cxn>
                  <a:cxn ang="0">
                    <a:pos x="T2" y="T3"/>
                  </a:cxn>
                  <a:cxn ang="0">
                    <a:pos x="T4" y="T5"/>
                  </a:cxn>
                </a:cxnLst>
                <a:rect l="0" t="0" r="r" b="b"/>
                <a:pathLst>
                  <a:path w="107" h="108">
                    <a:moveTo>
                      <a:pt x="107" y="108"/>
                    </a:moveTo>
                    <a:lnTo>
                      <a:pt x="0" y="108"/>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en-GB" sz="1662"/>
              </a:p>
            </p:txBody>
          </p:sp>
          <p:sp>
            <p:nvSpPr>
              <p:cNvPr id="139" name="Line 14">
                <a:extLst>
                  <a:ext uri="{FF2B5EF4-FFF2-40B4-BE49-F238E27FC236}">
                    <a16:creationId xmlns:a16="http://schemas.microsoft.com/office/drawing/2014/main" id="{3C7CAA3A-EAAE-4C84-BD26-C4C41A3EBEDE}"/>
                  </a:ext>
                </a:extLst>
              </p:cNvPr>
              <p:cNvSpPr>
                <a:spLocks noChangeShapeType="1"/>
              </p:cNvSpPr>
              <p:nvPr/>
            </p:nvSpPr>
            <p:spPr bwMode="auto">
              <a:xfrm flipH="1">
                <a:off x="7901017" y="4573249"/>
                <a:ext cx="147638" cy="15240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en-GB" sz="1662"/>
              </a:p>
            </p:txBody>
          </p:sp>
          <p:sp>
            <p:nvSpPr>
              <p:cNvPr id="140" name="Freeform 15">
                <a:extLst>
                  <a:ext uri="{FF2B5EF4-FFF2-40B4-BE49-F238E27FC236}">
                    <a16:creationId xmlns:a16="http://schemas.microsoft.com/office/drawing/2014/main" id="{D93A4397-5455-4B72-BD11-5C60561132AE}"/>
                  </a:ext>
                </a:extLst>
              </p:cNvPr>
              <p:cNvSpPr>
                <a:spLocks/>
              </p:cNvSpPr>
              <p:nvPr/>
            </p:nvSpPr>
            <p:spPr bwMode="auto">
              <a:xfrm>
                <a:off x="8188355" y="4271624"/>
                <a:ext cx="171450" cy="171450"/>
              </a:xfrm>
              <a:custGeom>
                <a:avLst/>
                <a:gdLst>
                  <a:gd name="T0" fmla="*/ 0 w 108"/>
                  <a:gd name="T1" fmla="*/ 0 h 108"/>
                  <a:gd name="T2" fmla="*/ 108 w 108"/>
                  <a:gd name="T3" fmla="*/ 0 h 108"/>
                  <a:gd name="T4" fmla="*/ 108 w 108"/>
                  <a:gd name="T5" fmla="*/ 108 h 108"/>
                </a:gdLst>
                <a:ahLst/>
                <a:cxnLst>
                  <a:cxn ang="0">
                    <a:pos x="T0" y="T1"/>
                  </a:cxn>
                  <a:cxn ang="0">
                    <a:pos x="T2" y="T3"/>
                  </a:cxn>
                  <a:cxn ang="0">
                    <a:pos x="T4" y="T5"/>
                  </a:cxn>
                </a:cxnLst>
                <a:rect l="0" t="0" r="r" b="b"/>
                <a:pathLst>
                  <a:path w="108" h="108">
                    <a:moveTo>
                      <a:pt x="0" y="0"/>
                    </a:moveTo>
                    <a:lnTo>
                      <a:pt x="108" y="0"/>
                    </a:lnTo>
                    <a:lnTo>
                      <a:pt x="108" y="108"/>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en-GB" sz="1662"/>
              </a:p>
            </p:txBody>
          </p:sp>
          <p:sp>
            <p:nvSpPr>
              <p:cNvPr id="141" name="Line 16">
                <a:extLst>
                  <a:ext uri="{FF2B5EF4-FFF2-40B4-BE49-F238E27FC236}">
                    <a16:creationId xmlns:a16="http://schemas.microsoft.com/office/drawing/2014/main" id="{C4A3721A-D1D0-4203-BF38-FFF549994EAF}"/>
                  </a:ext>
                </a:extLst>
              </p:cNvPr>
              <p:cNvSpPr>
                <a:spLocks noChangeShapeType="1"/>
              </p:cNvSpPr>
              <p:nvPr/>
            </p:nvSpPr>
            <p:spPr bwMode="auto">
              <a:xfrm flipV="1">
                <a:off x="8175655" y="4320837"/>
                <a:ext cx="139700" cy="13970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en-GB" sz="1662"/>
              </a:p>
            </p:txBody>
          </p:sp>
        </p:grpSp>
      </p:grpSp>
      <p:grpSp>
        <p:nvGrpSpPr>
          <p:cNvPr id="144" name="Group 418">
            <a:extLst>
              <a:ext uri="{FF2B5EF4-FFF2-40B4-BE49-F238E27FC236}">
                <a16:creationId xmlns:a16="http://schemas.microsoft.com/office/drawing/2014/main" id="{F6FA77DC-C97A-4BD3-AB72-40B1D93710F1}"/>
              </a:ext>
            </a:extLst>
          </p:cNvPr>
          <p:cNvGrpSpPr/>
          <p:nvPr/>
        </p:nvGrpSpPr>
        <p:grpSpPr>
          <a:xfrm>
            <a:off x="7566512" y="3203129"/>
            <a:ext cx="241488" cy="316628"/>
            <a:chOff x="2271975" y="3614144"/>
            <a:chExt cx="348205" cy="456552"/>
          </a:xfrm>
        </p:grpSpPr>
        <p:grpSp>
          <p:nvGrpSpPr>
            <p:cNvPr id="145" name="Group 419">
              <a:extLst>
                <a:ext uri="{FF2B5EF4-FFF2-40B4-BE49-F238E27FC236}">
                  <a16:creationId xmlns:a16="http://schemas.microsoft.com/office/drawing/2014/main" id="{EDD396F9-A9E2-4006-9392-061D61ABDA2F}"/>
                </a:ext>
              </a:extLst>
            </p:cNvPr>
            <p:cNvGrpSpPr/>
            <p:nvPr/>
          </p:nvGrpSpPr>
          <p:grpSpPr>
            <a:xfrm>
              <a:off x="2331753" y="3694737"/>
              <a:ext cx="90734" cy="209008"/>
              <a:chOff x="2331753" y="3694737"/>
              <a:chExt cx="90734" cy="209008"/>
            </a:xfrm>
          </p:grpSpPr>
          <p:sp>
            <p:nvSpPr>
              <p:cNvPr id="162" name="Freeform: Shape 436">
                <a:extLst>
                  <a:ext uri="{FF2B5EF4-FFF2-40B4-BE49-F238E27FC236}">
                    <a16:creationId xmlns:a16="http://schemas.microsoft.com/office/drawing/2014/main" id="{873AB36C-7BDA-4FF2-9E76-3BA069FCA659}"/>
                  </a:ext>
                </a:extLst>
              </p:cNvPr>
              <p:cNvSpPr/>
              <p:nvPr/>
            </p:nvSpPr>
            <p:spPr>
              <a:xfrm>
                <a:off x="2331753" y="3694737"/>
                <a:ext cx="90734" cy="90734"/>
              </a:xfrm>
              <a:custGeom>
                <a:avLst/>
                <a:gdLst>
                  <a:gd name="connsiteX0" fmla="*/ 93723 w 90733"/>
                  <a:gd name="connsiteY0" fmla="*/ 46861 h 90733"/>
                  <a:gd name="connsiteX1" fmla="*/ 46861 w 90733"/>
                  <a:gd name="connsiteY1" fmla="*/ 93723 h 90733"/>
                  <a:gd name="connsiteX2" fmla="*/ 0 w 90733"/>
                  <a:gd name="connsiteY2" fmla="*/ 46861 h 90733"/>
                  <a:gd name="connsiteX3" fmla="*/ 46861 w 90733"/>
                  <a:gd name="connsiteY3" fmla="*/ 0 h 90733"/>
                  <a:gd name="connsiteX4" fmla="*/ 93723 w 90733"/>
                  <a:gd name="connsiteY4" fmla="*/ 46861 h 90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733" h="90733">
                    <a:moveTo>
                      <a:pt x="93723" y="46861"/>
                    </a:moveTo>
                    <a:cubicBezTo>
                      <a:pt x="93723" y="72742"/>
                      <a:pt x="72742" y="93723"/>
                      <a:pt x="46861" y="93723"/>
                    </a:cubicBezTo>
                    <a:cubicBezTo>
                      <a:pt x="20981" y="93723"/>
                      <a:pt x="0" y="72742"/>
                      <a:pt x="0" y="46861"/>
                    </a:cubicBezTo>
                    <a:cubicBezTo>
                      <a:pt x="0" y="20981"/>
                      <a:pt x="20981" y="0"/>
                      <a:pt x="46861" y="0"/>
                    </a:cubicBezTo>
                    <a:cubicBezTo>
                      <a:pt x="72742" y="0"/>
                      <a:pt x="93723" y="20981"/>
                      <a:pt x="93723" y="46861"/>
                    </a:cubicBezTo>
                    <a:close/>
                  </a:path>
                </a:pathLst>
              </a:custGeom>
              <a:solidFill>
                <a:srgbClr val="8AA299"/>
              </a:solidFill>
              <a:ln w="5337" cap="flat">
                <a:noFill/>
                <a:prstDash val="solid"/>
                <a:miter/>
              </a:ln>
            </p:spPr>
            <p:txBody>
              <a:bodyPr rtlCol="0" anchor="ctr"/>
              <a:lstStyle/>
              <a:p>
                <a:endParaRPr lang="en-GB" sz="1662"/>
              </a:p>
            </p:txBody>
          </p:sp>
          <p:sp>
            <p:nvSpPr>
              <p:cNvPr id="163" name="Freeform: Shape 437">
                <a:extLst>
                  <a:ext uri="{FF2B5EF4-FFF2-40B4-BE49-F238E27FC236}">
                    <a16:creationId xmlns:a16="http://schemas.microsoft.com/office/drawing/2014/main" id="{6521FD79-F6B0-426E-BBEF-B67B57AAA72D}"/>
                  </a:ext>
                </a:extLst>
              </p:cNvPr>
              <p:cNvSpPr/>
              <p:nvPr/>
            </p:nvSpPr>
            <p:spPr>
              <a:xfrm>
                <a:off x="2331753" y="3813011"/>
                <a:ext cx="90734" cy="90734"/>
              </a:xfrm>
              <a:custGeom>
                <a:avLst/>
                <a:gdLst>
                  <a:gd name="connsiteX0" fmla="*/ 93723 w 90733"/>
                  <a:gd name="connsiteY0" fmla="*/ 46861 h 90733"/>
                  <a:gd name="connsiteX1" fmla="*/ 46861 w 90733"/>
                  <a:gd name="connsiteY1" fmla="*/ 93723 h 90733"/>
                  <a:gd name="connsiteX2" fmla="*/ 0 w 90733"/>
                  <a:gd name="connsiteY2" fmla="*/ 46861 h 90733"/>
                  <a:gd name="connsiteX3" fmla="*/ 46861 w 90733"/>
                  <a:gd name="connsiteY3" fmla="*/ 0 h 90733"/>
                  <a:gd name="connsiteX4" fmla="*/ 93723 w 90733"/>
                  <a:gd name="connsiteY4" fmla="*/ 46861 h 90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733" h="90733">
                    <a:moveTo>
                      <a:pt x="93723" y="46861"/>
                    </a:moveTo>
                    <a:cubicBezTo>
                      <a:pt x="93723" y="72742"/>
                      <a:pt x="72742" y="93723"/>
                      <a:pt x="46861" y="93723"/>
                    </a:cubicBezTo>
                    <a:cubicBezTo>
                      <a:pt x="20981" y="93723"/>
                      <a:pt x="0" y="72742"/>
                      <a:pt x="0" y="46861"/>
                    </a:cubicBezTo>
                    <a:cubicBezTo>
                      <a:pt x="0" y="20980"/>
                      <a:pt x="20981" y="0"/>
                      <a:pt x="46861" y="0"/>
                    </a:cubicBezTo>
                    <a:cubicBezTo>
                      <a:pt x="72742" y="0"/>
                      <a:pt x="93723" y="20980"/>
                      <a:pt x="93723" y="46861"/>
                    </a:cubicBezTo>
                    <a:close/>
                  </a:path>
                </a:pathLst>
              </a:custGeom>
              <a:solidFill>
                <a:srgbClr val="8AA299"/>
              </a:solidFill>
              <a:ln w="5337" cap="flat">
                <a:noFill/>
                <a:prstDash val="solid"/>
                <a:miter/>
              </a:ln>
            </p:spPr>
            <p:txBody>
              <a:bodyPr rtlCol="0" anchor="ctr"/>
              <a:lstStyle/>
              <a:p>
                <a:endParaRPr lang="en-GB" sz="1662"/>
              </a:p>
            </p:txBody>
          </p:sp>
        </p:grpSp>
        <p:grpSp>
          <p:nvGrpSpPr>
            <p:cNvPr id="146" name="Group 420">
              <a:extLst>
                <a:ext uri="{FF2B5EF4-FFF2-40B4-BE49-F238E27FC236}">
                  <a16:creationId xmlns:a16="http://schemas.microsoft.com/office/drawing/2014/main" id="{15025BFC-A2E3-4AC5-8510-52BA7718F1EC}"/>
                </a:ext>
              </a:extLst>
            </p:cNvPr>
            <p:cNvGrpSpPr/>
            <p:nvPr/>
          </p:nvGrpSpPr>
          <p:grpSpPr>
            <a:xfrm>
              <a:off x="2271975" y="3614144"/>
              <a:ext cx="348205" cy="456552"/>
              <a:chOff x="2271975" y="3614144"/>
              <a:chExt cx="348205" cy="456552"/>
            </a:xfrm>
          </p:grpSpPr>
          <p:sp>
            <p:nvSpPr>
              <p:cNvPr id="147" name="Freeform: Shape 421">
                <a:extLst>
                  <a:ext uri="{FF2B5EF4-FFF2-40B4-BE49-F238E27FC236}">
                    <a16:creationId xmlns:a16="http://schemas.microsoft.com/office/drawing/2014/main" id="{9E8A0F63-FAAC-46A1-8079-7FB35004A27C}"/>
                  </a:ext>
                </a:extLst>
              </p:cNvPr>
              <p:cNvSpPr/>
              <p:nvPr/>
            </p:nvSpPr>
            <p:spPr>
              <a:xfrm>
                <a:off x="2305280" y="3643713"/>
                <a:ext cx="314900" cy="426983"/>
              </a:xfrm>
              <a:custGeom>
                <a:avLst/>
                <a:gdLst>
                  <a:gd name="connsiteX0" fmla="*/ 0 w 314899"/>
                  <a:gd name="connsiteY0" fmla="*/ 0 h 426982"/>
                  <a:gd name="connsiteX1" fmla="*/ 318102 w 314899"/>
                  <a:gd name="connsiteY1" fmla="*/ 0 h 426982"/>
                  <a:gd name="connsiteX2" fmla="*/ 318102 w 314899"/>
                  <a:gd name="connsiteY2" fmla="*/ 431893 h 426982"/>
                  <a:gd name="connsiteX3" fmla="*/ 0 w 314899"/>
                  <a:gd name="connsiteY3" fmla="*/ 431893 h 426982"/>
                </a:gdLst>
                <a:ahLst/>
                <a:cxnLst>
                  <a:cxn ang="0">
                    <a:pos x="connsiteX0" y="connsiteY0"/>
                  </a:cxn>
                  <a:cxn ang="0">
                    <a:pos x="connsiteX1" y="connsiteY1"/>
                  </a:cxn>
                  <a:cxn ang="0">
                    <a:pos x="connsiteX2" y="connsiteY2"/>
                  </a:cxn>
                  <a:cxn ang="0">
                    <a:pos x="connsiteX3" y="connsiteY3"/>
                  </a:cxn>
                </a:cxnLst>
                <a:rect l="l" t="t" r="r" b="b"/>
                <a:pathLst>
                  <a:path w="314899" h="426982">
                    <a:moveTo>
                      <a:pt x="0" y="0"/>
                    </a:moveTo>
                    <a:lnTo>
                      <a:pt x="318102" y="0"/>
                    </a:lnTo>
                    <a:lnTo>
                      <a:pt x="318102" y="431893"/>
                    </a:lnTo>
                    <a:lnTo>
                      <a:pt x="0" y="431893"/>
                    </a:lnTo>
                    <a:close/>
                  </a:path>
                </a:pathLst>
              </a:custGeom>
              <a:noFill/>
              <a:ln w="12700" cap="rnd">
                <a:solidFill>
                  <a:srgbClr val="30373B"/>
                </a:solidFill>
                <a:prstDash val="solid"/>
                <a:round/>
              </a:ln>
            </p:spPr>
            <p:txBody>
              <a:bodyPr rtlCol="0" anchor="ctr"/>
              <a:lstStyle/>
              <a:p>
                <a:endParaRPr lang="en-GB" sz="1662"/>
              </a:p>
            </p:txBody>
          </p:sp>
          <p:sp>
            <p:nvSpPr>
              <p:cNvPr id="148" name="Freeform: Shape 422">
                <a:extLst>
                  <a:ext uri="{FF2B5EF4-FFF2-40B4-BE49-F238E27FC236}">
                    <a16:creationId xmlns:a16="http://schemas.microsoft.com/office/drawing/2014/main" id="{15DD9B7E-876F-4C71-AECB-9690A8DBE7E6}"/>
                  </a:ext>
                </a:extLst>
              </p:cNvPr>
              <p:cNvSpPr/>
              <p:nvPr/>
            </p:nvSpPr>
            <p:spPr>
              <a:xfrm>
                <a:off x="2271975" y="3614144"/>
                <a:ext cx="314900" cy="426983"/>
              </a:xfrm>
              <a:custGeom>
                <a:avLst/>
                <a:gdLst>
                  <a:gd name="connsiteX0" fmla="*/ 0 w 314899"/>
                  <a:gd name="connsiteY0" fmla="*/ 431840 h 426982"/>
                  <a:gd name="connsiteX1" fmla="*/ 0 w 314899"/>
                  <a:gd name="connsiteY1" fmla="*/ 0 h 426982"/>
                  <a:gd name="connsiteX2" fmla="*/ 318102 w 314899"/>
                  <a:gd name="connsiteY2" fmla="*/ 0 h 426982"/>
                </a:gdLst>
                <a:ahLst/>
                <a:cxnLst>
                  <a:cxn ang="0">
                    <a:pos x="connsiteX0" y="connsiteY0"/>
                  </a:cxn>
                  <a:cxn ang="0">
                    <a:pos x="connsiteX1" y="connsiteY1"/>
                  </a:cxn>
                  <a:cxn ang="0">
                    <a:pos x="connsiteX2" y="connsiteY2"/>
                  </a:cxn>
                </a:cxnLst>
                <a:rect l="l" t="t" r="r" b="b"/>
                <a:pathLst>
                  <a:path w="314899" h="426982">
                    <a:moveTo>
                      <a:pt x="0" y="431840"/>
                    </a:moveTo>
                    <a:lnTo>
                      <a:pt x="0" y="0"/>
                    </a:lnTo>
                    <a:lnTo>
                      <a:pt x="318102" y="0"/>
                    </a:lnTo>
                  </a:path>
                </a:pathLst>
              </a:custGeom>
              <a:noFill/>
              <a:ln w="12700" cap="rnd">
                <a:solidFill>
                  <a:srgbClr val="30373B"/>
                </a:solidFill>
                <a:prstDash val="solid"/>
                <a:round/>
              </a:ln>
            </p:spPr>
            <p:txBody>
              <a:bodyPr rtlCol="0" anchor="ctr"/>
              <a:lstStyle/>
              <a:p>
                <a:endParaRPr lang="en-GB" sz="1662"/>
              </a:p>
            </p:txBody>
          </p:sp>
          <p:grpSp>
            <p:nvGrpSpPr>
              <p:cNvPr id="149" name="Graphic 6">
                <a:extLst>
                  <a:ext uri="{FF2B5EF4-FFF2-40B4-BE49-F238E27FC236}">
                    <a16:creationId xmlns:a16="http://schemas.microsoft.com/office/drawing/2014/main" id="{A9446E2B-F561-49B9-A250-35F8CB54B9A0}"/>
                  </a:ext>
                </a:extLst>
              </p:cNvPr>
              <p:cNvGrpSpPr/>
              <p:nvPr/>
            </p:nvGrpSpPr>
            <p:grpSpPr>
              <a:xfrm>
                <a:off x="2363563" y="3699861"/>
                <a:ext cx="90734" cy="80059"/>
                <a:chOff x="2363563" y="3699861"/>
                <a:chExt cx="90734" cy="80059"/>
              </a:xfrm>
              <a:noFill/>
            </p:grpSpPr>
            <p:sp>
              <p:nvSpPr>
                <p:cNvPr id="160" name="Freeform: Shape 434">
                  <a:extLst>
                    <a:ext uri="{FF2B5EF4-FFF2-40B4-BE49-F238E27FC236}">
                      <a16:creationId xmlns:a16="http://schemas.microsoft.com/office/drawing/2014/main" id="{8CD631B0-1462-4539-A2E6-A3FC8353DB21}"/>
                    </a:ext>
                  </a:extLst>
                </p:cNvPr>
                <p:cNvSpPr/>
                <p:nvPr/>
              </p:nvSpPr>
              <p:spPr>
                <a:xfrm>
                  <a:off x="2389235" y="3705358"/>
                  <a:ext cx="64047" cy="48036"/>
                </a:xfrm>
                <a:custGeom>
                  <a:avLst/>
                  <a:gdLst>
                    <a:gd name="connsiteX0" fmla="*/ 0 w 64047"/>
                    <a:gd name="connsiteY0" fmla="*/ 25245 h 48035"/>
                    <a:gd name="connsiteX1" fmla="*/ 22257 w 64047"/>
                    <a:gd name="connsiteY1" fmla="*/ 50384 h 48035"/>
                    <a:gd name="connsiteX2" fmla="*/ 67730 w 64047"/>
                    <a:gd name="connsiteY2" fmla="*/ 0 h 48035"/>
                  </a:gdLst>
                  <a:ahLst/>
                  <a:cxnLst>
                    <a:cxn ang="0">
                      <a:pos x="connsiteX0" y="connsiteY0"/>
                    </a:cxn>
                    <a:cxn ang="0">
                      <a:pos x="connsiteX1" y="connsiteY1"/>
                    </a:cxn>
                    <a:cxn ang="0">
                      <a:pos x="connsiteX2" y="connsiteY2"/>
                    </a:cxn>
                  </a:cxnLst>
                  <a:rect l="l" t="t" r="r" b="b"/>
                  <a:pathLst>
                    <a:path w="64047" h="48035">
                      <a:moveTo>
                        <a:pt x="0" y="25245"/>
                      </a:moveTo>
                      <a:lnTo>
                        <a:pt x="22257" y="50384"/>
                      </a:lnTo>
                      <a:lnTo>
                        <a:pt x="67730" y="0"/>
                      </a:lnTo>
                    </a:path>
                  </a:pathLst>
                </a:custGeom>
                <a:noFill/>
                <a:ln w="12700" cap="rnd">
                  <a:solidFill>
                    <a:srgbClr val="30373B"/>
                  </a:solidFill>
                  <a:prstDash val="solid"/>
                  <a:round/>
                </a:ln>
              </p:spPr>
              <p:txBody>
                <a:bodyPr rtlCol="0" anchor="ctr"/>
                <a:lstStyle/>
                <a:p>
                  <a:endParaRPr lang="en-GB" sz="1662"/>
                </a:p>
              </p:txBody>
            </p:sp>
            <p:sp>
              <p:nvSpPr>
                <p:cNvPr id="161" name="Freeform: Shape 435">
                  <a:extLst>
                    <a:ext uri="{FF2B5EF4-FFF2-40B4-BE49-F238E27FC236}">
                      <a16:creationId xmlns:a16="http://schemas.microsoft.com/office/drawing/2014/main" id="{E9FFCAE2-2E20-4078-B867-43652683A280}"/>
                    </a:ext>
                  </a:extLst>
                </p:cNvPr>
                <p:cNvSpPr/>
                <p:nvPr/>
              </p:nvSpPr>
              <p:spPr>
                <a:xfrm>
                  <a:off x="2363563" y="3699861"/>
                  <a:ext cx="80059" cy="80059"/>
                </a:xfrm>
                <a:custGeom>
                  <a:avLst/>
                  <a:gdLst>
                    <a:gd name="connsiteX0" fmla="*/ 78511 w 80059"/>
                    <a:gd name="connsiteY0" fmla="*/ 21990 h 80059"/>
                    <a:gd name="connsiteX1" fmla="*/ 83475 w 80059"/>
                    <a:gd name="connsiteY1" fmla="*/ 41738 h 80059"/>
                    <a:gd name="connsiteX2" fmla="*/ 41738 w 80059"/>
                    <a:gd name="connsiteY2" fmla="*/ 83475 h 80059"/>
                    <a:gd name="connsiteX3" fmla="*/ 0 w 80059"/>
                    <a:gd name="connsiteY3" fmla="*/ 41738 h 80059"/>
                    <a:gd name="connsiteX4" fmla="*/ 41738 w 80059"/>
                    <a:gd name="connsiteY4" fmla="*/ 0 h 8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59" h="80059">
                      <a:moveTo>
                        <a:pt x="78511" y="21990"/>
                      </a:moveTo>
                      <a:cubicBezTo>
                        <a:pt x="81661" y="27861"/>
                        <a:pt x="83475" y="34586"/>
                        <a:pt x="83475" y="41738"/>
                      </a:cubicBezTo>
                      <a:cubicBezTo>
                        <a:pt x="83475" y="64795"/>
                        <a:pt x="64795" y="83475"/>
                        <a:pt x="41738" y="83475"/>
                      </a:cubicBezTo>
                      <a:cubicBezTo>
                        <a:pt x="18680" y="83475"/>
                        <a:pt x="0" y="64795"/>
                        <a:pt x="0" y="41738"/>
                      </a:cubicBezTo>
                      <a:cubicBezTo>
                        <a:pt x="0" y="18680"/>
                        <a:pt x="18680" y="0"/>
                        <a:pt x="41738" y="0"/>
                      </a:cubicBezTo>
                    </a:path>
                  </a:pathLst>
                </a:custGeom>
                <a:noFill/>
                <a:ln w="12700" cap="rnd">
                  <a:solidFill>
                    <a:srgbClr val="30373B"/>
                  </a:solidFill>
                  <a:prstDash val="solid"/>
                  <a:round/>
                </a:ln>
              </p:spPr>
              <p:txBody>
                <a:bodyPr rtlCol="0" anchor="ctr"/>
                <a:lstStyle/>
                <a:p>
                  <a:endParaRPr lang="en-GB" sz="1662"/>
                </a:p>
              </p:txBody>
            </p:sp>
          </p:grpSp>
          <p:grpSp>
            <p:nvGrpSpPr>
              <p:cNvPr id="150" name="Graphic 6">
                <a:extLst>
                  <a:ext uri="{FF2B5EF4-FFF2-40B4-BE49-F238E27FC236}">
                    <a16:creationId xmlns:a16="http://schemas.microsoft.com/office/drawing/2014/main" id="{FA41B22D-5804-4C27-80C9-1DDE8CD50727}"/>
                  </a:ext>
                </a:extLst>
              </p:cNvPr>
              <p:cNvGrpSpPr/>
              <p:nvPr/>
            </p:nvGrpSpPr>
            <p:grpSpPr>
              <a:xfrm>
                <a:off x="2363563" y="3818135"/>
                <a:ext cx="90734" cy="80059"/>
                <a:chOff x="2363563" y="3818135"/>
                <a:chExt cx="90734" cy="80059"/>
              </a:xfrm>
              <a:noFill/>
            </p:grpSpPr>
            <p:sp>
              <p:nvSpPr>
                <p:cNvPr id="158" name="Freeform: Shape 432">
                  <a:extLst>
                    <a:ext uri="{FF2B5EF4-FFF2-40B4-BE49-F238E27FC236}">
                      <a16:creationId xmlns:a16="http://schemas.microsoft.com/office/drawing/2014/main" id="{B25F379A-9818-4E3B-84A0-03BF80719629}"/>
                    </a:ext>
                  </a:extLst>
                </p:cNvPr>
                <p:cNvSpPr/>
                <p:nvPr/>
              </p:nvSpPr>
              <p:spPr>
                <a:xfrm>
                  <a:off x="2389235" y="3823632"/>
                  <a:ext cx="64047" cy="48036"/>
                </a:xfrm>
                <a:custGeom>
                  <a:avLst/>
                  <a:gdLst>
                    <a:gd name="connsiteX0" fmla="*/ 0 w 64047"/>
                    <a:gd name="connsiteY0" fmla="*/ 25245 h 48035"/>
                    <a:gd name="connsiteX1" fmla="*/ 22257 w 64047"/>
                    <a:gd name="connsiteY1" fmla="*/ 50331 h 48035"/>
                    <a:gd name="connsiteX2" fmla="*/ 67730 w 64047"/>
                    <a:gd name="connsiteY2" fmla="*/ 0 h 48035"/>
                  </a:gdLst>
                  <a:ahLst/>
                  <a:cxnLst>
                    <a:cxn ang="0">
                      <a:pos x="connsiteX0" y="connsiteY0"/>
                    </a:cxn>
                    <a:cxn ang="0">
                      <a:pos x="connsiteX1" y="connsiteY1"/>
                    </a:cxn>
                    <a:cxn ang="0">
                      <a:pos x="connsiteX2" y="connsiteY2"/>
                    </a:cxn>
                  </a:cxnLst>
                  <a:rect l="l" t="t" r="r" b="b"/>
                  <a:pathLst>
                    <a:path w="64047" h="48035">
                      <a:moveTo>
                        <a:pt x="0" y="25245"/>
                      </a:moveTo>
                      <a:lnTo>
                        <a:pt x="22257" y="50331"/>
                      </a:lnTo>
                      <a:lnTo>
                        <a:pt x="67730" y="0"/>
                      </a:lnTo>
                    </a:path>
                  </a:pathLst>
                </a:custGeom>
                <a:noFill/>
                <a:ln w="12700" cap="rnd">
                  <a:solidFill>
                    <a:srgbClr val="30373B"/>
                  </a:solidFill>
                  <a:prstDash val="solid"/>
                  <a:round/>
                </a:ln>
              </p:spPr>
              <p:txBody>
                <a:bodyPr rtlCol="0" anchor="ctr"/>
                <a:lstStyle/>
                <a:p>
                  <a:endParaRPr lang="en-GB" sz="1662"/>
                </a:p>
              </p:txBody>
            </p:sp>
            <p:sp>
              <p:nvSpPr>
                <p:cNvPr id="159" name="Freeform: Shape 433">
                  <a:extLst>
                    <a:ext uri="{FF2B5EF4-FFF2-40B4-BE49-F238E27FC236}">
                      <a16:creationId xmlns:a16="http://schemas.microsoft.com/office/drawing/2014/main" id="{80E2FF21-720D-4103-80D2-4654C15BDD3E}"/>
                    </a:ext>
                  </a:extLst>
                </p:cNvPr>
                <p:cNvSpPr/>
                <p:nvPr/>
              </p:nvSpPr>
              <p:spPr>
                <a:xfrm>
                  <a:off x="2363563" y="3818135"/>
                  <a:ext cx="80059" cy="80059"/>
                </a:xfrm>
                <a:custGeom>
                  <a:avLst/>
                  <a:gdLst>
                    <a:gd name="connsiteX0" fmla="*/ 78511 w 80059"/>
                    <a:gd name="connsiteY0" fmla="*/ 21990 h 80059"/>
                    <a:gd name="connsiteX1" fmla="*/ 83475 w 80059"/>
                    <a:gd name="connsiteY1" fmla="*/ 41737 h 80059"/>
                    <a:gd name="connsiteX2" fmla="*/ 41738 w 80059"/>
                    <a:gd name="connsiteY2" fmla="*/ 83475 h 80059"/>
                    <a:gd name="connsiteX3" fmla="*/ 0 w 80059"/>
                    <a:gd name="connsiteY3" fmla="*/ 41737 h 80059"/>
                    <a:gd name="connsiteX4" fmla="*/ 41738 w 80059"/>
                    <a:gd name="connsiteY4" fmla="*/ 0 h 8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59" h="80059">
                      <a:moveTo>
                        <a:pt x="78511" y="21990"/>
                      </a:moveTo>
                      <a:cubicBezTo>
                        <a:pt x="81661" y="27861"/>
                        <a:pt x="83475" y="34586"/>
                        <a:pt x="83475" y="41737"/>
                      </a:cubicBezTo>
                      <a:cubicBezTo>
                        <a:pt x="83475" y="64795"/>
                        <a:pt x="64795" y="83475"/>
                        <a:pt x="41738" y="83475"/>
                      </a:cubicBezTo>
                      <a:cubicBezTo>
                        <a:pt x="18680" y="83475"/>
                        <a:pt x="0" y="64795"/>
                        <a:pt x="0" y="41737"/>
                      </a:cubicBezTo>
                      <a:cubicBezTo>
                        <a:pt x="0" y="18680"/>
                        <a:pt x="18680" y="0"/>
                        <a:pt x="41738" y="0"/>
                      </a:cubicBezTo>
                    </a:path>
                  </a:pathLst>
                </a:custGeom>
                <a:noFill/>
                <a:ln w="12700" cap="rnd">
                  <a:solidFill>
                    <a:srgbClr val="30373B"/>
                  </a:solidFill>
                  <a:prstDash val="solid"/>
                  <a:round/>
                </a:ln>
              </p:spPr>
              <p:txBody>
                <a:bodyPr rtlCol="0" anchor="ctr"/>
                <a:lstStyle/>
                <a:p>
                  <a:endParaRPr lang="en-GB" sz="1662"/>
                </a:p>
              </p:txBody>
            </p:sp>
          </p:grpSp>
          <p:sp>
            <p:nvSpPr>
              <p:cNvPr id="151" name="Freeform: Shape 425">
                <a:extLst>
                  <a:ext uri="{FF2B5EF4-FFF2-40B4-BE49-F238E27FC236}">
                    <a16:creationId xmlns:a16="http://schemas.microsoft.com/office/drawing/2014/main" id="{E3238AAF-E083-4D16-974E-E1CF770096E1}"/>
                  </a:ext>
                </a:extLst>
              </p:cNvPr>
              <p:cNvSpPr/>
              <p:nvPr/>
            </p:nvSpPr>
            <p:spPr>
              <a:xfrm>
                <a:off x="2363510" y="3936409"/>
                <a:ext cx="80059" cy="80059"/>
              </a:xfrm>
              <a:custGeom>
                <a:avLst/>
                <a:gdLst>
                  <a:gd name="connsiteX0" fmla="*/ 78458 w 80059"/>
                  <a:gd name="connsiteY0" fmla="*/ 21829 h 80059"/>
                  <a:gd name="connsiteX1" fmla="*/ 83475 w 80059"/>
                  <a:gd name="connsiteY1" fmla="*/ 41737 h 80059"/>
                  <a:gd name="connsiteX2" fmla="*/ 41738 w 80059"/>
                  <a:gd name="connsiteY2" fmla="*/ 83475 h 80059"/>
                  <a:gd name="connsiteX3" fmla="*/ 0 w 80059"/>
                  <a:gd name="connsiteY3" fmla="*/ 41737 h 80059"/>
                  <a:gd name="connsiteX4" fmla="*/ 41738 w 80059"/>
                  <a:gd name="connsiteY4" fmla="*/ 0 h 8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59" h="80059">
                    <a:moveTo>
                      <a:pt x="78458" y="21829"/>
                    </a:moveTo>
                    <a:cubicBezTo>
                      <a:pt x="81661" y="27754"/>
                      <a:pt x="83475" y="34532"/>
                      <a:pt x="83475" y="41737"/>
                    </a:cubicBezTo>
                    <a:cubicBezTo>
                      <a:pt x="83475" y="64795"/>
                      <a:pt x="64795" y="83475"/>
                      <a:pt x="41738" y="83475"/>
                    </a:cubicBezTo>
                    <a:cubicBezTo>
                      <a:pt x="18680" y="83475"/>
                      <a:pt x="0" y="64795"/>
                      <a:pt x="0" y="41737"/>
                    </a:cubicBezTo>
                    <a:cubicBezTo>
                      <a:pt x="0" y="18680"/>
                      <a:pt x="18680" y="0"/>
                      <a:pt x="41738" y="0"/>
                    </a:cubicBezTo>
                  </a:path>
                </a:pathLst>
              </a:custGeom>
              <a:noFill/>
              <a:ln w="12700" cap="rnd">
                <a:solidFill>
                  <a:srgbClr val="30373B"/>
                </a:solidFill>
                <a:prstDash val="solid"/>
                <a:round/>
              </a:ln>
            </p:spPr>
            <p:txBody>
              <a:bodyPr rtlCol="0" anchor="ctr"/>
              <a:lstStyle/>
              <a:p>
                <a:endParaRPr lang="en-GB" sz="1662"/>
              </a:p>
            </p:txBody>
          </p:sp>
          <p:sp>
            <p:nvSpPr>
              <p:cNvPr id="152" name="Freeform: Shape 426">
                <a:extLst>
                  <a:ext uri="{FF2B5EF4-FFF2-40B4-BE49-F238E27FC236}">
                    <a16:creationId xmlns:a16="http://schemas.microsoft.com/office/drawing/2014/main" id="{A3027D16-8F55-4E2E-B0E7-E274010B884D}"/>
                  </a:ext>
                </a:extLst>
              </p:cNvPr>
              <p:cNvSpPr/>
              <p:nvPr/>
            </p:nvSpPr>
            <p:spPr>
              <a:xfrm>
                <a:off x="2483332" y="3741598"/>
                <a:ext cx="96071" cy="5337"/>
              </a:xfrm>
              <a:custGeom>
                <a:avLst/>
                <a:gdLst>
                  <a:gd name="connsiteX0" fmla="*/ 0 w 96071"/>
                  <a:gd name="connsiteY0" fmla="*/ 0 h 0"/>
                  <a:gd name="connsiteX1" fmla="*/ 101195 w 96071"/>
                  <a:gd name="connsiteY1" fmla="*/ 0 h 0"/>
                </a:gdLst>
                <a:ahLst/>
                <a:cxnLst>
                  <a:cxn ang="0">
                    <a:pos x="connsiteX0" y="connsiteY0"/>
                  </a:cxn>
                  <a:cxn ang="0">
                    <a:pos x="connsiteX1" y="connsiteY1"/>
                  </a:cxn>
                </a:cxnLst>
                <a:rect l="l" t="t" r="r" b="b"/>
                <a:pathLst>
                  <a:path w="96071">
                    <a:moveTo>
                      <a:pt x="0" y="0"/>
                    </a:moveTo>
                    <a:lnTo>
                      <a:pt x="101195" y="0"/>
                    </a:lnTo>
                  </a:path>
                </a:pathLst>
              </a:custGeom>
              <a:ln w="12700" cap="rnd">
                <a:solidFill>
                  <a:srgbClr val="30373B"/>
                </a:solidFill>
                <a:prstDash val="solid"/>
                <a:round/>
              </a:ln>
            </p:spPr>
            <p:txBody>
              <a:bodyPr rtlCol="0" anchor="ctr"/>
              <a:lstStyle/>
              <a:p>
                <a:endParaRPr lang="en-GB" sz="1662"/>
              </a:p>
            </p:txBody>
          </p:sp>
          <p:sp>
            <p:nvSpPr>
              <p:cNvPr id="153" name="Freeform: Shape 427">
                <a:extLst>
                  <a:ext uri="{FF2B5EF4-FFF2-40B4-BE49-F238E27FC236}">
                    <a16:creationId xmlns:a16="http://schemas.microsoft.com/office/drawing/2014/main" id="{83A3B0A5-AE15-499F-8B3F-CE08A105E9FA}"/>
                  </a:ext>
                </a:extLst>
              </p:cNvPr>
              <p:cNvSpPr/>
              <p:nvPr/>
            </p:nvSpPr>
            <p:spPr>
              <a:xfrm>
                <a:off x="2480076" y="3859873"/>
                <a:ext cx="101408" cy="5337"/>
              </a:xfrm>
              <a:custGeom>
                <a:avLst/>
                <a:gdLst>
                  <a:gd name="connsiteX0" fmla="*/ 0 w 101408"/>
                  <a:gd name="connsiteY0" fmla="*/ 0 h 0"/>
                  <a:gd name="connsiteX1" fmla="*/ 104451 w 101408"/>
                  <a:gd name="connsiteY1" fmla="*/ 0 h 0"/>
                </a:gdLst>
                <a:ahLst/>
                <a:cxnLst>
                  <a:cxn ang="0">
                    <a:pos x="connsiteX0" y="connsiteY0"/>
                  </a:cxn>
                  <a:cxn ang="0">
                    <a:pos x="connsiteX1" y="connsiteY1"/>
                  </a:cxn>
                </a:cxnLst>
                <a:rect l="l" t="t" r="r" b="b"/>
                <a:pathLst>
                  <a:path w="101408">
                    <a:moveTo>
                      <a:pt x="0" y="0"/>
                    </a:moveTo>
                    <a:lnTo>
                      <a:pt x="104451" y="0"/>
                    </a:lnTo>
                  </a:path>
                </a:pathLst>
              </a:custGeom>
              <a:ln w="12700" cap="rnd">
                <a:solidFill>
                  <a:srgbClr val="30373B"/>
                </a:solidFill>
                <a:prstDash val="solid"/>
                <a:round/>
              </a:ln>
            </p:spPr>
            <p:txBody>
              <a:bodyPr rtlCol="0" anchor="ctr"/>
              <a:lstStyle/>
              <a:p>
                <a:endParaRPr lang="en-GB" sz="1662"/>
              </a:p>
            </p:txBody>
          </p:sp>
          <p:sp>
            <p:nvSpPr>
              <p:cNvPr id="154" name="Freeform: Shape 428">
                <a:extLst>
                  <a:ext uri="{FF2B5EF4-FFF2-40B4-BE49-F238E27FC236}">
                    <a16:creationId xmlns:a16="http://schemas.microsoft.com/office/drawing/2014/main" id="{A26D44AB-3981-4707-81E2-43085C636F30}"/>
                  </a:ext>
                </a:extLst>
              </p:cNvPr>
              <p:cNvSpPr/>
              <p:nvPr/>
            </p:nvSpPr>
            <p:spPr>
              <a:xfrm>
                <a:off x="2480076" y="3978147"/>
                <a:ext cx="101408" cy="5337"/>
              </a:xfrm>
              <a:custGeom>
                <a:avLst/>
                <a:gdLst>
                  <a:gd name="connsiteX0" fmla="*/ 0 w 101408"/>
                  <a:gd name="connsiteY0" fmla="*/ 0 h 0"/>
                  <a:gd name="connsiteX1" fmla="*/ 104451 w 101408"/>
                  <a:gd name="connsiteY1" fmla="*/ 0 h 0"/>
                </a:gdLst>
                <a:ahLst/>
                <a:cxnLst>
                  <a:cxn ang="0">
                    <a:pos x="connsiteX0" y="connsiteY0"/>
                  </a:cxn>
                  <a:cxn ang="0">
                    <a:pos x="connsiteX1" y="connsiteY1"/>
                  </a:cxn>
                </a:cxnLst>
                <a:rect l="l" t="t" r="r" b="b"/>
                <a:pathLst>
                  <a:path w="101408">
                    <a:moveTo>
                      <a:pt x="0" y="0"/>
                    </a:moveTo>
                    <a:lnTo>
                      <a:pt x="104451" y="0"/>
                    </a:lnTo>
                  </a:path>
                </a:pathLst>
              </a:custGeom>
              <a:ln w="12700" cap="rnd">
                <a:solidFill>
                  <a:srgbClr val="30373B"/>
                </a:solidFill>
                <a:prstDash val="solid"/>
                <a:round/>
              </a:ln>
            </p:spPr>
            <p:txBody>
              <a:bodyPr rtlCol="0" anchor="ctr"/>
              <a:lstStyle/>
              <a:p>
                <a:endParaRPr lang="en-GB" sz="1662"/>
              </a:p>
            </p:txBody>
          </p:sp>
          <p:sp>
            <p:nvSpPr>
              <p:cNvPr id="155" name="Freeform: Shape 429">
                <a:extLst>
                  <a:ext uri="{FF2B5EF4-FFF2-40B4-BE49-F238E27FC236}">
                    <a16:creationId xmlns:a16="http://schemas.microsoft.com/office/drawing/2014/main" id="{F4A9706B-254C-4514-82FE-3DFA2A21A931}"/>
                  </a:ext>
                </a:extLst>
              </p:cNvPr>
              <p:cNvSpPr/>
              <p:nvPr/>
            </p:nvSpPr>
            <p:spPr>
              <a:xfrm>
                <a:off x="2482051" y="3770900"/>
                <a:ext cx="80059" cy="5337"/>
              </a:xfrm>
              <a:custGeom>
                <a:avLst/>
                <a:gdLst>
                  <a:gd name="connsiteX0" fmla="*/ 0 w 80059"/>
                  <a:gd name="connsiteY0" fmla="*/ 0 h 0"/>
                  <a:gd name="connsiteX1" fmla="*/ 85130 w 80059"/>
                  <a:gd name="connsiteY1" fmla="*/ 0 h 0"/>
                </a:gdLst>
                <a:ahLst/>
                <a:cxnLst>
                  <a:cxn ang="0">
                    <a:pos x="connsiteX0" y="connsiteY0"/>
                  </a:cxn>
                  <a:cxn ang="0">
                    <a:pos x="connsiteX1" y="connsiteY1"/>
                  </a:cxn>
                </a:cxnLst>
                <a:rect l="l" t="t" r="r" b="b"/>
                <a:pathLst>
                  <a:path w="80059">
                    <a:moveTo>
                      <a:pt x="0" y="0"/>
                    </a:moveTo>
                    <a:lnTo>
                      <a:pt x="85130" y="0"/>
                    </a:lnTo>
                  </a:path>
                </a:pathLst>
              </a:custGeom>
              <a:ln w="12700" cap="rnd">
                <a:solidFill>
                  <a:srgbClr val="30373B"/>
                </a:solidFill>
                <a:prstDash val="solid"/>
                <a:round/>
              </a:ln>
            </p:spPr>
            <p:txBody>
              <a:bodyPr rtlCol="0" anchor="ctr"/>
              <a:lstStyle/>
              <a:p>
                <a:endParaRPr lang="en-GB" sz="1662"/>
              </a:p>
            </p:txBody>
          </p:sp>
          <p:sp>
            <p:nvSpPr>
              <p:cNvPr id="156" name="Freeform: Shape 430">
                <a:extLst>
                  <a:ext uri="{FF2B5EF4-FFF2-40B4-BE49-F238E27FC236}">
                    <a16:creationId xmlns:a16="http://schemas.microsoft.com/office/drawing/2014/main" id="{1C7EC4F3-7098-4FA4-AB61-6D426991F140}"/>
                  </a:ext>
                </a:extLst>
              </p:cNvPr>
              <p:cNvSpPr/>
              <p:nvPr/>
            </p:nvSpPr>
            <p:spPr>
              <a:xfrm>
                <a:off x="2479329" y="3889121"/>
                <a:ext cx="85397" cy="5337"/>
              </a:xfrm>
              <a:custGeom>
                <a:avLst/>
                <a:gdLst>
                  <a:gd name="connsiteX0" fmla="*/ 0 w 85396"/>
                  <a:gd name="connsiteY0" fmla="*/ 0 h 0"/>
                  <a:gd name="connsiteX1" fmla="*/ 87852 w 85396"/>
                  <a:gd name="connsiteY1" fmla="*/ 0 h 0"/>
                </a:gdLst>
                <a:ahLst/>
                <a:cxnLst>
                  <a:cxn ang="0">
                    <a:pos x="connsiteX0" y="connsiteY0"/>
                  </a:cxn>
                  <a:cxn ang="0">
                    <a:pos x="connsiteX1" y="connsiteY1"/>
                  </a:cxn>
                </a:cxnLst>
                <a:rect l="l" t="t" r="r" b="b"/>
                <a:pathLst>
                  <a:path w="85396">
                    <a:moveTo>
                      <a:pt x="0" y="0"/>
                    </a:moveTo>
                    <a:lnTo>
                      <a:pt x="87852" y="0"/>
                    </a:lnTo>
                  </a:path>
                </a:pathLst>
              </a:custGeom>
              <a:ln w="12700" cap="rnd">
                <a:solidFill>
                  <a:srgbClr val="30373B"/>
                </a:solidFill>
                <a:prstDash val="solid"/>
                <a:round/>
              </a:ln>
            </p:spPr>
            <p:txBody>
              <a:bodyPr rtlCol="0" anchor="ctr"/>
              <a:lstStyle/>
              <a:p>
                <a:endParaRPr lang="en-GB" sz="1662"/>
              </a:p>
            </p:txBody>
          </p:sp>
          <p:sp>
            <p:nvSpPr>
              <p:cNvPr id="157" name="Freeform: Shape 431">
                <a:extLst>
                  <a:ext uri="{FF2B5EF4-FFF2-40B4-BE49-F238E27FC236}">
                    <a16:creationId xmlns:a16="http://schemas.microsoft.com/office/drawing/2014/main" id="{B0B6C355-DC9A-439E-88F7-5FA0D97392D2}"/>
                  </a:ext>
                </a:extLst>
              </p:cNvPr>
              <p:cNvSpPr/>
              <p:nvPr/>
            </p:nvSpPr>
            <p:spPr>
              <a:xfrm>
                <a:off x="2479329" y="4007395"/>
                <a:ext cx="85397" cy="5337"/>
              </a:xfrm>
              <a:custGeom>
                <a:avLst/>
                <a:gdLst>
                  <a:gd name="connsiteX0" fmla="*/ 0 w 85396"/>
                  <a:gd name="connsiteY0" fmla="*/ 0 h 0"/>
                  <a:gd name="connsiteX1" fmla="*/ 87852 w 85396"/>
                  <a:gd name="connsiteY1" fmla="*/ 0 h 0"/>
                </a:gdLst>
                <a:ahLst/>
                <a:cxnLst>
                  <a:cxn ang="0">
                    <a:pos x="connsiteX0" y="connsiteY0"/>
                  </a:cxn>
                  <a:cxn ang="0">
                    <a:pos x="connsiteX1" y="connsiteY1"/>
                  </a:cxn>
                </a:cxnLst>
                <a:rect l="l" t="t" r="r" b="b"/>
                <a:pathLst>
                  <a:path w="85396">
                    <a:moveTo>
                      <a:pt x="0" y="0"/>
                    </a:moveTo>
                    <a:lnTo>
                      <a:pt x="87852" y="0"/>
                    </a:lnTo>
                  </a:path>
                </a:pathLst>
              </a:custGeom>
              <a:ln w="12700" cap="rnd">
                <a:solidFill>
                  <a:srgbClr val="30373B"/>
                </a:solidFill>
                <a:prstDash val="solid"/>
                <a:round/>
              </a:ln>
            </p:spPr>
            <p:txBody>
              <a:bodyPr rtlCol="0" anchor="ctr"/>
              <a:lstStyle/>
              <a:p>
                <a:endParaRPr lang="en-GB" sz="1662"/>
              </a:p>
            </p:txBody>
          </p:sp>
        </p:grpSp>
      </p:grpSp>
      <p:grpSp>
        <p:nvGrpSpPr>
          <p:cNvPr id="164" name="Group 162">
            <a:extLst>
              <a:ext uri="{FF2B5EF4-FFF2-40B4-BE49-F238E27FC236}">
                <a16:creationId xmlns:a16="http://schemas.microsoft.com/office/drawing/2014/main" id="{2A5A6A5C-2E59-4CCF-91D5-63B8FCC03792}"/>
              </a:ext>
            </a:extLst>
          </p:cNvPr>
          <p:cNvGrpSpPr/>
          <p:nvPr/>
        </p:nvGrpSpPr>
        <p:grpSpPr>
          <a:xfrm>
            <a:off x="3201989" y="3186006"/>
            <a:ext cx="378503" cy="264132"/>
            <a:chOff x="6866331" y="969351"/>
            <a:chExt cx="545769" cy="380856"/>
          </a:xfrm>
        </p:grpSpPr>
        <p:grpSp>
          <p:nvGrpSpPr>
            <p:cNvPr id="165" name="Group 163">
              <a:extLst>
                <a:ext uri="{FF2B5EF4-FFF2-40B4-BE49-F238E27FC236}">
                  <a16:creationId xmlns:a16="http://schemas.microsoft.com/office/drawing/2014/main" id="{42235C41-5971-4834-AC72-C05AF68FC8B5}"/>
                </a:ext>
              </a:extLst>
            </p:cNvPr>
            <p:cNvGrpSpPr/>
            <p:nvPr/>
          </p:nvGrpSpPr>
          <p:grpSpPr>
            <a:xfrm>
              <a:off x="6866331" y="969351"/>
              <a:ext cx="515597" cy="380856"/>
              <a:chOff x="6866331" y="969351"/>
              <a:chExt cx="515597" cy="380856"/>
            </a:xfrm>
          </p:grpSpPr>
          <p:sp>
            <p:nvSpPr>
              <p:cNvPr id="177" name="Freeform: Shape 175">
                <a:extLst>
                  <a:ext uri="{FF2B5EF4-FFF2-40B4-BE49-F238E27FC236}">
                    <a16:creationId xmlns:a16="http://schemas.microsoft.com/office/drawing/2014/main" id="{6304758C-77D3-49D0-AC2B-5A8CCF91C4CE}"/>
                  </a:ext>
                </a:extLst>
              </p:cNvPr>
              <p:cNvSpPr/>
              <p:nvPr/>
            </p:nvSpPr>
            <p:spPr>
              <a:xfrm>
                <a:off x="6866331" y="969409"/>
                <a:ext cx="108571" cy="257142"/>
              </a:xfrm>
              <a:custGeom>
                <a:avLst/>
                <a:gdLst>
                  <a:gd name="connsiteX0" fmla="*/ 147763 w 157106"/>
                  <a:gd name="connsiteY0" fmla="*/ 375403 h 372095"/>
                  <a:gd name="connsiteX1" fmla="*/ 14470 w 157106"/>
                  <a:gd name="connsiteY1" fmla="*/ 375403 h 372095"/>
                  <a:gd name="connsiteX2" fmla="*/ 0 w 157106"/>
                  <a:gd name="connsiteY2" fmla="*/ 360932 h 372095"/>
                  <a:gd name="connsiteX3" fmla="*/ 0 w 157106"/>
                  <a:gd name="connsiteY3" fmla="*/ 14470 h 372095"/>
                  <a:gd name="connsiteX4" fmla="*/ 14470 w 157106"/>
                  <a:gd name="connsiteY4" fmla="*/ 0 h 372095"/>
                  <a:gd name="connsiteX5" fmla="*/ 147763 w 157106"/>
                  <a:gd name="connsiteY5" fmla="*/ 0 h 372095"/>
                  <a:gd name="connsiteX6" fmla="*/ 162233 w 157106"/>
                  <a:gd name="connsiteY6" fmla="*/ 14470 h 372095"/>
                  <a:gd name="connsiteX7" fmla="*/ 162233 w 157106"/>
                  <a:gd name="connsiteY7" fmla="*/ 360932 h 372095"/>
                  <a:gd name="connsiteX8" fmla="*/ 147763 w 157106"/>
                  <a:gd name="connsiteY8" fmla="*/ 375403 h 37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106" h="372095">
                    <a:moveTo>
                      <a:pt x="147763" y="375403"/>
                    </a:moveTo>
                    <a:lnTo>
                      <a:pt x="14470" y="375403"/>
                    </a:lnTo>
                    <a:cubicBezTo>
                      <a:pt x="6450" y="375403"/>
                      <a:pt x="0" y="368953"/>
                      <a:pt x="0" y="360932"/>
                    </a:cubicBezTo>
                    <a:lnTo>
                      <a:pt x="0" y="14470"/>
                    </a:lnTo>
                    <a:cubicBezTo>
                      <a:pt x="0" y="6450"/>
                      <a:pt x="6450" y="0"/>
                      <a:pt x="14470" y="0"/>
                    </a:cubicBezTo>
                    <a:lnTo>
                      <a:pt x="147763" y="0"/>
                    </a:lnTo>
                    <a:cubicBezTo>
                      <a:pt x="155784" y="0"/>
                      <a:pt x="162233" y="6450"/>
                      <a:pt x="162233" y="14470"/>
                    </a:cubicBezTo>
                    <a:lnTo>
                      <a:pt x="162233" y="360932"/>
                    </a:lnTo>
                    <a:cubicBezTo>
                      <a:pt x="162233" y="368953"/>
                      <a:pt x="155784" y="375403"/>
                      <a:pt x="147763" y="375403"/>
                    </a:cubicBezTo>
                    <a:close/>
                  </a:path>
                </a:pathLst>
              </a:custGeom>
              <a:solidFill>
                <a:srgbClr val="8AA299"/>
              </a:solidFill>
              <a:ln w="8269" cap="flat">
                <a:noFill/>
                <a:prstDash val="solid"/>
                <a:miter/>
              </a:ln>
            </p:spPr>
            <p:txBody>
              <a:bodyPr rtlCol="0" anchor="ctr"/>
              <a:lstStyle/>
              <a:p>
                <a:endParaRPr lang="en-GB" sz="1662"/>
              </a:p>
            </p:txBody>
          </p:sp>
          <p:sp>
            <p:nvSpPr>
              <p:cNvPr id="178" name="Freeform: Shape 176">
                <a:extLst>
                  <a:ext uri="{FF2B5EF4-FFF2-40B4-BE49-F238E27FC236}">
                    <a16:creationId xmlns:a16="http://schemas.microsoft.com/office/drawing/2014/main" id="{5AA0A337-B9B4-43F2-A97C-830CAF7E2BB1}"/>
                  </a:ext>
                </a:extLst>
              </p:cNvPr>
              <p:cNvSpPr/>
              <p:nvPr/>
            </p:nvSpPr>
            <p:spPr>
              <a:xfrm>
                <a:off x="7169701" y="969351"/>
                <a:ext cx="108571" cy="131428"/>
              </a:xfrm>
              <a:custGeom>
                <a:avLst/>
                <a:gdLst>
                  <a:gd name="connsiteX0" fmla="*/ 147764 w 157106"/>
                  <a:gd name="connsiteY0" fmla="*/ 198368 h 190182"/>
                  <a:gd name="connsiteX1" fmla="*/ 14470 w 157106"/>
                  <a:gd name="connsiteY1" fmla="*/ 198368 h 190182"/>
                  <a:gd name="connsiteX2" fmla="*/ 0 w 157106"/>
                  <a:gd name="connsiteY2" fmla="*/ 183898 h 190182"/>
                  <a:gd name="connsiteX3" fmla="*/ 0 w 157106"/>
                  <a:gd name="connsiteY3" fmla="*/ 14470 h 190182"/>
                  <a:gd name="connsiteX4" fmla="*/ 14470 w 157106"/>
                  <a:gd name="connsiteY4" fmla="*/ 0 h 190182"/>
                  <a:gd name="connsiteX5" fmla="*/ 147764 w 157106"/>
                  <a:gd name="connsiteY5" fmla="*/ 0 h 190182"/>
                  <a:gd name="connsiteX6" fmla="*/ 162234 w 157106"/>
                  <a:gd name="connsiteY6" fmla="*/ 14470 h 190182"/>
                  <a:gd name="connsiteX7" fmla="*/ 162234 w 157106"/>
                  <a:gd name="connsiteY7" fmla="*/ 183898 h 190182"/>
                  <a:gd name="connsiteX8" fmla="*/ 147764 w 157106"/>
                  <a:gd name="connsiteY8" fmla="*/ 198368 h 190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106" h="190182">
                    <a:moveTo>
                      <a:pt x="147764" y="198368"/>
                    </a:moveTo>
                    <a:lnTo>
                      <a:pt x="14470" y="198368"/>
                    </a:lnTo>
                    <a:cubicBezTo>
                      <a:pt x="6450" y="198368"/>
                      <a:pt x="0" y="191918"/>
                      <a:pt x="0" y="183898"/>
                    </a:cubicBezTo>
                    <a:lnTo>
                      <a:pt x="0" y="14470"/>
                    </a:lnTo>
                    <a:cubicBezTo>
                      <a:pt x="0" y="6450"/>
                      <a:pt x="6450" y="0"/>
                      <a:pt x="14470" y="0"/>
                    </a:cubicBezTo>
                    <a:lnTo>
                      <a:pt x="147764" y="0"/>
                    </a:lnTo>
                    <a:cubicBezTo>
                      <a:pt x="155785" y="0"/>
                      <a:pt x="162234" y="6450"/>
                      <a:pt x="162234" y="14470"/>
                    </a:cubicBezTo>
                    <a:lnTo>
                      <a:pt x="162234" y="183898"/>
                    </a:lnTo>
                    <a:cubicBezTo>
                      <a:pt x="162234" y="191918"/>
                      <a:pt x="155785" y="198368"/>
                      <a:pt x="147764" y="198368"/>
                    </a:cubicBezTo>
                    <a:close/>
                  </a:path>
                </a:pathLst>
              </a:custGeom>
              <a:solidFill>
                <a:srgbClr val="8AA299"/>
              </a:solidFill>
              <a:ln w="8269" cap="flat">
                <a:noFill/>
                <a:prstDash val="solid"/>
                <a:miter/>
              </a:ln>
            </p:spPr>
            <p:txBody>
              <a:bodyPr rtlCol="0" anchor="ctr"/>
              <a:lstStyle/>
              <a:p>
                <a:endParaRPr lang="en-GB" sz="1662"/>
              </a:p>
            </p:txBody>
          </p:sp>
          <p:sp>
            <p:nvSpPr>
              <p:cNvPr id="179" name="Freeform: Shape 177">
                <a:extLst>
                  <a:ext uri="{FF2B5EF4-FFF2-40B4-BE49-F238E27FC236}">
                    <a16:creationId xmlns:a16="http://schemas.microsoft.com/office/drawing/2014/main" id="{E382FB1C-E3BC-4820-92AF-8D3158486455}"/>
                  </a:ext>
                </a:extLst>
              </p:cNvPr>
              <p:cNvSpPr/>
              <p:nvPr/>
            </p:nvSpPr>
            <p:spPr>
              <a:xfrm>
                <a:off x="7119072" y="1218779"/>
                <a:ext cx="262856" cy="131428"/>
              </a:xfrm>
              <a:custGeom>
                <a:avLst/>
                <a:gdLst>
                  <a:gd name="connsiteX0" fmla="*/ 369284 w 380363"/>
                  <a:gd name="connsiteY0" fmla="*/ 198285 h 190182"/>
                  <a:gd name="connsiteX1" fmla="*/ 14470 w 380363"/>
                  <a:gd name="connsiteY1" fmla="*/ 198285 h 190182"/>
                  <a:gd name="connsiteX2" fmla="*/ 0 w 380363"/>
                  <a:gd name="connsiteY2" fmla="*/ 183815 h 190182"/>
                  <a:gd name="connsiteX3" fmla="*/ 0 w 380363"/>
                  <a:gd name="connsiteY3" fmla="*/ 14470 h 190182"/>
                  <a:gd name="connsiteX4" fmla="*/ 14470 w 380363"/>
                  <a:gd name="connsiteY4" fmla="*/ 0 h 190182"/>
                  <a:gd name="connsiteX5" fmla="*/ 369284 w 380363"/>
                  <a:gd name="connsiteY5" fmla="*/ 0 h 190182"/>
                  <a:gd name="connsiteX6" fmla="*/ 383754 w 380363"/>
                  <a:gd name="connsiteY6" fmla="*/ 14470 h 190182"/>
                  <a:gd name="connsiteX7" fmla="*/ 383754 w 380363"/>
                  <a:gd name="connsiteY7" fmla="*/ 183898 h 190182"/>
                  <a:gd name="connsiteX8" fmla="*/ 369284 w 380363"/>
                  <a:gd name="connsiteY8" fmla="*/ 198285 h 190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363" h="190182">
                    <a:moveTo>
                      <a:pt x="369284" y="198285"/>
                    </a:moveTo>
                    <a:lnTo>
                      <a:pt x="14470" y="198285"/>
                    </a:lnTo>
                    <a:cubicBezTo>
                      <a:pt x="6450" y="198285"/>
                      <a:pt x="0" y="191836"/>
                      <a:pt x="0" y="183815"/>
                    </a:cubicBezTo>
                    <a:lnTo>
                      <a:pt x="0" y="14470"/>
                    </a:lnTo>
                    <a:cubicBezTo>
                      <a:pt x="0" y="6450"/>
                      <a:pt x="6450" y="0"/>
                      <a:pt x="14470" y="0"/>
                    </a:cubicBezTo>
                    <a:lnTo>
                      <a:pt x="369284" y="0"/>
                    </a:lnTo>
                    <a:cubicBezTo>
                      <a:pt x="377305" y="0"/>
                      <a:pt x="383754" y="6450"/>
                      <a:pt x="383754" y="14470"/>
                    </a:cubicBezTo>
                    <a:lnTo>
                      <a:pt x="383754" y="183898"/>
                    </a:lnTo>
                    <a:cubicBezTo>
                      <a:pt x="383754" y="191836"/>
                      <a:pt x="377222" y="198285"/>
                      <a:pt x="369284" y="198285"/>
                    </a:cubicBezTo>
                    <a:close/>
                  </a:path>
                </a:pathLst>
              </a:custGeom>
              <a:solidFill>
                <a:srgbClr val="8AA299"/>
              </a:solidFill>
              <a:ln w="8269" cap="flat">
                <a:noFill/>
                <a:prstDash val="solid"/>
                <a:miter/>
              </a:ln>
            </p:spPr>
            <p:txBody>
              <a:bodyPr rtlCol="0" anchor="ctr"/>
              <a:lstStyle/>
              <a:p>
                <a:endParaRPr lang="en-GB" sz="1662"/>
              </a:p>
            </p:txBody>
          </p:sp>
        </p:grpSp>
        <p:grpSp>
          <p:nvGrpSpPr>
            <p:cNvPr id="166" name="Group 164">
              <a:extLst>
                <a:ext uri="{FF2B5EF4-FFF2-40B4-BE49-F238E27FC236}">
                  <a16:creationId xmlns:a16="http://schemas.microsoft.com/office/drawing/2014/main" id="{7429F81B-3259-4808-A1E9-569863419E62}"/>
                </a:ext>
              </a:extLst>
            </p:cNvPr>
            <p:cNvGrpSpPr/>
            <p:nvPr/>
          </p:nvGrpSpPr>
          <p:grpSpPr>
            <a:xfrm>
              <a:off x="6906331" y="974094"/>
              <a:ext cx="505769" cy="371427"/>
              <a:chOff x="6906331" y="974094"/>
              <a:chExt cx="505769" cy="371427"/>
            </a:xfrm>
          </p:grpSpPr>
          <p:sp>
            <p:nvSpPr>
              <p:cNvPr id="167" name="Freeform: Shape 165">
                <a:extLst>
                  <a:ext uri="{FF2B5EF4-FFF2-40B4-BE49-F238E27FC236}">
                    <a16:creationId xmlns:a16="http://schemas.microsoft.com/office/drawing/2014/main" id="{E1E4FB40-A85F-403E-A49A-294E3C8DA887}"/>
                  </a:ext>
                </a:extLst>
              </p:cNvPr>
              <p:cNvSpPr/>
              <p:nvPr/>
            </p:nvSpPr>
            <p:spPr>
              <a:xfrm>
                <a:off x="6906331" y="974094"/>
                <a:ext cx="325713" cy="371427"/>
              </a:xfrm>
              <a:custGeom>
                <a:avLst/>
                <a:gdLst>
                  <a:gd name="connsiteX0" fmla="*/ 0 w 471320"/>
                  <a:gd name="connsiteY0" fmla="*/ 543838 h 537470"/>
                  <a:gd name="connsiteX1" fmla="*/ 0 w 471320"/>
                  <a:gd name="connsiteY1" fmla="*/ 0 h 537470"/>
                  <a:gd name="connsiteX2" fmla="*/ 471321 w 471320"/>
                  <a:gd name="connsiteY2" fmla="*/ 0 h 537470"/>
                </a:gdLst>
                <a:ahLst/>
                <a:cxnLst>
                  <a:cxn ang="0">
                    <a:pos x="connsiteX0" y="connsiteY0"/>
                  </a:cxn>
                  <a:cxn ang="0">
                    <a:pos x="connsiteX1" y="connsiteY1"/>
                  </a:cxn>
                  <a:cxn ang="0">
                    <a:pos x="connsiteX2" y="connsiteY2"/>
                  </a:cxn>
                </a:cxnLst>
                <a:rect l="l" t="t" r="r" b="b"/>
                <a:pathLst>
                  <a:path w="471320" h="537470">
                    <a:moveTo>
                      <a:pt x="0" y="543838"/>
                    </a:moveTo>
                    <a:lnTo>
                      <a:pt x="0" y="0"/>
                    </a:lnTo>
                    <a:lnTo>
                      <a:pt x="471321" y="0"/>
                    </a:lnTo>
                  </a:path>
                </a:pathLst>
              </a:custGeom>
              <a:noFill/>
              <a:ln w="12700" cap="rnd">
                <a:solidFill>
                  <a:srgbClr val="30373B"/>
                </a:solidFill>
                <a:prstDash val="solid"/>
                <a:round/>
              </a:ln>
            </p:spPr>
            <p:txBody>
              <a:bodyPr rtlCol="0" anchor="ctr"/>
              <a:lstStyle/>
              <a:p>
                <a:endParaRPr lang="en-GB" sz="1662"/>
              </a:p>
            </p:txBody>
          </p:sp>
          <p:sp>
            <p:nvSpPr>
              <p:cNvPr id="168" name="Freeform: Shape 166">
                <a:extLst>
                  <a:ext uri="{FF2B5EF4-FFF2-40B4-BE49-F238E27FC236}">
                    <a16:creationId xmlns:a16="http://schemas.microsoft.com/office/drawing/2014/main" id="{FD631126-B6A2-4CC9-ABED-9A6F4388C351}"/>
                  </a:ext>
                </a:extLst>
              </p:cNvPr>
              <p:cNvSpPr/>
              <p:nvPr/>
            </p:nvSpPr>
            <p:spPr>
              <a:xfrm>
                <a:off x="7007644" y="974094"/>
                <a:ext cx="5714" cy="245713"/>
              </a:xfrm>
              <a:custGeom>
                <a:avLst/>
                <a:gdLst>
                  <a:gd name="connsiteX0" fmla="*/ 0 w 0"/>
                  <a:gd name="connsiteY0" fmla="*/ 0 h 355557"/>
                  <a:gd name="connsiteX1" fmla="*/ 0 w 0"/>
                  <a:gd name="connsiteY1" fmla="*/ 362586 h 355557"/>
                </a:gdLst>
                <a:ahLst/>
                <a:cxnLst>
                  <a:cxn ang="0">
                    <a:pos x="connsiteX0" y="connsiteY0"/>
                  </a:cxn>
                  <a:cxn ang="0">
                    <a:pos x="connsiteX1" y="connsiteY1"/>
                  </a:cxn>
                </a:cxnLst>
                <a:rect l="l" t="t" r="r" b="b"/>
                <a:pathLst>
                  <a:path h="355557">
                    <a:moveTo>
                      <a:pt x="0" y="0"/>
                    </a:moveTo>
                    <a:lnTo>
                      <a:pt x="0" y="362586"/>
                    </a:lnTo>
                  </a:path>
                </a:pathLst>
              </a:custGeom>
              <a:ln w="12700" cap="rnd">
                <a:solidFill>
                  <a:srgbClr val="30373B"/>
                </a:solidFill>
                <a:prstDash val="solid"/>
                <a:round/>
              </a:ln>
            </p:spPr>
            <p:txBody>
              <a:bodyPr rtlCol="0" anchor="ctr"/>
              <a:lstStyle/>
              <a:p>
                <a:endParaRPr lang="en-GB" sz="1662"/>
              </a:p>
            </p:txBody>
          </p:sp>
          <p:sp>
            <p:nvSpPr>
              <p:cNvPr id="169" name="Freeform: Shape 167">
                <a:extLst>
                  <a:ext uri="{FF2B5EF4-FFF2-40B4-BE49-F238E27FC236}">
                    <a16:creationId xmlns:a16="http://schemas.microsoft.com/office/drawing/2014/main" id="{C53940A7-B56C-4BAE-B07D-D9E821E1A9C2}"/>
                  </a:ext>
                </a:extLst>
              </p:cNvPr>
              <p:cNvSpPr/>
              <p:nvPr/>
            </p:nvSpPr>
            <p:spPr>
              <a:xfrm>
                <a:off x="7007644" y="1099351"/>
                <a:ext cx="97142" cy="5714"/>
              </a:xfrm>
              <a:custGeom>
                <a:avLst/>
                <a:gdLst>
                  <a:gd name="connsiteX0" fmla="*/ 0 w 140569"/>
                  <a:gd name="connsiteY0" fmla="*/ 0 h 0"/>
                  <a:gd name="connsiteX1" fmla="*/ 146606 w 140569"/>
                  <a:gd name="connsiteY1" fmla="*/ 0 h 0"/>
                </a:gdLst>
                <a:ahLst/>
                <a:cxnLst>
                  <a:cxn ang="0">
                    <a:pos x="connsiteX0" y="connsiteY0"/>
                  </a:cxn>
                  <a:cxn ang="0">
                    <a:pos x="connsiteX1" y="connsiteY1"/>
                  </a:cxn>
                </a:cxnLst>
                <a:rect l="l" t="t" r="r" b="b"/>
                <a:pathLst>
                  <a:path w="140569">
                    <a:moveTo>
                      <a:pt x="0" y="0"/>
                    </a:moveTo>
                    <a:lnTo>
                      <a:pt x="146606" y="0"/>
                    </a:lnTo>
                  </a:path>
                </a:pathLst>
              </a:custGeom>
              <a:ln w="12700" cap="rnd">
                <a:solidFill>
                  <a:srgbClr val="30373B"/>
                </a:solidFill>
                <a:prstDash val="solid"/>
                <a:round/>
              </a:ln>
            </p:spPr>
            <p:txBody>
              <a:bodyPr rtlCol="0" anchor="ctr"/>
              <a:lstStyle/>
              <a:p>
                <a:endParaRPr lang="en-GB" sz="1662"/>
              </a:p>
            </p:txBody>
          </p:sp>
          <p:sp>
            <p:nvSpPr>
              <p:cNvPr id="170" name="Freeform: Shape 168">
                <a:extLst>
                  <a:ext uri="{FF2B5EF4-FFF2-40B4-BE49-F238E27FC236}">
                    <a16:creationId xmlns:a16="http://schemas.microsoft.com/office/drawing/2014/main" id="{4BA7CABB-61F3-4314-A9E0-B528DD4A6C51}"/>
                  </a:ext>
                </a:extLst>
              </p:cNvPr>
              <p:cNvSpPr/>
              <p:nvPr/>
            </p:nvSpPr>
            <p:spPr>
              <a:xfrm>
                <a:off x="7210215" y="1099351"/>
                <a:ext cx="97142" cy="5714"/>
              </a:xfrm>
              <a:custGeom>
                <a:avLst/>
                <a:gdLst>
                  <a:gd name="connsiteX0" fmla="*/ 0 w 140569"/>
                  <a:gd name="connsiteY0" fmla="*/ 0 h 0"/>
                  <a:gd name="connsiteX1" fmla="*/ 146606 w 140569"/>
                  <a:gd name="connsiteY1" fmla="*/ 0 h 0"/>
                </a:gdLst>
                <a:ahLst/>
                <a:cxnLst>
                  <a:cxn ang="0">
                    <a:pos x="connsiteX0" y="connsiteY0"/>
                  </a:cxn>
                  <a:cxn ang="0">
                    <a:pos x="connsiteX1" y="connsiteY1"/>
                  </a:cxn>
                </a:cxnLst>
                <a:rect l="l" t="t" r="r" b="b"/>
                <a:pathLst>
                  <a:path w="140569">
                    <a:moveTo>
                      <a:pt x="0" y="0"/>
                    </a:moveTo>
                    <a:lnTo>
                      <a:pt x="146606" y="0"/>
                    </a:lnTo>
                  </a:path>
                </a:pathLst>
              </a:custGeom>
              <a:ln w="12700" cap="rnd">
                <a:solidFill>
                  <a:srgbClr val="30373B"/>
                </a:solidFill>
                <a:prstDash val="solid"/>
                <a:round/>
              </a:ln>
            </p:spPr>
            <p:txBody>
              <a:bodyPr rtlCol="0" anchor="ctr"/>
              <a:lstStyle/>
              <a:p>
                <a:endParaRPr lang="en-GB" sz="1662"/>
              </a:p>
            </p:txBody>
          </p:sp>
          <p:sp>
            <p:nvSpPr>
              <p:cNvPr id="171" name="Freeform: Shape 169">
                <a:extLst>
                  <a:ext uri="{FF2B5EF4-FFF2-40B4-BE49-F238E27FC236}">
                    <a16:creationId xmlns:a16="http://schemas.microsoft.com/office/drawing/2014/main" id="{E4FF8D86-6518-4459-88BB-B3163053A910}"/>
                  </a:ext>
                </a:extLst>
              </p:cNvPr>
              <p:cNvSpPr/>
              <p:nvPr/>
            </p:nvSpPr>
            <p:spPr>
              <a:xfrm>
                <a:off x="6906331" y="1224664"/>
                <a:ext cx="502855" cy="5714"/>
              </a:xfrm>
              <a:custGeom>
                <a:avLst/>
                <a:gdLst>
                  <a:gd name="connsiteX0" fmla="*/ 0 w 727652"/>
                  <a:gd name="connsiteY0" fmla="*/ 0 h 0"/>
                  <a:gd name="connsiteX1" fmla="*/ 732945 w 727652"/>
                  <a:gd name="connsiteY1" fmla="*/ 0 h 0"/>
                </a:gdLst>
                <a:ahLst/>
                <a:cxnLst>
                  <a:cxn ang="0">
                    <a:pos x="connsiteX0" y="connsiteY0"/>
                  </a:cxn>
                  <a:cxn ang="0">
                    <a:pos x="connsiteX1" y="connsiteY1"/>
                  </a:cxn>
                </a:cxnLst>
                <a:rect l="l" t="t" r="r" b="b"/>
                <a:pathLst>
                  <a:path w="727652">
                    <a:moveTo>
                      <a:pt x="0" y="0"/>
                    </a:moveTo>
                    <a:lnTo>
                      <a:pt x="732945" y="0"/>
                    </a:lnTo>
                  </a:path>
                </a:pathLst>
              </a:custGeom>
              <a:ln w="12700" cap="rnd">
                <a:solidFill>
                  <a:srgbClr val="30373B"/>
                </a:solidFill>
                <a:prstDash val="solid"/>
                <a:round/>
              </a:ln>
            </p:spPr>
            <p:txBody>
              <a:bodyPr rtlCol="0" anchor="ctr"/>
              <a:lstStyle/>
              <a:p>
                <a:endParaRPr lang="en-GB" sz="1662"/>
              </a:p>
            </p:txBody>
          </p:sp>
          <p:sp>
            <p:nvSpPr>
              <p:cNvPr id="172" name="Freeform: Shape 170">
                <a:extLst>
                  <a:ext uri="{FF2B5EF4-FFF2-40B4-BE49-F238E27FC236}">
                    <a16:creationId xmlns:a16="http://schemas.microsoft.com/office/drawing/2014/main" id="{7ED1757A-F011-4B52-8348-B498221738AD}"/>
                  </a:ext>
                </a:extLst>
              </p:cNvPr>
              <p:cNvSpPr/>
              <p:nvPr/>
            </p:nvSpPr>
            <p:spPr>
              <a:xfrm>
                <a:off x="7108959" y="974094"/>
                <a:ext cx="5714" cy="245713"/>
              </a:xfrm>
              <a:custGeom>
                <a:avLst/>
                <a:gdLst>
                  <a:gd name="connsiteX0" fmla="*/ 0 w 0"/>
                  <a:gd name="connsiteY0" fmla="*/ 0 h 355557"/>
                  <a:gd name="connsiteX1" fmla="*/ 0 w 0"/>
                  <a:gd name="connsiteY1" fmla="*/ 362586 h 355557"/>
                </a:gdLst>
                <a:ahLst/>
                <a:cxnLst>
                  <a:cxn ang="0">
                    <a:pos x="connsiteX0" y="connsiteY0"/>
                  </a:cxn>
                  <a:cxn ang="0">
                    <a:pos x="connsiteX1" y="connsiteY1"/>
                  </a:cxn>
                </a:cxnLst>
                <a:rect l="l" t="t" r="r" b="b"/>
                <a:pathLst>
                  <a:path h="355557">
                    <a:moveTo>
                      <a:pt x="0" y="0"/>
                    </a:moveTo>
                    <a:lnTo>
                      <a:pt x="0" y="362586"/>
                    </a:lnTo>
                  </a:path>
                </a:pathLst>
              </a:custGeom>
              <a:ln w="12700" cap="rnd">
                <a:solidFill>
                  <a:srgbClr val="30373B"/>
                </a:solidFill>
                <a:prstDash val="solid"/>
                <a:round/>
              </a:ln>
            </p:spPr>
            <p:txBody>
              <a:bodyPr rtlCol="0" anchor="ctr"/>
              <a:lstStyle/>
              <a:p>
                <a:endParaRPr lang="en-GB" sz="1662"/>
              </a:p>
            </p:txBody>
          </p:sp>
          <p:sp>
            <p:nvSpPr>
              <p:cNvPr id="173" name="Freeform: Shape 171">
                <a:extLst>
                  <a:ext uri="{FF2B5EF4-FFF2-40B4-BE49-F238E27FC236}">
                    <a16:creationId xmlns:a16="http://schemas.microsoft.com/office/drawing/2014/main" id="{2F02435A-0193-4375-A186-9E22F4D7D912}"/>
                  </a:ext>
                </a:extLst>
              </p:cNvPr>
              <p:cNvSpPr/>
              <p:nvPr/>
            </p:nvSpPr>
            <p:spPr>
              <a:xfrm>
                <a:off x="7210215" y="974094"/>
                <a:ext cx="5714" cy="245713"/>
              </a:xfrm>
              <a:custGeom>
                <a:avLst/>
                <a:gdLst>
                  <a:gd name="connsiteX0" fmla="*/ 0 w 0"/>
                  <a:gd name="connsiteY0" fmla="*/ 0 h 355557"/>
                  <a:gd name="connsiteX1" fmla="*/ 0 w 0"/>
                  <a:gd name="connsiteY1" fmla="*/ 362586 h 355557"/>
                </a:gdLst>
                <a:ahLst/>
                <a:cxnLst>
                  <a:cxn ang="0">
                    <a:pos x="connsiteX0" y="connsiteY0"/>
                  </a:cxn>
                  <a:cxn ang="0">
                    <a:pos x="connsiteX1" y="connsiteY1"/>
                  </a:cxn>
                </a:cxnLst>
                <a:rect l="l" t="t" r="r" b="b"/>
                <a:pathLst>
                  <a:path h="355557">
                    <a:moveTo>
                      <a:pt x="0" y="0"/>
                    </a:moveTo>
                    <a:lnTo>
                      <a:pt x="0" y="362586"/>
                    </a:lnTo>
                  </a:path>
                </a:pathLst>
              </a:custGeom>
              <a:ln w="12700" cap="rnd">
                <a:solidFill>
                  <a:srgbClr val="30373B"/>
                </a:solidFill>
                <a:prstDash val="solid"/>
                <a:round/>
              </a:ln>
            </p:spPr>
            <p:txBody>
              <a:bodyPr rtlCol="0" anchor="ctr"/>
              <a:lstStyle/>
              <a:p>
                <a:endParaRPr lang="en-GB" sz="1662"/>
              </a:p>
            </p:txBody>
          </p:sp>
          <p:sp>
            <p:nvSpPr>
              <p:cNvPr id="174" name="Freeform: Shape 172">
                <a:extLst>
                  <a:ext uri="{FF2B5EF4-FFF2-40B4-BE49-F238E27FC236}">
                    <a16:creationId xmlns:a16="http://schemas.microsoft.com/office/drawing/2014/main" id="{2501F141-0AB6-40A1-95AE-4CFDD7312C7E}"/>
                  </a:ext>
                </a:extLst>
              </p:cNvPr>
              <p:cNvSpPr/>
              <p:nvPr/>
            </p:nvSpPr>
            <p:spPr>
              <a:xfrm>
                <a:off x="7311529" y="1017751"/>
                <a:ext cx="5714" cy="205713"/>
              </a:xfrm>
              <a:custGeom>
                <a:avLst/>
                <a:gdLst>
                  <a:gd name="connsiteX0" fmla="*/ 0 w 0"/>
                  <a:gd name="connsiteY0" fmla="*/ 0 h 297676"/>
                  <a:gd name="connsiteX1" fmla="*/ 0 w 0"/>
                  <a:gd name="connsiteY1" fmla="*/ 299413 h 297676"/>
                </a:gdLst>
                <a:ahLst/>
                <a:cxnLst>
                  <a:cxn ang="0">
                    <a:pos x="connsiteX0" y="connsiteY0"/>
                  </a:cxn>
                  <a:cxn ang="0">
                    <a:pos x="connsiteX1" y="connsiteY1"/>
                  </a:cxn>
                </a:cxnLst>
                <a:rect l="l" t="t" r="r" b="b"/>
                <a:pathLst>
                  <a:path h="297676">
                    <a:moveTo>
                      <a:pt x="0" y="0"/>
                    </a:moveTo>
                    <a:lnTo>
                      <a:pt x="0" y="299413"/>
                    </a:lnTo>
                  </a:path>
                </a:pathLst>
              </a:custGeom>
              <a:ln w="12700" cap="rnd">
                <a:solidFill>
                  <a:srgbClr val="30373B"/>
                </a:solidFill>
                <a:prstDash val="solid"/>
                <a:round/>
              </a:ln>
            </p:spPr>
            <p:txBody>
              <a:bodyPr rtlCol="0" anchor="ctr"/>
              <a:lstStyle/>
              <a:p>
                <a:endParaRPr lang="en-GB" sz="1662"/>
              </a:p>
            </p:txBody>
          </p:sp>
          <p:sp>
            <p:nvSpPr>
              <p:cNvPr id="175" name="Freeform: Shape 173">
                <a:extLst>
                  <a:ext uri="{FF2B5EF4-FFF2-40B4-BE49-F238E27FC236}">
                    <a16:creationId xmlns:a16="http://schemas.microsoft.com/office/drawing/2014/main" id="{CA7752AE-71EE-461C-8A33-2F40C6D02A6A}"/>
                  </a:ext>
                </a:extLst>
              </p:cNvPr>
              <p:cNvSpPr/>
              <p:nvPr/>
            </p:nvSpPr>
            <p:spPr>
              <a:xfrm>
                <a:off x="7034959" y="974094"/>
                <a:ext cx="377141" cy="371427"/>
              </a:xfrm>
              <a:custGeom>
                <a:avLst/>
                <a:gdLst>
                  <a:gd name="connsiteX0" fmla="*/ 546815 w 545739"/>
                  <a:gd name="connsiteY0" fmla="*/ 0 h 537470"/>
                  <a:gd name="connsiteX1" fmla="*/ 546815 w 545739"/>
                  <a:gd name="connsiteY1" fmla="*/ 543838 h 537470"/>
                  <a:gd name="connsiteX2" fmla="*/ 0 w 545739"/>
                  <a:gd name="connsiteY2" fmla="*/ 543838 h 537470"/>
                </a:gdLst>
                <a:ahLst/>
                <a:cxnLst>
                  <a:cxn ang="0">
                    <a:pos x="connsiteX0" y="connsiteY0"/>
                  </a:cxn>
                  <a:cxn ang="0">
                    <a:pos x="connsiteX1" y="connsiteY1"/>
                  </a:cxn>
                  <a:cxn ang="0">
                    <a:pos x="connsiteX2" y="connsiteY2"/>
                  </a:cxn>
                </a:cxnLst>
                <a:rect l="l" t="t" r="r" b="b"/>
                <a:pathLst>
                  <a:path w="545739" h="537470">
                    <a:moveTo>
                      <a:pt x="546815" y="0"/>
                    </a:moveTo>
                    <a:lnTo>
                      <a:pt x="546815" y="543838"/>
                    </a:lnTo>
                    <a:lnTo>
                      <a:pt x="0" y="543838"/>
                    </a:lnTo>
                  </a:path>
                </a:pathLst>
              </a:custGeom>
              <a:noFill/>
              <a:ln w="12700" cap="rnd">
                <a:solidFill>
                  <a:srgbClr val="30373B"/>
                </a:solidFill>
                <a:prstDash val="solid"/>
                <a:round/>
              </a:ln>
            </p:spPr>
            <p:txBody>
              <a:bodyPr rtlCol="0" anchor="ctr"/>
              <a:lstStyle/>
              <a:p>
                <a:endParaRPr lang="en-GB" sz="1662"/>
              </a:p>
            </p:txBody>
          </p:sp>
          <p:sp>
            <p:nvSpPr>
              <p:cNvPr id="176" name="Freeform: Shape 174">
                <a:extLst>
                  <a:ext uri="{FF2B5EF4-FFF2-40B4-BE49-F238E27FC236}">
                    <a16:creationId xmlns:a16="http://schemas.microsoft.com/office/drawing/2014/main" id="{EF98CA88-C4D8-491B-A7AB-E1B0618E8427}"/>
                  </a:ext>
                </a:extLst>
              </p:cNvPr>
              <p:cNvSpPr/>
              <p:nvPr/>
            </p:nvSpPr>
            <p:spPr>
              <a:xfrm>
                <a:off x="7159587" y="1224664"/>
                <a:ext cx="5714" cy="119999"/>
              </a:xfrm>
              <a:custGeom>
                <a:avLst/>
                <a:gdLst>
                  <a:gd name="connsiteX0" fmla="*/ 0 w 0"/>
                  <a:gd name="connsiteY0" fmla="*/ 0 h 173644"/>
                  <a:gd name="connsiteX1" fmla="*/ 0 w 0"/>
                  <a:gd name="connsiteY1" fmla="*/ 181252 h 173644"/>
                </a:gdLst>
                <a:ahLst/>
                <a:cxnLst>
                  <a:cxn ang="0">
                    <a:pos x="connsiteX0" y="connsiteY0"/>
                  </a:cxn>
                  <a:cxn ang="0">
                    <a:pos x="connsiteX1" y="connsiteY1"/>
                  </a:cxn>
                </a:cxnLst>
                <a:rect l="l" t="t" r="r" b="b"/>
                <a:pathLst>
                  <a:path h="173644">
                    <a:moveTo>
                      <a:pt x="0" y="0"/>
                    </a:moveTo>
                    <a:lnTo>
                      <a:pt x="0" y="181252"/>
                    </a:lnTo>
                  </a:path>
                </a:pathLst>
              </a:custGeom>
              <a:ln w="12700" cap="rnd">
                <a:solidFill>
                  <a:srgbClr val="30373B"/>
                </a:solidFill>
                <a:prstDash val="solid"/>
                <a:round/>
              </a:ln>
            </p:spPr>
            <p:txBody>
              <a:bodyPr rtlCol="0" anchor="ctr"/>
              <a:lstStyle/>
              <a:p>
                <a:endParaRPr lang="en-GB" sz="1662"/>
              </a:p>
            </p:txBody>
          </p:sp>
        </p:grpSp>
      </p:grpSp>
    </p:spTree>
    <p:extLst>
      <p:ext uri="{BB962C8B-B14F-4D97-AF65-F5344CB8AC3E}">
        <p14:creationId xmlns:p14="http://schemas.microsoft.com/office/powerpoint/2010/main" val="347955775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ED4AE-4117-4A2A-999B-0EC50D6B2A8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3"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3D7ED4AE-4117-4A2A-999B-0EC50D6B2A8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AE20B3F-0E2F-41DD-9161-AFD4CFFD351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a-DK">
              <a:latin typeface="Verdana" panose="020B0604030504040204" pitchFamily="34" charset="0"/>
              <a:ea typeface="Verdana" panose="020B0604030504040204" pitchFamily="34" charset="0"/>
              <a:sym typeface="Verdana" panose="020B0604030504040204" pitchFamily="34" charset="0"/>
            </a:endParaRPr>
          </a:p>
        </p:txBody>
      </p:sp>
      <p:sp>
        <p:nvSpPr>
          <p:cNvPr id="7" name="Title 1">
            <a:extLst>
              <a:ext uri="{FF2B5EF4-FFF2-40B4-BE49-F238E27FC236}">
                <a16:creationId xmlns:a16="http://schemas.microsoft.com/office/drawing/2014/main" id="{AB2F3BDA-6BDD-46D1-868C-9356701B023E}"/>
              </a:ext>
            </a:extLst>
          </p:cNvPr>
          <p:cNvSpPr>
            <a:spLocks noGrp="1"/>
          </p:cNvSpPr>
          <p:nvPr>
            <p:ph type="title"/>
          </p:nvPr>
        </p:nvSpPr>
        <p:spPr>
          <a:xfrm>
            <a:off x="263401" y="269580"/>
            <a:ext cx="7981950" cy="689476"/>
          </a:xfrm>
        </p:spPr>
        <p:txBody>
          <a:bodyPr lIns="91440" tIns="45720" rIns="91440" bIns="45720" anchor="b">
            <a:normAutofit fontScale="90000"/>
          </a:bodyPr>
          <a:lstStyle/>
          <a:p>
            <a:r>
              <a:rPr lang="da-DK" sz="2800" b="0" dirty="0">
                <a:solidFill>
                  <a:schemeClr val="tx1"/>
                </a:solidFill>
                <a:latin typeface="Impact"/>
                <a:ea typeface="Verdana"/>
                <a:cs typeface="Verdana"/>
              </a:rPr>
              <a:t>3. Løsningen</a:t>
            </a:r>
            <a:r>
              <a:rPr lang="da-DK" dirty="0"/>
              <a:t/>
            </a:r>
            <a:br>
              <a:rPr lang="da-DK" dirty="0"/>
            </a:br>
            <a:r>
              <a:rPr lang="da-DK" sz="2000" b="0" dirty="0">
                <a:solidFill>
                  <a:schemeClr val="tx1"/>
                </a:solidFill>
                <a:latin typeface="Verdana"/>
                <a:ea typeface="Verdana"/>
                <a:cs typeface="Verdana"/>
              </a:rPr>
              <a:t>3.1.2 FORMÅL OG OVERSIGT OVER USE CASES</a:t>
            </a:r>
            <a:endParaRPr lang="da-DK" b="0" dirty="0">
              <a:solidFill>
                <a:schemeClr val="tx1"/>
              </a:solidFill>
              <a:latin typeface="Verdana"/>
              <a:ea typeface="Verdana"/>
              <a:cs typeface="Verdana"/>
            </a:endParaRPr>
          </a:p>
        </p:txBody>
      </p:sp>
      <p:sp>
        <p:nvSpPr>
          <p:cNvPr id="149" name="Rectangle 148">
            <a:extLst>
              <a:ext uri="{FF2B5EF4-FFF2-40B4-BE49-F238E27FC236}">
                <a16:creationId xmlns:a16="http://schemas.microsoft.com/office/drawing/2014/main" id="{35D2CF02-4213-4946-8F5B-1C30925443B4}"/>
              </a:ext>
            </a:extLst>
          </p:cNvPr>
          <p:cNvSpPr/>
          <p:nvPr/>
        </p:nvSpPr>
        <p:spPr>
          <a:xfrm>
            <a:off x="7044856" y="6066845"/>
            <a:ext cx="2099143" cy="791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286">
            <a:extLst>
              <a:ext uri="{FF2B5EF4-FFF2-40B4-BE49-F238E27FC236}">
                <a16:creationId xmlns:a16="http://schemas.microsoft.com/office/drawing/2014/main" id="{C825361C-F2DC-4594-A1D4-14D0F76FC165}"/>
              </a:ext>
            </a:extLst>
          </p:cNvPr>
          <p:cNvSpPr/>
          <p:nvPr/>
        </p:nvSpPr>
        <p:spPr>
          <a:xfrm>
            <a:off x="1601710" y="1985312"/>
            <a:ext cx="7112309" cy="4484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45720" rIns="108000" bIns="45720" rtlCol="0" anchor="ctr"/>
          <a:lstStyle/>
          <a:p>
            <a:r>
              <a:rPr lang="da-DK" sz="800" dirty="0">
                <a:solidFill>
                  <a:schemeClr val="tx1"/>
                </a:solidFill>
              </a:rPr>
              <a:t>Der er fakturaer, der skal kunne modtages manuelt (ikke lovkrævet elektronisk format). Det er primært fakturaer fra udlandet</a:t>
            </a:r>
            <a:r>
              <a:rPr lang="da-DK" sz="800" b="1" dirty="0">
                <a:solidFill>
                  <a:schemeClr val="tx1"/>
                </a:solidFill>
              </a:rPr>
              <a:t>, </a:t>
            </a:r>
            <a:r>
              <a:rPr lang="da-DK" sz="800" dirty="0">
                <a:solidFill>
                  <a:schemeClr val="tx1"/>
                </a:solidFill>
              </a:rPr>
              <a:t>der håndteres manuelt. Disse fakturaer modtages typisk i en faktura-mailboks, hvorefter fakturabehandlingen indtaster disse i </a:t>
            </a:r>
            <a:r>
              <a:rPr lang="da-DK" sz="800" dirty="0" err="1" smtClean="0">
                <a:solidFill>
                  <a:schemeClr val="tx1"/>
                </a:solidFill>
              </a:rPr>
              <a:t>IndFak</a:t>
            </a:r>
            <a:r>
              <a:rPr lang="da-DK" sz="800" dirty="0" smtClean="0">
                <a:solidFill>
                  <a:schemeClr val="tx1"/>
                </a:solidFill>
              </a:rPr>
              <a:t> </a:t>
            </a:r>
            <a:r>
              <a:rPr lang="da-DK" sz="800" dirty="0">
                <a:solidFill>
                  <a:schemeClr val="tx1"/>
                </a:solidFill>
              </a:rPr>
              <a:t>i dag. Det er et ønske, at dette kan håndteres på en mere smidig måde fremadrettet. Det skal fortsat være muligt at indtaste fakturaer fuldstændigt manuelt.</a:t>
            </a:r>
          </a:p>
        </p:txBody>
      </p:sp>
      <p:sp>
        <p:nvSpPr>
          <p:cNvPr id="50" name="Rectangle 149">
            <a:extLst>
              <a:ext uri="{FF2B5EF4-FFF2-40B4-BE49-F238E27FC236}">
                <a16:creationId xmlns:a16="http://schemas.microsoft.com/office/drawing/2014/main" id="{880A8346-C53D-45EB-9532-9DECE3AB5D24}"/>
              </a:ext>
            </a:extLst>
          </p:cNvPr>
          <p:cNvSpPr/>
          <p:nvPr/>
        </p:nvSpPr>
        <p:spPr>
          <a:xfrm>
            <a:off x="341545" y="1985312"/>
            <a:ext cx="1260165" cy="448496"/>
          </a:xfrm>
          <a:prstGeom prst="rect">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000" b="1">
                <a:solidFill>
                  <a:schemeClr val="tx1"/>
                </a:solidFill>
              </a:rPr>
              <a:t>Udenlandsk faktura</a:t>
            </a:r>
          </a:p>
        </p:txBody>
      </p:sp>
      <p:sp>
        <p:nvSpPr>
          <p:cNvPr id="51" name="Rectangle 286">
            <a:extLst>
              <a:ext uri="{FF2B5EF4-FFF2-40B4-BE49-F238E27FC236}">
                <a16:creationId xmlns:a16="http://schemas.microsoft.com/office/drawing/2014/main" id="{DE723997-A5DD-45B6-9D58-873B7A6CEA2C}"/>
              </a:ext>
            </a:extLst>
          </p:cNvPr>
          <p:cNvSpPr/>
          <p:nvPr/>
        </p:nvSpPr>
        <p:spPr>
          <a:xfrm>
            <a:off x="1584557" y="2549688"/>
            <a:ext cx="7129463" cy="4484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45720" rIns="108000" bIns="45720" rtlCol="0" anchor="ctr"/>
          <a:lstStyle/>
          <a:p>
            <a:r>
              <a:rPr lang="da-DK" sz="800">
                <a:solidFill>
                  <a:schemeClr val="tx1"/>
                </a:solidFill>
              </a:rPr>
              <a:t>Løsningen skal understøtte, at lovgivning om GDPR overholdes. Denne </a:t>
            </a:r>
            <a:r>
              <a:rPr lang="da-DK" sz="800" err="1">
                <a:solidFill>
                  <a:schemeClr val="tx1"/>
                </a:solidFill>
              </a:rPr>
              <a:t>use</a:t>
            </a:r>
            <a:r>
              <a:rPr lang="da-DK" sz="800">
                <a:solidFill>
                  <a:schemeClr val="tx1"/>
                </a:solidFill>
              </a:rPr>
              <a:t> case illustrerer et eksempel, som omhandler en del af denne lovgivning i form af, at regler vedr. sletning af data (periodisk samt pr. anfordring) skal understøttes.</a:t>
            </a:r>
          </a:p>
        </p:txBody>
      </p:sp>
      <p:sp>
        <p:nvSpPr>
          <p:cNvPr id="52" name="Rectangle 149">
            <a:extLst>
              <a:ext uri="{FF2B5EF4-FFF2-40B4-BE49-F238E27FC236}">
                <a16:creationId xmlns:a16="http://schemas.microsoft.com/office/drawing/2014/main" id="{ECFB0B2A-F5D4-4293-B243-E57B6E2A837B}"/>
              </a:ext>
            </a:extLst>
          </p:cNvPr>
          <p:cNvSpPr/>
          <p:nvPr/>
        </p:nvSpPr>
        <p:spPr>
          <a:xfrm>
            <a:off x="341545" y="2549688"/>
            <a:ext cx="1243013" cy="448496"/>
          </a:xfrm>
          <a:prstGeom prst="rect">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000" b="1">
                <a:solidFill>
                  <a:schemeClr val="tx1"/>
                </a:solidFill>
              </a:rPr>
              <a:t>GDPR</a:t>
            </a:r>
          </a:p>
        </p:txBody>
      </p:sp>
      <p:sp>
        <p:nvSpPr>
          <p:cNvPr id="53" name="Rectangle 286">
            <a:extLst>
              <a:ext uri="{FF2B5EF4-FFF2-40B4-BE49-F238E27FC236}">
                <a16:creationId xmlns:a16="http://schemas.microsoft.com/office/drawing/2014/main" id="{50E6FC77-86B0-41DB-B39B-01989C571F4E}"/>
              </a:ext>
            </a:extLst>
          </p:cNvPr>
          <p:cNvSpPr/>
          <p:nvPr/>
        </p:nvSpPr>
        <p:spPr>
          <a:xfrm>
            <a:off x="1584557" y="3114065"/>
            <a:ext cx="7147232" cy="4499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800" dirty="0">
                <a:solidFill>
                  <a:schemeClr val="tx1"/>
                </a:solidFill>
              </a:rPr>
              <a:t>Der ønskes en effektiv og kvalitetsfyldt automatisk </a:t>
            </a:r>
            <a:r>
              <a:rPr lang="da-DK" sz="800" dirty="0" err="1">
                <a:solidFill>
                  <a:schemeClr val="tx1"/>
                </a:solidFill>
              </a:rPr>
              <a:t>forkontering</a:t>
            </a:r>
            <a:r>
              <a:rPr lang="da-DK" sz="800" dirty="0">
                <a:solidFill>
                  <a:schemeClr val="tx1"/>
                </a:solidFill>
              </a:rPr>
              <a:t> på alle registreringsdimensioner af fakturaer samt ordrer. Det være sig dimensioner, indkøbskategorisering samt momskoder</a:t>
            </a:r>
            <a:r>
              <a:rPr lang="da-DK" sz="800" dirty="0" smtClean="0">
                <a:solidFill>
                  <a:schemeClr val="tx1"/>
                </a:solidFill>
              </a:rPr>
              <a:t>. </a:t>
            </a:r>
            <a:r>
              <a:rPr lang="da-DK" sz="800" dirty="0" err="1">
                <a:solidFill>
                  <a:schemeClr val="tx1"/>
                </a:solidFill>
              </a:rPr>
              <a:t>Forkonteringen</a:t>
            </a:r>
            <a:r>
              <a:rPr lang="da-DK" sz="800" dirty="0">
                <a:solidFill>
                  <a:schemeClr val="tx1"/>
                </a:solidFill>
              </a:rPr>
              <a:t> skal kunne ske både gennem regelbaseret opsætning, men også ved hjælp af en AI-algoritme, der videreudvikles ud fra, hvordan tilsvarende fakturaer tidligere er konteret.</a:t>
            </a:r>
          </a:p>
        </p:txBody>
      </p:sp>
      <p:sp>
        <p:nvSpPr>
          <p:cNvPr id="54" name="Rectangle 149">
            <a:extLst>
              <a:ext uri="{FF2B5EF4-FFF2-40B4-BE49-F238E27FC236}">
                <a16:creationId xmlns:a16="http://schemas.microsoft.com/office/drawing/2014/main" id="{B5F801D5-D363-4348-8217-1787D309C96F}"/>
              </a:ext>
            </a:extLst>
          </p:cNvPr>
          <p:cNvSpPr/>
          <p:nvPr/>
        </p:nvSpPr>
        <p:spPr>
          <a:xfrm>
            <a:off x="343442" y="3114065"/>
            <a:ext cx="1242000" cy="449914"/>
          </a:xfrm>
          <a:prstGeom prst="rect">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000" b="1">
                <a:solidFill>
                  <a:schemeClr val="tx1"/>
                </a:solidFill>
              </a:rPr>
              <a:t> Forkontering</a:t>
            </a:r>
          </a:p>
        </p:txBody>
      </p:sp>
      <p:sp>
        <p:nvSpPr>
          <p:cNvPr id="55" name="Rectangle 286">
            <a:extLst>
              <a:ext uri="{FF2B5EF4-FFF2-40B4-BE49-F238E27FC236}">
                <a16:creationId xmlns:a16="http://schemas.microsoft.com/office/drawing/2014/main" id="{BE942332-8532-43A9-843C-33CDDA16DD23}"/>
              </a:ext>
            </a:extLst>
          </p:cNvPr>
          <p:cNvSpPr/>
          <p:nvPr/>
        </p:nvSpPr>
        <p:spPr>
          <a:xfrm>
            <a:off x="1602327" y="3679860"/>
            <a:ext cx="7129462" cy="4484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800">
                <a:solidFill>
                  <a:schemeClr val="tx1"/>
                </a:solidFill>
              </a:rPr>
              <a:t>Indkøbsordrer skal kunne oprettes med afsæt i de indgåede aftaler under Statens Indkøbsprogram, så der ved fakturamodtagelse kan foretages fakturamatch.</a:t>
            </a:r>
          </a:p>
        </p:txBody>
      </p:sp>
      <p:sp>
        <p:nvSpPr>
          <p:cNvPr id="56" name="Rectangle 149">
            <a:extLst>
              <a:ext uri="{FF2B5EF4-FFF2-40B4-BE49-F238E27FC236}">
                <a16:creationId xmlns:a16="http://schemas.microsoft.com/office/drawing/2014/main" id="{B59F82D2-46E0-420B-9237-90A6266A7E40}"/>
              </a:ext>
            </a:extLst>
          </p:cNvPr>
          <p:cNvSpPr/>
          <p:nvPr/>
        </p:nvSpPr>
        <p:spPr>
          <a:xfrm>
            <a:off x="341851" y="3679860"/>
            <a:ext cx="1260475" cy="448496"/>
          </a:xfrm>
          <a:prstGeom prst="rect">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000" b="1">
                <a:solidFill>
                  <a:schemeClr val="tx1"/>
                </a:solidFill>
              </a:rPr>
              <a:t>Match med ordre</a:t>
            </a:r>
          </a:p>
        </p:txBody>
      </p:sp>
      <p:sp>
        <p:nvSpPr>
          <p:cNvPr id="57" name="Rectangle 286">
            <a:extLst>
              <a:ext uri="{FF2B5EF4-FFF2-40B4-BE49-F238E27FC236}">
                <a16:creationId xmlns:a16="http://schemas.microsoft.com/office/drawing/2014/main" id="{F433F466-F07F-4B8B-8107-4BBAB170FF34}"/>
              </a:ext>
            </a:extLst>
          </p:cNvPr>
          <p:cNvSpPr/>
          <p:nvPr/>
        </p:nvSpPr>
        <p:spPr>
          <a:xfrm>
            <a:off x="1602469" y="4244237"/>
            <a:ext cx="7129464" cy="4484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800" dirty="0">
                <a:solidFill>
                  <a:schemeClr val="tx1"/>
                </a:solidFill>
              </a:rPr>
              <a:t>Der skal ske rapportering af, at rettigheder er opsat i henhold til princippet om funktionsadskillelse samt </a:t>
            </a:r>
            <a:r>
              <a:rPr lang="da-DK" sz="800" dirty="0" smtClean="0">
                <a:solidFill>
                  <a:schemeClr val="tx1"/>
                </a:solidFill>
              </a:rPr>
              <a:t>4-øjne-princippet.</a:t>
            </a:r>
            <a:endParaRPr lang="da-DK" sz="800" dirty="0">
              <a:solidFill>
                <a:schemeClr val="tx1"/>
              </a:solidFill>
            </a:endParaRPr>
          </a:p>
        </p:txBody>
      </p:sp>
      <p:sp>
        <p:nvSpPr>
          <p:cNvPr id="58" name="Rectangle 149">
            <a:extLst>
              <a:ext uri="{FF2B5EF4-FFF2-40B4-BE49-F238E27FC236}">
                <a16:creationId xmlns:a16="http://schemas.microsoft.com/office/drawing/2014/main" id="{889E21FB-E113-482C-9A6A-A79B5640238F}"/>
              </a:ext>
            </a:extLst>
          </p:cNvPr>
          <p:cNvSpPr/>
          <p:nvPr/>
        </p:nvSpPr>
        <p:spPr>
          <a:xfrm>
            <a:off x="341545" y="4244237"/>
            <a:ext cx="1260925" cy="448496"/>
          </a:xfrm>
          <a:prstGeom prst="rect">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000" b="1">
                <a:solidFill>
                  <a:schemeClr val="tx1"/>
                </a:solidFill>
              </a:rPr>
              <a:t>Funktions-</a:t>
            </a:r>
            <a:r>
              <a:rPr lang="da-DK" sz="1000" b="1" err="1">
                <a:solidFill>
                  <a:schemeClr val="tx1"/>
                </a:solidFill>
              </a:rPr>
              <a:t>adskillese</a:t>
            </a:r>
            <a:endParaRPr lang="da-DK" sz="1000" b="1">
              <a:solidFill>
                <a:schemeClr val="tx1"/>
              </a:solidFill>
            </a:endParaRPr>
          </a:p>
        </p:txBody>
      </p:sp>
      <p:sp>
        <p:nvSpPr>
          <p:cNvPr id="59" name="Rectangle 286">
            <a:extLst>
              <a:ext uri="{FF2B5EF4-FFF2-40B4-BE49-F238E27FC236}">
                <a16:creationId xmlns:a16="http://schemas.microsoft.com/office/drawing/2014/main" id="{83E8EF83-4374-42FB-A169-CCE289D9F1DA}"/>
              </a:ext>
            </a:extLst>
          </p:cNvPr>
          <p:cNvSpPr/>
          <p:nvPr/>
        </p:nvSpPr>
        <p:spPr>
          <a:xfrm>
            <a:off x="1602469" y="4808614"/>
            <a:ext cx="7129464" cy="4484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800">
                <a:solidFill>
                  <a:schemeClr val="tx1"/>
                </a:solidFill>
              </a:rPr>
              <a:t>Der ønskes en simpel og intuitiv rapportering, der kan dække behov for både central og decentral rapportering. </a:t>
            </a:r>
            <a:r>
              <a:rPr lang="da-DK" sz="800" err="1">
                <a:solidFill>
                  <a:schemeClr val="tx1"/>
                </a:solidFill>
              </a:rPr>
              <a:t>Use</a:t>
            </a:r>
            <a:r>
              <a:rPr lang="da-DK" sz="800">
                <a:solidFill>
                  <a:schemeClr val="tx1"/>
                </a:solidFill>
              </a:rPr>
              <a:t>-casen beskriver en konkret proces, hvor der skal fremstilles en rapportering til en interessent.</a:t>
            </a:r>
          </a:p>
        </p:txBody>
      </p:sp>
      <p:sp>
        <p:nvSpPr>
          <p:cNvPr id="60" name="Rectangle 149">
            <a:extLst>
              <a:ext uri="{FF2B5EF4-FFF2-40B4-BE49-F238E27FC236}">
                <a16:creationId xmlns:a16="http://schemas.microsoft.com/office/drawing/2014/main" id="{D7947C54-E66C-4CD5-B1B7-E3E666E06D2E}"/>
              </a:ext>
            </a:extLst>
          </p:cNvPr>
          <p:cNvSpPr/>
          <p:nvPr/>
        </p:nvSpPr>
        <p:spPr>
          <a:xfrm>
            <a:off x="341545" y="4808614"/>
            <a:ext cx="1260925" cy="448496"/>
          </a:xfrm>
          <a:prstGeom prst="rect">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000" b="1">
                <a:solidFill>
                  <a:schemeClr val="tx1"/>
                </a:solidFill>
              </a:rPr>
              <a:t>Rapportering</a:t>
            </a:r>
          </a:p>
        </p:txBody>
      </p:sp>
      <p:sp>
        <p:nvSpPr>
          <p:cNvPr id="61" name="Rectangle 286">
            <a:extLst>
              <a:ext uri="{FF2B5EF4-FFF2-40B4-BE49-F238E27FC236}">
                <a16:creationId xmlns:a16="http://schemas.microsoft.com/office/drawing/2014/main" id="{0F74A083-AAC5-4CE2-96C2-64D983BA244F}"/>
              </a:ext>
            </a:extLst>
          </p:cNvPr>
          <p:cNvSpPr/>
          <p:nvPr/>
        </p:nvSpPr>
        <p:spPr>
          <a:xfrm>
            <a:off x="1602469" y="5372991"/>
            <a:ext cx="7129464" cy="4484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800" dirty="0">
                <a:solidFill>
                  <a:schemeClr val="tx1"/>
                </a:solidFill>
              </a:rPr>
              <a:t>Løsningen skal understøtte brug af </a:t>
            </a:r>
            <a:r>
              <a:rPr lang="da-DK" sz="800" dirty="0" err="1">
                <a:solidFill>
                  <a:schemeClr val="tx1"/>
                </a:solidFill>
              </a:rPr>
              <a:t>Peppol</a:t>
            </a:r>
            <a:r>
              <a:rPr lang="da-DK" sz="800" dirty="0">
                <a:solidFill>
                  <a:schemeClr val="tx1"/>
                </a:solidFill>
              </a:rPr>
              <a:t> ved bestilling af varer hos </a:t>
            </a:r>
            <a:r>
              <a:rPr lang="da-DK" sz="800" dirty="0" smtClean="0">
                <a:solidFill>
                  <a:schemeClr val="tx1"/>
                </a:solidFill>
              </a:rPr>
              <a:t>leverandør.</a:t>
            </a:r>
            <a:endParaRPr lang="da-DK" sz="800" dirty="0">
              <a:solidFill>
                <a:schemeClr val="tx1"/>
              </a:solidFill>
            </a:endParaRPr>
          </a:p>
        </p:txBody>
      </p:sp>
      <p:sp>
        <p:nvSpPr>
          <p:cNvPr id="62" name="Rectangle 149">
            <a:extLst>
              <a:ext uri="{FF2B5EF4-FFF2-40B4-BE49-F238E27FC236}">
                <a16:creationId xmlns:a16="http://schemas.microsoft.com/office/drawing/2014/main" id="{27780A67-1830-4EDB-BE70-0D592E8A476B}"/>
              </a:ext>
            </a:extLst>
          </p:cNvPr>
          <p:cNvSpPr/>
          <p:nvPr/>
        </p:nvSpPr>
        <p:spPr>
          <a:xfrm>
            <a:off x="341545" y="5372991"/>
            <a:ext cx="1260925" cy="448496"/>
          </a:xfrm>
          <a:prstGeom prst="rect">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000" b="1" err="1">
                <a:solidFill>
                  <a:schemeClr val="tx1"/>
                </a:solidFill>
              </a:rPr>
              <a:t>Peppol</a:t>
            </a:r>
            <a:endParaRPr lang="da-DK" sz="1000" b="1">
              <a:solidFill>
                <a:schemeClr val="tx1"/>
              </a:solidFill>
            </a:endParaRPr>
          </a:p>
        </p:txBody>
      </p:sp>
      <p:sp>
        <p:nvSpPr>
          <p:cNvPr id="63" name="Rectangle 7">
            <a:extLst>
              <a:ext uri="{FF2B5EF4-FFF2-40B4-BE49-F238E27FC236}">
                <a16:creationId xmlns:a16="http://schemas.microsoft.com/office/drawing/2014/main" id="{AAF6508B-EDA4-4016-AA8D-C35C5760F930}"/>
              </a:ext>
            </a:extLst>
          </p:cNvPr>
          <p:cNvSpPr/>
          <p:nvPr/>
        </p:nvSpPr>
        <p:spPr>
          <a:xfrm>
            <a:off x="341544" y="1084368"/>
            <a:ext cx="8372475" cy="810103"/>
          </a:xfrm>
          <a:prstGeom prst="rect">
            <a:avLst/>
          </a:prstGeom>
          <a:solidFill>
            <a:srgbClr val="F8F5E7"/>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r>
              <a:rPr lang="da-DK" sz="900" b="1">
                <a:solidFill>
                  <a:srgbClr val="1F2023"/>
                </a:solidFill>
              </a:rPr>
              <a:t>Formål med </a:t>
            </a:r>
            <a:r>
              <a:rPr lang="da-DK" sz="900" b="1" err="1">
                <a:solidFill>
                  <a:srgbClr val="1F2023"/>
                </a:solidFill>
              </a:rPr>
              <a:t>use</a:t>
            </a:r>
            <a:r>
              <a:rPr lang="da-DK" sz="900" b="1">
                <a:solidFill>
                  <a:srgbClr val="1F2023"/>
                </a:solidFill>
              </a:rPr>
              <a:t>-cases:</a:t>
            </a:r>
          </a:p>
          <a:p>
            <a:r>
              <a:rPr lang="da-DK" sz="900">
                <a:solidFill>
                  <a:srgbClr val="1F2023"/>
                </a:solidFill>
              </a:rPr>
              <a:t>De udvalgte </a:t>
            </a:r>
            <a:r>
              <a:rPr lang="da-DK" sz="900" err="1">
                <a:solidFill>
                  <a:srgbClr val="1F2023"/>
                </a:solidFill>
              </a:rPr>
              <a:t>use</a:t>
            </a:r>
            <a:r>
              <a:rPr lang="da-DK" sz="900">
                <a:solidFill>
                  <a:srgbClr val="1F2023"/>
                </a:solidFill>
              </a:rPr>
              <a:t>-cases beskriver processer, hvor der er et ønske om at forbedre/supplere den nuværende løsning. Leverandøren bedes for hver </a:t>
            </a:r>
            <a:r>
              <a:rPr lang="da-DK" sz="900" err="1">
                <a:solidFill>
                  <a:srgbClr val="1F2023"/>
                </a:solidFill>
              </a:rPr>
              <a:t>use</a:t>
            </a:r>
            <a:r>
              <a:rPr lang="da-DK" sz="900">
                <a:solidFill>
                  <a:srgbClr val="1F2023"/>
                </a:solidFill>
              </a:rPr>
              <a:t>-case kort redegøre for, hvorledes leverandørens løsning understøtter disse </a:t>
            </a:r>
            <a:r>
              <a:rPr lang="da-DK" sz="900" err="1">
                <a:solidFill>
                  <a:srgbClr val="1F2023"/>
                </a:solidFill>
              </a:rPr>
              <a:t>use</a:t>
            </a:r>
            <a:r>
              <a:rPr lang="da-DK" sz="900">
                <a:solidFill>
                  <a:srgbClr val="1F2023"/>
                </a:solidFill>
              </a:rPr>
              <a:t>-cases. Formålet er således, at Økonomistyrelsen får indsigt i hvorledes de eksisterende løsninger i markedet understøtte disse </a:t>
            </a:r>
            <a:r>
              <a:rPr lang="da-DK" sz="900" err="1">
                <a:solidFill>
                  <a:srgbClr val="1F2023"/>
                </a:solidFill>
              </a:rPr>
              <a:t>use</a:t>
            </a:r>
            <a:r>
              <a:rPr lang="da-DK" sz="900">
                <a:solidFill>
                  <a:srgbClr val="1F2023"/>
                </a:solidFill>
              </a:rPr>
              <a:t>-cases.</a:t>
            </a:r>
          </a:p>
        </p:txBody>
      </p:sp>
      <p:sp>
        <p:nvSpPr>
          <p:cNvPr id="23" name="Rectangle 286">
            <a:extLst>
              <a:ext uri="{FF2B5EF4-FFF2-40B4-BE49-F238E27FC236}">
                <a16:creationId xmlns:a16="http://schemas.microsoft.com/office/drawing/2014/main" id="{7EDE7D4C-E401-4DEC-8A51-CB6FB7EDDC3D}"/>
              </a:ext>
            </a:extLst>
          </p:cNvPr>
          <p:cNvSpPr/>
          <p:nvPr/>
        </p:nvSpPr>
        <p:spPr>
          <a:xfrm>
            <a:off x="1602469" y="5937368"/>
            <a:ext cx="7129464" cy="4484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800">
                <a:solidFill>
                  <a:schemeClr val="tx1"/>
                </a:solidFill>
              </a:rPr>
              <a:t>Der ønskes en løsning, hvor brugere på en fleksibel måde kan flyttes, når der sker ressortændringer samtidig med at deres historik bevares.</a:t>
            </a:r>
          </a:p>
        </p:txBody>
      </p:sp>
      <p:sp>
        <p:nvSpPr>
          <p:cNvPr id="24" name="Rectangle 149">
            <a:extLst>
              <a:ext uri="{FF2B5EF4-FFF2-40B4-BE49-F238E27FC236}">
                <a16:creationId xmlns:a16="http://schemas.microsoft.com/office/drawing/2014/main" id="{F36D8305-8DD2-4495-A5BB-79C29B758914}"/>
              </a:ext>
            </a:extLst>
          </p:cNvPr>
          <p:cNvSpPr/>
          <p:nvPr/>
        </p:nvSpPr>
        <p:spPr>
          <a:xfrm>
            <a:off x="341545" y="5937368"/>
            <a:ext cx="1260925" cy="448496"/>
          </a:xfrm>
          <a:prstGeom prst="rect">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000" b="1">
                <a:solidFill>
                  <a:schemeClr val="tx1"/>
                </a:solidFill>
              </a:rPr>
              <a:t>Ressort-ændring</a:t>
            </a:r>
          </a:p>
        </p:txBody>
      </p:sp>
      <p:sp>
        <p:nvSpPr>
          <p:cNvPr id="2" name="Oval 1">
            <a:extLst>
              <a:ext uri="{FF2B5EF4-FFF2-40B4-BE49-F238E27FC236}">
                <a16:creationId xmlns:a16="http://schemas.microsoft.com/office/drawing/2014/main" id="{11B07CDC-84E8-4642-AE90-07192E405D62}"/>
              </a:ext>
            </a:extLst>
          </p:cNvPr>
          <p:cNvSpPr/>
          <p:nvPr/>
        </p:nvSpPr>
        <p:spPr>
          <a:xfrm>
            <a:off x="201453" y="2069469"/>
            <a:ext cx="280182" cy="280182"/>
          </a:xfrm>
          <a:prstGeom prst="ellipse">
            <a:avLst/>
          </a:prstGeom>
          <a:solidFill>
            <a:schemeClr val="bg1">
              <a:lumMod val="95000"/>
            </a:schemeClr>
          </a:solidFill>
          <a:ln>
            <a:solidFill>
              <a:srgbClr val="8AA299"/>
            </a:solidFill>
          </a:ln>
        </p:spPr>
        <p:style>
          <a:lnRef idx="2">
            <a:schemeClr val="accent1">
              <a:shade val="50000"/>
            </a:schemeClr>
          </a:lnRef>
          <a:fillRef idx="1">
            <a:schemeClr val="accent1"/>
          </a:fillRef>
          <a:effectRef idx="0">
            <a:schemeClr val="accent1"/>
          </a:effectRef>
          <a:fontRef idx="minor">
            <a:schemeClr val="lt1"/>
          </a:fontRef>
        </p:style>
        <p:txBody>
          <a:bodyPr lIns="108000" tIns="45720" rIns="108000" bIns="45720" rtlCol="0" anchor="ctr"/>
          <a:lstStyle/>
          <a:p>
            <a:pPr algn="ctr"/>
            <a:r>
              <a:rPr lang="da-DK" sz="900" b="1">
                <a:solidFill>
                  <a:schemeClr val="tx1"/>
                </a:solidFill>
              </a:rPr>
              <a:t>1</a:t>
            </a:r>
          </a:p>
        </p:txBody>
      </p:sp>
      <p:sp>
        <p:nvSpPr>
          <p:cNvPr id="26" name="Oval 25">
            <a:extLst>
              <a:ext uri="{FF2B5EF4-FFF2-40B4-BE49-F238E27FC236}">
                <a16:creationId xmlns:a16="http://schemas.microsoft.com/office/drawing/2014/main" id="{2CEC1899-034F-415B-BC3D-C2770C453C1D}"/>
              </a:ext>
            </a:extLst>
          </p:cNvPr>
          <p:cNvSpPr/>
          <p:nvPr/>
        </p:nvSpPr>
        <p:spPr>
          <a:xfrm>
            <a:off x="201453" y="2634049"/>
            <a:ext cx="280182" cy="280182"/>
          </a:xfrm>
          <a:prstGeom prst="ellipse">
            <a:avLst/>
          </a:prstGeom>
          <a:solidFill>
            <a:schemeClr val="bg1">
              <a:lumMod val="95000"/>
            </a:schemeClr>
          </a:solidFill>
          <a:ln>
            <a:solidFill>
              <a:srgbClr val="8AA299"/>
            </a:solidFill>
          </a:ln>
        </p:spPr>
        <p:style>
          <a:lnRef idx="2">
            <a:schemeClr val="accent1">
              <a:shade val="50000"/>
            </a:schemeClr>
          </a:lnRef>
          <a:fillRef idx="1">
            <a:schemeClr val="accent1"/>
          </a:fillRef>
          <a:effectRef idx="0">
            <a:schemeClr val="accent1"/>
          </a:effectRef>
          <a:fontRef idx="minor">
            <a:schemeClr val="lt1"/>
          </a:fontRef>
        </p:style>
        <p:txBody>
          <a:bodyPr lIns="108000" tIns="45720" rIns="108000" bIns="45720" rtlCol="0" anchor="ctr"/>
          <a:lstStyle/>
          <a:p>
            <a:pPr algn="ctr"/>
            <a:r>
              <a:rPr lang="da-DK" sz="900" b="1">
                <a:solidFill>
                  <a:schemeClr val="tx1"/>
                </a:solidFill>
              </a:rPr>
              <a:t>2</a:t>
            </a:r>
          </a:p>
        </p:txBody>
      </p:sp>
      <p:sp>
        <p:nvSpPr>
          <p:cNvPr id="27" name="Oval 26">
            <a:extLst>
              <a:ext uri="{FF2B5EF4-FFF2-40B4-BE49-F238E27FC236}">
                <a16:creationId xmlns:a16="http://schemas.microsoft.com/office/drawing/2014/main" id="{5757EB18-A633-4B50-B3B2-B266C6C98AFA}"/>
              </a:ext>
            </a:extLst>
          </p:cNvPr>
          <p:cNvSpPr/>
          <p:nvPr/>
        </p:nvSpPr>
        <p:spPr>
          <a:xfrm>
            <a:off x="201453" y="3198629"/>
            <a:ext cx="280182" cy="280182"/>
          </a:xfrm>
          <a:prstGeom prst="ellipse">
            <a:avLst/>
          </a:prstGeom>
          <a:solidFill>
            <a:schemeClr val="bg1">
              <a:lumMod val="95000"/>
            </a:schemeClr>
          </a:solidFill>
          <a:ln>
            <a:solidFill>
              <a:srgbClr val="8AA299"/>
            </a:solidFill>
          </a:ln>
        </p:spPr>
        <p:style>
          <a:lnRef idx="2">
            <a:schemeClr val="accent1">
              <a:shade val="50000"/>
            </a:schemeClr>
          </a:lnRef>
          <a:fillRef idx="1">
            <a:schemeClr val="accent1"/>
          </a:fillRef>
          <a:effectRef idx="0">
            <a:schemeClr val="accent1"/>
          </a:effectRef>
          <a:fontRef idx="minor">
            <a:schemeClr val="lt1"/>
          </a:fontRef>
        </p:style>
        <p:txBody>
          <a:bodyPr lIns="108000" tIns="45720" rIns="108000" bIns="45720" rtlCol="0" anchor="ctr"/>
          <a:lstStyle/>
          <a:p>
            <a:pPr algn="ctr"/>
            <a:r>
              <a:rPr lang="da-DK" sz="900" b="1">
                <a:solidFill>
                  <a:schemeClr val="tx1"/>
                </a:solidFill>
              </a:rPr>
              <a:t>3</a:t>
            </a:r>
          </a:p>
        </p:txBody>
      </p:sp>
      <p:sp>
        <p:nvSpPr>
          <p:cNvPr id="28" name="Oval 27">
            <a:extLst>
              <a:ext uri="{FF2B5EF4-FFF2-40B4-BE49-F238E27FC236}">
                <a16:creationId xmlns:a16="http://schemas.microsoft.com/office/drawing/2014/main" id="{D8CDA7DD-0837-4A1E-8471-7D2A75A8554A}"/>
              </a:ext>
            </a:extLst>
          </p:cNvPr>
          <p:cNvSpPr/>
          <p:nvPr/>
        </p:nvSpPr>
        <p:spPr>
          <a:xfrm>
            <a:off x="201453" y="3763208"/>
            <a:ext cx="280182" cy="280182"/>
          </a:xfrm>
          <a:prstGeom prst="ellipse">
            <a:avLst/>
          </a:prstGeom>
          <a:solidFill>
            <a:schemeClr val="bg1">
              <a:lumMod val="95000"/>
            </a:schemeClr>
          </a:solidFill>
          <a:ln>
            <a:solidFill>
              <a:srgbClr val="8AA299"/>
            </a:solidFill>
          </a:ln>
        </p:spPr>
        <p:style>
          <a:lnRef idx="2">
            <a:schemeClr val="accent1">
              <a:shade val="50000"/>
            </a:schemeClr>
          </a:lnRef>
          <a:fillRef idx="1">
            <a:schemeClr val="accent1"/>
          </a:fillRef>
          <a:effectRef idx="0">
            <a:schemeClr val="accent1"/>
          </a:effectRef>
          <a:fontRef idx="minor">
            <a:schemeClr val="lt1"/>
          </a:fontRef>
        </p:style>
        <p:txBody>
          <a:bodyPr lIns="108000" tIns="45720" rIns="108000" bIns="45720" rtlCol="0" anchor="ctr"/>
          <a:lstStyle/>
          <a:p>
            <a:pPr algn="ctr"/>
            <a:r>
              <a:rPr lang="da-DK" sz="900" b="1">
                <a:solidFill>
                  <a:schemeClr val="tx1"/>
                </a:solidFill>
              </a:rPr>
              <a:t>4</a:t>
            </a:r>
          </a:p>
        </p:txBody>
      </p:sp>
      <p:sp>
        <p:nvSpPr>
          <p:cNvPr id="29" name="Oval 28">
            <a:extLst>
              <a:ext uri="{FF2B5EF4-FFF2-40B4-BE49-F238E27FC236}">
                <a16:creationId xmlns:a16="http://schemas.microsoft.com/office/drawing/2014/main" id="{A887AE29-58AB-4495-8C81-A6C19A146010}"/>
              </a:ext>
            </a:extLst>
          </p:cNvPr>
          <p:cNvSpPr/>
          <p:nvPr/>
        </p:nvSpPr>
        <p:spPr>
          <a:xfrm>
            <a:off x="201453" y="4327787"/>
            <a:ext cx="280182" cy="280182"/>
          </a:xfrm>
          <a:prstGeom prst="ellipse">
            <a:avLst/>
          </a:prstGeom>
          <a:solidFill>
            <a:schemeClr val="bg1">
              <a:lumMod val="95000"/>
            </a:schemeClr>
          </a:solidFill>
          <a:ln>
            <a:solidFill>
              <a:srgbClr val="8AA299"/>
            </a:solidFill>
          </a:ln>
        </p:spPr>
        <p:style>
          <a:lnRef idx="2">
            <a:schemeClr val="accent1">
              <a:shade val="50000"/>
            </a:schemeClr>
          </a:lnRef>
          <a:fillRef idx="1">
            <a:schemeClr val="accent1"/>
          </a:fillRef>
          <a:effectRef idx="0">
            <a:schemeClr val="accent1"/>
          </a:effectRef>
          <a:fontRef idx="minor">
            <a:schemeClr val="lt1"/>
          </a:fontRef>
        </p:style>
        <p:txBody>
          <a:bodyPr lIns="108000" tIns="45720" rIns="108000" bIns="45720" rtlCol="0" anchor="ctr"/>
          <a:lstStyle/>
          <a:p>
            <a:pPr algn="ctr"/>
            <a:r>
              <a:rPr lang="da-DK" sz="900" b="1">
                <a:solidFill>
                  <a:schemeClr val="tx1"/>
                </a:solidFill>
              </a:rPr>
              <a:t>5</a:t>
            </a:r>
          </a:p>
        </p:txBody>
      </p:sp>
      <p:sp>
        <p:nvSpPr>
          <p:cNvPr id="30" name="Oval 29">
            <a:extLst>
              <a:ext uri="{FF2B5EF4-FFF2-40B4-BE49-F238E27FC236}">
                <a16:creationId xmlns:a16="http://schemas.microsoft.com/office/drawing/2014/main" id="{8C3E73E4-EA9C-4286-8B6D-4FD9653A64DD}"/>
              </a:ext>
            </a:extLst>
          </p:cNvPr>
          <p:cNvSpPr/>
          <p:nvPr/>
        </p:nvSpPr>
        <p:spPr>
          <a:xfrm>
            <a:off x="201453" y="4892366"/>
            <a:ext cx="280182" cy="280182"/>
          </a:xfrm>
          <a:prstGeom prst="ellipse">
            <a:avLst/>
          </a:prstGeom>
          <a:solidFill>
            <a:schemeClr val="bg1">
              <a:lumMod val="95000"/>
            </a:schemeClr>
          </a:solidFill>
          <a:ln>
            <a:solidFill>
              <a:srgbClr val="8AA299"/>
            </a:solidFill>
          </a:ln>
        </p:spPr>
        <p:style>
          <a:lnRef idx="2">
            <a:schemeClr val="accent1">
              <a:shade val="50000"/>
            </a:schemeClr>
          </a:lnRef>
          <a:fillRef idx="1">
            <a:schemeClr val="accent1"/>
          </a:fillRef>
          <a:effectRef idx="0">
            <a:schemeClr val="accent1"/>
          </a:effectRef>
          <a:fontRef idx="minor">
            <a:schemeClr val="lt1"/>
          </a:fontRef>
        </p:style>
        <p:txBody>
          <a:bodyPr lIns="108000" tIns="45720" rIns="108000" bIns="45720" rtlCol="0" anchor="ctr"/>
          <a:lstStyle/>
          <a:p>
            <a:pPr algn="ctr"/>
            <a:r>
              <a:rPr lang="da-DK" sz="900" b="1">
                <a:solidFill>
                  <a:schemeClr val="tx1"/>
                </a:solidFill>
              </a:rPr>
              <a:t>6</a:t>
            </a:r>
          </a:p>
        </p:txBody>
      </p:sp>
      <p:sp>
        <p:nvSpPr>
          <p:cNvPr id="31" name="Oval 30">
            <a:extLst>
              <a:ext uri="{FF2B5EF4-FFF2-40B4-BE49-F238E27FC236}">
                <a16:creationId xmlns:a16="http://schemas.microsoft.com/office/drawing/2014/main" id="{2A18B5AC-5BD6-4D0E-AA2F-847C44A499E9}"/>
              </a:ext>
            </a:extLst>
          </p:cNvPr>
          <p:cNvSpPr/>
          <p:nvPr/>
        </p:nvSpPr>
        <p:spPr>
          <a:xfrm>
            <a:off x="201453" y="5456946"/>
            <a:ext cx="280182" cy="280182"/>
          </a:xfrm>
          <a:prstGeom prst="ellipse">
            <a:avLst/>
          </a:prstGeom>
          <a:solidFill>
            <a:schemeClr val="bg1">
              <a:lumMod val="95000"/>
            </a:schemeClr>
          </a:solidFill>
          <a:ln>
            <a:solidFill>
              <a:srgbClr val="8AA299"/>
            </a:solidFill>
          </a:ln>
        </p:spPr>
        <p:style>
          <a:lnRef idx="2">
            <a:schemeClr val="accent1">
              <a:shade val="50000"/>
            </a:schemeClr>
          </a:lnRef>
          <a:fillRef idx="1">
            <a:schemeClr val="accent1"/>
          </a:fillRef>
          <a:effectRef idx="0">
            <a:schemeClr val="accent1"/>
          </a:effectRef>
          <a:fontRef idx="minor">
            <a:schemeClr val="lt1"/>
          </a:fontRef>
        </p:style>
        <p:txBody>
          <a:bodyPr lIns="108000" tIns="45720" rIns="108000" bIns="45720" rtlCol="0" anchor="ctr"/>
          <a:lstStyle/>
          <a:p>
            <a:pPr algn="ctr"/>
            <a:r>
              <a:rPr lang="da-DK" sz="900" b="1">
                <a:solidFill>
                  <a:schemeClr val="tx1"/>
                </a:solidFill>
              </a:rPr>
              <a:t>7</a:t>
            </a:r>
          </a:p>
        </p:txBody>
      </p:sp>
      <p:sp>
        <p:nvSpPr>
          <p:cNvPr id="32" name="Oval 31">
            <a:extLst>
              <a:ext uri="{FF2B5EF4-FFF2-40B4-BE49-F238E27FC236}">
                <a16:creationId xmlns:a16="http://schemas.microsoft.com/office/drawing/2014/main" id="{24F33E00-55EA-4E15-B6D3-7D15B61243A4}"/>
              </a:ext>
            </a:extLst>
          </p:cNvPr>
          <p:cNvSpPr/>
          <p:nvPr/>
        </p:nvSpPr>
        <p:spPr>
          <a:xfrm>
            <a:off x="201453" y="6021525"/>
            <a:ext cx="280182" cy="280182"/>
          </a:xfrm>
          <a:prstGeom prst="ellipse">
            <a:avLst/>
          </a:prstGeom>
          <a:solidFill>
            <a:schemeClr val="bg1">
              <a:lumMod val="95000"/>
            </a:schemeClr>
          </a:solidFill>
          <a:ln>
            <a:solidFill>
              <a:srgbClr val="8AA299"/>
            </a:solidFill>
          </a:ln>
        </p:spPr>
        <p:style>
          <a:lnRef idx="2">
            <a:schemeClr val="accent1">
              <a:shade val="50000"/>
            </a:schemeClr>
          </a:lnRef>
          <a:fillRef idx="1">
            <a:schemeClr val="accent1"/>
          </a:fillRef>
          <a:effectRef idx="0">
            <a:schemeClr val="accent1"/>
          </a:effectRef>
          <a:fontRef idx="minor">
            <a:schemeClr val="lt1"/>
          </a:fontRef>
        </p:style>
        <p:txBody>
          <a:bodyPr lIns="108000" tIns="45720" rIns="108000" bIns="45720" rtlCol="0" anchor="ctr"/>
          <a:lstStyle/>
          <a:p>
            <a:pPr algn="ctr"/>
            <a:r>
              <a:rPr lang="da-DK" sz="900" b="1">
                <a:solidFill>
                  <a:schemeClr val="tx1"/>
                </a:solidFill>
              </a:rPr>
              <a:t>8</a:t>
            </a:r>
          </a:p>
        </p:txBody>
      </p:sp>
    </p:spTree>
    <p:extLst>
      <p:ext uri="{BB962C8B-B14F-4D97-AF65-F5344CB8AC3E}">
        <p14:creationId xmlns:p14="http://schemas.microsoft.com/office/powerpoint/2010/main" val="4231165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4" descr="A picture containing table&#10;&#10;Description automatically generated">
            <a:extLst>
              <a:ext uri="{FF2B5EF4-FFF2-40B4-BE49-F238E27FC236}">
                <a16:creationId xmlns:a16="http://schemas.microsoft.com/office/drawing/2014/main" id="{134CE1D0-464F-4AE5-9746-5677225A051A}"/>
              </a:ext>
            </a:extLst>
          </p:cNvPr>
          <p:cNvPicPr>
            <a:picLocks noChangeAspect="1"/>
          </p:cNvPicPr>
          <p:nvPr/>
        </p:nvPicPr>
        <p:blipFill>
          <a:blip r:embed="rId6"/>
          <a:stretch>
            <a:fillRect/>
          </a:stretch>
        </p:blipFill>
        <p:spPr>
          <a:xfrm>
            <a:off x="5626345" y="4338638"/>
            <a:ext cx="1924050" cy="619125"/>
          </a:xfrm>
          <a:prstGeom prst="rect">
            <a:avLst/>
          </a:prstGeom>
        </p:spPr>
      </p:pic>
      <p:graphicFrame>
        <p:nvGraphicFramePr>
          <p:cNvPr id="6" name="Object 5" hidden="1">
            <a:extLst>
              <a:ext uri="{FF2B5EF4-FFF2-40B4-BE49-F238E27FC236}">
                <a16:creationId xmlns:a16="http://schemas.microsoft.com/office/drawing/2014/main" id="{3D7ED4AE-4117-4A2A-999B-0EC50D6B2A8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7" name="think-cell Slide" r:id="rId7" imgW="395" imgH="394" progId="TCLayout.ActiveDocument.1">
                  <p:embed/>
                </p:oleObj>
              </mc:Choice>
              <mc:Fallback>
                <p:oleObj name="think-cell Slide" r:id="rId7" imgW="395" imgH="394" progId="TCLayout.ActiveDocument.1">
                  <p:embed/>
                  <p:pic>
                    <p:nvPicPr>
                      <p:cNvPr id="6" name="Object 5" hidden="1">
                        <a:extLst>
                          <a:ext uri="{FF2B5EF4-FFF2-40B4-BE49-F238E27FC236}">
                            <a16:creationId xmlns:a16="http://schemas.microsoft.com/office/drawing/2014/main" id="{3D7ED4AE-4117-4A2A-999B-0EC50D6B2A8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AE20B3F-0E2F-41DD-9161-AFD4CFFD351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a-DK">
              <a:latin typeface="Verdana" panose="020B0604030504040204" pitchFamily="34" charset="0"/>
              <a:ea typeface="Verdana" panose="020B0604030504040204" pitchFamily="34" charset="0"/>
              <a:sym typeface="Verdana" panose="020B0604030504040204" pitchFamily="34" charset="0"/>
            </a:endParaRPr>
          </a:p>
        </p:txBody>
      </p:sp>
      <p:sp>
        <p:nvSpPr>
          <p:cNvPr id="7" name="Title 1">
            <a:extLst>
              <a:ext uri="{FF2B5EF4-FFF2-40B4-BE49-F238E27FC236}">
                <a16:creationId xmlns:a16="http://schemas.microsoft.com/office/drawing/2014/main" id="{AB2F3BDA-6BDD-46D1-868C-9356701B023E}"/>
              </a:ext>
            </a:extLst>
          </p:cNvPr>
          <p:cNvSpPr>
            <a:spLocks noGrp="1"/>
          </p:cNvSpPr>
          <p:nvPr>
            <p:ph type="title"/>
          </p:nvPr>
        </p:nvSpPr>
        <p:spPr>
          <a:xfrm>
            <a:off x="263401" y="269580"/>
            <a:ext cx="7981950" cy="689476"/>
          </a:xfrm>
        </p:spPr>
        <p:txBody>
          <a:bodyPr lIns="91440" tIns="45720" rIns="91440" bIns="45720" anchor="b">
            <a:normAutofit fontScale="90000"/>
          </a:bodyPr>
          <a:lstStyle/>
          <a:p>
            <a:r>
              <a:rPr lang="da-DK" sz="2800" b="0">
                <a:solidFill>
                  <a:schemeClr val="tx1"/>
                </a:solidFill>
                <a:latin typeface="Impact"/>
                <a:ea typeface="Verdana"/>
                <a:cs typeface="Verdana"/>
              </a:rPr>
              <a:t>3. Løsningen</a:t>
            </a:r>
            <a:r>
              <a:rPr lang="da-DK"/>
              <a:t/>
            </a:r>
            <a:br>
              <a:rPr lang="da-DK"/>
            </a:br>
            <a:r>
              <a:rPr lang="da-DK" sz="2000" b="0">
                <a:solidFill>
                  <a:schemeClr val="tx1"/>
                </a:solidFill>
                <a:latin typeface="Verdana"/>
                <a:ea typeface="Verdana"/>
                <a:cs typeface="Verdana"/>
              </a:rPr>
              <a:t>3.1.2.1 </a:t>
            </a:r>
            <a:r>
              <a:rPr lang="da-DK" sz="2000" b="0" err="1">
                <a:solidFill>
                  <a:schemeClr val="tx1"/>
                </a:solidFill>
                <a:latin typeface="Verdana"/>
                <a:ea typeface="Verdana"/>
                <a:cs typeface="Verdana"/>
              </a:rPr>
              <a:t>use</a:t>
            </a:r>
            <a:r>
              <a:rPr lang="da-DK" sz="2000" b="0">
                <a:solidFill>
                  <a:schemeClr val="tx1"/>
                </a:solidFill>
                <a:latin typeface="Verdana"/>
                <a:ea typeface="Verdana"/>
                <a:cs typeface="Verdana"/>
              </a:rPr>
              <a:t> case: Udenlandsk faktura i PDF</a:t>
            </a:r>
            <a:endParaRPr lang="da-DK" b="0">
              <a:solidFill>
                <a:schemeClr val="tx1"/>
              </a:solidFill>
              <a:latin typeface="Verdana"/>
              <a:ea typeface="Verdana"/>
              <a:cs typeface="Verdana"/>
            </a:endParaRPr>
          </a:p>
        </p:txBody>
      </p:sp>
      <p:cxnSp>
        <p:nvCxnSpPr>
          <p:cNvPr id="164" name="Straight Connector 163">
            <a:extLst>
              <a:ext uri="{FF2B5EF4-FFF2-40B4-BE49-F238E27FC236}">
                <a16:creationId xmlns:a16="http://schemas.microsoft.com/office/drawing/2014/main" id="{57AEC517-DF95-4371-BCD4-70220FFBCA04}"/>
              </a:ext>
            </a:extLst>
          </p:cNvPr>
          <p:cNvCxnSpPr>
            <a:cxnSpLocks/>
          </p:cNvCxnSpPr>
          <p:nvPr/>
        </p:nvCxnSpPr>
        <p:spPr>
          <a:xfrm flipH="1">
            <a:off x="716801" y="4102467"/>
            <a:ext cx="7710399" cy="0"/>
          </a:xfrm>
          <a:prstGeom prst="line">
            <a:avLst/>
          </a:prstGeom>
          <a:ln w="6350">
            <a:solidFill>
              <a:srgbClr val="8AA299"/>
            </a:solidFill>
          </a:ln>
        </p:spPr>
        <p:style>
          <a:lnRef idx="1">
            <a:schemeClr val="accent1"/>
          </a:lnRef>
          <a:fillRef idx="0">
            <a:schemeClr val="accent1"/>
          </a:fillRef>
          <a:effectRef idx="0">
            <a:schemeClr val="accent1"/>
          </a:effectRef>
          <a:fontRef idx="minor">
            <a:schemeClr val="tx1"/>
          </a:fontRef>
        </p:style>
      </p:cxnSp>
      <p:grpSp>
        <p:nvGrpSpPr>
          <p:cNvPr id="165" name="Group 164">
            <a:extLst>
              <a:ext uri="{FF2B5EF4-FFF2-40B4-BE49-F238E27FC236}">
                <a16:creationId xmlns:a16="http://schemas.microsoft.com/office/drawing/2014/main" id="{ED217F91-3173-4F47-BF36-4393E775A8B0}"/>
              </a:ext>
            </a:extLst>
          </p:cNvPr>
          <p:cNvGrpSpPr/>
          <p:nvPr/>
        </p:nvGrpSpPr>
        <p:grpSpPr>
          <a:xfrm>
            <a:off x="632046" y="2108181"/>
            <a:ext cx="215006" cy="212352"/>
            <a:chOff x="-280989" y="3035886"/>
            <a:chExt cx="462913" cy="457200"/>
          </a:xfrm>
        </p:grpSpPr>
        <p:sp>
          <p:nvSpPr>
            <p:cNvPr id="166" name="Oval 165">
              <a:extLst>
                <a:ext uri="{FF2B5EF4-FFF2-40B4-BE49-F238E27FC236}">
                  <a16:creationId xmlns:a16="http://schemas.microsoft.com/office/drawing/2014/main" id="{4332F8AF-C932-4411-BDFA-CC749C0247EC}"/>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1</a:t>
              </a:r>
            </a:p>
          </p:txBody>
        </p:sp>
        <p:sp>
          <p:nvSpPr>
            <p:cNvPr id="167" name="Freeform 26">
              <a:extLst>
                <a:ext uri="{FF2B5EF4-FFF2-40B4-BE49-F238E27FC236}">
                  <a16:creationId xmlns:a16="http://schemas.microsoft.com/office/drawing/2014/main" id="{4BD7B24E-3CD2-4950-8500-2F1915FD3B19}"/>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grpSp>
        <p:nvGrpSpPr>
          <p:cNvPr id="221" name="Group 220">
            <a:extLst>
              <a:ext uri="{FF2B5EF4-FFF2-40B4-BE49-F238E27FC236}">
                <a16:creationId xmlns:a16="http://schemas.microsoft.com/office/drawing/2014/main" id="{B9511CAA-F9E3-4FEE-AD28-4FC386C16B2E}"/>
              </a:ext>
            </a:extLst>
          </p:cNvPr>
          <p:cNvGrpSpPr/>
          <p:nvPr/>
        </p:nvGrpSpPr>
        <p:grpSpPr>
          <a:xfrm>
            <a:off x="4786938" y="2108181"/>
            <a:ext cx="215006" cy="212352"/>
            <a:chOff x="-280989" y="3035886"/>
            <a:chExt cx="462913" cy="457200"/>
          </a:xfrm>
        </p:grpSpPr>
        <p:sp>
          <p:nvSpPr>
            <p:cNvPr id="222" name="Oval 221">
              <a:extLst>
                <a:ext uri="{FF2B5EF4-FFF2-40B4-BE49-F238E27FC236}">
                  <a16:creationId xmlns:a16="http://schemas.microsoft.com/office/drawing/2014/main" id="{FA9E3B47-8A3A-44AE-844D-986EC573B6A8}"/>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4</a:t>
              </a:r>
            </a:p>
          </p:txBody>
        </p:sp>
        <p:sp>
          <p:nvSpPr>
            <p:cNvPr id="223" name="Freeform 26">
              <a:extLst>
                <a:ext uri="{FF2B5EF4-FFF2-40B4-BE49-F238E27FC236}">
                  <a16:creationId xmlns:a16="http://schemas.microsoft.com/office/drawing/2014/main" id="{085D17CF-7626-44CE-8EDF-8BAAEE90D111}"/>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cxnSp>
        <p:nvCxnSpPr>
          <p:cNvPr id="255" name="Straight Connector 254">
            <a:extLst>
              <a:ext uri="{FF2B5EF4-FFF2-40B4-BE49-F238E27FC236}">
                <a16:creationId xmlns:a16="http://schemas.microsoft.com/office/drawing/2014/main" id="{877E7E7D-7698-4CEE-92F9-B94B165789AF}"/>
              </a:ext>
            </a:extLst>
          </p:cNvPr>
          <p:cNvCxnSpPr>
            <a:cxnSpLocks/>
          </p:cNvCxnSpPr>
          <p:nvPr/>
        </p:nvCxnSpPr>
        <p:spPr>
          <a:xfrm flipV="1">
            <a:off x="6654370" y="4266426"/>
            <a:ext cx="0" cy="680012"/>
          </a:xfrm>
          <a:prstGeom prst="line">
            <a:avLst/>
          </a:prstGeom>
          <a:ln w="12700" cap="rnd">
            <a:solidFill>
              <a:srgbClr val="8AA299"/>
            </a:solidFill>
            <a:prstDash val="sysDot"/>
            <a:round/>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6B563561-0F4B-4160-972D-1397B5FC1482}"/>
              </a:ext>
            </a:extLst>
          </p:cNvPr>
          <p:cNvCxnSpPr>
            <a:cxnSpLocks/>
          </p:cNvCxnSpPr>
          <p:nvPr/>
        </p:nvCxnSpPr>
        <p:spPr>
          <a:xfrm flipV="1">
            <a:off x="4572000" y="2108182"/>
            <a:ext cx="0" cy="3750012"/>
          </a:xfrm>
          <a:prstGeom prst="line">
            <a:avLst/>
          </a:prstGeom>
          <a:ln w="6350">
            <a:solidFill>
              <a:srgbClr val="8AA299"/>
            </a:solidFill>
          </a:ln>
        </p:spPr>
        <p:style>
          <a:lnRef idx="1">
            <a:schemeClr val="accent1"/>
          </a:lnRef>
          <a:fillRef idx="0">
            <a:schemeClr val="accent1"/>
          </a:fillRef>
          <a:effectRef idx="0">
            <a:schemeClr val="accent1"/>
          </a:effectRef>
          <a:fontRef idx="minor">
            <a:schemeClr val="tx1"/>
          </a:fontRef>
        </p:style>
      </p:cxnSp>
      <p:grpSp>
        <p:nvGrpSpPr>
          <p:cNvPr id="268" name="Group 267">
            <a:extLst>
              <a:ext uri="{FF2B5EF4-FFF2-40B4-BE49-F238E27FC236}">
                <a16:creationId xmlns:a16="http://schemas.microsoft.com/office/drawing/2014/main" id="{7E6D29CB-EFB7-46EF-A544-57493263C20C}"/>
              </a:ext>
            </a:extLst>
          </p:cNvPr>
          <p:cNvGrpSpPr/>
          <p:nvPr/>
        </p:nvGrpSpPr>
        <p:grpSpPr>
          <a:xfrm rot="5400000">
            <a:off x="723938" y="4015844"/>
            <a:ext cx="225738" cy="213318"/>
            <a:chOff x="496618" y="4271624"/>
            <a:chExt cx="490538" cy="463550"/>
          </a:xfrm>
        </p:grpSpPr>
        <p:sp>
          <p:nvSpPr>
            <p:cNvPr id="269" name="Freeform 73">
              <a:extLst>
                <a:ext uri="{FF2B5EF4-FFF2-40B4-BE49-F238E27FC236}">
                  <a16:creationId xmlns:a16="http://schemas.microsoft.com/office/drawing/2014/main" id="{011F1F41-A323-4EA3-95BF-3BB89C23127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0" name="Freeform 74">
              <a:extLst>
                <a:ext uri="{FF2B5EF4-FFF2-40B4-BE49-F238E27FC236}">
                  <a16:creationId xmlns:a16="http://schemas.microsoft.com/office/drawing/2014/main" id="{63A13520-D5FE-4A12-A2B0-0F7FCE2FAD6D}"/>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1" name="Freeform 75">
              <a:extLst>
                <a:ext uri="{FF2B5EF4-FFF2-40B4-BE49-F238E27FC236}">
                  <a16:creationId xmlns:a16="http://schemas.microsoft.com/office/drawing/2014/main" id="{B6BA7D65-5CC1-4940-A762-717FCBA5566D}"/>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72" name="Group 271">
            <a:extLst>
              <a:ext uri="{FF2B5EF4-FFF2-40B4-BE49-F238E27FC236}">
                <a16:creationId xmlns:a16="http://schemas.microsoft.com/office/drawing/2014/main" id="{3DEDF1D9-1707-4706-B110-040B11795645}"/>
              </a:ext>
            </a:extLst>
          </p:cNvPr>
          <p:cNvGrpSpPr/>
          <p:nvPr/>
        </p:nvGrpSpPr>
        <p:grpSpPr>
          <a:xfrm>
            <a:off x="4393887" y="5096447"/>
            <a:ext cx="225738" cy="213318"/>
            <a:chOff x="496618" y="4271624"/>
            <a:chExt cx="490538" cy="463550"/>
          </a:xfrm>
        </p:grpSpPr>
        <p:sp>
          <p:nvSpPr>
            <p:cNvPr id="273" name="Freeform 73">
              <a:extLst>
                <a:ext uri="{FF2B5EF4-FFF2-40B4-BE49-F238E27FC236}">
                  <a16:creationId xmlns:a16="http://schemas.microsoft.com/office/drawing/2014/main" id="{E6577463-63D4-499E-B243-A5319CA76D80}"/>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4" name="Freeform 74">
              <a:extLst>
                <a:ext uri="{FF2B5EF4-FFF2-40B4-BE49-F238E27FC236}">
                  <a16:creationId xmlns:a16="http://schemas.microsoft.com/office/drawing/2014/main" id="{3558AA2D-74AF-4D5C-BCCF-52317191801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5" name="Freeform 75">
              <a:extLst>
                <a:ext uri="{FF2B5EF4-FFF2-40B4-BE49-F238E27FC236}">
                  <a16:creationId xmlns:a16="http://schemas.microsoft.com/office/drawing/2014/main" id="{4C1E44C1-D3BB-475E-894D-4442DC405F1D}"/>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76" name="Group 275">
            <a:extLst>
              <a:ext uri="{FF2B5EF4-FFF2-40B4-BE49-F238E27FC236}">
                <a16:creationId xmlns:a16="http://schemas.microsoft.com/office/drawing/2014/main" id="{69F8D3F5-5F1B-4816-B7A6-812194CA8492}"/>
              </a:ext>
            </a:extLst>
          </p:cNvPr>
          <p:cNvGrpSpPr/>
          <p:nvPr/>
        </p:nvGrpSpPr>
        <p:grpSpPr>
          <a:xfrm rot="16200000">
            <a:off x="8207672" y="3984094"/>
            <a:ext cx="225738" cy="213318"/>
            <a:chOff x="496618" y="4271624"/>
            <a:chExt cx="490538" cy="463550"/>
          </a:xfrm>
        </p:grpSpPr>
        <p:sp>
          <p:nvSpPr>
            <p:cNvPr id="277" name="Freeform 73">
              <a:extLst>
                <a:ext uri="{FF2B5EF4-FFF2-40B4-BE49-F238E27FC236}">
                  <a16:creationId xmlns:a16="http://schemas.microsoft.com/office/drawing/2014/main" id="{1135BE0F-7E39-48F8-9DD9-CC51C4C4A92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8" name="Freeform 74">
              <a:extLst>
                <a:ext uri="{FF2B5EF4-FFF2-40B4-BE49-F238E27FC236}">
                  <a16:creationId xmlns:a16="http://schemas.microsoft.com/office/drawing/2014/main" id="{C0EB1807-E59B-4719-884E-969EF8E26D11}"/>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9" name="Freeform 75">
              <a:extLst>
                <a:ext uri="{FF2B5EF4-FFF2-40B4-BE49-F238E27FC236}">
                  <a16:creationId xmlns:a16="http://schemas.microsoft.com/office/drawing/2014/main" id="{17BC1CBE-0C13-413C-A26A-13E36F555310}"/>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80" name="Group 279">
            <a:extLst>
              <a:ext uri="{FF2B5EF4-FFF2-40B4-BE49-F238E27FC236}">
                <a16:creationId xmlns:a16="http://schemas.microsoft.com/office/drawing/2014/main" id="{C4AB9758-1282-4BC3-88C9-B661799AE662}"/>
              </a:ext>
            </a:extLst>
          </p:cNvPr>
          <p:cNvGrpSpPr/>
          <p:nvPr/>
        </p:nvGrpSpPr>
        <p:grpSpPr>
          <a:xfrm>
            <a:off x="4786938" y="4334428"/>
            <a:ext cx="215006" cy="212352"/>
            <a:chOff x="-280989" y="3035886"/>
            <a:chExt cx="462913" cy="457200"/>
          </a:xfrm>
        </p:grpSpPr>
        <p:sp>
          <p:nvSpPr>
            <p:cNvPr id="281" name="Oval 280">
              <a:extLst>
                <a:ext uri="{FF2B5EF4-FFF2-40B4-BE49-F238E27FC236}">
                  <a16:creationId xmlns:a16="http://schemas.microsoft.com/office/drawing/2014/main" id="{A06ED608-6103-4BA7-89DC-BA115ECF9C00}"/>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3</a:t>
              </a:r>
            </a:p>
          </p:txBody>
        </p:sp>
        <p:sp>
          <p:nvSpPr>
            <p:cNvPr id="282" name="Freeform 26">
              <a:extLst>
                <a:ext uri="{FF2B5EF4-FFF2-40B4-BE49-F238E27FC236}">
                  <a16:creationId xmlns:a16="http://schemas.microsoft.com/office/drawing/2014/main" id="{DDA785A3-140A-40E7-B2D0-C5BCD3D7A48C}"/>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grpSp>
        <p:nvGrpSpPr>
          <p:cNvPr id="283" name="Group 282">
            <a:extLst>
              <a:ext uri="{FF2B5EF4-FFF2-40B4-BE49-F238E27FC236}">
                <a16:creationId xmlns:a16="http://schemas.microsoft.com/office/drawing/2014/main" id="{28F157E5-2E35-444E-AEBE-63E775172035}"/>
              </a:ext>
            </a:extLst>
          </p:cNvPr>
          <p:cNvGrpSpPr/>
          <p:nvPr/>
        </p:nvGrpSpPr>
        <p:grpSpPr>
          <a:xfrm>
            <a:off x="632046" y="4334428"/>
            <a:ext cx="215006" cy="212352"/>
            <a:chOff x="-280989" y="3035886"/>
            <a:chExt cx="462913" cy="457200"/>
          </a:xfrm>
        </p:grpSpPr>
        <p:sp>
          <p:nvSpPr>
            <p:cNvPr id="284" name="Oval 283">
              <a:extLst>
                <a:ext uri="{FF2B5EF4-FFF2-40B4-BE49-F238E27FC236}">
                  <a16:creationId xmlns:a16="http://schemas.microsoft.com/office/drawing/2014/main" id="{CBC00A76-E194-4FCE-90B2-97284D719C01}"/>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2</a:t>
              </a:r>
            </a:p>
          </p:txBody>
        </p:sp>
        <p:sp>
          <p:nvSpPr>
            <p:cNvPr id="285" name="Freeform 26">
              <a:extLst>
                <a:ext uri="{FF2B5EF4-FFF2-40B4-BE49-F238E27FC236}">
                  <a16:creationId xmlns:a16="http://schemas.microsoft.com/office/drawing/2014/main" id="{F7992165-9BC8-4BEF-9E14-BD545799E31C}"/>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sp>
        <p:nvSpPr>
          <p:cNvPr id="287" name="Rectangle 286">
            <a:extLst>
              <a:ext uri="{FF2B5EF4-FFF2-40B4-BE49-F238E27FC236}">
                <a16:creationId xmlns:a16="http://schemas.microsoft.com/office/drawing/2014/main" id="{148B3DDD-3DFD-4791-BFBD-3874CC3D264E}"/>
              </a:ext>
            </a:extLst>
          </p:cNvPr>
          <p:cNvSpPr/>
          <p:nvPr/>
        </p:nvSpPr>
        <p:spPr>
          <a:xfrm>
            <a:off x="1626877" y="1205135"/>
            <a:ext cx="7188507" cy="5634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45720" rIns="108000" bIns="45720" rtlCol="0" anchor="ctr"/>
          <a:lstStyle/>
          <a:p>
            <a:r>
              <a:rPr lang="da-DK" sz="900">
                <a:solidFill>
                  <a:schemeClr val="tx1"/>
                </a:solidFill>
              </a:rPr>
              <a:t>Der er fakturaer, der skal kunne modtages manuelt (ikke lovkrævet elektronisk format). Det er primært fakturaer fra udlandet, der håndteres manuelt. Disse fakturaer modtages typisk i en faktura-mailboks, hvorefter fakturabehandlingen indtaster disse i </a:t>
            </a:r>
            <a:r>
              <a:rPr lang="da-DK" sz="900" err="1">
                <a:solidFill>
                  <a:schemeClr val="tx1"/>
                </a:solidFill>
              </a:rPr>
              <a:t>Indfak</a:t>
            </a:r>
            <a:r>
              <a:rPr lang="da-DK" sz="900">
                <a:solidFill>
                  <a:schemeClr val="tx1"/>
                </a:solidFill>
              </a:rPr>
              <a:t> i dag. Det er et ønske, at dette kan håndteres på en mere smidig måde fremadrettet. </a:t>
            </a:r>
            <a:r>
              <a:rPr lang="da-DK" sz="900" dirty="0">
                <a:solidFill>
                  <a:schemeClr val="tx1"/>
                </a:solidFill>
              </a:rPr>
              <a:t>Det skal fortsat være muligt at indtaste fakturaer fuldstændigt manuelt.</a:t>
            </a:r>
          </a:p>
        </p:txBody>
      </p:sp>
      <p:sp>
        <p:nvSpPr>
          <p:cNvPr id="149" name="Rectangle 148">
            <a:extLst>
              <a:ext uri="{FF2B5EF4-FFF2-40B4-BE49-F238E27FC236}">
                <a16:creationId xmlns:a16="http://schemas.microsoft.com/office/drawing/2014/main" id="{35D2CF02-4213-4946-8F5B-1C30925443B4}"/>
              </a:ext>
            </a:extLst>
          </p:cNvPr>
          <p:cNvSpPr/>
          <p:nvPr/>
        </p:nvSpPr>
        <p:spPr>
          <a:xfrm>
            <a:off x="7044856" y="6066845"/>
            <a:ext cx="2099143" cy="791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0" name="Rectangle 149">
            <a:extLst>
              <a:ext uri="{FF2B5EF4-FFF2-40B4-BE49-F238E27FC236}">
                <a16:creationId xmlns:a16="http://schemas.microsoft.com/office/drawing/2014/main" id="{ABF40D23-6491-4158-B904-B1DED99272C8}"/>
              </a:ext>
            </a:extLst>
          </p:cNvPr>
          <p:cNvSpPr/>
          <p:nvPr/>
        </p:nvSpPr>
        <p:spPr>
          <a:xfrm>
            <a:off x="366712" y="1205135"/>
            <a:ext cx="1260165" cy="563419"/>
          </a:xfrm>
          <a:prstGeom prst="rect">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err="1">
                <a:solidFill>
                  <a:schemeClr val="tx1"/>
                </a:solidFill>
              </a:rPr>
              <a:t>Use</a:t>
            </a:r>
            <a:r>
              <a:rPr lang="da-DK" sz="1200" b="1">
                <a:solidFill>
                  <a:schemeClr val="tx1"/>
                </a:solidFill>
              </a:rPr>
              <a:t> case 1</a:t>
            </a:r>
          </a:p>
        </p:txBody>
      </p:sp>
      <p:sp>
        <p:nvSpPr>
          <p:cNvPr id="140" name="Rectangle 139">
            <a:extLst>
              <a:ext uri="{FF2B5EF4-FFF2-40B4-BE49-F238E27FC236}">
                <a16:creationId xmlns:a16="http://schemas.microsoft.com/office/drawing/2014/main" id="{4EBCE000-5068-435D-B72B-88CFB4043F6E}"/>
              </a:ext>
            </a:extLst>
          </p:cNvPr>
          <p:cNvSpPr/>
          <p:nvPr/>
        </p:nvSpPr>
        <p:spPr>
          <a:xfrm>
            <a:off x="621551" y="3007977"/>
            <a:ext cx="3708000" cy="93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a:solidFill>
                  <a:schemeClr val="tx1"/>
                </a:solidFill>
              </a:rPr>
              <a:t>Faktura modtages fx pr. mail fra en udenlandsk leverandør i pdf-format. Leverandøren sender pdf-filen til en postkasse, hvorpå der er tilknyttet en elektronisk behandling. </a:t>
            </a:r>
          </a:p>
        </p:txBody>
      </p:sp>
      <p:sp>
        <p:nvSpPr>
          <p:cNvPr id="141" name="Rectangle 140">
            <a:extLst>
              <a:ext uri="{FF2B5EF4-FFF2-40B4-BE49-F238E27FC236}">
                <a16:creationId xmlns:a16="http://schemas.microsoft.com/office/drawing/2014/main" id="{D309FE1F-1DFE-4236-983D-A2352DB81115}"/>
              </a:ext>
            </a:extLst>
          </p:cNvPr>
          <p:cNvSpPr/>
          <p:nvPr/>
        </p:nvSpPr>
        <p:spPr>
          <a:xfrm>
            <a:off x="621551" y="5086309"/>
            <a:ext cx="3708000" cy="93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a:solidFill>
                  <a:schemeClr val="tx1"/>
                </a:solidFill>
              </a:rPr>
              <a:t>I forlængelse af den elektroniske modtagelse af fakturaen i postkassen skal der foretages en elektronisk behandling, så oplysninger </a:t>
            </a:r>
            <a:r>
              <a:rPr lang="da-DK" sz="900" err="1">
                <a:solidFill>
                  <a:schemeClr val="tx1"/>
                </a:solidFill>
              </a:rPr>
              <a:t>afløftes</a:t>
            </a:r>
            <a:r>
              <a:rPr lang="da-DK" sz="900">
                <a:solidFill>
                  <a:schemeClr val="tx1"/>
                </a:solidFill>
              </a:rPr>
              <a:t> elektronisk.  Det vil sige, at der gennemføres en form for scanning af pdf-dokumentet.</a:t>
            </a:r>
          </a:p>
        </p:txBody>
      </p:sp>
      <p:sp>
        <p:nvSpPr>
          <p:cNvPr id="142" name="Rectangle 141">
            <a:extLst>
              <a:ext uri="{FF2B5EF4-FFF2-40B4-BE49-F238E27FC236}">
                <a16:creationId xmlns:a16="http://schemas.microsoft.com/office/drawing/2014/main" id="{4EDF2B91-2E6C-4AD8-8ECF-88B6B354AF57}"/>
              </a:ext>
            </a:extLst>
          </p:cNvPr>
          <p:cNvSpPr/>
          <p:nvPr/>
        </p:nvSpPr>
        <p:spPr>
          <a:xfrm>
            <a:off x="4790907" y="5095834"/>
            <a:ext cx="3708000" cy="93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En elektronisk version af dokumentet behandles om nødvendigt manuelt af en central fakturabehandler og sendes i det </a:t>
            </a:r>
            <a:r>
              <a:rPr lang="da-DK" sz="900" dirty="0" err="1" smtClean="0">
                <a:solidFill>
                  <a:schemeClr val="tx1"/>
                </a:solidFill>
              </a:rPr>
              <a:t>fakturaflow</a:t>
            </a:r>
            <a:r>
              <a:rPr lang="da-DK" sz="900" dirty="0" smtClean="0">
                <a:solidFill>
                  <a:schemeClr val="tx1"/>
                </a:solidFill>
              </a:rPr>
              <a:t>, </a:t>
            </a:r>
            <a:r>
              <a:rPr lang="da-DK" sz="900" dirty="0">
                <a:solidFill>
                  <a:schemeClr val="tx1"/>
                </a:solidFill>
              </a:rPr>
              <a:t>der er tilknyttet den pågældende </a:t>
            </a:r>
            <a:r>
              <a:rPr lang="da-DK" sz="900" dirty="0" smtClean="0">
                <a:solidFill>
                  <a:schemeClr val="tx1"/>
                </a:solidFill>
              </a:rPr>
              <a:t>faktura. Det </a:t>
            </a:r>
            <a:r>
              <a:rPr lang="da-DK" sz="900" dirty="0">
                <a:solidFill>
                  <a:schemeClr val="tx1"/>
                </a:solidFill>
              </a:rPr>
              <a:t>er vigtigt, at fakturaer, der er blevet manuelt behandlet (indtastning af betalingsoplysninger m.m.), markeres til efterfølgende kontrol.</a:t>
            </a:r>
          </a:p>
        </p:txBody>
      </p:sp>
      <p:sp>
        <p:nvSpPr>
          <p:cNvPr id="143" name="Rectangle 142">
            <a:extLst>
              <a:ext uri="{FF2B5EF4-FFF2-40B4-BE49-F238E27FC236}">
                <a16:creationId xmlns:a16="http://schemas.microsoft.com/office/drawing/2014/main" id="{A98F10C2-1F47-4BC8-8660-C7848E62DCB7}"/>
              </a:ext>
            </a:extLst>
          </p:cNvPr>
          <p:cNvSpPr/>
          <p:nvPr/>
        </p:nvSpPr>
        <p:spPr>
          <a:xfrm>
            <a:off x="4790907" y="3016453"/>
            <a:ext cx="3708000" cy="93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a:solidFill>
                  <a:schemeClr val="tx1"/>
                </a:solidFill>
              </a:rPr>
              <a:t>Fakturaen behandles efterfølgende i et normalt </a:t>
            </a:r>
            <a:r>
              <a:rPr lang="da-DK" sz="900" err="1">
                <a:solidFill>
                  <a:schemeClr val="tx1"/>
                </a:solidFill>
              </a:rPr>
              <a:t>fakturaflow</a:t>
            </a:r>
            <a:r>
              <a:rPr lang="da-DK" sz="900">
                <a:solidFill>
                  <a:schemeClr val="tx1"/>
                </a:solidFill>
              </a:rPr>
              <a:t>, hvilket vil sige enten manuelt som særskilt faktura eller ved automatisk match i relation til en oprettet indkøbsordre.</a:t>
            </a:r>
          </a:p>
        </p:txBody>
      </p:sp>
      <p:pic>
        <p:nvPicPr>
          <p:cNvPr id="25" name="Picture 34" descr="A picture containing drawing, game&#10;&#10;Description automatically generated">
            <a:extLst>
              <a:ext uri="{FF2B5EF4-FFF2-40B4-BE49-F238E27FC236}">
                <a16:creationId xmlns:a16="http://schemas.microsoft.com/office/drawing/2014/main" id="{88998296-2CFA-4B26-B70E-02FCAAF41099}"/>
              </a:ext>
            </a:extLst>
          </p:cNvPr>
          <p:cNvPicPr>
            <a:picLocks noChangeAspect="1"/>
          </p:cNvPicPr>
          <p:nvPr/>
        </p:nvPicPr>
        <p:blipFill>
          <a:blip r:embed="rId9"/>
          <a:stretch>
            <a:fillRect/>
          </a:stretch>
        </p:blipFill>
        <p:spPr>
          <a:xfrm>
            <a:off x="6109879" y="2078525"/>
            <a:ext cx="904875" cy="657225"/>
          </a:xfrm>
          <a:prstGeom prst="rect">
            <a:avLst/>
          </a:prstGeom>
        </p:spPr>
      </p:pic>
      <p:grpSp>
        <p:nvGrpSpPr>
          <p:cNvPr id="12" name="Group 11">
            <a:extLst>
              <a:ext uri="{FF2B5EF4-FFF2-40B4-BE49-F238E27FC236}">
                <a16:creationId xmlns:a16="http://schemas.microsoft.com/office/drawing/2014/main" id="{1EFF1E9D-1F22-45CA-8A0E-CDABDB7BE99E}"/>
              </a:ext>
            </a:extLst>
          </p:cNvPr>
          <p:cNvGrpSpPr/>
          <p:nvPr/>
        </p:nvGrpSpPr>
        <p:grpSpPr>
          <a:xfrm>
            <a:off x="1666997" y="2047156"/>
            <a:ext cx="1979613" cy="796056"/>
            <a:chOff x="1666997" y="2047156"/>
            <a:chExt cx="1979613" cy="796056"/>
          </a:xfrm>
        </p:grpSpPr>
        <p:pic>
          <p:nvPicPr>
            <p:cNvPr id="4" name="Picture 4" descr="A drawing of a person&#10;&#10;Description automatically generated">
              <a:extLst>
                <a:ext uri="{FF2B5EF4-FFF2-40B4-BE49-F238E27FC236}">
                  <a16:creationId xmlns:a16="http://schemas.microsoft.com/office/drawing/2014/main" id="{2DD8C465-0D22-48F9-B41B-CB643D48E2EA}"/>
                </a:ext>
              </a:extLst>
            </p:cNvPr>
            <p:cNvPicPr>
              <a:picLocks noChangeAspect="1"/>
            </p:cNvPicPr>
            <p:nvPr/>
          </p:nvPicPr>
          <p:blipFill>
            <a:blip r:embed="rId10"/>
            <a:stretch>
              <a:fillRect/>
            </a:stretch>
          </p:blipFill>
          <p:spPr>
            <a:xfrm>
              <a:off x="1666997" y="2109787"/>
              <a:ext cx="1552575" cy="733425"/>
            </a:xfrm>
            <a:prstGeom prst="rect">
              <a:avLst/>
            </a:prstGeom>
          </p:spPr>
        </p:pic>
        <p:pic>
          <p:nvPicPr>
            <p:cNvPr id="3" name="Picture 36" descr="A close up of a logo&#10;&#10;Description automatically generated">
              <a:extLst>
                <a:ext uri="{FF2B5EF4-FFF2-40B4-BE49-F238E27FC236}">
                  <a16:creationId xmlns:a16="http://schemas.microsoft.com/office/drawing/2014/main" id="{396E194D-61D7-4807-9F56-F3F44C5BAEA9}"/>
                </a:ext>
              </a:extLst>
            </p:cNvPr>
            <p:cNvPicPr>
              <a:picLocks noChangeAspect="1"/>
            </p:cNvPicPr>
            <p:nvPr/>
          </p:nvPicPr>
          <p:blipFill>
            <a:blip r:embed="rId11"/>
            <a:stretch>
              <a:fillRect/>
            </a:stretch>
          </p:blipFill>
          <p:spPr>
            <a:xfrm>
              <a:off x="2636960" y="2096233"/>
              <a:ext cx="1009650" cy="742950"/>
            </a:xfrm>
            <a:prstGeom prst="rect">
              <a:avLst/>
            </a:prstGeom>
          </p:spPr>
        </p:pic>
        <p:sp>
          <p:nvSpPr>
            <p:cNvPr id="11" name="Rectangle 10">
              <a:extLst>
                <a:ext uri="{FF2B5EF4-FFF2-40B4-BE49-F238E27FC236}">
                  <a16:creationId xmlns:a16="http://schemas.microsoft.com/office/drawing/2014/main" id="{C0E76DB7-EE28-4C94-8937-36E52211B9ED}"/>
                </a:ext>
              </a:extLst>
            </p:cNvPr>
            <p:cNvSpPr/>
            <p:nvPr/>
          </p:nvSpPr>
          <p:spPr>
            <a:xfrm>
              <a:off x="2579118" y="2047156"/>
              <a:ext cx="713117" cy="4327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 name="Group 14">
            <a:extLst>
              <a:ext uri="{FF2B5EF4-FFF2-40B4-BE49-F238E27FC236}">
                <a16:creationId xmlns:a16="http://schemas.microsoft.com/office/drawing/2014/main" id="{90DC675D-5860-4B27-A275-7C3DBD392555}"/>
              </a:ext>
            </a:extLst>
          </p:cNvPr>
          <p:cNvGrpSpPr/>
          <p:nvPr/>
        </p:nvGrpSpPr>
        <p:grpSpPr>
          <a:xfrm>
            <a:off x="1973263" y="4212289"/>
            <a:ext cx="1637200" cy="771525"/>
            <a:chOff x="1973263" y="4195356"/>
            <a:chExt cx="1637200" cy="771525"/>
          </a:xfrm>
        </p:grpSpPr>
        <p:pic>
          <p:nvPicPr>
            <p:cNvPr id="13" name="Picture 8" descr="A close up of a logo&#10;&#10;Description automatically generated">
              <a:extLst>
                <a:ext uri="{FF2B5EF4-FFF2-40B4-BE49-F238E27FC236}">
                  <a16:creationId xmlns:a16="http://schemas.microsoft.com/office/drawing/2014/main" id="{D860088C-5A61-46A5-9DC6-540D5D8FEF33}"/>
                </a:ext>
              </a:extLst>
            </p:cNvPr>
            <p:cNvPicPr>
              <a:picLocks noChangeAspect="1"/>
            </p:cNvPicPr>
            <p:nvPr/>
          </p:nvPicPr>
          <p:blipFill>
            <a:blip r:embed="rId12"/>
            <a:stretch>
              <a:fillRect/>
            </a:stretch>
          </p:blipFill>
          <p:spPr>
            <a:xfrm>
              <a:off x="2677013" y="4195356"/>
              <a:ext cx="933450" cy="771525"/>
            </a:xfrm>
            <a:prstGeom prst="rect">
              <a:avLst/>
            </a:prstGeom>
          </p:spPr>
        </p:pic>
        <p:pic>
          <p:nvPicPr>
            <p:cNvPr id="14" name="Picture 14" descr="A close up of a logo&#10;&#10;Description automatically generated">
              <a:extLst>
                <a:ext uri="{FF2B5EF4-FFF2-40B4-BE49-F238E27FC236}">
                  <a16:creationId xmlns:a16="http://schemas.microsoft.com/office/drawing/2014/main" id="{8119E8ED-CB49-4B80-9EDB-3589A86E6383}"/>
                </a:ext>
              </a:extLst>
            </p:cNvPr>
            <p:cNvPicPr>
              <a:picLocks noChangeAspect="1"/>
            </p:cNvPicPr>
            <p:nvPr/>
          </p:nvPicPr>
          <p:blipFill>
            <a:blip r:embed="rId13"/>
            <a:stretch>
              <a:fillRect/>
            </a:stretch>
          </p:blipFill>
          <p:spPr>
            <a:xfrm>
              <a:off x="1973263" y="4198937"/>
              <a:ext cx="523875" cy="542925"/>
            </a:xfrm>
            <a:prstGeom prst="rect">
              <a:avLst/>
            </a:prstGeom>
          </p:spPr>
        </p:pic>
      </p:grpSp>
    </p:spTree>
    <p:extLst>
      <p:ext uri="{BB962C8B-B14F-4D97-AF65-F5344CB8AC3E}">
        <p14:creationId xmlns:p14="http://schemas.microsoft.com/office/powerpoint/2010/main" val="29986884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ED4AE-4117-4A2A-999B-0EC50D6B2A8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1"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3D7ED4AE-4117-4A2A-999B-0EC50D6B2A8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AE20B3F-0E2F-41DD-9161-AFD4CFFD351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a-DK">
              <a:latin typeface="Verdana" panose="020B0604030504040204" pitchFamily="34" charset="0"/>
              <a:ea typeface="Verdana" panose="020B0604030504040204" pitchFamily="34" charset="0"/>
              <a:sym typeface="Verdana" panose="020B0604030504040204" pitchFamily="34" charset="0"/>
            </a:endParaRPr>
          </a:p>
        </p:txBody>
      </p:sp>
      <p:sp>
        <p:nvSpPr>
          <p:cNvPr id="7" name="Title 1">
            <a:extLst>
              <a:ext uri="{FF2B5EF4-FFF2-40B4-BE49-F238E27FC236}">
                <a16:creationId xmlns:a16="http://schemas.microsoft.com/office/drawing/2014/main" id="{AB2F3BDA-6BDD-46D1-868C-9356701B023E}"/>
              </a:ext>
            </a:extLst>
          </p:cNvPr>
          <p:cNvSpPr>
            <a:spLocks noGrp="1"/>
          </p:cNvSpPr>
          <p:nvPr>
            <p:ph type="title"/>
          </p:nvPr>
        </p:nvSpPr>
        <p:spPr>
          <a:xfrm>
            <a:off x="263401" y="264483"/>
            <a:ext cx="7981950" cy="689476"/>
          </a:xfrm>
        </p:spPr>
        <p:txBody>
          <a:bodyPr lIns="91440" tIns="45720" rIns="91440" bIns="45720" anchor="b">
            <a:normAutofit fontScale="90000"/>
          </a:bodyPr>
          <a:lstStyle/>
          <a:p>
            <a:r>
              <a:rPr lang="da-DK" sz="2800" b="0">
                <a:solidFill>
                  <a:schemeClr val="tx1"/>
                </a:solidFill>
                <a:latin typeface="Impact"/>
                <a:ea typeface="Verdana"/>
                <a:cs typeface="Verdana"/>
              </a:rPr>
              <a:t>3. Løsningen</a:t>
            </a:r>
            <a:r>
              <a:rPr lang="da-DK"/>
              <a:t/>
            </a:r>
            <a:br>
              <a:rPr lang="da-DK"/>
            </a:br>
            <a:r>
              <a:rPr lang="da-DK" sz="2000" b="0">
                <a:solidFill>
                  <a:schemeClr val="tx1"/>
                </a:solidFill>
                <a:latin typeface="Verdana"/>
                <a:ea typeface="Verdana"/>
                <a:cs typeface="Verdana"/>
              </a:rPr>
              <a:t>3.1.2.2 </a:t>
            </a:r>
            <a:r>
              <a:rPr lang="da-DK" sz="2000" b="0" err="1">
                <a:solidFill>
                  <a:schemeClr val="tx1"/>
                </a:solidFill>
                <a:latin typeface="Verdana"/>
                <a:ea typeface="Verdana"/>
                <a:cs typeface="Verdana"/>
              </a:rPr>
              <a:t>use</a:t>
            </a:r>
            <a:r>
              <a:rPr lang="da-DK" sz="2000" b="0">
                <a:solidFill>
                  <a:schemeClr val="tx1"/>
                </a:solidFill>
                <a:latin typeface="Verdana"/>
                <a:ea typeface="Verdana"/>
                <a:cs typeface="Verdana"/>
              </a:rPr>
              <a:t> case: GDPR compliance</a:t>
            </a:r>
            <a:endParaRPr lang="da-DK" b="0">
              <a:solidFill>
                <a:schemeClr val="tx1"/>
              </a:solidFill>
              <a:latin typeface="Verdana"/>
              <a:ea typeface="Verdana"/>
              <a:cs typeface="Verdana"/>
            </a:endParaRPr>
          </a:p>
        </p:txBody>
      </p:sp>
      <p:cxnSp>
        <p:nvCxnSpPr>
          <p:cNvPr id="164" name="Straight Connector 163">
            <a:extLst>
              <a:ext uri="{FF2B5EF4-FFF2-40B4-BE49-F238E27FC236}">
                <a16:creationId xmlns:a16="http://schemas.microsoft.com/office/drawing/2014/main" id="{57AEC517-DF95-4371-BCD4-70220FFBCA04}"/>
              </a:ext>
            </a:extLst>
          </p:cNvPr>
          <p:cNvCxnSpPr>
            <a:cxnSpLocks/>
          </p:cNvCxnSpPr>
          <p:nvPr/>
        </p:nvCxnSpPr>
        <p:spPr>
          <a:xfrm flipH="1">
            <a:off x="716801" y="4102467"/>
            <a:ext cx="7710399" cy="0"/>
          </a:xfrm>
          <a:prstGeom prst="line">
            <a:avLst/>
          </a:prstGeom>
          <a:ln w="6350">
            <a:solidFill>
              <a:srgbClr val="8AA299"/>
            </a:solidFill>
          </a:ln>
        </p:spPr>
        <p:style>
          <a:lnRef idx="1">
            <a:schemeClr val="accent1"/>
          </a:lnRef>
          <a:fillRef idx="0">
            <a:schemeClr val="accent1"/>
          </a:fillRef>
          <a:effectRef idx="0">
            <a:schemeClr val="accent1"/>
          </a:effectRef>
          <a:fontRef idx="minor">
            <a:schemeClr val="tx1"/>
          </a:fontRef>
        </p:style>
      </p:cxnSp>
      <p:grpSp>
        <p:nvGrpSpPr>
          <p:cNvPr id="165" name="Group 164">
            <a:extLst>
              <a:ext uri="{FF2B5EF4-FFF2-40B4-BE49-F238E27FC236}">
                <a16:creationId xmlns:a16="http://schemas.microsoft.com/office/drawing/2014/main" id="{ED217F91-3173-4F47-BF36-4393E775A8B0}"/>
              </a:ext>
            </a:extLst>
          </p:cNvPr>
          <p:cNvGrpSpPr/>
          <p:nvPr/>
        </p:nvGrpSpPr>
        <p:grpSpPr>
          <a:xfrm>
            <a:off x="622521" y="2108181"/>
            <a:ext cx="215006" cy="212352"/>
            <a:chOff x="-280988" y="3035886"/>
            <a:chExt cx="462912" cy="457200"/>
          </a:xfrm>
        </p:grpSpPr>
        <p:sp>
          <p:nvSpPr>
            <p:cNvPr id="166" name="Oval 165">
              <a:extLst>
                <a:ext uri="{FF2B5EF4-FFF2-40B4-BE49-F238E27FC236}">
                  <a16:creationId xmlns:a16="http://schemas.microsoft.com/office/drawing/2014/main" id="{4332F8AF-C932-4411-BDFA-CC749C0247EC}"/>
                </a:ext>
              </a:extLst>
            </p:cNvPr>
            <p:cNvSpPr/>
            <p:nvPr/>
          </p:nvSpPr>
          <p:spPr>
            <a:xfrm>
              <a:off x="-280988" y="3060058"/>
              <a:ext cx="423346"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1</a:t>
              </a:r>
            </a:p>
          </p:txBody>
        </p:sp>
        <p:sp>
          <p:nvSpPr>
            <p:cNvPr id="167" name="Freeform 26">
              <a:extLst>
                <a:ext uri="{FF2B5EF4-FFF2-40B4-BE49-F238E27FC236}">
                  <a16:creationId xmlns:a16="http://schemas.microsoft.com/office/drawing/2014/main" id="{4BD7B24E-3CD2-4950-8500-2F1915FD3B19}"/>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grpSp>
        <p:nvGrpSpPr>
          <p:cNvPr id="221" name="Group 220">
            <a:extLst>
              <a:ext uri="{FF2B5EF4-FFF2-40B4-BE49-F238E27FC236}">
                <a16:creationId xmlns:a16="http://schemas.microsoft.com/office/drawing/2014/main" id="{B9511CAA-F9E3-4FEE-AD28-4FC386C16B2E}"/>
              </a:ext>
            </a:extLst>
          </p:cNvPr>
          <p:cNvGrpSpPr/>
          <p:nvPr/>
        </p:nvGrpSpPr>
        <p:grpSpPr>
          <a:xfrm>
            <a:off x="4786938" y="2108181"/>
            <a:ext cx="215006" cy="212352"/>
            <a:chOff x="-280989" y="3035886"/>
            <a:chExt cx="462913" cy="457200"/>
          </a:xfrm>
        </p:grpSpPr>
        <p:sp>
          <p:nvSpPr>
            <p:cNvPr id="222" name="Oval 221">
              <a:extLst>
                <a:ext uri="{FF2B5EF4-FFF2-40B4-BE49-F238E27FC236}">
                  <a16:creationId xmlns:a16="http://schemas.microsoft.com/office/drawing/2014/main" id="{FA9E3B47-8A3A-44AE-844D-986EC573B6A8}"/>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4</a:t>
              </a:r>
            </a:p>
          </p:txBody>
        </p:sp>
        <p:sp>
          <p:nvSpPr>
            <p:cNvPr id="223" name="Freeform 26">
              <a:extLst>
                <a:ext uri="{FF2B5EF4-FFF2-40B4-BE49-F238E27FC236}">
                  <a16:creationId xmlns:a16="http://schemas.microsoft.com/office/drawing/2014/main" id="{085D17CF-7626-44CE-8EDF-8BAAEE90D111}"/>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cxnSp>
        <p:nvCxnSpPr>
          <p:cNvPr id="260" name="Straight Connector 259">
            <a:extLst>
              <a:ext uri="{FF2B5EF4-FFF2-40B4-BE49-F238E27FC236}">
                <a16:creationId xmlns:a16="http://schemas.microsoft.com/office/drawing/2014/main" id="{6B563561-0F4B-4160-972D-1397B5FC1482}"/>
              </a:ext>
            </a:extLst>
          </p:cNvPr>
          <p:cNvCxnSpPr>
            <a:cxnSpLocks/>
          </p:cNvCxnSpPr>
          <p:nvPr/>
        </p:nvCxnSpPr>
        <p:spPr>
          <a:xfrm flipV="1">
            <a:off x="4572000" y="2108182"/>
            <a:ext cx="0" cy="3750012"/>
          </a:xfrm>
          <a:prstGeom prst="line">
            <a:avLst/>
          </a:prstGeom>
          <a:ln w="6350">
            <a:solidFill>
              <a:srgbClr val="8AA299"/>
            </a:solidFill>
          </a:ln>
        </p:spPr>
        <p:style>
          <a:lnRef idx="1">
            <a:schemeClr val="accent1"/>
          </a:lnRef>
          <a:fillRef idx="0">
            <a:schemeClr val="accent1"/>
          </a:fillRef>
          <a:effectRef idx="0">
            <a:schemeClr val="accent1"/>
          </a:effectRef>
          <a:fontRef idx="minor">
            <a:schemeClr val="tx1"/>
          </a:fontRef>
        </p:style>
      </p:cxnSp>
      <p:grpSp>
        <p:nvGrpSpPr>
          <p:cNvPr id="268" name="Group 267">
            <a:extLst>
              <a:ext uri="{FF2B5EF4-FFF2-40B4-BE49-F238E27FC236}">
                <a16:creationId xmlns:a16="http://schemas.microsoft.com/office/drawing/2014/main" id="{7E6D29CB-EFB7-46EF-A544-57493263C20C}"/>
              </a:ext>
            </a:extLst>
          </p:cNvPr>
          <p:cNvGrpSpPr/>
          <p:nvPr/>
        </p:nvGrpSpPr>
        <p:grpSpPr>
          <a:xfrm rot="5400000">
            <a:off x="723938" y="4015844"/>
            <a:ext cx="225738" cy="213318"/>
            <a:chOff x="496618" y="4271624"/>
            <a:chExt cx="490538" cy="463550"/>
          </a:xfrm>
        </p:grpSpPr>
        <p:sp>
          <p:nvSpPr>
            <p:cNvPr id="269" name="Freeform 73">
              <a:extLst>
                <a:ext uri="{FF2B5EF4-FFF2-40B4-BE49-F238E27FC236}">
                  <a16:creationId xmlns:a16="http://schemas.microsoft.com/office/drawing/2014/main" id="{011F1F41-A323-4EA3-95BF-3BB89C23127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0" name="Freeform 74">
              <a:extLst>
                <a:ext uri="{FF2B5EF4-FFF2-40B4-BE49-F238E27FC236}">
                  <a16:creationId xmlns:a16="http://schemas.microsoft.com/office/drawing/2014/main" id="{63A13520-D5FE-4A12-A2B0-0F7FCE2FAD6D}"/>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1" name="Freeform 75">
              <a:extLst>
                <a:ext uri="{FF2B5EF4-FFF2-40B4-BE49-F238E27FC236}">
                  <a16:creationId xmlns:a16="http://schemas.microsoft.com/office/drawing/2014/main" id="{B6BA7D65-5CC1-4940-A762-717FCBA5566D}"/>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72" name="Group 271">
            <a:extLst>
              <a:ext uri="{FF2B5EF4-FFF2-40B4-BE49-F238E27FC236}">
                <a16:creationId xmlns:a16="http://schemas.microsoft.com/office/drawing/2014/main" id="{3DEDF1D9-1707-4706-B110-040B11795645}"/>
              </a:ext>
            </a:extLst>
          </p:cNvPr>
          <p:cNvGrpSpPr/>
          <p:nvPr/>
        </p:nvGrpSpPr>
        <p:grpSpPr>
          <a:xfrm>
            <a:off x="4393887" y="5096447"/>
            <a:ext cx="225738" cy="213318"/>
            <a:chOff x="496618" y="4271624"/>
            <a:chExt cx="490538" cy="463550"/>
          </a:xfrm>
        </p:grpSpPr>
        <p:sp>
          <p:nvSpPr>
            <p:cNvPr id="273" name="Freeform 73">
              <a:extLst>
                <a:ext uri="{FF2B5EF4-FFF2-40B4-BE49-F238E27FC236}">
                  <a16:creationId xmlns:a16="http://schemas.microsoft.com/office/drawing/2014/main" id="{E6577463-63D4-499E-B243-A5319CA76D80}"/>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4" name="Freeform 74">
              <a:extLst>
                <a:ext uri="{FF2B5EF4-FFF2-40B4-BE49-F238E27FC236}">
                  <a16:creationId xmlns:a16="http://schemas.microsoft.com/office/drawing/2014/main" id="{3558AA2D-74AF-4D5C-BCCF-52317191801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5" name="Freeform 75">
              <a:extLst>
                <a:ext uri="{FF2B5EF4-FFF2-40B4-BE49-F238E27FC236}">
                  <a16:creationId xmlns:a16="http://schemas.microsoft.com/office/drawing/2014/main" id="{4C1E44C1-D3BB-475E-894D-4442DC405F1D}"/>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76" name="Group 275">
            <a:extLst>
              <a:ext uri="{FF2B5EF4-FFF2-40B4-BE49-F238E27FC236}">
                <a16:creationId xmlns:a16="http://schemas.microsoft.com/office/drawing/2014/main" id="{69F8D3F5-5F1B-4816-B7A6-812194CA8492}"/>
              </a:ext>
            </a:extLst>
          </p:cNvPr>
          <p:cNvGrpSpPr/>
          <p:nvPr/>
        </p:nvGrpSpPr>
        <p:grpSpPr>
          <a:xfrm rot="16200000">
            <a:off x="8207672" y="3984094"/>
            <a:ext cx="225738" cy="213318"/>
            <a:chOff x="496618" y="4271624"/>
            <a:chExt cx="490538" cy="463550"/>
          </a:xfrm>
        </p:grpSpPr>
        <p:sp>
          <p:nvSpPr>
            <p:cNvPr id="277" name="Freeform 73">
              <a:extLst>
                <a:ext uri="{FF2B5EF4-FFF2-40B4-BE49-F238E27FC236}">
                  <a16:creationId xmlns:a16="http://schemas.microsoft.com/office/drawing/2014/main" id="{1135BE0F-7E39-48F8-9DD9-CC51C4C4A92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8" name="Freeform 74">
              <a:extLst>
                <a:ext uri="{FF2B5EF4-FFF2-40B4-BE49-F238E27FC236}">
                  <a16:creationId xmlns:a16="http://schemas.microsoft.com/office/drawing/2014/main" id="{C0EB1807-E59B-4719-884E-969EF8E26D11}"/>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9" name="Freeform 75">
              <a:extLst>
                <a:ext uri="{FF2B5EF4-FFF2-40B4-BE49-F238E27FC236}">
                  <a16:creationId xmlns:a16="http://schemas.microsoft.com/office/drawing/2014/main" id="{17BC1CBE-0C13-413C-A26A-13E36F555310}"/>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80" name="Group 279">
            <a:extLst>
              <a:ext uri="{FF2B5EF4-FFF2-40B4-BE49-F238E27FC236}">
                <a16:creationId xmlns:a16="http://schemas.microsoft.com/office/drawing/2014/main" id="{C4AB9758-1282-4BC3-88C9-B661799AE662}"/>
              </a:ext>
            </a:extLst>
          </p:cNvPr>
          <p:cNvGrpSpPr/>
          <p:nvPr/>
        </p:nvGrpSpPr>
        <p:grpSpPr>
          <a:xfrm>
            <a:off x="4786938" y="4334428"/>
            <a:ext cx="215006" cy="212352"/>
            <a:chOff x="-280989" y="3035886"/>
            <a:chExt cx="462913" cy="457200"/>
          </a:xfrm>
        </p:grpSpPr>
        <p:sp>
          <p:nvSpPr>
            <p:cNvPr id="281" name="Oval 280">
              <a:extLst>
                <a:ext uri="{FF2B5EF4-FFF2-40B4-BE49-F238E27FC236}">
                  <a16:creationId xmlns:a16="http://schemas.microsoft.com/office/drawing/2014/main" id="{A06ED608-6103-4BA7-89DC-BA115ECF9C00}"/>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3</a:t>
              </a:r>
            </a:p>
          </p:txBody>
        </p:sp>
        <p:sp>
          <p:nvSpPr>
            <p:cNvPr id="282" name="Freeform 26">
              <a:extLst>
                <a:ext uri="{FF2B5EF4-FFF2-40B4-BE49-F238E27FC236}">
                  <a16:creationId xmlns:a16="http://schemas.microsoft.com/office/drawing/2014/main" id="{DDA785A3-140A-40E7-B2D0-C5BCD3D7A48C}"/>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grpSp>
        <p:nvGrpSpPr>
          <p:cNvPr id="283" name="Group 282">
            <a:extLst>
              <a:ext uri="{FF2B5EF4-FFF2-40B4-BE49-F238E27FC236}">
                <a16:creationId xmlns:a16="http://schemas.microsoft.com/office/drawing/2014/main" id="{28F157E5-2E35-444E-AEBE-63E775172035}"/>
              </a:ext>
            </a:extLst>
          </p:cNvPr>
          <p:cNvGrpSpPr/>
          <p:nvPr/>
        </p:nvGrpSpPr>
        <p:grpSpPr>
          <a:xfrm>
            <a:off x="622521" y="4334428"/>
            <a:ext cx="215006" cy="212352"/>
            <a:chOff x="-280989" y="3035886"/>
            <a:chExt cx="462913" cy="457200"/>
          </a:xfrm>
        </p:grpSpPr>
        <p:sp>
          <p:nvSpPr>
            <p:cNvPr id="284" name="Oval 283">
              <a:extLst>
                <a:ext uri="{FF2B5EF4-FFF2-40B4-BE49-F238E27FC236}">
                  <a16:creationId xmlns:a16="http://schemas.microsoft.com/office/drawing/2014/main" id="{CBC00A76-E194-4FCE-90B2-97284D719C01}"/>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2</a:t>
              </a:r>
            </a:p>
          </p:txBody>
        </p:sp>
        <p:sp>
          <p:nvSpPr>
            <p:cNvPr id="285" name="Freeform 26">
              <a:extLst>
                <a:ext uri="{FF2B5EF4-FFF2-40B4-BE49-F238E27FC236}">
                  <a16:creationId xmlns:a16="http://schemas.microsoft.com/office/drawing/2014/main" id="{F7992165-9BC8-4BEF-9E14-BD545799E31C}"/>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sp>
        <p:nvSpPr>
          <p:cNvPr id="287" name="Rectangle 286">
            <a:extLst>
              <a:ext uri="{FF2B5EF4-FFF2-40B4-BE49-F238E27FC236}">
                <a16:creationId xmlns:a16="http://schemas.microsoft.com/office/drawing/2014/main" id="{148B3DDD-3DFD-4791-BFBD-3874CC3D264E}"/>
              </a:ext>
            </a:extLst>
          </p:cNvPr>
          <p:cNvSpPr/>
          <p:nvPr/>
        </p:nvSpPr>
        <p:spPr>
          <a:xfrm>
            <a:off x="1619249" y="1204712"/>
            <a:ext cx="7129463" cy="5634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45720" rIns="108000" bIns="45720" rtlCol="0" anchor="ctr"/>
          <a:lstStyle/>
          <a:p>
            <a:r>
              <a:rPr lang="da-DK" sz="900">
                <a:solidFill>
                  <a:schemeClr val="tx1"/>
                </a:solidFill>
              </a:rPr>
              <a:t>Løsningen skal understøtte, at lovgivning om GDPR overholdes. </a:t>
            </a:r>
            <a:r>
              <a:rPr lang="da-DK" sz="900" dirty="0">
                <a:solidFill>
                  <a:schemeClr val="tx1"/>
                </a:solidFill>
              </a:rPr>
              <a:t>Denne </a:t>
            </a:r>
            <a:r>
              <a:rPr lang="da-DK" sz="900" dirty="0" err="1">
                <a:solidFill>
                  <a:schemeClr val="tx1"/>
                </a:solidFill>
              </a:rPr>
              <a:t>use</a:t>
            </a:r>
            <a:r>
              <a:rPr lang="da-DK" sz="900" dirty="0">
                <a:solidFill>
                  <a:schemeClr val="tx1"/>
                </a:solidFill>
              </a:rPr>
              <a:t> case illustrerer et eksempel, </a:t>
            </a:r>
            <a:r>
              <a:rPr lang="da-DK" sz="900">
                <a:solidFill>
                  <a:schemeClr val="tx1"/>
                </a:solidFill>
              </a:rPr>
              <a:t>som omhandler en del af denne lovgivning </a:t>
            </a:r>
            <a:r>
              <a:rPr lang="da-DK" sz="900" dirty="0">
                <a:solidFill>
                  <a:schemeClr val="tx1"/>
                </a:solidFill>
              </a:rPr>
              <a:t>i </a:t>
            </a:r>
            <a:r>
              <a:rPr lang="da-DK" sz="900">
                <a:solidFill>
                  <a:schemeClr val="tx1"/>
                </a:solidFill>
              </a:rPr>
              <a:t>form af, at regler vedr. sletning af data (periodisk samt pr. anfordring) skal understøttes.</a:t>
            </a:r>
          </a:p>
        </p:txBody>
      </p:sp>
      <p:sp>
        <p:nvSpPr>
          <p:cNvPr id="149" name="Rectangle 148">
            <a:extLst>
              <a:ext uri="{FF2B5EF4-FFF2-40B4-BE49-F238E27FC236}">
                <a16:creationId xmlns:a16="http://schemas.microsoft.com/office/drawing/2014/main" id="{35D2CF02-4213-4946-8F5B-1C30925443B4}"/>
              </a:ext>
            </a:extLst>
          </p:cNvPr>
          <p:cNvSpPr/>
          <p:nvPr/>
        </p:nvSpPr>
        <p:spPr>
          <a:xfrm>
            <a:off x="7044856" y="6066845"/>
            <a:ext cx="2099143" cy="791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0" name="Rectangle 149">
            <a:extLst>
              <a:ext uri="{FF2B5EF4-FFF2-40B4-BE49-F238E27FC236}">
                <a16:creationId xmlns:a16="http://schemas.microsoft.com/office/drawing/2014/main" id="{ABF40D23-6491-4158-B904-B1DED99272C8}"/>
              </a:ext>
            </a:extLst>
          </p:cNvPr>
          <p:cNvSpPr/>
          <p:nvPr/>
        </p:nvSpPr>
        <p:spPr>
          <a:xfrm>
            <a:off x="376237" y="1205135"/>
            <a:ext cx="1243013" cy="563419"/>
          </a:xfrm>
          <a:prstGeom prst="rect">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b="1" err="1">
                <a:solidFill>
                  <a:schemeClr val="tx1"/>
                </a:solidFill>
              </a:rPr>
              <a:t>Use</a:t>
            </a:r>
            <a:r>
              <a:rPr lang="da-DK" sz="1200" b="1">
                <a:solidFill>
                  <a:schemeClr val="tx1"/>
                </a:solidFill>
              </a:rPr>
              <a:t> case 2</a:t>
            </a:r>
          </a:p>
        </p:txBody>
      </p:sp>
      <p:sp>
        <p:nvSpPr>
          <p:cNvPr id="140" name="Rectangle 139">
            <a:extLst>
              <a:ext uri="{FF2B5EF4-FFF2-40B4-BE49-F238E27FC236}">
                <a16:creationId xmlns:a16="http://schemas.microsoft.com/office/drawing/2014/main" id="{274C937D-6098-4AA3-BAAE-FE0E27CF3BC2}"/>
              </a:ext>
            </a:extLst>
          </p:cNvPr>
          <p:cNvSpPr/>
          <p:nvPr/>
        </p:nvSpPr>
        <p:spPr>
          <a:xfrm>
            <a:off x="616550" y="2989617"/>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Tidsfrister / forespørgsel med afsæt i GDPR skal initiere sletning af data, så data ikke opbevares uden grund, fx </a:t>
            </a:r>
            <a:r>
              <a:rPr lang="da-DK" sz="900" dirty="0" smtClean="0">
                <a:solidFill>
                  <a:schemeClr val="tx1"/>
                </a:solidFill>
              </a:rPr>
              <a:t>udover </a:t>
            </a:r>
            <a:r>
              <a:rPr lang="da-DK" sz="900" dirty="0">
                <a:solidFill>
                  <a:schemeClr val="tx1"/>
                </a:solidFill>
              </a:rPr>
              <a:t>bogføringslovens </a:t>
            </a:r>
            <a:r>
              <a:rPr lang="da-DK" sz="900" dirty="0" smtClean="0">
                <a:solidFill>
                  <a:schemeClr val="tx1"/>
                </a:solidFill>
              </a:rPr>
              <a:t>regler.</a:t>
            </a:r>
            <a:endParaRPr lang="da-DK" sz="900" dirty="0">
              <a:solidFill>
                <a:schemeClr val="tx1"/>
              </a:solidFill>
            </a:endParaRPr>
          </a:p>
        </p:txBody>
      </p:sp>
      <p:sp>
        <p:nvSpPr>
          <p:cNvPr id="141" name="Rectangle 140">
            <a:extLst>
              <a:ext uri="{FF2B5EF4-FFF2-40B4-BE49-F238E27FC236}">
                <a16:creationId xmlns:a16="http://schemas.microsoft.com/office/drawing/2014/main" id="{89F4EEDA-A630-4E26-A88E-87704D06FAE5}"/>
              </a:ext>
            </a:extLst>
          </p:cNvPr>
          <p:cNvSpPr/>
          <p:nvPr/>
        </p:nvSpPr>
        <p:spPr>
          <a:xfrm>
            <a:off x="616549" y="5067100"/>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Der skal fra centralt hold kunne foretages en opsætning af, hvilke tidsfrister der skal være </a:t>
            </a:r>
            <a:r>
              <a:rPr lang="da-DK" sz="900" dirty="0" smtClean="0">
                <a:solidFill>
                  <a:schemeClr val="tx1"/>
                </a:solidFill>
              </a:rPr>
              <a:t>gældende, </a:t>
            </a:r>
            <a:r>
              <a:rPr lang="da-DK" sz="900" dirty="0">
                <a:solidFill>
                  <a:schemeClr val="tx1"/>
                </a:solidFill>
              </a:rPr>
              <a:t>og dette skal kunne opsættes på dokumentniveau, så frister kan være forskellige for forskellige dokumenter. </a:t>
            </a:r>
          </a:p>
        </p:txBody>
      </p:sp>
      <p:sp>
        <p:nvSpPr>
          <p:cNvPr id="142" name="Rectangle 141">
            <a:extLst>
              <a:ext uri="{FF2B5EF4-FFF2-40B4-BE49-F238E27FC236}">
                <a16:creationId xmlns:a16="http://schemas.microsoft.com/office/drawing/2014/main" id="{77407819-85DA-4B4C-9713-AAA53E2D3CAF}"/>
              </a:ext>
            </a:extLst>
          </p:cNvPr>
          <p:cNvSpPr/>
          <p:nvPr/>
        </p:nvSpPr>
        <p:spPr>
          <a:xfrm>
            <a:off x="4791430" y="5067100"/>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Er en tidsfrist overskredet skal relevante data slettes/anonymiseres</a:t>
            </a:r>
            <a:r>
              <a:rPr lang="da-DK" sz="900" dirty="0" smtClean="0">
                <a:solidFill>
                  <a:schemeClr val="tx1"/>
                </a:solidFill>
              </a:rPr>
              <a:t>. </a:t>
            </a:r>
            <a:r>
              <a:rPr lang="da-DK" sz="900" dirty="0">
                <a:solidFill>
                  <a:schemeClr val="tx1"/>
                </a:solidFill>
              </a:rPr>
              <a:t>Dette skal ske ved et automatisk script, der automatisk aktiveres periodisk.</a:t>
            </a:r>
          </a:p>
        </p:txBody>
      </p:sp>
      <p:sp>
        <p:nvSpPr>
          <p:cNvPr id="143" name="Rectangle 142">
            <a:extLst>
              <a:ext uri="{FF2B5EF4-FFF2-40B4-BE49-F238E27FC236}">
                <a16:creationId xmlns:a16="http://schemas.microsoft.com/office/drawing/2014/main" id="{CE4FA99F-741F-4FC3-A57E-0AF7880B09C9}"/>
              </a:ext>
            </a:extLst>
          </p:cNvPr>
          <p:cNvSpPr/>
          <p:nvPr/>
        </p:nvSpPr>
        <p:spPr>
          <a:xfrm>
            <a:off x="4791430" y="2989374"/>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a:solidFill>
                  <a:schemeClr val="tx1"/>
                </a:solidFill>
              </a:rPr>
              <a:t>I forlængelse af det automatiske script skal der foretages en automatisk logning af resultatet samtidig med, at der skal kunne foretages et overblik over periodens gennemførte sletninger/anonymiseringer på bl.a. institutionsniveau.</a:t>
            </a:r>
          </a:p>
        </p:txBody>
      </p:sp>
      <p:pic>
        <p:nvPicPr>
          <p:cNvPr id="2" name="Picture 3" descr="A picture containing clock, table&#10;&#10;Description automatically generated">
            <a:extLst>
              <a:ext uri="{FF2B5EF4-FFF2-40B4-BE49-F238E27FC236}">
                <a16:creationId xmlns:a16="http://schemas.microsoft.com/office/drawing/2014/main" id="{F9E4E2BC-A18B-4F2B-BDF9-9FC47BD153F9}"/>
              </a:ext>
            </a:extLst>
          </p:cNvPr>
          <p:cNvPicPr>
            <a:picLocks noChangeAspect="1"/>
          </p:cNvPicPr>
          <p:nvPr/>
        </p:nvPicPr>
        <p:blipFill>
          <a:blip r:embed="rId8"/>
          <a:stretch>
            <a:fillRect/>
          </a:stretch>
        </p:blipFill>
        <p:spPr>
          <a:xfrm>
            <a:off x="1494692" y="2046410"/>
            <a:ext cx="2590800" cy="819150"/>
          </a:xfrm>
          <a:prstGeom prst="rect">
            <a:avLst/>
          </a:prstGeom>
        </p:spPr>
      </p:pic>
      <p:pic>
        <p:nvPicPr>
          <p:cNvPr id="4" name="Picture 4" descr="A close up of a logo&#10;&#10;Description automatically generated">
            <a:extLst>
              <a:ext uri="{FF2B5EF4-FFF2-40B4-BE49-F238E27FC236}">
                <a16:creationId xmlns:a16="http://schemas.microsoft.com/office/drawing/2014/main" id="{60F4AB8C-161C-4284-846D-352A54F2DF28}"/>
              </a:ext>
            </a:extLst>
          </p:cNvPr>
          <p:cNvPicPr>
            <a:picLocks noChangeAspect="1"/>
          </p:cNvPicPr>
          <p:nvPr/>
        </p:nvPicPr>
        <p:blipFill>
          <a:blip r:embed="rId9"/>
          <a:stretch>
            <a:fillRect/>
          </a:stretch>
        </p:blipFill>
        <p:spPr>
          <a:xfrm>
            <a:off x="2162175" y="4227635"/>
            <a:ext cx="857250" cy="723900"/>
          </a:xfrm>
          <a:prstGeom prst="rect">
            <a:avLst/>
          </a:prstGeom>
        </p:spPr>
      </p:pic>
      <p:pic>
        <p:nvPicPr>
          <p:cNvPr id="5" name="Picture 8" descr="A picture containing drawing&#10;&#10;Description automatically generated">
            <a:extLst>
              <a:ext uri="{FF2B5EF4-FFF2-40B4-BE49-F238E27FC236}">
                <a16:creationId xmlns:a16="http://schemas.microsoft.com/office/drawing/2014/main" id="{578A898A-07DC-4C0B-BB10-126904A7F27B}"/>
              </a:ext>
            </a:extLst>
          </p:cNvPr>
          <p:cNvPicPr>
            <a:picLocks noChangeAspect="1"/>
          </p:cNvPicPr>
          <p:nvPr/>
        </p:nvPicPr>
        <p:blipFill>
          <a:blip r:embed="rId10"/>
          <a:stretch>
            <a:fillRect/>
          </a:stretch>
        </p:blipFill>
        <p:spPr>
          <a:xfrm>
            <a:off x="6023097" y="4232397"/>
            <a:ext cx="942975" cy="714375"/>
          </a:xfrm>
          <a:prstGeom prst="rect">
            <a:avLst/>
          </a:prstGeom>
        </p:spPr>
      </p:pic>
      <p:pic>
        <p:nvPicPr>
          <p:cNvPr id="10" name="Picture 34" descr="A picture containing drawing&#10;&#10;Description automatically generated">
            <a:extLst>
              <a:ext uri="{FF2B5EF4-FFF2-40B4-BE49-F238E27FC236}">
                <a16:creationId xmlns:a16="http://schemas.microsoft.com/office/drawing/2014/main" id="{B415851F-9CE6-43CE-8D6F-4693E41835CF}"/>
              </a:ext>
            </a:extLst>
          </p:cNvPr>
          <p:cNvPicPr>
            <a:picLocks noChangeAspect="1"/>
          </p:cNvPicPr>
          <p:nvPr/>
        </p:nvPicPr>
        <p:blipFill>
          <a:blip r:embed="rId11"/>
          <a:stretch>
            <a:fillRect/>
          </a:stretch>
        </p:blipFill>
        <p:spPr>
          <a:xfrm>
            <a:off x="6164873" y="2111252"/>
            <a:ext cx="800100" cy="619125"/>
          </a:xfrm>
          <a:prstGeom prst="rect">
            <a:avLst/>
          </a:prstGeom>
        </p:spPr>
      </p:pic>
    </p:spTree>
    <p:extLst>
      <p:ext uri="{BB962C8B-B14F-4D97-AF65-F5344CB8AC3E}">
        <p14:creationId xmlns:p14="http://schemas.microsoft.com/office/powerpoint/2010/main" val="9428679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ED4AE-4117-4A2A-999B-0EC50D6B2A8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5"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3D7ED4AE-4117-4A2A-999B-0EC50D6B2A8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AE20B3F-0E2F-41DD-9161-AFD4CFFD351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a-DK">
              <a:latin typeface="Verdana" panose="020B0604030504040204" pitchFamily="34" charset="0"/>
              <a:ea typeface="Verdana" panose="020B0604030504040204" pitchFamily="34" charset="0"/>
              <a:sym typeface="Verdana" panose="020B0604030504040204" pitchFamily="34" charset="0"/>
            </a:endParaRPr>
          </a:p>
        </p:txBody>
      </p:sp>
      <p:sp>
        <p:nvSpPr>
          <p:cNvPr id="7" name="Title 1">
            <a:extLst>
              <a:ext uri="{FF2B5EF4-FFF2-40B4-BE49-F238E27FC236}">
                <a16:creationId xmlns:a16="http://schemas.microsoft.com/office/drawing/2014/main" id="{AB2F3BDA-6BDD-46D1-868C-9356701B023E}"/>
              </a:ext>
            </a:extLst>
          </p:cNvPr>
          <p:cNvSpPr>
            <a:spLocks noGrp="1"/>
          </p:cNvSpPr>
          <p:nvPr>
            <p:ph type="title"/>
          </p:nvPr>
        </p:nvSpPr>
        <p:spPr>
          <a:xfrm>
            <a:off x="263401" y="272627"/>
            <a:ext cx="7981950" cy="689476"/>
          </a:xfrm>
        </p:spPr>
        <p:txBody>
          <a:bodyPr lIns="91440" tIns="45720" rIns="91440" bIns="45720" anchor="b">
            <a:normAutofit fontScale="90000"/>
          </a:bodyPr>
          <a:lstStyle/>
          <a:p>
            <a:r>
              <a:rPr lang="da-DK" sz="2800" b="0">
                <a:solidFill>
                  <a:schemeClr val="tx1"/>
                </a:solidFill>
                <a:latin typeface="Impact"/>
                <a:ea typeface="Verdana"/>
                <a:cs typeface="Verdana"/>
              </a:rPr>
              <a:t>3. Løsningen</a:t>
            </a:r>
            <a:r>
              <a:rPr lang="da-DK"/>
              <a:t/>
            </a:r>
            <a:br>
              <a:rPr lang="da-DK"/>
            </a:br>
            <a:r>
              <a:rPr lang="da-DK" sz="2000" b="0">
                <a:solidFill>
                  <a:schemeClr val="tx1"/>
                </a:solidFill>
                <a:latin typeface="Verdana"/>
                <a:ea typeface="Verdana"/>
                <a:cs typeface="Verdana"/>
              </a:rPr>
              <a:t>3.1.2.3 </a:t>
            </a:r>
            <a:r>
              <a:rPr lang="da-DK" sz="2000" b="0" err="1">
                <a:solidFill>
                  <a:schemeClr val="tx1"/>
                </a:solidFill>
                <a:latin typeface="Verdana"/>
                <a:ea typeface="Verdana"/>
                <a:cs typeface="Verdana"/>
              </a:rPr>
              <a:t>use</a:t>
            </a:r>
            <a:r>
              <a:rPr lang="da-DK" sz="2000" b="0">
                <a:solidFill>
                  <a:schemeClr val="tx1"/>
                </a:solidFill>
                <a:latin typeface="Verdana"/>
                <a:ea typeface="Verdana"/>
                <a:cs typeface="Verdana"/>
              </a:rPr>
              <a:t> case: AI-teknologi til anvendelse ved </a:t>
            </a:r>
            <a:r>
              <a:rPr lang="da-DK" sz="2000" b="0" err="1">
                <a:solidFill>
                  <a:schemeClr val="tx1"/>
                </a:solidFill>
                <a:latin typeface="Verdana"/>
                <a:ea typeface="Verdana"/>
                <a:cs typeface="Verdana"/>
              </a:rPr>
              <a:t>FoRkontering</a:t>
            </a:r>
            <a:r>
              <a:rPr lang="da-DK" sz="2000" b="0">
                <a:solidFill>
                  <a:schemeClr val="tx1"/>
                </a:solidFill>
                <a:latin typeface="Verdana"/>
                <a:ea typeface="Verdana"/>
                <a:cs typeface="Verdana"/>
              </a:rPr>
              <a:t> af fakturaer</a:t>
            </a:r>
            <a:endParaRPr lang="da-DK" b="0">
              <a:solidFill>
                <a:schemeClr val="tx1"/>
              </a:solidFill>
              <a:latin typeface="Verdana"/>
              <a:ea typeface="Verdana"/>
              <a:cs typeface="Verdana"/>
            </a:endParaRPr>
          </a:p>
        </p:txBody>
      </p:sp>
      <p:cxnSp>
        <p:nvCxnSpPr>
          <p:cNvPr id="164" name="Straight Connector 163">
            <a:extLst>
              <a:ext uri="{FF2B5EF4-FFF2-40B4-BE49-F238E27FC236}">
                <a16:creationId xmlns:a16="http://schemas.microsoft.com/office/drawing/2014/main" id="{57AEC517-DF95-4371-BCD4-70220FFBCA04}"/>
              </a:ext>
            </a:extLst>
          </p:cNvPr>
          <p:cNvCxnSpPr>
            <a:cxnSpLocks/>
          </p:cNvCxnSpPr>
          <p:nvPr/>
        </p:nvCxnSpPr>
        <p:spPr>
          <a:xfrm flipH="1">
            <a:off x="716801" y="4102467"/>
            <a:ext cx="7710399" cy="0"/>
          </a:xfrm>
          <a:prstGeom prst="line">
            <a:avLst/>
          </a:prstGeom>
          <a:ln w="6350">
            <a:solidFill>
              <a:srgbClr val="8AA299"/>
            </a:solidFill>
          </a:ln>
        </p:spPr>
        <p:style>
          <a:lnRef idx="1">
            <a:schemeClr val="accent1"/>
          </a:lnRef>
          <a:fillRef idx="0">
            <a:schemeClr val="accent1"/>
          </a:fillRef>
          <a:effectRef idx="0">
            <a:schemeClr val="accent1"/>
          </a:effectRef>
          <a:fontRef idx="minor">
            <a:schemeClr val="tx1"/>
          </a:fontRef>
        </p:style>
      </p:cxnSp>
      <p:grpSp>
        <p:nvGrpSpPr>
          <p:cNvPr id="165" name="Group 164">
            <a:extLst>
              <a:ext uri="{FF2B5EF4-FFF2-40B4-BE49-F238E27FC236}">
                <a16:creationId xmlns:a16="http://schemas.microsoft.com/office/drawing/2014/main" id="{ED217F91-3173-4F47-BF36-4393E775A8B0}"/>
              </a:ext>
            </a:extLst>
          </p:cNvPr>
          <p:cNvGrpSpPr/>
          <p:nvPr/>
        </p:nvGrpSpPr>
        <p:grpSpPr>
          <a:xfrm>
            <a:off x="622521" y="2108181"/>
            <a:ext cx="215006" cy="212352"/>
            <a:chOff x="-280989" y="3035886"/>
            <a:chExt cx="462913" cy="457200"/>
          </a:xfrm>
        </p:grpSpPr>
        <p:sp>
          <p:nvSpPr>
            <p:cNvPr id="166" name="Oval 165">
              <a:extLst>
                <a:ext uri="{FF2B5EF4-FFF2-40B4-BE49-F238E27FC236}">
                  <a16:creationId xmlns:a16="http://schemas.microsoft.com/office/drawing/2014/main" id="{4332F8AF-C932-4411-BDFA-CC749C0247EC}"/>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1</a:t>
              </a:r>
            </a:p>
          </p:txBody>
        </p:sp>
        <p:sp>
          <p:nvSpPr>
            <p:cNvPr id="167" name="Freeform 26">
              <a:extLst>
                <a:ext uri="{FF2B5EF4-FFF2-40B4-BE49-F238E27FC236}">
                  <a16:creationId xmlns:a16="http://schemas.microsoft.com/office/drawing/2014/main" id="{4BD7B24E-3CD2-4950-8500-2F1915FD3B19}"/>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grpSp>
        <p:nvGrpSpPr>
          <p:cNvPr id="221" name="Group 220">
            <a:extLst>
              <a:ext uri="{FF2B5EF4-FFF2-40B4-BE49-F238E27FC236}">
                <a16:creationId xmlns:a16="http://schemas.microsoft.com/office/drawing/2014/main" id="{B9511CAA-F9E3-4FEE-AD28-4FC386C16B2E}"/>
              </a:ext>
            </a:extLst>
          </p:cNvPr>
          <p:cNvGrpSpPr/>
          <p:nvPr/>
        </p:nvGrpSpPr>
        <p:grpSpPr>
          <a:xfrm>
            <a:off x="4786938" y="2108181"/>
            <a:ext cx="215006" cy="212352"/>
            <a:chOff x="-280989" y="3035886"/>
            <a:chExt cx="462913" cy="457200"/>
          </a:xfrm>
        </p:grpSpPr>
        <p:sp>
          <p:nvSpPr>
            <p:cNvPr id="222" name="Oval 221">
              <a:extLst>
                <a:ext uri="{FF2B5EF4-FFF2-40B4-BE49-F238E27FC236}">
                  <a16:creationId xmlns:a16="http://schemas.microsoft.com/office/drawing/2014/main" id="{FA9E3B47-8A3A-44AE-844D-986EC573B6A8}"/>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4</a:t>
              </a:r>
            </a:p>
          </p:txBody>
        </p:sp>
        <p:sp>
          <p:nvSpPr>
            <p:cNvPr id="223" name="Freeform 26">
              <a:extLst>
                <a:ext uri="{FF2B5EF4-FFF2-40B4-BE49-F238E27FC236}">
                  <a16:creationId xmlns:a16="http://schemas.microsoft.com/office/drawing/2014/main" id="{085D17CF-7626-44CE-8EDF-8BAAEE90D111}"/>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cxnSp>
        <p:nvCxnSpPr>
          <p:cNvPr id="260" name="Straight Connector 259">
            <a:extLst>
              <a:ext uri="{FF2B5EF4-FFF2-40B4-BE49-F238E27FC236}">
                <a16:creationId xmlns:a16="http://schemas.microsoft.com/office/drawing/2014/main" id="{6B563561-0F4B-4160-972D-1397B5FC1482}"/>
              </a:ext>
            </a:extLst>
          </p:cNvPr>
          <p:cNvCxnSpPr>
            <a:cxnSpLocks/>
          </p:cNvCxnSpPr>
          <p:nvPr/>
        </p:nvCxnSpPr>
        <p:spPr>
          <a:xfrm flipV="1">
            <a:off x="4572000" y="2108182"/>
            <a:ext cx="0" cy="3750012"/>
          </a:xfrm>
          <a:prstGeom prst="line">
            <a:avLst/>
          </a:prstGeom>
          <a:ln w="6350">
            <a:solidFill>
              <a:srgbClr val="8AA299"/>
            </a:solidFill>
          </a:ln>
        </p:spPr>
        <p:style>
          <a:lnRef idx="1">
            <a:schemeClr val="accent1"/>
          </a:lnRef>
          <a:fillRef idx="0">
            <a:schemeClr val="accent1"/>
          </a:fillRef>
          <a:effectRef idx="0">
            <a:schemeClr val="accent1"/>
          </a:effectRef>
          <a:fontRef idx="minor">
            <a:schemeClr val="tx1"/>
          </a:fontRef>
        </p:style>
      </p:cxnSp>
      <p:grpSp>
        <p:nvGrpSpPr>
          <p:cNvPr id="268" name="Group 267">
            <a:extLst>
              <a:ext uri="{FF2B5EF4-FFF2-40B4-BE49-F238E27FC236}">
                <a16:creationId xmlns:a16="http://schemas.microsoft.com/office/drawing/2014/main" id="{7E6D29CB-EFB7-46EF-A544-57493263C20C}"/>
              </a:ext>
            </a:extLst>
          </p:cNvPr>
          <p:cNvGrpSpPr/>
          <p:nvPr/>
        </p:nvGrpSpPr>
        <p:grpSpPr>
          <a:xfrm rot="5400000">
            <a:off x="723938" y="4015844"/>
            <a:ext cx="225738" cy="213318"/>
            <a:chOff x="496618" y="4271624"/>
            <a:chExt cx="490538" cy="463550"/>
          </a:xfrm>
        </p:grpSpPr>
        <p:sp>
          <p:nvSpPr>
            <p:cNvPr id="269" name="Freeform 73">
              <a:extLst>
                <a:ext uri="{FF2B5EF4-FFF2-40B4-BE49-F238E27FC236}">
                  <a16:creationId xmlns:a16="http://schemas.microsoft.com/office/drawing/2014/main" id="{011F1F41-A323-4EA3-95BF-3BB89C23127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0" name="Freeform 74">
              <a:extLst>
                <a:ext uri="{FF2B5EF4-FFF2-40B4-BE49-F238E27FC236}">
                  <a16:creationId xmlns:a16="http://schemas.microsoft.com/office/drawing/2014/main" id="{63A13520-D5FE-4A12-A2B0-0F7FCE2FAD6D}"/>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1" name="Freeform 75">
              <a:extLst>
                <a:ext uri="{FF2B5EF4-FFF2-40B4-BE49-F238E27FC236}">
                  <a16:creationId xmlns:a16="http://schemas.microsoft.com/office/drawing/2014/main" id="{B6BA7D65-5CC1-4940-A762-717FCBA5566D}"/>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72" name="Group 271">
            <a:extLst>
              <a:ext uri="{FF2B5EF4-FFF2-40B4-BE49-F238E27FC236}">
                <a16:creationId xmlns:a16="http://schemas.microsoft.com/office/drawing/2014/main" id="{3DEDF1D9-1707-4706-B110-040B11795645}"/>
              </a:ext>
            </a:extLst>
          </p:cNvPr>
          <p:cNvGrpSpPr/>
          <p:nvPr/>
        </p:nvGrpSpPr>
        <p:grpSpPr>
          <a:xfrm>
            <a:off x="4393887" y="5096447"/>
            <a:ext cx="225738" cy="213318"/>
            <a:chOff x="496618" y="4271624"/>
            <a:chExt cx="490538" cy="463550"/>
          </a:xfrm>
        </p:grpSpPr>
        <p:sp>
          <p:nvSpPr>
            <p:cNvPr id="273" name="Freeform 73">
              <a:extLst>
                <a:ext uri="{FF2B5EF4-FFF2-40B4-BE49-F238E27FC236}">
                  <a16:creationId xmlns:a16="http://schemas.microsoft.com/office/drawing/2014/main" id="{E6577463-63D4-499E-B243-A5319CA76D80}"/>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4" name="Freeform 74">
              <a:extLst>
                <a:ext uri="{FF2B5EF4-FFF2-40B4-BE49-F238E27FC236}">
                  <a16:creationId xmlns:a16="http://schemas.microsoft.com/office/drawing/2014/main" id="{3558AA2D-74AF-4D5C-BCCF-52317191801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5" name="Freeform 75">
              <a:extLst>
                <a:ext uri="{FF2B5EF4-FFF2-40B4-BE49-F238E27FC236}">
                  <a16:creationId xmlns:a16="http://schemas.microsoft.com/office/drawing/2014/main" id="{4C1E44C1-D3BB-475E-894D-4442DC405F1D}"/>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76" name="Group 275">
            <a:extLst>
              <a:ext uri="{FF2B5EF4-FFF2-40B4-BE49-F238E27FC236}">
                <a16:creationId xmlns:a16="http://schemas.microsoft.com/office/drawing/2014/main" id="{69F8D3F5-5F1B-4816-B7A6-812194CA8492}"/>
              </a:ext>
            </a:extLst>
          </p:cNvPr>
          <p:cNvGrpSpPr/>
          <p:nvPr/>
        </p:nvGrpSpPr>
        <p:grpSpPr>
          <a:xfrm rot="16200000">
            <a:off x="8207672" y="3984094"/>
            <a:ext cx="225738" cy="213318"/>
            <a:chOff x="496618" y="4271624"/>
            <a:chExt cx="490538" cy="463550"/>
          </a:xfrm>
        </p:grpSpPr>
        <p:sp>
          <p:nvSpPr>
            <p:cNvPr id="277" name="Freeform 73">
              <a:extLst>
                <a:ext uri="{FF2B5EF4-FFF2-40B4-BE49-F238E27FC236}">
                  <a16:creationId xmlns:a16="http://schemas.microsoft.com/office/drawing/2014/main" id="{1135BE0F-7E39-48F8-9DD9-CC51C4C4A92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8" name="Freeform 74">
              <a:extLst>
                <a:ext uri="{FF2B5EF4-FFF2-40B4-BE49-F238E27FC236}">
                  <a16:creationId xmlns:a16="http://schemas.microsoft.com/office/drawing/2014/main" id="{C0EB1807-E59B-4719-884E-969EF8E26D11}"/>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9" name="Freeform 75">
              <a:extLst>
                <a:ext uri="{FF2B5EF4-FFF2-40B4-BE49-F238E27FC236}">
                  <a16:creationId xmlns:a16="http://schemas.microsoft.com/office/drawing/2014/main" id="{17BC1CBE-0C13-413C-A26A-13E36F555310}"/>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80" name="Group 279">
            <a:extLst>
              <a:ext uri="{FF2B5EF4-FFF2-40B4-BE49-F238E27FC236}">
                <a16:creationId xmlns:a16="http://schemas.microsoft.com/office/drawing/2014/main" id="{C4AB9758-1282-4BC3-88C9-B661799AE662}"/>
              </a:ext>
            </a:extLst>
          </p:cNvPr>
          <p:cNvGrpSpPr/>
          <p:nvPr/>
        </p:nvGrpSpPr>
        <p:grpSpPr>
          <a:xfrm>
            <a:off x="4786938" y="4334428"/>
            <a:ext cx="215006" cy="212352"/>
            <a:chOff x="-280989" y="3035886"/>
            <a:chExt cx="462913" cy="457200"/>
          </a:xfrm>
        </p:grpSpPr>
        <p:sp>
          <p:nvSpPr>
            <p:cNvPr id="281" name="Oval 280">
              <a:extLst>
                <a:ext uri="{FF2B5EF4-FFF2-40B4-BE49-F238E27FC236}">
                  <a16:creationId xmlns:a16="http://schemas.microsoft.com/office/drawing/2014/main" id="{A06ED608-6103-4BA7-89DC-BA115ECF9C00}"/>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3</a:t>
              </a:r>
            </a:p>
          </p:txBody>
        </p:sp>
        <p:sp>
          <p:nvSpPr>
            <p:cNvPr id="282" name="Freeform 26">
              <a:extLst>
                <a:ext uri="{FF2B5EF4-FFF2-40B4-BE49-F238E27FC236}">
                  <a16:creationId xmlns:a16="http://schemas.microsoft.com/office/drawing/2014/main" id="{DDA785A3-140A-40E7-B2D0-C5BCD3D7A48C}"/>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grpSp>
        <p:nvGrpSpPr>
          <p:cNvPr id="283" name="Group 282">
            <a:extLst>
              <a:ext uri="{FF2B5EF4-FFF2-40B4-BE49-F238E27FC236}">
                <a16:creationId xmlns:a16="http://schemas.microsoft.com/office/drawing/2014/main" id="{28F157E5-2E35-444E-AEBE-63E775172035}"/>
              </a:ext>
            </a:extLst>
          </p:cNvPr>
          <p:cNvGrpSpPr/>
          <p:nvPr/>
        </p:nvGrpSpPr>
        <p:grpSpPr>
          <a:xfrm>
            <a:off x="622521" y="4334428"/>
            <a:ext cx="215006" cy="212352"/>
            <a:chOff x="-280989" y="3035886"/>
            <a:chExt cx="462913" cy="457200"/>
          </a:xfrm>
        </p:grpSpPr>
        <p:sp>
          <p:nvSpPr>
            <p:cNvPr id="284" name="Oval 283">
              <a:extLst>
                <a:ext uri="{FF2B5EF4-FFF2-40B4-BE49-F238E27FC236}">
                  <a16:creationId xmlns:a16="http://schemas.microsoft.com/office/drawing/2014/main" id="{CBC00A76-E194-4FCE-90B2-97284D719C01}"/>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2</a:t>
              </a:r>
            </a:p>
          </p:txBody>
        </p:sp>
        <p:sp>
          <p:nvSpPr>
            <p:cNvPr id="285" name="Freeform 26">
              <a:extLst>
                <a:ext uri="{FF2B5EF4-FFF2-40B4-BE49-F238E27FC236}">
                  <a16:creationId xmlns:a16="http://schemas.microsoft.com/office/drawing/2014/main" id="{F7992165-9BC8-4BEF-9E14-BD545799E31C}"/>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sp>
        <p:nvSpPr>
          <p:cNvPr id="287" name="Rectangle 286">
            <a:extLst>
              <a:ext uri="{FF2B5EF4-FFF2-40B4-BE49-F238E27FC236}">
                <a16:creationId xmlns:a16="http://schemas.microsoft.com/office/drawing/2014/main" id="{148B3DDD-3DFD-4791-BFBD-3874CC3D264E}"/>
              </a:ext>
            </a:extLst>
          </p:cNvPr>
          <p:cNvSpPr/>
          <p:nvPr/>
        </p:nvSpPr>
        <p:spPr>
          <a:xfrm>
            <a:off x="1628465" y="1232361"/>
            <a:ext cx="7147232" cy="565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Der ønskes en effektiv, automatisk forkontering på alle registreringsdimensioner af fakturaer samt ordrer, både i forhold til den fulde konteringsstreng, herunder finanskontering, og momskoder</a:t>
            </a:r>
            <a:r>
              <a:rPr lang="da-DK" sz="900" dirty="0" smtClean="0">
                <a:solidFill>
                  <a:schemeClr val="tx1"/>
                </a:solidFill>
              </a:rPr>
              <a:t>. </a:t>
            </a:r>
            <a:r>
              <a:rPr lang="da-DK" sz="900" dirty="0">
                <a:solidFill>
                  <a:schemeClr val="tx1"/>
                </a:solidFill>
              </a:rPr>
              <a:t>Forkonteringen skal kunne ske gennem regelbaseret opsætning, men også ved hjælp af en AI-algoritme, der videreudvikles ud fra, hvordan tilsvarende fakturaer tidligere er konteret.</a:t>
            </a:r>
          </a:p>
        </p:txBody>
      </p:sp>
      <p:sp>
        <p:nvSpPr>
          <p:cNvPr id="149" name="Rectangle 148">
            <a:extLst>
              <a:ext uri="{FF2B5EF4-FFF2-40B4-BE49-F238E27FC236}">
                <a16:creationId xmlns:a16="http://schemas.microsoft.com/office/drawing/2014/main" id="{35D2CF02-4213-4946-8F5B-1C30925443B4}"/>
              </a:ext>
            </a:extLst>
          </p:cNvPr>
          <p:cNvSpPr/>
          <p:nvPr/>
        </p:nvSpPr>
        <p:spPr>
          <a:xfrm>
            <a:off x="7044856" y="6066845"/>
            <a:ext cx="2099143" cy="791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0" name="Rectangle 149">
            <a:extLst>
              <a:ext uri="{FF2B5EF4-FFF2-40B4-BE49-F238E27FC236}">
                <a16:creationId xmlns:a16="http://schemas.microsoft.com/office/drawing/2014/main" id="{ABF40D23-6491-4158-B904-B1DED99272C8}"/>
              </a:ext>
            </a:extLst>
          </p:cNvPr>
          <p:cNvSpPr/>
          <p:nvPr/>
        </p:nvSpPr>
        <p:spPr>
          <a:xfrm>
            <a:off x="387350" y="1222837"/>
            <a:ext cx="1242000" cy="565200"/>
          </a:xfrm>
          <a:prstGeom prst="rect">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b="1" err="1">
                <a:solidFill>
                  <a:schemeClr val="tx1"/>
                </a:solidFill>
              </a:rPr>
              <a:t>Use</a:t>
            </a:r>
            <a:r>
              <a:rPr lang="da-DK" sz="1200" b="1">
                <a:solidFill>
                  <a:schemeClr val="tx1"/>
                </a:solidFill>
              </a:rPr>
              <a:t> case 3</a:t>
            </a:r>
          </a:p>
        </p:txBody>
      </p:sp>
      <p:sp>
        <p:nvSpPr>
          <p:cNvPr id="140" name="Rectangle 139">
            <a:extLst>
              <a:ext uri="{FF2B5EF4-FFF2-40B4-BE49-F238E27FC236}">
                <a16:creationId xmlns:a16="http://schemas.microsoft.com/office/drawing/2014/main" id="{7DB26B68-212B-4C74-AA36-8D209B2EE9C2}"/>
              </a:ext>
            </a:extLst>
          </p:cNvPr>
          <p:cNvSpPr/>
          <p:nvPr/>
        </p:nvSpPr>
        <p:spPr>
          <a:xfrm>
            <a:off x="611188" y="3012383"/>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Det har vist sig vanskeligt at vedligeholde et regelsæt, der gør det muligt at komme med forslag til en fakturas/ordres kontering</a:t>
            </a:r>
            <a:r>
              <a:rPr lang="da-DK" sz="900" dirty="0" smtClean="0">
                <a:solidFill>
                  <a:schemeClr val="tx1"/>
                </a:solidFill>
              </a:rPr>
              <a:t>. </a:t>
            </a:r>
            <a:r>
              <a:rPr lang="da-DK" sz="900" dirty="0">
                <a:solidFill>
                  <a:schemeClr val="tx1"/>
                </a:solidFill>
              </a:rPr>
              <a:t>Der er derfor et ønske om at udbygge funktionalitet vedr. opstilling af regler med en algoritme, der giver forslag til kontering af fakturaen, inden den fremkommer til den medarbejder, der skal kontere denne.</a:t>
            </a:r>
          </a:p>
        </p:txBody>
      </p:sp>
      <p:sp>
        <p:nvSpPr>
          <p:cNvPr id="141" name="Rectangle 140">
            <a:extLst>
              <a:ext uri="{FF2B5EF4-FFF2-40B4-BE49-F238E27FC236}">
                <a16:creationId xmlns:a16="http://schemas.microsoft.com/office/drawing/2014/main" id="{749BA3C8-648D-42A0-BB08-41E3D5C37490}"/>
              </a:ext>
            </a:extLst>
          </p:cNvPr>
          <p:cNvSpPr/>
          <p:nvPr/>
        </p:nvSpPr>
        <p:spPr>
          <a:xfrm>
            <a:off x="628649" y="5095192"/>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Algoritmen skal baseres på historiske fakturaer/ordrer og sikre, at der automatisk foretages en </a:t>
            </a:r>
            <a:r>
              <a:rPr lang="da-DK" sz="900" dirty="0" err="1">
                <a:solidFill>
                  <a:schemeClr val="tx1"/>
                </a:solidFill>
              </a:rPr>
              <a:t>forkontering</a:t>
            </a:r>
            <a:r>
              <a:rPr lang="da-DK" sz="900" dirty="0">
                <a:solidFill>
                  <a:schemeClr val="tx1"/>
                </a:solidFill>
              </a:rPr>
              <a:t> (dimensioner, herunder indkøbskategorisering samt momskoder</a:t>
            </a:r>
            <a:r>
              <a:rPr lang="da-DK" sz="900" dirty="0" smtClean="0">
                <a:solidFill>
                  <a:schemeClr val="tx1"/>
                </a:solidFill>
              </a:rPr>
              <a:t>).</a:t>
            </a:r>
            <a:endParaRPr lang="da-DK" sz="900" dirty="0">
              <a:solidFill>
                <a:schemeClr val="tx1"/>
              </a:solidFill>
            </a:endParaRPr>
          </a:p>
        </p:txBody>
      </p:sp>
      <p:sp>
        <p:nvSpPr>
          <p:cNvPr id="142" name="Rectangle 141">
            <a:extLst>
              <a:ext uri="{FF2B5EF4-FFF2-40B4-BE49-F238E27FC236}">
                <a16:creationId xmlns:a16="http://schemas.microsoft.com/office/drawing/2014/main" id="{1F831652-138C-47D0-9B56-1149F3937DAC}"/>
              </a:ext>
            </a:extLst>
          </p:cNvPr>
          <p:cNvSpPr/>
          <p:nvPr/>
        </p:nvSpPr>
        <p:spPr>
          <a:xfrm>
            <a:off x="4786938" y="5095192"/>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Algoritmen skal sikre, at den person, der konterer fakturaen, gør dette med afsæt i et kvalificeret forslag, der allerede er angivet på fakturaen, når brugeren modtager denne</a:t>
            </a:r>
            <a:r>
              <a:rPr lang="da-DK" sz="900" dirty="0" smtClean="0">
                <a:solidFill>
                  <a:schemeClr val="tx1"/>
                </a:solidFill>
              </a:rPr>
              <a:t>. </a:t>
            </a:r>
            <a:r>
              <a:rPr lang="da-DK" sz="900" dirty="0">
                <a:solidFill>
                  <a:schemeClr val="tx1"/>
                </a:solidFill>
              </a:rPr>
              <a:t>Det fulde konteringsforslag skal ligeledes foreslås ved oprettelse af en indkøbsordre.</a:t>
            </a:r>
          </a:p>
        </p:txBody>
      </p:sp>
      <p:sp>
        <p:nvSpPr>
          <p:cNvPr id="143" name="Rectangle 142">
            <a:extLst>
              <a:ext uri="{FF2B5EF4-FFF2-40B4-BE49-F238E27FC236}">
                <a16:creationId xmlns:a16="http://schemas.microsoft.com/office/drawing/2014/main" id="{1B38998F-06A3-4628-A18D-FB786D61B4BE}"/>
              </a:ext>
            </a:extLst>
          </p:cNvPr>
          <p:cNvSpPr/>
          <p:nvPr/>
        </p:nvSpPr>
        <p:spPr>
          <a:xfrm>
            <a:off x="4787900" y="3018970"/>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Brugeren, der skal kontere </a:t>
            </a:r>
            <a:r>
              <a:rPr lang="da-DK" sz="900" dirty="0" smtClean="0">
                <a:solidFill>
                  <a:schemeClr val="tx1"/>
                </a:solidFill>
              </a:rPr>
              <a:t>fakturaen/ordren</a:t>
            </a:r>
            <a:r>
              <a:rPr lang="da-DK" sz="900" dirty="0">
                <a:solidFill>
                  <a:schemeClr val="tx1"/>
                </a:solidFill>
              </a:rPr>
              <a:t>, bekræfter/ korrigerer forslaget til viderebehandling, hvorefter denne faktura indgår i videreudviklingen af algoritmen for </a:t>
            </a:r>
            <a:r>
              <a:rPr lang="da-DK" sz="900" dirty="0" err="1">
                <a:solidFill>
                  <a:schemeClr val="tx1"/>
                </a:solidFill>
              </a:rPr>
              <a:t>forkontering</a:t>
            </a:r>
            <a:r>
              <a:rPr lang="da-DK" sz="900" dirty="0">
                <a:solidFill>
                  <a:schemeClr val="tx1"/>
                </a:solidFill>
              </a:rPr>
              <a:t>.</a:t>
            </a:r>
          </a:p>
        </p:txBody>
      </p:sp>
      <p:pic>
        <p:nvPicPr>
          <p:cNvPr id="4" name="Picture 4" descr="A drawing of a person&#10;&#10;Description automatically generated">
            <a:extLst>
              <a:ext uri="{FF2B5EF4-FFF2-40B4-BE49-F238E27FC236}">
                <a16:creationId xmlns:a16="http://schemas.microsoft.com/office/drawing/2014/main" id="{9DCB6671-C9BA-4385-B982-BCE5C2A66D2F}"/>
              </a:ext>
            </a:extLst>
          </p:cNvPr>
          <p:cNvPicPr>
            <a:picLocks noChangeAspect="1"/>
          </p:cNvPicPr>
          <p:nvPr/>
        </p:nvPicPr>
        <p:blipFill>
          <a:blip r:embed="rId8"/>
          <a:stretch>
            <a:fillRect/>
          </a:stretch>
        </p:blipFill>
        <p:spPr>
          <a:xfrm>
            <a:off x="1826235" y="1948595"/>
            <a:ext cx="1552575" cy="733425"/>
          </a:xfrm>
          <a:prstGeom prst="rect">
            <a:avLst/>
          </a:prstGeom>
        </p:spPr>
      </p:pic>
      <p:pic>
        <p:nvPicPr>
          <p:cNvPr id="5" name="Picture 8" descr="A close up of a logo&#10;&#10;Description automatically generated">
            <a:extLst>
              <a:ext uri="{FF2B5EF4-FFF2-40B4-BE49-F238E27FC236}">
                <a16:creationId xmlns:a16="http://schemas.microsoft.com/office/drawing/2014/main" id="{711BADAA-35EB-4325-B452-8470125D48D3}"/>
              </a:ext>
            </a:extLst>
          </p:cNvPr>
          <p:cNvPicPr>
            <a:picLocks noChangeAspect="1"/>
          </p:cNvPicPr>
          <p:nvPr/>
        </p:nvPicPr>
        <p:blipFill>
          <a:blip r:embed="rId9"/>
          <a:stretch>
            <a:fillRect/>
          </a:stretch>
        </p:blipFill>
        <p:spPr>
          <a:xfrm>
            <a:off x="1889613" y="4203822"/>
            <a:ext cx="933450" cy="771525"/>
          </a:xfrm>
          <a:prstGeom prst="rect">
            <a:avLst/>
          </a:prstGeom>
        </p:spPr>
      </p:pic>
      <p:pic>
        <p:nvPicPr>
          <p:cNvPr id="35" name="Picture 35" descr="A picture containing game, table, drawing&#10;&#10;Description automatically generated">
            <a:extLst>
              <a:ext uri="{FF2B5EF4-FFF2-40B4-BE49-F238E27FC236}">
                <a16:creationId xmlns:a16="http://schemas.microsoft.com/office/drawing/2014/main" id="{7419C596-E3A1-4799-8124-1667F96E6C95}"/>
              </a:ext>
            </a:extLst>
          </p:cNvPr>
          <p:cNvPicPr>
            <a:picLocks noChangeAspect="1"/>
          </p:cNvPicPr>
          <p:nvPr/>
        </p:nvPicPr>
        <p:blipFill>
          <a:blip r:embed="rId10"/>
          <a:stretch>
            <a:fillRect/>
          </a:stretch>
        </p:blipFill>
        <p:spPr>
          <a:xfrm>
            <a:off x="5608393" y="4277092"/>
            <a:ext cx="1209675" cy="695325"/>
          </a:xfrm>
          <a:prstGeom prst="rect">
            <a:avLst/>
          </a:prstGeom>
        </p:spPr>
      </p:pic>
      <p:pic>
        <p:nvPicPr>
          <p:cNvPr id="36" name="Picture 36" descr="A picture containing clock, drawing&#10;&#10;Description automatically generated">
            <a:extLst>
              <a:ext uri="{FF2B5EF4-FFF2-40B4-BE49-F238E27FC236}">
                <a16:creationId xmlns:a16="http://schemas.microsoft.com/office/drawing/2014/main" id="{4DC05092-38E2-4E96-A23A-DDF55A61E170}"/>
              </a:ext>
            </a:extLst>
          </p:cNvPr>
          <p:cNvPicPr>
            <a:picLocks noChangeAspect="1"/>
          </p:cNvPicPr>
          <p:nvPr/>
        </p:nvPicPr>
        <p:blipFill>
          <a:blip r:embed="rId11"/>
          <a:stretch>
            <a:fillRect/>
          </a:stretch>
        </p:blipFill>
        <p:spPr>
          <a:xfrm>
            <a:off x="5661147" y="1872029"/>
            <a:ext cx="1362075" cy="933450"/>
          </a:xfrm>
          <a:prstGeom prst="rect">
            <a:avLst/>
          </a:prstGeom>
        </p:spPr>
      </p:pic>
    </p:spTree>
    <p:extLst>
      <p:ext uri="{BB962C8B-B14F-4D97-AF65-F5344CB8AC3E}">
        <p14:creationId xmlns:p14="http://schemas.microsoft.com/office/powerpoint/2010/main" val="3083809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ED4AE-4117-4A2A-999B-0EC50D6B2A8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9"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3D7ED4AE-4117-4A2A-999B-0EC50D6B2A8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AE20B3F-0E2F-41DD-9161-AFD4CFFD351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a-DK">
              <a:latin typeface="Verdana" panose="020B0604030504040204" pitchFamily="34" charset="0"/>
              <a:ea typeface="Verdana" panose="020B0604030504040204" pitchFamily="34" charset="0"/>
              <a:sym typeface="Verdana" panose="020B0604030504040204" pitchFamily="34" charset="0"/>
            </a:endParaRPr>
          </a:p>
        </p:txBody>
      </p:sp>
      <p:sp>
        <p:nvSpPr>
          <p:cNvPr id="7" name="Title 1">
            <a:extLst>
              <a:ext uri="{FF2B5EF4-FFF2-40B4-BE49-F238E27FC236}">
                <a16:creationId xmlns:a16="http://schemas.microsoft.com/office/drawing/2014/main" id="{AB2F3BDA-6BDD-46D1-868C-9356701B023E}"/>
              </a:ext>
            </a:extLst>
          </p:cNvPr>
          <p:cNvSpPr>
            <a:spLocks noGrp="1"/>
          </p:cNvSpPr>
          <p:nvPr>
            <p:ph type="title"/>
          </p:nvPr>
        </p:nvSpPr>
        <p:spPr>
          <a:xfrm>
            <a:off x="263401" y="279490"/>
            <a:ext cx="9030076" cy="689476"/>
          </a:xfrm>
        </p:spPr>
        <p:txBody>
          <a:bodyPr lIns="91440" tIns="45720" rIns="91440" bIns="45720" anchor="b">
            <a:normAutofit fontScale="90000"/>
          </a:bodyPr>
          <a:lstStyle/>
          <a:p>
            <a:r>
              <a:rPr lang="da-DK" sz="2800" b="0">
                <a:solidFill>
                  <a:schemeClr val="tx1"/>
                </a:solidFill>
                <a:latin typeface="Impact"/>
                <a:ea typeface="Verdana"/>
                <a:cs typeface="Verdana"/>
              </a:rPr>
              <a:t>3. Løsningen</a:t>
            </a:r>
            <a:r>
              <a:rPr lang="da-DK"/>
              <a:t/>
            </a:r>
            <a:br>
              <a:rPr lang="da-DK"/>
            </a:br>
            <a:r>
              <a:rPr lang="da-DK" sz="2000" b="0">
                <a:solidFill>
                  <a:schemeClr val="tx1"/>
                </a:solidFill>
                <a:latin typeface="Verdana"/>
                <a:ea typeface="Verdana"/>
                <a:cs typeface="Verdana"/>
              </a:rPr>
              <a:t>3.1.2.4 </a:t>
            </a:r>
            <a:r>
              <a:rPr lang="da-DK" sz="2000" b="0" err="1">
                <a:solidFill>
                  <a:schemeClr val="tx1"/>
                </a:solidFill>
                <a:latin typeface="Verdana"/>
                <a:ea typeface="Verdana"/>
                <a:cs typeface="Verdana"/>
              </a:rPr>
              <a:t>use</a:t>
            </a:r>
            <a:r>
              <a:rPr lang="da-DK" sz="2000" b="0">
                <a:solidFill>
                  <a:schemeClr val="tx1"/>
                </a:solidFill>
                <a:latin typeface="Verdana"/>
                <a:ea typeface="Verdana"/>
                <a:cs typeface="Verdana"/>
              </a:rPr>
              <a:t> case: Fra indkøbsaftale/kontrakter til match med indkøbsordre  </a:t>
            </a:r>
            <a:endParaRPr lang="da-DK" b="0">
              <a:solidFill>
                <a:schemeClr val="tx1"/>
              </a:solidFill>
            </a:endParaRPr>
          </a:p>
        </p:txBody>
      </p:sp>
      <p:cxnSp>
        <p:nvCxnSpPr>
          <p:cNvPr id="164" name="Straight Connector 163">
            <a:extLst>
              <a:ext uri="{FF2B5EF4-FFF2-40B4-BE49-F238E27FC236}">
                <a16:creationId xmlns:a16="http://schemas.microsoft.com/office/drawing/2014/main" id="{57AEC517-DF95-4371-BCD4-70220FFBCA04}"/>
              </a:ext>
            </a:extLst>
          </p:cNvPr>
          <p:cNvCxnSpPr>
            <a:cxnSpLocks/>
          </p:cNvCxnSpPr>
          <p:nvPr/>
        </p:nvCxnSpPr>
        <p:spPr>
          <a:xfrm flipH="1">
            <a:off x="716801" y="4102467"/>
            <a:ext cx="7710399" cy="0"/>
          </a:xfrm>
          <a:prstGeom prst="line">
            <a:avLst/>
          </a:prstGeom>
          <a:ln w="6350">
            <a:solidFill>
              <a:srgbClr val="8AA299"/>
            </a:solidFill>
          </a:ln>
        </p:spPr>
        <p:style>
          <a:lnRef idx="1">
            <a:schemeClr val="accent1"/>
          </a:lnRef>
          <a:fillRef idx="0">
            <a:schemeClr val="accent1"/>
          </a:fillRef>
          <a:effectRef idx="0">
            <a:schemeClr val="accent1"/>
          </a:effectRef>
          <a:fontRef idx="minor">
            <a:schemeClr val="tx1"/>
          </a:fontRef>
        </p:style>
      </p:cxnSp>
      <p:grpSp>
        <p:nvGrpSpPr>
          <p:cNvPr id="165" name="Group 164">
            <a:extLst>
              <a:ext uri="{FF2B5EF4-FFF2-40B4-BE49-F238E27FC236}">
                <a16:creationId xmlns:a16="http://schemas.microsoft.com/office/drawing/2014/main" id="{ED217F91-3173-4F47-BF36-4393E775A8B0}"/>
              </a:ext>
            </a:extLst>
          </p:cNvPr>
          <p:cNvGrpSpPr/>
          <p:nvPr/>
        </p:nvGrpSpPr>
        <p:grpSpPr>
          <a:xfrm>
            <a:off x="622521" y="2108181"/>
            <a:ext cx="215006" cy="212352"/>
            <a:chOff x="-280989" y="3035886"/>
            <a:chExt cx="462913" cy="457200"/>
          </a:xfrm>
        </p:grpSpPr>
        <p:sp>
          <p:nvSpPr>
            <p:cNvPr id="166" name="Oval 165">
              <a:extLst>
                <a:ext uri="{FF2B5EF4-FFF2-40B4-BE49-F238E27FC236}">
                  <a16:creationId xmlns:a16="http://schemas.microsoft.com/office/drawing/2014/main" id="{4332F8AF-C932-4411-BDFA-CC749C0247EC}"/>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1</a:t>
              </a:r>
            </a:p>
          </p:txBody>
        </p:sp>
        <p:sp>
          <p:nvSpPr>
            <p:cNvPr id="167" name="Freeform 26">
              <a:extLst>
                <a:ext uri="{FF2B5EF4-FFF2-40B4-BE49-F238E27FC236}">
                  <a16:creationId xmlns:a16="http://schemas.microsoft.com/office/drawing/2014/main" id="{4BD7B24E-3CD2-4950-8500-2F1915FD3B19}"/>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grpSp>
        <p:nvGrpSpPr>
          <p:cNvPr id="221" name="Group 220">
            <a:extLst>
              <a:ext uri="{FF2B5EF4-FFF2-40B4-BE49-F238E27FC236}">
                <a16:creationId xmlns:a16="http://schemas.microsoft.com/office/drawing/2014/main" id="{B9511CAA-F9E3-4FEE-AD28-4FC386C16B2E}"/>
              </a:ext>
            </a:extLst>
          </p:cNvPr>
          <p:cNvGrpSpPr/>
          <p:nvPr/>
        </p:nvGrpSpPr>
        <p:grpSpPr>
          <a:xfrm>
            <a:off x="4786938" y="2108181"/>
            <a:ext cx="215006" cy="212352"/>
            <a:chOff x="-280989" y="3035886"/>
            <a:chExt cx="462913" cy="457200"/>
          </a:xfrm>
        </p:grpSpPr>
        <p:sp>
          <p:nvSpPr>
            <p:cNvPr id="222" name="Oval 221">
              <a:extLst>
                <a:ext uri="{FF2B5EF4-FFF2-40B4-BE49-F238E27FC236}">
                  <a16:creationId xmlns:a16="http://schemas.microsoft.com/office/drawing/2014/main" id="{FA9E3B47-8A3A-44AE-844D-986EC573B6A8}"/>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4</a:t>
              </a:r>
            </a:p>
          </p:txBody>
        </p:sp>
        <p:sp>
          <p:nvSpPr>
            <p:cNvPr id="223" name="Freeform 26">
              <a:extLst>
                <a:ext uri="{FF2B5EF4-FFF2-40B4-BE49-F238E27FC236}">
                  <a16:creationId xmlns:a16="http://schemas.microsoft.com/office/drawing/2014/main" id="{085D17CF-7626-44CE-8EDF-8BAAEE90D111}"/>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cxnSp>
        <p:nvCxnSpPr>
          <p:cNvPr id="260" name="Straight Connector 259">
            <a:extLst>
              <a:ext uri="{FF2B5EF4-FFF2-40B4-BE49-F238E27FC236}">
                <a16:creationId xmlns:a16="http://schemas.microsoft.com/office/drawing/2014/main" id="{6B563561-0F4B-4160-972D-1397B5FC1482}"/>
              </a:ext>
            </a:extLst>
          </p:cNvPr>
          <p:cNvCxnSpPr>
            <a:cxnSpLocks/>
          </p:cNvCxnSpPr>
          <p:nvPr/>
        </p:nvCxnSpPr>
        <p:spPr>
          <a:xfrm flipV="1">
            <a:off x="4572000" y="2108182"/>
            <a:ext cx="0" cy="3750012"/>
          </a:xfrm>
          <a:prstGeom prst="line">
            <a:avLst/>
          </a:prstGeom>
          <a:ln w="6350">
            <a:solidFill>
              <a:srgbClr val="8AA299"/>
            </a:solidFill>
          </a:ln>
        </p:spPr>
        <p:style>
          <a:lnRef idx="1">
            <a:schemeClr val="accent1"/>
          </a:lnRef>
          <a:fillRef idx="0">
            <a:schemeClr val="accent1"/>
          </a:fillRef>
          <a:effectRef idx="0">
            <a:schemeClr val="accent1"/>
          </a:effectRef>
          <a:fontRef idx="minor">
            <a:schemeClr val="tx1"/>
          </a:fontRef>
        </p:style>
      </p:cxnSp>
      <p:grpSp>
        <p:nvGrpSpPr>
          <p:cNvPr id="268" name="Group 267">
            <a:extLst>
              <a:ext uri="{FF2B5EF4-FFF2-40B4-BE49-F238E27FC236}">
                <a16:creationId xmlns:a16="http://schemas.microsoft.com/office/drawing/2014/main" id="{7E6D29CB-EFB7-46EF-A544-57493263C20C}"/>
              </a:ext>
            </a:extLst>
          </p:cNvPr>
          <p:cNvGrpSpPr/>
          <p:nvPr/>
        </p:nvGrpSpPr>
        <p:grpSpPr>
          <a:xfrm rot="5400000">
            <a:off x="723938" y="4015844"/>
            <a:ext cx="225738" cy="213318"/>
            <a:chOff x="496618" y="4271624"/>
            <a:chExt cx="490538" cy="463550"/>
          </a:xfrm>
        </p:grpSpPr>
        <p:sp>
          <p:nvSpPr>
            <p:cNvPr id="269" name="Freeform 73">
              <a:extLst>
                <a:ext uri="{FF2B5EF4-FFF2-40B4-BE49-F238E27FC236}">
                  <a16:creationId xmlns:a16="http://schemas.microsoft.com/office/drawing/2014/main" id="{011F1F41-A323-4EA3-95BF-3BB89C23127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0" name="Freeform 74">
              <a:extLst>
                <a:ext uri="{FF2B5EF4-FFF2-40B4-BE49-F238E27FC236}">
                  <a16:creationId xmlns:a16="http://schemas.microsoft.com/office/drawing/2014/main" id="{63A13520-D5FE-4A12-A2B0-0F7FCE2FAD6D}"/>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1" name="Freeform 75">
              <a:extLst>
                <a:ext uri="{FF2B5EF4-FFF2-40B4-BE49-F238E27FC236}">
                  <a16:creationId xmlns:a16="http://schemas.microsoft.com/office/drawing/2014/main" id="{B6BA7D65-5CC1-4940-A762-717FCBA5566D}"/>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72" name="Group 271">
            <a:extLst>
              <a:ext uri="{FF2B5EF4-FFF2-40B4-BE49-F238E27FC236}">
                <a16:creationId xmlns:a16="http://schemas.microsoft.com/office/drawing/2014/main" id="{3DEDF1D9-1707-4706-B110-040B11795645}"/>
              </a:ext>
            </a:extLst>
          </p:cNvPr>
          <p:cNvGrpSpPr/>
          <p:nvPr/>
        </p:nvGrpSpPr>
        <p:grpSpPr>
          <a:xfrm>
            <a:off x="4393887" y="5096447"/>
            <a:ext cx="225738" cy="213318"/>
            <a:chOff x="496618" y="4271624"/>
            <a:chExt cx="490538" cy="463550"/>
          </a:xfrm>
        </p:grpSpPr>
        <p:sp>
          <p:nvSpPr>
            <p:cNvPr id="273" name="Freeform 73">
              <a:extLst>
                <a:ext uri="{FF2B5EF4-FFF2-40B4-BE49-F238E27FC236}">
                  <a16:creationId xmlns:a16="http://schemas.microsoft.com/office/drawing/2014/main" id="{E6577463-63D4-499E-B243-A5319CA76D80}"/>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4" name="Freeform 74">
              <a:extLst>
                <a:ext uri="{FF2B5EF4-FFF2-40B4-BE49-F238E27FC236}">
                  <a16:creationId xmlns:a16="http://schemas.microsoft.com/office/drawing/2014/main" id="{3558AA2D-74AF-4D5C-BCCF-52317191801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5" name="Freeform 75">
              <a:extLst>
                <a:ext uri="{FF2B5EF4-FFF2-40B4-BE49-F238E27FC236}">
                  <a16:creationId xmlns:a16="http://schemas.microsoft.com/office/drawing/2014/main" id="{4C1E44C1-D3BB-475E-894D-4442DC405F1D}"/>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76" name="Group 275">
            <a:extLst>
              <a:ext uri="{FF2B5EF4-FFF2-40B4-BE49-F238E27FC236}">
                <a16:creationId xmlns:a16="http://schemas.microsoft.com/office/drawing/2014/main" id="{69F8D3F5-5F1B-4816-B7A6-812194CA8492}"/>
              </a:ext>
            </a:extLst>
          </p:cNvPr>
          <p:cNvGrpSpPr/>
          <p:nvPr/>
        </p:nvGrpSpPr>
        <p:grpSpPr>
          <a:xfrm rot="16200000">
            <a:off x="8207672" y="3984094"/>
            <a:ext cx="225738" cy="213318"/>
            <a:chOff x="496618" y="4271624"/>
            <a:chExt cx="490538" cy="463550"/>
          </a:xfrm>
        </p:grpSpPr>
        <p:sp>
          <p:nvSpPr>
            <p:cNvPr id="277" name="Freeform 73">
              <a:extLst>
                <a:ext uri="{FF2B5EF4-FFF2-40B4-BE49-F238E27FC236}">
                  <a16:creationId xmlns:a16="http://schemas.microsoft.com/office/drawing/2014/main" id="{1135BE0F-7E39-48F8-9DD9-CC51C4C4A92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8" name="Freeform 74">
              <a:extLst>
                <a:ext uri="{FF2B5EF4-FFF2-40B4-BE49-F238E27FC236}">
                  <a16:creationId xmlns:a16="http://schemas.microsoft.com/office/drawing/2014/main" id="{C0EB1807-E59B-4719-884E-969EF8E26D11}"/>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9" name="Freeform 75">
              <a:extLst>
                <a:ext uri="{FF2B5EF4-FFF2-40B4-BE49-F238E27FC236}">
                  <a16:creationId xmlns:a16="http://schemas.microsoft.com/office/drawing/2014/main" id="{17BC1CBE-0C13-413C-A26A-13E36F555310}"/>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80" name="Group 279">
            <a:extLst>
              <a:ext uri="{FF2B5EF4-FFF2-40B4-BE49-F238E27FC236}">
                <a16:creationId xmlns:a16="http://schemas.microsoft.com/office/drawing/2014/main" id="{C4AB9758-1282-4BC3-88C9-B661799AE662}"/>
              </a:ext>
            </a:extLst>
          </p:cNvPr>
          <p:cNvGrpSpPr/>
          <p:nvPr/>
        </p:nvGrpSpPr>
        <p:grpSpPr>
          <a:xfrm>
            <a:off x="4786938" y="4334428"/>
            <a:ext cx="215006" cy="212352"/>
            <a:chOff x="-280989" y="3035886"/>
            <a:chExt cx="462913" cy="457200"/>
          </a:xfrm>
        </p:grpSpPr>
        <p:sp>
          <p:nvSpPr>
            <p:cNvPr id="281" name="Oval 280">
              <a:extLst>
                <a:ext uri="{FF2B5EF4-FFF2-40B4-BE49-F238E27FC236}">
                  <a16:creationId xmlns:a16="http://schemas.microsoft.com/office/drawing/2014/main" id="{A06ED608-6103-4BA7-89DC-BA115ECF9C00}"/>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3</a:t>
              </a:r>
            </a:p>
          </p:txBody>
        </p:sp>
        <p:sp>
          <p:nvSpPr>
            <p:cNvPr id="282" name="Freeform 26">
              <a:extLst>
                <a:ext uri="{FF2B5EF4-FFF2-40B4-BE49-F238E27FC236}">
                  <a16:creationId xmlns:a16="http://schemas.microsoft.com/office/drawing/2014/main" id="{DDA785A3-140A-40E7-B2D0-C5BCD3D7A48C}"/>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grpSp>
        <p:nvGrpSpPr>
          <p:cNvPr id="283" name="Group 282">
            <a:extLst>
              <a:ext uri="{FF2B5EF4-FFF2-40B4-BE49-F238E27FC236}">
                <a16:creationId xmlns:a16="http://schemas.microsoft.com/office/drawing/2014/main" id="{28F157E5-2E35-444E-AEBE-63E775172035}"/>
              </a:ext>
            </a:extLst>
          </p:cNvPr>
          <p:cNvGrpSpPr/>
          <p:nvPr/>
        </p:nvGrpSpPr>
        <p:grpSpPr>
          <a:xfrm>
            <a:off x="622521" y="4334428"/>
            <a:ext cx="215006" cy="212352"/>
            <a:chOff x="-280989" y="3035886"/>
            <a:chExt cx="462913" cy="457200"/>
          </a:xfrm>
        </p:grpSpPr>
        <p:sp>
          <p:nvSpPr>
            <p:cNvPr id="284" name="Oval 283">
              <a:extLst>
                <a:ext uri="{FF2B5EF4-FFF2-40B4-BE49-F238E27FC236}">
                  <a16:creationId xmlns:a16="http://schemas.microsoft.com/office/drawing/2014/main" id="{CBC00A76-E194-4FCE-90B2-97284D719C01}"/>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2</a:t>
              </a:r>
            </a:p>
          </p:txBody>
        </p:sp>
        <p:sp>
          <p:nvSpPr>
            <p:cNvPr id="285" name="Freeform 26">
              <a:extLst>
                <a:ext uri="{FF2B5EF4-FFF2-40B4-BE49-F238E27FC236}">
                  <a16:creationId xmlns:a16="http://schemas.microsoft.com/office/drawing/2014/main" id="{F7992165-9BC8-4BEF-9E14-BD545799E31C}"/>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sp>
        <p:nvSpPr>
          <p:cNvPr id="287" name="Rectangle 286">
            <a:extLst>
              <a:ext uri="{FF2B5EF4-FFF2-40B4-BE49-F238E27FC236}">
                <a16:creationId xmlns:a16="http://schemas.microsoft.com/office/drawing/2014/main" id="{148B3DDD-3DFD-4791-BFBD-3874CC3D264E}"/>
              </a:ext>
            </a:extLst>
          </p:cNvPr>
          <p:cNvSpPr/>
          <p:nvPr/>
        </p:nvSpPr>
        <p:spPr>
          <a:xfrm>
            <a:off x="1619251" y="1205135"/>
            <a:ext cx="7129462" cy="5634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Der er to formål med denne </a:t>
            </a:r>
            <a:r>
              <a:rPr lang="da-DK" sz="900" dirty="0" err="1">
                <a:solidFill>
                  <a:schemeClr val="tx1"/>
                </a:solidFill>
              </a:rPr>
              <a:t>use</a:t>
            </a:r>
            <a:r>
              <a:rPr lang="da-DK" sz="900" dirty="0">
                <a:solidFill>
                  <a:schemeClr val="tx1"/>
                </a:solidFill>
              </a:rPr>
              <a:t> case; 1) Løsningen skal kunne drifte aftalerne fra Statens Indkøbsprogram og der skal i løsningen kunne oprettes indkøbsordre med afsæt disse aftaler 2) Der skal kunne foretages et for-check af fakturaen inden endelig match med indkøbsordren </a:t>
            </a:r>
            <a:r>
              <a:rPr lang="da-DK" sz="900" dirty="0" smtClean="0">
                <a:solidFill>
                  <a:schemeClr val="tx1"/>
                </a:solidFill>
              </a:rPr>
              <a:t>foretages.</a:t>
            </a:r>
            <a:endParaRPr lang="da-DK" sz="900" dirty="0">
              <a:solidFill>
                <a:schemeClr val="tx1"/>
              </a:solidFill>
            </a:endParaRPr>
          </a:p>
        </p:txBody>
      </p:sp>
      <p:sp>
        <p:nvSpPr>
          <p:cNvPr id="149" name="Rectangle 148">
            <a:extLst>
              <a:ext uri="{FF2B5EF4-FFF2-40B4-BE49-F238E27FC236}">
                <a16:creationId xmlns:a16="http://schemas.microsoft.com/office/drawing/2014/main" id="{35D2CF02-4213-4946-8F5B-1C30925443B4}"/>
              </a:ext>
            </a:extLst>
          </p:cNvPr>
          <p:cNvSpPr/>
          <p:nvPr/>
        </p:nvSpPr>
        <p:spPr>
          <a:xfrm>
            <a:off x="7044856" y="6066845"/>
            <a:ext cx="2099143" cy="791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0" name="Rectangle 149">
            <a:extLst>
              <a:ext uri="{FF2B5EF4-FFF2-40B4-BE49-F238E27FC236}">
                <a16:creationId xmlns:a16="http://schemas.microsoft.com/office/drawing/2014/main" id="{ABF40D23-6491-4158-B904-B1DED99272C8}"/>
              </a:ext>
            </a:extLst>
          </p:cNvPr>
          <p:cNvSpPr/>
          <p:nvPr/>
        </p:nvSpPr>
        <p:spPr>
          <a:xfrm>
            <a:off x="358775" y="1213543"/>
            <a:ext cx="1260475" cy="563419"/>
          </a:xfrm>
          <a:prstGeom prst="rect">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err="1">
                <a:solidFill>
                  <a:schemeClr val="tx1"/>
                </a:solidFill>
              </a:rPr>
              <a:t>Use</a:t>
            </a:r>
            <a:r>
              <a:rPr lang="da-DK" sz="1200" b="1">
                <a:solidFill>
                  <a:schemeClr val="tx1"/>
                </a:solidFill>
              </a:rPr>
              <a:t> case 4</a:t>
            </a:r>
          </a:p>
        </p:txBody>
      </p:sp>
      <p:sp>
        <p:nvSpPr>
          <p:cNvPr id="140" name="Rectangle 139">
            <a:extLst>
              <a:ext uri="{FF2B5EF4-FFF2-40B4-BE49-F238E27FC236}">
                <a16:creationId xmlns:a16="http://schemas.microsoft.com/office/drawing/2014/main" id="{7DB26B68-212B-4C74-AA36-8D209B2EE9C2}"/>
              </a:ext>
            </a:extLst>
          </p:cNvPr>
          <p:cNvSpPr/>
          <p:nvPr/>
        </p:nvSpPr>
        <p:spPr>
          <a:xfrm>
            <a:off x="628649" y="3013201"/>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a:solidFill>
                  <a:schemeClr val="tx1"/>
                </a:solidFill>
              </a:rPr>
              <a:t>En statslig institution får adgang til </a:t>
            </a:r>
            <a:r>
              <a:rPr lang="da-DK" sz="900" dirty="0">
                <a:solidFill>
                  <a:schemeClr val="tx1"/>
                </a:solidFill>
              </a:rPr>
              <a:t>de kontrakter/aftaler</a:t>
            </a:r>
            <a:r>
              <a:rPr lang="da-DK" sz="900">
                <a:solidFill>
                  <a:schemeClr val="tx1"/>
                </a:solidFill>
              </a:rPr>
              <a:t>, som er indgået under Statens Indkøbsprogram.</a:t>
            </a:r>
          </a:p>
        </p:txBody>
      </p:sp>
      <p:sp>
        <p:nvSpPr>
          <p:cNvPr id="141" name="Rectangle 140">
            <a:extLst>
              <a:ext uri="{FF2B5EF4-FFF2-40B4-BE49-F238E27FC236}">
                <a16:creationId xmlns:a16="http://schemas.microsoft.com/office/drawing/2014/main" id="{749BA3C8-648D-42A0-BB08-41E3D5C37490}"/>
              </a:ext>
            </a:extLst>
          </p:cNvPr>
          <p:cNvSpPr/>
          <p:nvPr/>
        </p:nvSpPr>
        <p:spPr>
          <a:xfrm>
            <a:off x="597038" y="5065915"/>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a:solidFill>
                  <a:schemeClr val="tx1"/>
                </a:solidFill>
              </a:rPr>
              <a:t>Brugeren har mulighed for at oprette indkøbsordren og afsende denne til modtageren elektronisk. Ved modtagelse af faktura skal det være muligt at foretage automatisk match mod indkøbsordren. </a:t>
            </a:r>
          </a:p>
        </p:txBody>
      </p:sp>
      <p:sp>
        <p:nvSpPr>
          <p:cNvPr id="142" name="Rectangle 141">
            <a:extLst>
              <a:ext uri="{FF2B5EF4-FFF2-40B4-BE49-F238E27FC236}">
                <a16:creationId xmlns:a16="http://schemas.microsoft.com/office/drawing/2014/main" id="{1F831652-138C-47D0-9B56-1149F3937DAC}"/>
              </a:ext>
            </a:extLst>
          </p:cNvPr>
          <p:cNvSpPr/>
          <p:nvPr/>
        </p:nvSpPr>
        <p:spPr>
          <a:xfrm>
            <a:off x="4786937" y="5066619"/>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a:solidFill>
                  <a:schemeClr val="tx1"/>
                </a:solidFill>
              </a:rPr>
              <a:t>Der skal (som ved match med andre indkøbsordrer) kunne foretages en for-check af fakturamatch inden endelig gennemførelse foretages. Formålet er at sikre, at korrekte oplysninger er påført, så der ikke sker forsøg på bogføring af en fejlbehæftet faktura.  </a:t>
            </a:r>
          </a:p>
        </p:txBody>
      </p:sp>
      <p:sp>
        <p:nvSpPr>
          <p:cNvPr id="143" name="Rectangle 142">
            <a:extLst>
              <a:ext uri="{FF2B5EF4-FFF2-40B4-BE49-F238E27FC236}">
                <a16:creationId xmlns:a16="http://schemas.microsoft.com/office/drawing/2014/main" id="{1B38998F-06A3-4628-A18D-FB786D61B4BE}"/>
              </a:ext>
            </a:extLst>
          </p:cNvPr>
          <p:cNvSpPr/>
          <p:nvPr/>
        </p:nvSpPr>
        <p:spPr>
          <a:xfrm>
            <a:off x="4786938" y="3000413"/>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a:solidFill>
                  <a:schemeClr val="tx1"/>
                </a:solidFill>
              </a:rPr>
              <a:t>Ønsket er at identificere en fejl så tidligt som muligt, så leverandøren tidligst muligt kan genfremsende en korrekt faktura. Fakturamatch gennemføres og bogføring samt efterfølgende betaling foretages.</a:t>
            </a:r>
          </a:p>
        </p:txBody>
      </p:sp>
      <p:pic>
        <p:nvPicPr>
          <p:cNvPr id="5" name="Picture 8" descr="A picture containing clock&#10;&#10;Description automatically generated">
            <a:extLst>
              <a:ext uri="{FF2B5EF4-FFF2-40B4-BE49-F238E27FC236}">
                <a16:creationId xmlns:a16="http://schemas.microsoft.com/office/drawing/2014/main" id="{F2BFE262-7129-4963-9472-B4A25C780217}"/>
              </a:ext>
            </a:extLst>
          </p:cNvPr>
          <p:cNvPicPr>
            <a:picLocks noChangeAspect="1"/>
          </p:cNvPicPr>
          <p:nvPr/>
        </p:nvPicPr>
        <p:blipFill>
          <a:blip r:embed="rId8"/>
          <a:stretch>
            <a:fillRect/>
          </a:stretch>
        </p:blipFill>
        <p:spPr>
          <a:xfrm>
            <a:off x="1992556" y="1962150"/>
            <a:ext cx="962025" cy="800100"/>
          </a:xfrm>
          <a:prstGeom prst="rect">
            <a:avLst/>
          </a:prstGeom>
        </p:spPr>
      </p:pic>
      <p:pic>
        <p:nvPicPr>
          <p:cNvPr id="9" name="Picture 9" descr="A picture containing drawing, game, table&#10;&#10;Description automatically generated">
            <a:extLst>
              <a:ext uri="{FF2B5EF4-FFF2-40B4-BE49-F238E27FC236}">
                <a16:creationId xmlns:a16="http://schemas.microsoft.com/office/drawing/2014/main" id="{FE17880D-A926-4176-B9A1-E54663494DCD}"/>
              </a:ext>
            </a:extLst>
          </p:cNvPr>
          <p:cNvPicPr>
            <a:picLocks noChangeAspect="1"/>
          </p:cNvPicPr>
          <p:nvPr/>
        </p:nvPicPr>
        <p:blipFill>
          <a:blip r:embed="rId9"/>
          <a:stretch>
            <a:fillRect/>
          </a:stretch>
        </p:blipFill>
        <p:spPr>
          <a:xfrm>
            <a:off x="2040181" y="4329112"/>
            <a:ext cx="866775" cy="638175"/>
          </a:xfrm>
          <a:prstGeom prst="rect">
            <a:avLst/>
          </a:prstGeom>
        </p:spPr>
      </p:pic>
      <p:pic>
        <p:nvPicPr>
          <p:cNvPr id="36" name="Picture 36" descr="A close up of a logo&#10;&#10;Description automatically generated">
            <a:extLst>
              <a:ext uri="{FF2B5EF4-FFF2-40B4-BE49-F238E27FC236}">
                <a16:creationId xmlns:a16="http://schemas.microsoft.com/office/drawing/2014/main" id="{EDFE54F5-F062-40DA-B0FE-53C92673393C}"/>
              </a:ext>
            </a:extLst>
          </p:cNvPr>
          <p:cNvPicPr>
            <a:picLocks noChangeAspect="1"/>
          </p:cNvPicPr>
          <p:nvPr/>
        </p:nvPicPr>
        <p:blipFill>
          <a:blip r:embed="rId10"/>
          <a:stretch>
            <a:fillRect/>
          </a:stretch>
        </p:blipFill>
        <p:spPr>
          <a:xfrm>
            <a:off x="5989760" y="4229833"/>
            <a:ext cx="1009650" cy="742950"/>
          </a:xfrm>
          <a:prstGeom prst="rect">
            <a:avLst/>
          </a:prstGeom>
        </p:spPr>
      </p:pic>
      <p:pic>
        <p:nvPicPr>
          <p:cNvPr id="37" name="Picture 37" descr="A picture containing game&#10;&#10;Description automatically generated">
            <a:extLst>
              <a:ext uri="{FF2B5EF4-FFF2-40B4-BE49-F238E27FC236}">
                <a16:creationId xmlns:a16="http://schemas.microsoft.com/office/drawing/2014/main" id="{DA8260FE-3973-4757-B258-E72B07C9F861}"/>
              </a:ext>
            </a:extLst>
          </p:cNvPr>
          <p:cNvPicPr>
            <a:picLocks noChangeAspect="1"/>
          </p:cNvPicPr>
          <p:nvPr/>
        </p:nvPicPr>
        <p:blipFill>
          <a:blip r:embed="rId11"/>
          <a:stretch>
            <a:fillRect/>
          </a:stretch>
        </p:blipFill>
        <p:spPr>
          <a:xfrm>
            <a:off x="5440240" y="2011606"/>
            <a:ext cx="2343150" cy="771525"/>
          </a:xfrm>
          <a:prstGeom prst="rect">
            <a:avLst/>
          </a:prstGeom>
        </p:spPr>
      </p:pic>
    </p:spTree>
    <p:extLst>
      <p:ext uri="{BB962C8B-B14F-4D97-AF65-F5344CB8AC3E}">
        <p14:creationId xmlns:p14="http://schemas.microsoft.com/office/powerpoint/2010/main" val="29437388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ED4AE-4117-4A2A-999B-0EC50D6B2A8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3"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3D7ED4AE-4117-4A2A-999B-0EC50D6B2A8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AE20B3F-0E2F-41DD-9161-AFD4CFFD351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a-DK">
              <a:latin typeface="Verdana" panose="020B0604030504040204" pitchFamily="34" charset="0"/>
              <a:ea typeface="Verdana" panose="020B0604030504040204" pitchFamily="34" charset="0"/>
              <a:sym typeface="Verdana" panose="020B0604030504040204" pitchFamily="34" charset="0"/>
            </a:endParaRPr>
          </a:p>
        </p:txBody>
      </p:sp>
      <p:sp>
        <p:nvSpPr>
          <p:cNvPr id="7" name="Title 1">
            <a:extLst>
              <a:ext uri="{FF2B5EF4-FFF2-40B4-BE49-F238E27FC236}">
                <a16:creationId xmlns:a16="http://schemas.microsoft.com/office/drawing/2014/main" id="{AB2F3BDA-6BDD-46D1-868C-9356701B023E}"/>
              </a:ext>
            </a:extLst>
          </p:cNvPr>
          <p:cNvSpPr>
            <a:spLocks noGrp="1"/>
          </p:cNvSpPr>
          <p:nvPr>
            <p:ph type="title"/>
          </p:nvPr>
        </p:nvSpPr>
        <p:spPr>
          <a:xfrm>
            <a:off x="255706" y="269682"/>
            <a:ext cx="8559819" cy="689476"/>
          </a:xfrm>
        </p:spPr>
        <p:txBody>
          <a:bodyPr lIns="91440" tIns="45720" rIns="91440" bIns="45720" anchor="b">
            <a:normAutofit fontScale="90000"/>
          </a:bodyPr>
          <a:lstStyle/>
          <a:p>
            <a:r>
              <a:rPr lang="da-DK" sz="2800" b="0">
                <a:solidFill>
                  <a:schemeClr val="tx1"/>
                </a:solidFill>
                <a:latin typeface="Impact"/>
                <a:ea typeface="Verdana"/>
                <a:cs typeface="Verdana"/>
              </a:rPr>
              <a:t>3. Løsningen</a:t>
            </a:r>
            <a:r>
              <a:rPr lang="da-DK"/>
              <a:t/>
            </a:r>
            <a:br>
              <a:rPr lang="da-DK"/>
            </a:br>
            <a:r>
              <a:rPr lang="da-DK" sz="2000" b="0">
                <a:solidFill>
                  <a:schemeClr val="tx1"/>
                </a:solidFill>
                <a:latin typeface="Verdana"/>
                <a:ea typeface="Verdana"/>
                <a:cs typeface="Verdana"/>
              </a:rPr>
              <a:t>3.1.2.5 </a:t>
            </a:r>
            <a:r>
              <a:rPr lang="da-DK" sz="2000" b="0" err="1">
                <a:solidFill>
                  <a:schemeClr val="tx1"/>
                </a:solidFill>
                <a:latin typeface="Verdana"/>
                <a:ea typeface="Verdana"/>
                <a:cs typeface="Verdana"/>
              </a:rPr>
              <a:t>use</a:t>
            </a:r>
            <a:r>
              <a:rPr lang="da-DK" sz="2000" b="0">
                <a:solidFill>
                  <a:schemeClr val="tx1"/>
                </a:solidFill>
                <a:latin typeface="Verdana"/>
                <a:ea typeface="Verdana"/>
                <a:cs typeface="Verdana"/>
              </a:rPr>
              <a:t> case: Funktionsadskillelse</a:t>
            </a:r>
            <a:endParaRPr lang="da-DK" b="0">
              <a:solidFill>
                <a:schemeClr val="tx1"/>
              </a:solidFill>
              <a:latin typeface="Verdana"/>
              <a:ea typeface="Verdana"/>
              <a:cs typeface="Verdana"/>
            </a:endParaRPr>
          </a:p>
        </p:txBody>
      </p:sp>
      <p:cxnSp>
        <p:nvCxnSpPr>
          <p:cNvPr id="164" name="Straight Connector 163">
            <a:extLst>
              <a:ext uri="{FF2B5EF4-FFF2-40B4-BE49-F238E27FC236}">
                <a16:creationId xmlns:a16="http://schemas.microsoft.com/office/drawing/2014/main" id="{57AEC517-DF95-4371-BCD4-70220FFBCA04}"/>
              </a:ext>
            </a:extLst>
          </p:cNvPr>
          <p:cNvCxnSpPr>
            <a:cxnSpLocks/>
          </p:cNvCxnSpPr>
          <p:nvPr/>
        </p:nvCxnSpPr>
        <p:spPr>
          <a:xfrm flipH="1">
            <a:off x="716801" y="4102467"/>
            <a:ext cx="7710399" cy="0"/>
          </a:xfrm>
          <a:prstGeom prst="line">
            <a:avLst/>
          </a:prstGeom>
          <a:ln w="6350">
            <a:solidFill>
              <a:srgbClr val="8AA299"/>
            </a:solidFill>
          </a:ln>
        </p:spPr>
        <p:style>
          <a:lnRef idx="1">
            <a:schemeClr val="accent1"/>
          </a:lnRef>
          <a:fillRef idx="0">
            <a:schemeClr val="accent1"/>
          </a:fillRef>
          <a:effectRef idx="0">
            <a:schemeClr val="accent1"/>
          </a:effectRef>
          <a:fontRef idx="minor">
            <a:schemeClr val="tx1"/>
          </a:fontRef>
        </p:style>
      </p:cxnSp>
      <p:grpSp>
        <p:nvGrpSpPr>
          <p:cNvPr id="165" name="Group 164">
            <a:extLst>
              <a:ext uri="{FF2B5EF4-FFF2-40B4-BE49-F238E27FC236}">
                <a16:creationId xmlns:a16="http://schemas.microsoft.com/office/drawing/2014/main" id="{ED217F91-3173-4F47-BF36-4393E775A8B0}"/>
              </a:ext>
            </a:extLst>
          </p:cNvPr>
          <p:cNvGrpSpPr/>
          <p:nvPr/>
        </p:nvGrpSpPr>
        <p:grpSpPr>
          <a:xfrm>
            <a:off x="622521" y="2108181"/>
            <a:ext cx="215006" cy="212352"/>
            <a:chOff x="-280989" y="3035886"/>
            <a:chExt cx="462913" cy="457200"/>
          </a:xfrm>
        </p:grpSpPr>
        <p:sp>
          <p:nvSpPr>
            <p:cNvPr id="166" name="Oval 165">
              <a:extLst>
                <a:ext uri="{FF2B5EF4-FFF2-40B4-BE49-F238E27FC236}">
                  <a16:creationId xmlns:a16="http://schemas.microsoft.com/office/drawing/2014/main" id="{4332F8AF-C932-4411-BDFA-CC749C0247EC}"/>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1</a:t>
              </a:r>
            </a:p>
          </p:txBody>
        </p:sp>
        <p:sp>
          <p:nvSpPr>
            <p:cNvPr id="167" name="Freeform 26">
              <a:extLst>
                <a:ext uri="{FF2B5EF4-FFF2-40B4-BE49-F238E27FC236}">
                  <a16:creationId xmlns:a16="http://schemas.microsoft.com/office/drawing/2014/main" id="{4BD7B24E-3CD2-4950-8500-2F1915FD3B19}"/>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grpSp>
        <p:nvGrpSpPr>
          <p:cNvPr id="221" name="Group 220">
            <a:extLst>
              <a:ext uri="{FF2B5EF4-FFF2-40B4-BE49-F238E27FC236}">
                <a16:creationId xmlns:a16="http://schemas.microsoft.com/office/drawing/2014/main" id="{B9511CAA-F9E3-4FEE-AD28-4FC386C16B2E}"/>
              </a:ext>
            </a:extLst>
          </p:cNvPr>
          <p:cNvGrpSpPr/>
          <p:nvPr/>
        </p:nvGrpSpPr>
        <p:grpSpPr>
          <a:xfrm>
            <a:off x="4786938" y="2108181"/>
            <a:ext cx="215006" cy="212352"/>
            <a:chOff x="-280989" y="3035886"/>
            <a:chExt cx="462913" cy="457200"/>
          </a:xfrm>
        </p:grpSpPr>
        <p:sp>
          <p:nvSpPr>
            <p:cNvPr id="222" name="Oval 221">
              <a:extLst>
                <a:ext uri="{FF2B5EF4-FFF2-40B4-BE49-F238E27FC236}">
                  <a16:creationId xmlns:a16="http://schemas.microsoft.com/office/drawing/2014/main" id="{FA9E3B47-8A3A-44AE-844D-986EC573B6A8}"/>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4</a:t>
              </a:r>
            </a:p>
          </p:txBody>
        </p:sp>
        <p:sp>
          <p:nvSpPr>
            <p:cNvPr id="223" name="Freeform 26">
              <a:extLst>
                <a:ext uri="{FF2B5EF4-FFF2-40B4-BE49-F238E27FC236}">
                  <a16:creationId xmlns:a16="http://schemas.microsoft.com/office/drawing/2014/main" id="{085D17CF-7626-44CE-8EDF-8BAAEE90D111}"/>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cxnSp>
        <p:nvCxnSpPr>
          <p:cNvPr id="260" name="Straight Connector 259">
            <a:extLst>
              <a:ext uri="{FF2B5EF4-FFF2-40B4-BE49-F238E27FC236}">
                <a16:creationId xmlns:a16="http://schemas.microsoft.com/office/drawing/2014/main" id="{6B563561-0F4B-4160-972D-1397B5FC1482}"/>
              </a:ext>
            </a:extLst>
          </p:cNvPr>
          <p:cNvCxnSpPr>
            <a:cxnSpLocks/>
          </p:cNvCxnSpPr>
          <p:nvPr/>
        </p:nvCxnSpPr>
        <p:spPr>
          <a:xfrm flipV="1">
            <a:off x="4572000" y="2108182"/>
            <a:ext cx="0" cy="3750012"/>
          </a:xfrm>
          <a:prstGeom prst="line">
            <a:avLst/>
          </a:prstGeom>
          <a:ln w="6350">
            <a:solidFill>
              <a:srgbClr val="8AA299"/>
            </a:solidFill>
          </a:ln>
        </p:spPr>
        <p:style>
          <a:lnRef idx="1">
            <a:schemeClr val="accent1"/>
          </a:lnRef>
          <a:fillRef idx="0">
            <a:schemeClr val="accent1"/>
          </a:fillRef>
          <a:effectRef idx="0">
            <a:schemeClr val="accent1"/>
          </a:effectRef>
          <a:fontRef idx="minor">
            <a:schemeClr val="tx1"/>
          </a:fontRef>
        </p:style>
      </p:cxnSp>
      <p:grpSp>
        <p:nvGrpSpPr>
          <p:cNvPr id="268" name="Group 267">
            <a:extLst>
              <a:ext uri="{FF2B5EF4-FFF2-40B4-BE49-F238E27FC236}">
                <a16:creationId xmlns:a16="http://schemas.microsoft.com/office/drawing/2014/main" id="{7E6D29CB-EFB7-46EF-A544-57493263C20C}"/>
              </a:ext>
            </a:extLst>
          </p:cNvPr>
          <p:cNvGrpSpPr/>
          <p:nvPr/>
        </p:nvGrpSpPr>
        <p:grpSpPr>
          <a:xfrm rot="5400000">
            <a:off x="723938" y="4015844"/>
            <a:ext cx="225738" cy="213318"/>
            <a:chOff x="496618" y="4271624"/>
            <a:chExt cx="490538" cy="463550"/>
          </a:xfrm>
        </p:grpSpPr>
        <p:sp>
          <p:nvSpPr>
            <p:cNvPr id="269" name="Freeform 73">
              <a:extLst>
                <a:ext uri="{FF2B5EF4-FFF2-40B4-BE49-F238E27FC236}">
                  <a16:creationId xmlns:a16="http://schemas.microsoft.com/office/drawing/2014/main" id="{011F1F41-A323-4EA3-95BF-3BB89C23127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0" name="Freeform 74">
              <a:extLst>
                <a:ext uri="{FF2B5EF4-FFF2-40B4-BE49-F238E27FC236}">
                  <a16:creationId xmlns:a16="http://schemas.microsoft.com/office/drawing/2014/main" id="{63A13520-D5FE-4A12-A2B0-0F7FCE2FAD6D}"/>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1" name="Freeform 75">
              <a:extLst>
                <a:ext uri="{FF2B5EF4-FFF2-40B4-BE49-F238E27FC236}">
                  <a16:creationId xmlns:a16="http://schemas.microsoft.com/office/drawing/2014/main" id="{B6BA7D65-5CC1-4940-A762-717FCBA5566D}"/>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72" name="Group 271">
            <a:extLst>
              <a:ext uri="{FF2B5EF4-FFF2-40B4-BE49-F238E27FC236}">
                <a16:creationId xmlns:a16="http://schemas.microsoft.com/office/drawing/2014/main" id="{3DEDF1D9-1707-4706-B110-040B11795645}"/>
              </a:ext>
            </a:extLst>
          </p:cNvPr>
          <p:cNvGrpSpPr/>
          <p:nvPr/>
        </p:nvGrpSpPr>
        <p:grpSpPr>
          <a:xfrm>
            <a:off x="4393887" y="5096447"/>
            <a:ext cx="225738" cy="213318"/>
            <a:chOff x="496618" y="4271624"/>
            <a:chExt cx="490538" cy="463550"/>
          </a:xfrm>
        </p:grpSpPr>
        <p:sp>
          <p:nvSpPr>
            <p:cNvPr id="273" name="Freeform 73">
              <a:extLst>
                <a:ext uri="{FF2B5EF4-FFF2-40B4-BE49-F238E27FC236}">
                  <a16:creationId xmlns:a16="http://schemas.microsoft.com/office/drawing/2014/main" id="{E6577463-63D4-499E-B243-A5319CA76D80}"/>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4" name="Freeform 74">
              <a:extLst>
                <a:ext uri="{FF2B5EF4-FFF2-40B4-BE49-F238E27FC236}">
                  <a16:creationId xmlns:a16="http://schemas.microsoft.com/office/drawing/2014/main" id="{3558AA2D-74AF-4D5C-BCCF-52317191801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5" name="Freeform 75">
              <a:extLst>
                <a:ext uri="{FF2B5EF4-FFF2-40B4-BE49-F238E27FC236}">
                  <a16:creationId xmlns:a16="http://schemas.microsoft.com/office/drawing/2014/main" id="{4C1E44C1-D3BB-475E-894D-4442DC405F1D}"/>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76" name="Group 275">
            <a:extLst>
              <a:ext uri="{FF2B5EF4-FFF2-40B4-BE49-F238E27FC236}">
                <a16:creationId xmlns:a16="http://schemas.microsoft.com/office/drawing/2014/main" id="{69F8D3F5-5F1B-4816-B7A6-812194CA8492}"/>
              </a:ext>
            </a:extLst>
          </p:cNvPr>
          <p:cNvGrpSpPr/>
          <p:nvPr/>
        </p:nvGrpSpPr>
        <p:grpSpPr>
          <a:xfrm rot="16200000">
            <a:off x="8207672" y="3984094"/>
            <a:ext cx="225738" cy="213318"/>
            <a:chOff x="496618" y="4271624"/>
            <a:chExt cx="490538" cy="463550"/>
          </a:xfrm>
        </p:grpSpPr>
        <p:sp>
          <p:nvSpPr>
            <p:cNvPr id="277" name="Freeform 73">
              <a:extLst>
                <a:ext uri="{FF2B5EF4-FFF2-40B4-BE49-F238E27FC236}">
                  <a16:creationId xmlns:a16="http://schemas.microsoft.com/office/drawing/2014/main" id="{1135BE0F-7E39-48F8-9DD9-CC51C4C4A92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8" name="Freeform 74">
              <a:extLst>
                <a:ext uri="{FF2B5EF4-FFF2-40B4-BE49-F238E27FC236}">
                  <a16:creationId xmlns:a16="http://schemas.microsoft.com/office/drawing/2014/main" id="{C0EB1807-E59B-4719-884E-969EF8E26D11}"/>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9" name="Freeform 75">
              <a:extLst>
                <a:ext uri="{FF2B5EF4-FFF2-40B4-BE49-F238E27FC236}">
                  <a16:creationId xmlns:a16="http://schemas.microsoft.com/office/drawing/2014/main" id="{17BC1CBE-0C13-413C-A26A-13E36F555310}"/>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80" name="Group 279">
            <a:extLst>
              <a:ext uri="{FF2B5EF4-FFF2-40B4-BE49-F238E27FC236}">
                <a16:creationId xmlns:a16="http://schemas.microsoft.com/office/drawing/2014/main" id="{C4AB9758-1282-4BC3-88C9-B661799AE662}"/>
              </a:ext>
            </a:extLst>
          </p:cNvPr>
          <p:cNvGrpSpPr/>
          <p:nvPr/>
        </p:nvGrpSpPr>
        <p:grpSpPr>
          <a:xfrm>
            <a:off x="4786938" y="4334428"/>
            <a:ext cx="215006" cy="212352"/>
            <a:chOff x="-280989" y="3035886"/>
            <a:chExt cx="462913" cy="457200"/>
          </a:xfrm>
        </p:grpSpPr>
        <p:sp>
          <p:nvSpPr>
            <p:cNvPr id="281" name="Oval 280">
              <a:extLst>
                <a:ext uri="{FF2B5EF4-FFF2-40B4-BE49-F238E27FC236}">
                  <a16:creationId xmlns:a16="http://schemas.microsoft.com/office/drawing/2014/main" id="{A06ED608-6103-4BA7-89DC-BA115ECF9C00}"/>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3</a:t>
              </a:r>
            </a:p>
          </p:txBody>
        </p:sp>
        <p:sp>
          <p:nvSpPr>
            <p:cNvPr id="282" name="Freeform 26">
              <a:extLst>
                <a:ext uri="{FF2B5EF4-FFF2-40B4-BE49-F238E27FC236}">
                  <a16:creationId xmlns:a16="http://schemas.microsoft.com/office/drawing/2014/main" id="{DDA785A3-140A-40E7-B2D0-C5BCD3D7A48C}"/>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grpSp>
        <p:nvGrpSpPr>
          <p:cNvPr id="283" name="Group 282">
            <a:extLst>
              <a:ext uri="{FF2B5EF4-FFF2-40B4-BE49-F238E27FC236}">
                <a16:creationId xmlns:a16="http://schemas.microsoft.com/office/drawing/2014/main" id="{28F157E5-2E35-444E-AEBE-63E775172035}"/>
              </a:ext>
            </a:extLst>
          </p:cNvPr>
          <p:cNvGrpSpPr/>
          <p:nvPr/>
        </p:nvGrpSpPr>
        <p:grpSpPr>
          <a:xfrm>
            <a:off x="622521" y="4334428"/>
            <a:ext cx="215006" cy="212352"/>
            <a:chOff x="-280989" y="3035886"/>
            <a:chExt cx="462913" cy="457200"/>
          </a:xfrm>
        </p:grpSpPr>
        <p:sp>
          <p:nvSpPr>
            <p:cNvPr id="284" name="Oval 283">
              <a:extLst>
                <a:ext uri="{FF2B5EF4-FFF2-40B4-BE49-F238E27FC236}">
                  <a16:creationId xmlns:a16="http://schemas.microsoft.com/office/drawing/2014/main" id="{CBC00A76-E194-4FCE-90B2-97284D719C01}"/>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2</a:t>
              </a:r>
            </a:p>
          </p:txBody>
        </p:sp>
        <p:sp>
          <p:nvSpPr>
            <p:cNvPr id="285" name="Freeform 26">
              <a:extLst>
                <a:ext uri="{FF2B5EF4-FFF2-40B4-BE49-F238E27FC236}">
                  <a16:creationId xmlns:a16="http://schemas.microsoft.com/office/drawing/2014/main" id="{F7992165-9BC8-4BEF-9E14-BD545799E31C}"/>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sp>
        <p:nvSpPr>
          <p:cNvPr id="287" name="Rectangle 286">
            <a:extLst>
              <a:ext uri="{FF2B5EF4-FFF2-40B4-BE49-F238E27FC236}">
                <a16:creationId xmlns:a16="http://schemas.microsoft.com/office/drawing/2014/main" id="{148B3DDD-3DFD-4791-BFBD-3874CC3D264E}"/>
              </a:ext>
            </a:extLst>
          </p:cNvPr>
          <p:cNvSpPr/>
          <p:nvPr/>
        </p:nvSpPr>
        <p:spPr>
          <a:xfrm>
            <a:off x="1619249" y="1194945"/>
            <a:ext cx="7129464" cy="5634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Der skal kunne foretages en dokumentation af, at princippet om funktionsadskillelse samt 4-øjne-princippet er opfyldt.  Det må desuden ikke være muligt at konfigurere sig ud af kravet om tvungen funktionsadskillelse både ved ordreoprettelse og ved varemodtagelse.</a:t>
            </a:r>
          </a:p>
        </p:txBody>
      </p:sp>
      <p:sp>
        <p:nvSpPr>
          <p:cNvPr id="149" name="Rectangle 148">
            <a:extLst>
              <a:ext uri="{FF2B5EF4-FFF2-40B4-BE49-F238E27FC236}">
                <a16:creationId xmlns:a16="http://schemas.microsoft.com/office/drawing/2014/main" id="{35D2CF02-4213-4946-8F5B-1C30925443B4}"/>
              </a:ext>
            </a:extLst>
          </p:cNvPr>
          <p:cNvSpPr/>
          <p:nvPr/>
        </p:nvSpPr>
        <p:spPr>
          <a:xfrm>
            <a:off x="7044856" y="6066845"/>
            <a:ext cx="2099143" cy="791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0" name="Rectangle 149">
            <a:extLst>
              <a:ext uri="{FF2B5EF4-FFF2-40B4-BE49-F238E27FC236}">
                <a16:creationId xmlns:a16="http://schemas.microsoft.com/office/drawing/2014/main" id="{ABF40D23-6491-4158-B904-B1DED99272C8}"/>
              </a:ext>
            </a:extLst>
          </p:cNvPr>
          <p:cNvSpPr/>
          <p:nvPr/>
        </p:nvSpPr>
        <p:spPr>
          <a:xfrm>
            <a:off x="358325" y="1194945"/>
            <a:ext cx="1260925" cy="563419"/>
          </a:xfrm>
          <a:prstGeom prst="rect">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b="1" err="1">
                <a:solidFill>
                  <a:schemeClr val="tx1"/>
                </a:solidFill>
              </a:rPr>
              <a:t>Use</a:t>
            </a:r>
            <a:r>
              <a:rPr lang="da-DK" sz="1200" b="1">
                <a:solidFill>
                  <a:schemeClr val="tx1"/>
                </a:solidFill>
              </a:rPr>
              <a:t> case 5</a:t>
            </a:r>
          </a:p>
        </p:txBody>
      </p:sp>
      <p:sp>
        <p:nvSpPr>
          <p:cNvPr id="141" name="Rectangle 140">
            <a:extLst>
              <a:ext uri="{FF2B5EF4-FFF2-40B4-BE49-F238E27FC236}">
                <a16:creationId xmlns:a16="http://schemas.microsoft.com/office/drawing/2014/main" id="{749BA3C8-648D-42A0-BB08-41E3D5C37490}"/>
              </a:ext>
            </a:extLst>
          </p:cNvPr>
          <p:cNvSpPr/>
          <p:nvPr/>
        </p:nvSpPr>
        <p:spPr>
          <a:xfrm>
            <a:off x="620716" y="5095192"/>
            <a:ext cx="3708000" cy="118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Der skal kunne foretages en rapportering på:</a:t>
            </a:r>
            <a:br>
              <a:rPr lang="da-DK" sz="900" dirty="0">
                <a:solidFill>
                  <a:schemeClr val="tx1"/>
                </a:solidFill>
              </a:rPr>
            </a:br>
            <a:r>
              <a:rPr lang="da-DK" sz="900" dirty="0">
                <a:solidFill>
                  <a:schemeClr val="tx1"/>
                </a:solidFill>
              </a:rPr>
              <a:t>1) At alle fakturaer er behandlet under 4 øjne princippet, dvs. at mindst to personer har forholdt sig til og godkendt, at fakturaen kan betales.</a:t>
            </a:r>
          </a:p>
          <a:p>
            <a:r>
              <a:rPr lang="da-DK" sz="900" dirty="0">
                <a:solidFill>
                  <a:schemeClr val="tx1"/>
                </a:solidFill>
              </a:rPr>
              <a:t>2) At alle rettigheder er opsat med funktionsadskillelse, så der sker en personmæssig adskillelse mellem den regnskabsmæssige registrering og </a:t>
            </a:r>
            <a:r>
              <a:rPr lang="da-DK" sz="900" dirty="0" smtClean="0">
                <a:solidFill>
                  <a:schemeClr val="tx1"/>
                </a:solidFill>
              </a:rPr>
              <a:t>betalingen.</a:t>
            </a:r>
            <a:endParaRPr lang="da-DK" sz="900" dirty="0">
              <a:solidFill>
                <a:schemeClr val="tx1"/>
              </a:solidFill>
            </a:endParaRPr>
          </a:p>
        </p:txBody>
      </p:sp>
      <p:sp>
        <p:nvSpPr>
          <p:cNvPr id="142" name="Rectangle 141">
            <a:extLst>
              <a:ext uri="{FF2B5EF4-FFF2-40B4-BE49-F238E27FC236}">
                <a16:creationId xmlns:a16="http://schemas.microsoft.com/office/drawing/2014/main" id="{1F831652-138C-47D0-9B56-1149F3937DAC}"/>
              </a:ext>
            </a:extLst>
          </p:cNvPr>
          <p:cNvSpPr/>
          <p:nvPr/>
        </p:nvSpPr>
        <p:spPr>
          <a:xfrm>
            <a:off x="4786938" y="5095191"/>
            <a:ext cx="3708000" cy="118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Rapporteringen skal ske inden for de organisatoriske rammer</a:t>
            </a:r>
            <a:r>
              <a:rPr lang="da-DK" sz="900">
                <a:solidFill>
                  <a:schemeClr val="tx1"/>
                </a:solidFill>
              </a:rPr>
              <a:t>,</a:t>
            </a:r>
            <a:r>
              <a:rPr lang="da-DK" sz="900" dirty="0">
                <a:solidFill>
                  <a:schemeClr val="tx1"/>
                </a:solidFill>
              </a:rPr>
              <a:t> som løsningen er opsat under</a:t>
            </a:r>
            <a:r>
              <a:rPr lang="da-DK" sz="900">
                <a:solidFill>
                  <a:schemeClr val="tx1"/>
                </a:solidFill>
              </a:rPr>
              <a:t>,</a:t>
            </a:r>
            <a:r>
              <a:rPr lang="da-DK" sz="900" dirty="0">
                <a:solidFill>
                  <a:schemeClr val="tx1"/>
                </a:solidFill>
              </a:rPr>
              <a:t> samt kunne anvendes som dokumentation til brug for institutionens egen interne kontrol, men også til brug for eksempelvis ekstern revision.</a:t>
            </a:r>
          </a:p>
        </p:txBody>
      </p:sp>
      <p:pic>
        <p:nvPicPr>
          <p:cNvPr id="4" name="Picture 4" descr="A close up of a logo&#10;&#10;Description automatically generated">
            <a:extLst>
              <a:ext uri="{FF2B5EF4-FFF2-40B4-BE49-F238E27FC236}">
                <a16:creationId xmlns:a16="http://schemas.microsoft.com/office/drawing/2014/main" id="{5DE5790F-FC6C-4AF9-A32B-73A91FEBBE34}"/>
              </a:ext>
            </a:extLst>
          </p:cNvPr>
          <p:cNvPicPr>
            <a:picLocks noChangeAspect="1"/>
          </p:cNvPicPr>
          <p:nvPr/>
        </p:nvPicPr>
        <p:blipFill>
          <a:blip r:embed="rId8"/>
          <a:stretch>
            <a:fillRect/>
          </a:stretch>
        </p:blipFill>
        <p:spPr>
          <a:xfrm>
            <a:off x="1459156" y="2044944"/>
            <a:ext cx="2333625" cy="704850"/>
          </a:xfrm>
          <a:prstGeom prst="rect">
            <a:avLst/>
          </a:prstGeom>
        </p:spPr>
      </p:pic>
      <p:pic>
        <p:nvPicPr>
          <p:cNvPr id="5" name="Picture 8" descr="A picture containing game, table, drawing&#10;&#10;Description automatically generated">
            <a:extLst>
              <a:ext uri="{FF2B5EF4-FFF2-40B4-BE49-F238E27FC236}">
                <a16:creationId xmlns:a16="http://schemas.microsoft.com/office/drawing/2014/main" id="{CB36F7FB-0242-4459-B4DD-135132049D5E}"/>
              </a:ext>
            </a:extLst>
          </p:cNvPr>
          <p:cNvPicPr>
            <a:picLocks noChangeAspect="1"/>
          </p:cNvPicPr>
          <p:nvPr/>
        </p:nvPicPr>
        <p:blipFill>
          <a:blip r:embed="rId9"/>
          <a:stretch>
            <a:fillRect/>
          </a:stretch>
        </p:blipFill>
        <p:spPr>
          <a:xfrm>
            <a:off x="2173531" y="4223238"/>
            <a:ext cx="904875" cy="685800"/>
          </a:xfrm>
          <a:prstGeom prst="rect">
            <a:avLst/>
          </a:prstGeom>
        </p:spPr>
      </p:pic>
      <p:pic>
        <p:nvPicPr>
          <p:cNvPr id="9" name="Picture 9" descr="A picture containing drawing&#10;&#10;Description automatically generated">
            <a:extLst>
              <a:ext uri="{FF2B5EF4-FFF2-40B4-BE49-F238E27FC236}">
                <a16:creationId xmlns:a16="http://schemas.microsoft.com/office/drawing/2014/main" id="{9C9D98C8-10DB-4620-BE8D-80BA0DEE29C2}"/>
              </a:ext>
            </a:extLst>
          </p:cNvPr>
          <p:cNvPicPr>
            <a:picLocks noChangeAspect="1"/>
          </p:cNvPicPr>
          <p:nvPr/>
        </p:nvPicPr>
        <p:blipFill>
          <a:blip r:embed="rId10"/>
          <a:stretch>
            <a:fillRect/>
          </a:stretch>
        </p:blipFill>
        <p:spPr>
          <a:xfrm>
            <a:off x="6058266" y="4267566"/>
            <a:ext cx="942975" cy="714375"/>
          </a:xfrm>
          <a:prstGeom prst="rect">
            <a:avLst/>
          </a:prstGeom>
        </p:spPr>
      </p:pic>
      <p:pic>
        <p:nvPicPr>
          <p:cNvPr id="10" name="Picture 34" descr="A close up of a logo&#10;&#10;Description automatically generated">
            <a:extLst>
              <a:ext uri="{FF2B5EF4-FFF2-40B4-BE49-F238E27FC236}">
                <a16:creationId xmlns:a16="http://schemas.microsoft.com/office/drawing/2014/main" id="{699DD90A-2D76-4419-B0BF-734A6F1F5EA6}"/>
              </a:ext>
            </a:extLst>
          </p:cNvPr>
          <p:cNvPicPr>
            <a:picLocks noChangeAspect="1"/>
          </p:cNvPicPr>
          <p:nvPr/>
        </p:nvPicPr>
        <p:blipFill>
          <a:blip r:embed="rId11"/>
          <a:stretch>
            <a:fillRect/>
          </a:stretch>
        </p:blipFill>
        <p:spPr>
          <a:xfrm>
            <a:off x="6228984" y="1900971"/>
            <a:ext cx="695325" cy="828675"/>
          </a:xfrm>
          <a:prstGeom prst="rect">
            <a:avLst/>
          </a:prstGeom>
        </p:spPr>
      </p:pic>
      <p:sp>
        <p:nvSpPr>
          <p:cNvPr id="42" name="Rectangle 41">
            <a:extLst>
              <a:ext uri="{FF2B5EF4-FFF2-40B4-BE49-F238E27FC236}">
                <a16:creationId xmlns:a16="http://schemas.microsoft.com/office/drawing/2014/main" id="{CDE2E5C0-ACC0-4BEF-B8AF-1E21476AE32A}"/>
              </a:ext>
            </a:extLst>
          </p:cNvPr>
          <p:cNvSpPr/>
          <p:nvPr/>
        </p:nvSpPr>
        <p:spPr>
          <a:xfrm>
            <a:off x="601985" y="3026539"/>
            <a:ext cx="3708000" cy="97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Alle fakturaer skal behandles efter princippet for funktionsadskillelse samt ”4-øjne”.  Sammen med en hensigtsmæssig rapportering, der sikrer, at dette understøttes, ønskes der udarbejdet en algoritme der kan understøtte overvågning af svig i indkøbsprocessen.</a:t>
            </a:r>
          </a:p>
        </p:txBody>
      </p:sp>
      <p:sp>
        <p:nvSpPr>
          <p:cNvPr id="44" name="Rectangle 43">
            <a:extLst>
              <a:ext uri="{FF2B5EF4-FFF2-40B4-BE49-F238E27FC236}">
                <a16:creationId xmlns:a16="http://schemas.microsoft.com/office/drawing/2014/main" id="{692EE480-F4EF-4B30-9752-C328C47FD70E}"/>
              </a:ext>
            </a:extLst>
          </p:cNvPr>
          <p:cNvSpPr/>
          <p:nvPr/>
        </p:nvSpPr>
        <p:spPr>
          <a:xfrm>
            <a:off x="4786938" y="3026539"/>
            <a:ext cx="3708000" cy="97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Rapportering skal kunne opsættes, så en medarbejder kan abonnere på hændelser, som forekommer usædvanlige eller uhensigtsmæssige, fx i forhold til, om rettigheder er opsat uhensigtsmæssigt</a:t>
            </a:r>
            <a:r>
              <a:rPr lang="da-DK" sz="900" dirty="0" smtClean="0">
                <a:solidFill>
                  <a:schemeClr val="tx1"/>
                </a:solidFill>
              </a:rPr>
              <a:t>. </a:t>
            </a:r>
            <a:r>
              <a:rPr lang="da-DK" sz="900" dirty="0">
                <a:solidFill>
                  <a:schemeClr val="tx1"/>
                </a:solidFill>
              </a:rPr>
              <a:t>På denne måde skal brugeren ikke aktivt undersøge, om der er uhensigtsmæssigheder, men notificeres om dette umiddelbart.</a:t>
            </a:r>
          </a:p>
        </p:txBody>
      </p:sp>
    </p:spTree>
    <p:extLst>
      <p:ext uri="{BB962C8B-B14F-4D97-AF65-F5344CB8AC3E}">
        <p14:creationId xmlns:p14="http://schemas.microsoft.com/office/powerpoint/2010/main" val="14699881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ED4AE-4117-4A2A-999B-0EC50D6B2A8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7"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3D7ED4AE-4117-4A2A-999B-0EC50D6B2A8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AE20B3F-0E2F-41DD-9161-AFD4CFFD351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a-DK">
              <a:latin typeface="Verdana" panose="020B0604030504040204" pitchFamily="34" charset="0"/>
              <a:ea typeface="Verdana" panose="020B0604030504040204" pitchFamily="34" charset="0"/>
              <a:sym typeface="Verdana" panose="020B0604030504040204" pitchFamily="34" charset="0"/>
            </a:endParaRPr>
          </a:p>
        </p:txBody>
      </p:sp>
      <p:sp>
        <p:nvSpPr>
          <p:cNvPr id="7" name="Title 1">
            <a:extLst>
              <a:ext uri="{FF2B5EF4-FFF2-40B4-BE49-F238E27FC236}">
                <a16:creationId xmlns:a16="http://schemas.microsoft.com/office/drawing/2014/main" id="{AB2F3BDA-6BDD-46D1-868C-9356701B023E}"/>
              </a:ext>
            </a:extLst>
          </p:cNvPr>
          <p:cNvSpPr>
            <a:spLocks noGrp="1"/>
          </p:cNvSpPr>
          <p:nvPr>
            <p:ph type="title"/>
          </p:nvPr>
        </p:nvSpPr>
        <p:spPr>
          <a:xfrm>
            <a:off x="255706" y="269682"/>
            <a:ext cx="8559819" cy="689476"/>
          </a:xfrm>
        </p:spPr>
        <p:txBody>
          <a:bodyPr lIns="91440" tIns="45720" rIns="91440" bIns="45720" anchor="b">
            <a:normAutofit fontScale="90000"/>
          </a:bodyPr>
          <a:lstStyle/>
          <a:p>
            <a:r>
              <a:rPr lang="da-DK" sz="2800" b="0" dirty="0">
                <a:solidFill>
                  <a:schemeClr val="tx1"/>
                </a:solidFill>
                <a:latin typeface="Impact"/>
                <a:ea typeface="Verdana"/>
                <a:cs typeface="Verdana"/>
              </a:rPr>
              <a:t>3. Løsningen</a:t>
            </a:r>
            <a:r>
              <a:rPr lang="da-DK" dirty="0"/>
              <a:t/>
            </a:r>
            <a:br>
              <a:rPr lang="da-DK" dirty="0"/>
            </a:br>
            <a:r>
              <a:rPr lang="da-DK" sz="2000" b="0" dirty="0">
                <a:solidFill>
                  <a:schemeClr val="tx1"/>
                </a:solidFill>
                <a:latin typeface="Verdana"/>
                <a:ea typeface="Verdana"/>
                <a:cs typeface="Verdana"/>
              </a:rPr>
              <a:t>3.1.2.6 </a:t>
            </a:r>
            <a:r>
              <a:rPr lang="da-DK" sz="2000" b="0" dirty="0" err="1">
                <a:solidFill>
                  <a:schemeClr val="tx1"/>
                </a:solidFill>
                <a:latin typeface="Verdana"/>
                <a:ea typeface="Verdana"/>
                <a:cs typeface="Verdana"/>
              </a:rPr>
              <a:t>use</a:t>
            </a:r>
            <a:r>
              <a:rPr lang="da-DK" sz="2000" b="0" dirty="0">
                <a:solidFill>
                  <a:schemeClr val="tx1"/>
                </a:solidFill>
                <a:latin typeface="Verdana"/>
                <a:ea typeface="Verdana"/>
                <a:cs typeface="Verdana"/>
              </a:rPr>
              <a:t> case: RAPPORTERING</a:t>
            </a:r>
            <a:endParaRPr lang="da-DK" b="0" dirty="0">
              <a:solidFill>
                <a:schemeClr val="tx1"/>
              </a:solidFill>
              <a:latin typeface="Verdana"/>
              <a:ea typeface="Verdana"/>
              <a:cs typeface="Verdana"/>
            </a:endParaRPr>
          </a:p>
        </p:txBody>
      </p:sp>
      <p:cxnSp>
        <p:nvCxnSpPr>
          <p:cNvPr id="164" name="Straight Connector 163">
            <a:extLst>
              <a:ext uri="{FF2B5EF4-FFF2-40B4-BE49-F238E27FC236}">
                <a16:creationId xmlns:a16="http://schemas.microsoft.com/office/drawing/2014/main" id="{57AEC517-DF95-4371-BCD4-70220FFBCA04}"/>
              </a:ext>
            </a:extLst>
          </p:cNvPr>
          <p:cNvCxnSpPr>
            <a:cxnSpLocks/>
          </p:cNvCxnSpPr>
          <p:nvPr/>
        </p:nvCxnSpPr>
        <p:spPr>
          <a:xfrm flipH="1">
            <a:off x="716801" y="4102467"/>
            <a:ext cx="7710399" cy="0"/>
          </a:xfrm>
          <a:prstGeom prst="line">
            <a:avLst/>
          </a:prstGeom>
          <a:ln w="6350">
            <a:solidFill>
              <a:srgbClr val="8AA299"/>
            </a:solidFill>
          </a:ln>
        </p:spPr>
        <p:style>
          <a:lnRef idx="1">
            <a:schemeClr val="accent1"/>
          </a:lnRef>
          <a:fillRef idx="0">
            <a:schemeClr val="accent1"/>
          </a:fillRef>
          <a:effectRef idx="0">
            <a:schemeClr val="accent1"/>
          </a:effectRef>
          <a:fontRef idx="minor">
            <a:schemeClr val="tx1"/>
          </a:fontRef>
        </p:style>
      </p:cxnSp>
      <p:grpSp>
        <p:nvGrpSpPr>
          <p:cNvPr id="165" name="Group 164">
            <a:extLst>
              <a:ext uri="{FF2B5EF4-FFF2-40B4-BE49-F238E27FC236}">
                <a16:creationId xmlns:a16="http://schemas.microsoft.com/office/drawing/2014/main" id="{ED217F91-3173-4F47-BF36-4393E775A8B0}"/>
              </a:ext>
            </a:extLst>
          </p:cNvPr>
          <p:cNvGrpSpPr/>
          <p:nvPr/>
        </p:nvGrpSpPr>
        <p:grpSpPr>
          <a:xfrm>
            <a:off x="622521" y="2108181"/>
            <a:ext cx="215006" cy="212352"/>
            <a:chOff x="-280989" y="3035886"/>
            <a:chExt cx="462913" cy="457200"/>
          </a:xfrm>
        </p:grpSpPr>
        <p:sp>
          <p:nvSpPr>
            <p:cNvPr id="166" name="Oval 165">
              <a:extLst>
                <a:ext uri="{FF2B5EF4-FFF2-40B4-BE49-F238E27FC236}">
                  <a16:creationId xmlns:a16="http://schemas.microsoft.com/office/drawing/2014/main" id="{4332F8AF-C932-4411-BDFA-CC749C0247EC}"/>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1</a:t>
              </a:r>
            </a:p>
          </p:txBody>
        </p:sp>
        <p:sp>
          <p:nvSpPr>
            <p:cNvPr id="167" name="Freeform 26">
              <a:extLst>
                <a:ext uri="{FF2B5EF4-FFF2-40B4-BE49-F238E27FC236}">
                  <a16:creationId xmlns:a16="http://schemas.microsoft.com/office/drawing/2014/main" id="{4BD7B24E-3CD2-4950-8500-2F1915FD3B19}"/>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grpSp>
        <p:nvGrpSpPr>
          <p:cNvPr id="221" name="Group 220">
            <a:extLst>
              <a:ext uri="{FF2B5EF4-FFF2-40B4-BE49-F238E27FC236}">
                <a16:creationId xmlns:a16="http://schemas.microsoft.com/office/drawing/2014/main" id="{B9511CAA-F9E3-4FEE-AD28-4FC386C16B2E}"/>
              </a:ext>
            </a:extLst>
          </p:cNvPr>
          <p:cNvGrpSpPr/>
          <p:nvPr/>
        </p:nvGrpSpPr>
        <p:grpSpPr>
          <a:xfrm>
            <a:off x="4786938" y="2108181"/>
            <a:ext cx="215006" cy="212352"/>
            <a:chOff x="-280989" y="3035886"/>
            <a:chExt cx="462913" cy="457200"/>
          </a:xfrm>
        </p:grpSpPr>
        <p:sp>
          <p:nvSpPr>
            <p:cNvPr id="222" name="Oval 221">
              <a:extLst>
                <a:ext uri="{FF2B5EF4-FFF2-40B4-BE49-F238E27FC236}">
                  <a16:creationId xmlns:a16="http://schemas.microsoft.com/office/drawing/2014/main" id="{FA9E3B47-8A3A-44AE-844D-986EC573B6A8}"/>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4</a:t>
              </a:r>
            </a:p>
          </p:txBody>
        </p:sp>
        <p:sp>
          <p:nvSpPr>
            <p:cNvPr id="223" name="Freeform 26">
              <a:extLst>
                <a:ext uri="{FF2B5EF4-FFF2-40B4-BE49-F238E27FC236}">
                  <a16:creationId xmlns:a16="http://schemas.microsoft.com/office/drawing/2014/main" id="{085D17CF-7626-44CE-8EDF-8BAAEE90D111}"/>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cxnSp>
        <p:nvCxnSpPr>
          <p:cNvPr id="260" name="Straight Connector 259">
            <a:extLst>
              <a:ext uri="{FF2B5EF4-FFF2-40B4-BE49-F238E27FC236}">
                <a16:creationId xmlns:a16="http://schemas.microsoft.com/office/drawing/2014/main" id="{6B563561-0F4B-4160-972D-1397B5FC1482}"/>
              </a:ext>
            </a:extLst>
          </p:cNvPr>
          <p:cNvCxnSpPr>
            <a:cxnSpLocks/>
          </p:cNvCxnSpPr>
          <p:nvPr/>
        </p:nvCxnSpPr>
        <p:spPr>
          <a:xfrm flipV="1">
            <a:off x="4572000" y="2108182"/>
            <a:ext cx="0" cy="3750012"/>
          </a:xfrm>
          <a:prstGeom prst="line">
            <a:avLst/>
          </a:prstGeom>
          <a:ln w="6350">
            <a:solidFill>
              <a:srgbClr val="8AA299"/>
            </a:solidFill>
          </a:ln>
        </p:spPr>
        <p:style>
          <a:lnRef idx="1">
            <a:schemeClr val="accent1"/>
          </a:lnRef>
          <a:fillRef idx="0">
            <a:schemeClr val="accent1"/>
          </a:fillRef>
          <a:effectRef idx="0">
            <a:schemeClr val="accent1"/>
          </a:effectRef>
          <a:fontRef idx="minor">
            <a:schemeClr val="tx1"/>
          </a:fontRef>
        </p:style>
      </p:cxnSp>
      <p:grpSp>
        <p:nvGrpSpPr>
          <p:cNvPr id="268" name="Group 267">
            <a:extLst>
              <a:ext uri="{FF2B5EF4-FFF2-40B4-BE49-F238E27FC236}">
                <a16:creationId xmlns:a16="http://schemas.microsoft.com/office/drawing/2014/main" id="{7E6D29CB-EFB7-46EF-A544-57493263C20C}"/>
              </a:ext>
            </a:extLst>
          </p:cNvPr>
          <p:cNvGrpSpPr/>
          <p:nvPr/>
        </p:nvGrpSpPr>
        <p:grpSpPr>
          <a:xfrm rot="5400000">
            <a:off x="723938" y="4015844"/>
            <a:ext cx="225738" cy="213318"/>
            <a:chOff x="496618" y="4271624"/>
            <a:chExt cx="490538" cy="463550"/>
          </a:xfrm>
        </p:grpSpPr>
        <p:sp>
          <p:nvSpPr>
            <p:cNvPr id="269" name="Freeform 73">
              <a:extLst>
                <a:ext uri="{FF2B5EF4-FFF2-40B4-BE49-F238E27FC236}">
                  <a16:creationId xmlns:a16="http://schemas.microsoft.com/office/drawing/2014/main" id="{011F1F41-A323-4EA3-95BF-3BB89C23127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0" name="Freeform 74">
              <a:extLst>
                <a:ext uri="{FF2B5EF4-FFF2-40B4-BE49-F238E27FC236}">
                  <a16:creationId xmlns:a16="http://schemas.microsoft.com/office/drawing/2014/main" id="{63A13520-D5FE-4A12-A2B0-0F7FCE2FAD6D}"/>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1" name="Freeform 75">
              <a:extLst>
                <a:ext uri="{FF2B5EF4-FFF2-40B4-BE49-F238E27FC236}">
                  <a16:creationId xmlns:a16="http://schemas.microsoft.com/office/drawing/2014/main" id="{B6BA7D65-5CC1-4940-A762-717FCBA5566D}"/>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72" name="Group 271">
            <a:extLst>
              <a:ext uri="{FF2B5EF4-FFF2-40B4-BE49-F238E27FC236}">
                <a16:creationId xmlns:a16="http://schemas.microsoft.com/office/drawing/2014/main" id="{3DEDF1D9-1707-4706-B110-040B11795645}"/>
              </a:ext>
            </a:extLst>
          </p:cNvPr>
          <p:cNvGrpSpPr/>
          <p:nvPr/>
        </p:nvGrpSpPr>
        <p:grpSpPr>
          <a:xfrm>
            <a:off x="4393887" y="5096447"/>
            <a:ext cx="225738" cy="213318"/>
            <a:chOff x="496618" y="4271624"/>
            <a:chExt cx="490538" cy="463550"/>
          </a:xfrm>
        </p:grpSpPr>
        <p:sp>
          <p:nvSpPr>
            <p:cNvPr id="273" name="Freeform 73">
              <a:extLst>
                <a:ext uri="{FF2B5EF4-FFF2-40B4-BE49-F238E27FC236}">
                  <a16:creationId xmlns:a16="http://schemas.microsoft.com/office/drawing/2014/main" id="{E6577463-63D4-499E-B243-A5319CA76D80}"/>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4" name="Freeform 74">
              <a:extLst>
                <a:ext uri="{FF2B5EF4-FFF2-40B4-BE49-F238E27FC236}">
                  <a16:creationId xmlns:a16="http://schemas.microsoft.com/office/drawing/2014/main" id="{3558AA2D-74AF-4D5C-BCCF-52317191801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5" name="Freeform 75">
              <a:extLst>
                <a:ext uri="{FF2B5EF4-FFF2-40B4-BE49-F238E27FC236}">
                  <a16:creationId xmlns:a16="http://schemas.microsoft.com/office/drawing/2014/main" id="{4C1E44C1-D3BB-475E-894D-4442DC405F1D}"/>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76" name="Group 275">
            <a:extLst>
              <a:ext uri="{FF2B5EF4-FFF2-40B4-BE49-F238E27FC236}">
                <a16:creationId xmlns:a16="http://schemas.microsoft.com/office/drawing/2014/main" id="{69F8D3F5-5F1B-4816-B7A6-812194CA8492}"/>
              </a:ext>
            </a:extLst>
          </p:cNvPr>
          <p:cNvGrpSpPr/>
          <p:nvPr/>
        </p:nvGrpSpPr>
        <p:grpSpPr>
          <a:xfrm rot="16200000">
            <a:off x="8207672" y="3984094"/>
            <a:ext cx="225738" cy="213318"/>
            <a:chOff x="496618" y="4271624"/>
            <a:chExt cx="490538" cy="463550"/>
          </a:xfrm>
        </p:grpSpPr>
        <p:sp>
          <p:nvSpPr>
            <p:cNvPr id="277" name="Freeform 73">
              <a:extLst>
                <a:ext uri="{FF2B5EF4-FFF2-40B4-BE49-F238E27FC236}">
                  <a16:creationId xmlns:a16="http://schemas.microsoft.com/office/drawing/2014/main" id="{1135BE0F-7E39-48F8-9DD9-CC51C4C4A92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8" name="Freeform 74">
              <a:extLst>
                <a:ext uri="{FF2B5EF4-FFF2-40B4-BE49-F238E27FC236}">
                  <a16:creationId xmlns:a16="http://schemas.microsoft.com/office/drawing/2014/main" id="{C0EB1807-E59B-4719-884E-969EF8E26D11}"/>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9" name="Freeform 75">
              <a:extLst>
                <a:ext uri="{FF2B5EF4-FFF2-40B4-BE49-F238E27FC236}">
                  <a16:creationId xmlns:a16="http://schemas.microsoft.com/office/drawing/2014/main" id="{17BC1CBE-0C13-413C-A26A-13E36F555310}"/>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80" name="Group 279">
            <a:extLst>
              <a:ext uri="{FF2B5EF4-FFF2-40B4-BE49-F238E27FC236}">
                <a16:creationId xmlns:a16="http://schemas.microsoft.com/office/drawing/2014/main" id="{C4AB9758-1282-4BC3-88C9-B661799AE662}"/>
              </a:ext>
            </a:extLst>
          </p:cNvPr>
          <p:cNvGrpSpPr/>
          <p:nvPr/>
        </p:nvGrpSpPr>
        <p:grpSpPr>
          <a:xfrm>
            <a:off x="4786938" y="4334428"/>
            <a:ext cx="215006" cy="212352"/>
            <a:chOff x="-280989" y="3035886"/>
            <a:chExt cx="462913" cy="457200"/>
          </a:xfrm>
        </p:grpSpPr>
        <p:sp>
          <p:nvSpPr>
            <p:cNvPr id="281" name="Oval 280">
              <a:extLst>
                <a:ext uri="{FF2B5EF4-FFF2-40B4-BE49-F238E27FC236}">
                  <a16:creationId xmlns:a16="http://schemas.microsoft.com/office/drawing/2014/main" id="{A06ED608-6103-4BA7-89DC-BA115ECF9C00}"/>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3</a:t>
              </a:r>
            </a:p>
          </p:txBody>
        </p:sp>
        <p:sp>
          <p:nvSpPr>
            <p:cNvPr id="282" name="Freeform 26">
              <a:extLst>
                <a:ext uri="{FF2B5EF4-FFF2-40B4-BE49-F238E27FC236}">
                  <a16:creationId xmlns:a16="http://schemas.microsoft.com/office/drawing/2014/main" id="{DDA785A3-140A-40E7-B2D0-C5BCD3D7A48C}"/>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grpSp>
        <p:nvGrpSpPr>
          <p:cNvPr id="283" name="Group 282">
            <a:extLst>
              <a:ext uri="{FF2B5EF4-FFF2-40B4-BE49-F238E27FC236}">
                <a16:creationId xmlns:a16="http://schemas.microsoft.com/office/drawing/2014/main" id="{28F157E5-2E35-444E-AEBE-63E775172035}"/>
              </a:ext>
            </a:extLst>
          </p:cNvPr>
          <p:cNvGrpSpPr/>
          <p:nvPr/>
        </p:nvGrpSpPr>
        <p:grpSpPr>
          <a:xfrm>
            <a:off x="622521" y="4334428"/>
            <a:ext cx="215006" cy="212352"/>
            <a:chOff x="-280989" y="3035886"/>
            <a:chExt cx="462913" cy="457200"/>
          </a:xfrm>
        </p:grpSpPr>
        <p:sp>
          <p:nvSpPr>
            <p:cNvPr id="284" name="Oval 283">
              <a:extLst>
                <a:ext uri="{FF2B5EF4-FFF2-40B4-BE49-F238E27FC236}">
                  <a16:creationId xmlns:a16="http://schemas.microsoft.com/office/drawing/2014/main" id="{CBC00A76-E194-4FCE-90B2-97284D719C01}"/>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2</a:t>
              </a:r>
            </a:p>
          </p:txBody>
        </p:sp>
        <p:sp>
          <p:nvSpPr>
            <p:cNvPr id="285" name="Freeform 26">
              <a:extLst>
                <a:ext uri="{FF2B5EF4-FFF2-40B4-BE49-F238E27FC236}">
                  <a16:creationId xmlns:a16="http://schemas.microsoft.com/office/drawing/2014/main" id="{F7992165-9BC8-4BEF-9E14-BD545799E31C}"/>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sp>
        <p:nvSpPr>
          <p:cNvPr id="287" name="Rectangle 286">
            <a:extLst>
              <a:ext uri="{FF2B5EF4-FFF2-40B4-BE49-F238E27FC236}">
                <a16:creationId xmlns:a16="http://schemas.microsoft.com/office/drawing/2014/main" id="{148B3DDD-3DFD-4791-BFBD-3874CC3D264E}"/>
              </a:ext>
            </a:extLst>
          </p:cNvPr>
          <p:cNvSpPr/>
          <p:nvPr/>
        </p:nvSpPr>
        <p:spPr>
          <a:xfrm>
            <a:off x="1619249" y="1194945"/>
            <a:ext cx="7129464" cy="5634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Der ønskes en simpel og intuitiv rapportering</a:t>
            </a:r>
            <a:r>
              <a:rPr lang="da-DK" sz="900">
                <a:solidFill>
                  <a:schemeClr val="tx1"/>
                </a:solidFill>
              </a:rPr>
              <a:t>,</a:t>
            </a:r>
            <a:r>
              <a:rPr lang="da-DK" sz="900" dirty="0">
                <a:solidFill>
                  <a:schemeClr val="tx1"/>
                </a:solidFill>
              </a:rPr>
              <a:t> der kan dække behov for både central og decentral rapportering. </a:t>
            </a:r>
            <a:r>
              <a:rPr lang="da-DK" sz="900" dirty="0" err="1">
                <a:solidFill>
                  <a:schemeClr val="tx1"/>
                </a:solidFill>
              </a:rPr>
              <a:t>Use</a:t>
            </a:r>
            <a:r>
              <a:rPr lang="da-DK" sz="900" dirty="0">
                <a:solidFill>
                  <a:schemeClr val="tx1"/>
                </a:solidFill>
              </a:rPr>
              <a:t>-casen beskriver en konkret proces</a:t>
            </a:r>
            <a:r>
              <a:rPr lang="da-DK" sz="900">
                <a:solidFill>
                  <a:schemeClr val="tx1"/>
                </a:solidFill>
              </a:rPr>
              <a:t>,</a:t>
            </a:r>
            <a:r>
              <a:rPr lang="da-DK" sz="900" dirty="0">
                <a:solidFill>
                  <a:schemeClr val="tx1"/>
                </a:solidFill>
              </a:rPr>
              <a:t> hvor der skal fremstilles en rapportering til en interessent</a:t>
            </a:r>
            <a:r>
              <a:rPr lang="da-DK" sz="900">
                <a:solidFill>
                  <a:schemeClr val="tx1"/>
                </a:solidFill>
              </a:rPr>
              <a:t>.</a:t>
            </a:r>
            <a:endParaRPr lang="da-DK" sz="900" dirty="0">
              <a:solidFill>
                <a:schemeClr val="tx1"/>
              </a:solidFill>
            </a:endParaRPr>
          </a:p>
        </p:txBody>
      </p:sp>
      <p:sp>
        <p:nvSpPr>
          <p:cNvPr id="149" name="Rectangle 148">
            <a:extLst>
              <a:ext uri="{FF2B5EF4-FFF2-40B4-BE49-F238E27FC236}">
                <a16:creationId xmlns:a16="http://schemas.microsoft.com/office/drawing/2014/main" id="{35D2CF02-4213-4946-8F5B-1C30925443B4}"/>
              </a:ext>
            </a:extLst>
          </p:cNvPr>
          <p:cNvSpPr/>
          <p:nvPr/>
        </p:nvSpPr>
        <p:spPr>
          <a:xfrm>
            <a:off x="7044856" y="6066845"/>
            <a:ext cx="2099143" cy="791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0" name="Rectangle 149">
            <a:extLst>
              <a:ext uri="{FF2B5EF4-FFF2-40B4-BE49-F238E27FC236}">
                <a16:creationId xmlns:a16="http://schemas.microsoft.com/office/drawing/2014/main" id="{ABF40D23-6491-4158-B904-B1DED99272C8}"/>
              </a:ext>
            </a:extLst>
          </p:cNvPr>
          <p:cNvSpPr/>
          <p:nvPr/>
        </p:nvSpPr>
        <p:spPr>
          <a:xfrm>
            <a:off x="358325" y="1194945"/>
            <a:ext cx="1260925" cy="563419"/>
          </a:xfrm>
          <a:prstGeom prst="rect">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b="1" dirty="0" err="1">
                <a:solidFill>
                  <a:schemeClr val="tx1"/>
                </a:solidFill>
              </a:rPr>
              <a:t>Use</a:t>
            </a:r>
            <a:r>
              <a:rPr lang="da-DK" sz="1200" b="1" dirty="0">
                <a:solidFill>
                  <a:schemeClr val="tx1"/>
                </a:solidFill>
              </a:rPr>
              <a:t> case 6</a:t>
            </a:r>
          </a:p>
        </p:txBody>
      </p:sp>
      <p:sp>
        <p:nvSpPr>
          <p:cNvPr id="140" name="Rectangle 139">
            <a:extLst>
              <a:ext uri="{FF2B5EF4-FFF2-40B4-BE49-F238E27FC236}">
                <a16:creationId xmlns:a16="http://schemas.microsoft.com/office/drawing/2014/main" id="{7DB26B68-212B-4C74-AA36-8D209B2EE9C2}"/>
              </a:ext>
            </a:extLst>
          </p:cNvPr>
          <p:cNvSpPr/>
          <p:nvPr/>
        </p:nvSpPr>
        <p:spPr>
          <a:xfrm>
            <a:off x="601985" y="3012865"/>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Der fremkommer et behov for en rapportering.  Umiddelbart undersøges det, om rapporteringen kan ske i form af </a:t>
            </a:r>
            <a:r>
              <a:rPr lang="da-DK" sz="900" dirty="0" smtClean="0">
                <a:solidFill>
                  <a:schemeClr val="tx1"/>
                </a:solidFill>
              </a:rPr>
              <a:t>standardrapporter </a:t>
            </a:r>
            <a:r>
              <a:rPr lang="da-DK" sz="900" dirty="0">
                <a:solidFill>
                  <a:schemeClr val="tx1"/>
                </a:solidFill>
              </a:rPr>
              <a:t>eller de </a:t>
            </a:r>
            <a:r>
              <a:rPr lang="da-DK" sz="900" dirty="0" err="1">
                <a:solidFill>
                  <a:schemeClr val="tx1"/>
                </a:solidFill>
              </a:rPr>
              <a:t>dashboards</a:t>
            </a:r>
            <a:r>
              <a:rPr lang="da-DK" sz="900" dirty="0">
                <a:solidFill>
                  <a:schemeClr val="tx1"/>
                </a:solidFill>
              </a:rPr>
              <a:t>, der umiddelbart er tilgængelige.  </a:t>
            </a:r>
          </a:p>
        </p:txBody>
      </p:sp>
      <p:sp>
        <p:nvSpPr>
          <p:cNvPr id="141" name="Rectangle 140">
            <a:extLst>
              <a:ext uri="{FF2B5EF4-FFF2-40B4-BE49-F238E27FC236}">
                <a16:creationId xmlns:a16="http://schemas.microsoft.com/office/drawing/2014/main" id="{749BA3C8-648D-42A0-BB08-41E3D5C37490}"/>
              </a:ext>
            </a:extLst>
          </p:cNvPr>
          <p:cNvSpPr/>
          <p:nvPr/>
        </p:nvSpPr>
        <p:spPr>
          <a:xfrm>
            <a:off x="620716" y="5095192"/>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Når </a:t>
            </a:r>
            <a:r>
              <a:rPr lang="da-DK" sz="900" dirty="0" smtClean="0">
                <a:solidFill>
                  <a:schemeClr val="tx1"/>
                </a:solidFill>
              </a:rPr>
              <a:t>standardrapportering </a:t>
            </a:r>
            <a:r>
              <a:rPr lang="da-DK" sz="900" dirty="0">
                <a:solidFill>
                  <a:schemeClr val="tx1"/>
                </a:solidFill>
              </a:rPr>
              <a:t>ikke kan dække behovet, skal det være muligt at få adgang til data, så den nødvendige rapportering kan sammensættes. Rapportudformningen skal kunne foretages intuitivt af en bruger, der har en forståelse for </a:t>
            </a:r>
            <a:r>
              <a:rPr lang="da-DK" sz="900" dirty="0" smtClean="0">
                <a:solidFill>
                  <a:schemeClr val="tx1"/>
                </a:solidFill>
              </a:rPr>
              <a:t>datamodellen.</a:t>
            </a:r>
            <a:endParaRPr lang="da-DK" sz="900" dirty="0">
              <a:solidFill>
                <a:schemeClr val="tx1"/>
              </a:solidFill>
            </a:endParaRPr>
          </a:p>
        </p:txBody>
      </p:sp>
      <p:sp>
        <p:nvSpPr>
          <p:cNvPr id="142" name="Rectangle 141">
            <a:extLst>
              <a:ext uri="{FF2B5EF4-FFF2-40B4-BE49-F238E27FC236}">
                <a16:creationId xmlns:a16="http://schemas.microsoft.com/office/drawing/2014/main" id="{1F831652-138C-47D0-9B56-1149F3937DAC}"/>
              </a:ext>
            </a:extLst>
          </p:cNvPr>
          <p:cNvSpPr/>
          <p:nvPr/>
        </p:nvSpPr>
        <p:spPr>
          <a:xfrm>
            <a:off x="4786938" y="5095191"/>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Rapportering (hvad enten det er standard eller sker på ad hoc basis som i trin 2) skal denne udskrives til henholdsvis pdf, udskrift, print og Excel samtidig med, at kriterier for </a:t>
            </a:r>
            <a:r>
              <a:rPr lang="da-DK" sz="900" dirty="0" err="1" smtClean="0">
                <a:solidFill>
                  <a:schemeClr val="tx1"/>
                </a:solidFill>
              </a:rPr>
              <a:t>rapporteringenssammensætning</a:t>
            </a:r>
            <a:r>
              <a:rPr lang="da-DK" sz="900" dirty="0" smtClean="0">
                <a:solidFill>
                  <a:schemeClr val="tx1"/>
                </a:solidFill>
              </a:rPr>
              <a:t> </a:t>
            </a:r>
            <a:r>
              <a:rPr lang="da-DK" sz="900" dirty="0">
                <a:solidFill>
                  <a:schemeClr val="tx1"/>
                </a:solidFill>
              </a:rPr>
              <a:t>fremgår tydeligt.</a:t>
            </a:r>
          </a:p>
        </p:txBody>
      </p:sp>
      <p:sp>
        <p:nvSpPr>
          <p:cNvPr id="143" name="Rectangle 142">
            <a:extLst>
              <a:ext uri="{FF2B5EF4-FFF2-40B4-BE49-F238E27FC236}">
                <a16:creationId xmlns:a16="http://schemas.microsoft.com/office/drawing/2014/main" id="{1B38998F-06A3-4628-A18D-FB786D61B4BE}"/>
              </a:ext>
            </a:extLst>
          </p:cNvPr>
          <p:cNvSpPr/>
          <p:nvPr/>
        </p:nvSpPr>
        <p:spPr>
          <a:xfrm>
            <a:off x="4808398" y="3008771"/>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Ved præsentation til interessenten (fx en administrator hos Økonomistyrelsen eller ekstern revision), skal det sandsynliggøres at der ikke er foretaget manipulation af data inden præsentation </a:t>
            </a:r>
            <a:r>
              <a:rPr lang="da-DK" sz="900" dirty="0" smtClean="0">
                <a:solidFill>
                  <a:schemeClr val="tx1"/>
                </a:solidFill>
              </a:rPr>
              <a:t>foretages. Det </a:t>
            </a:r>
            <a:r>
              <a:rPr lang="da-DK" sz="900" dirty="0">
                <a:solidFill>
                  <a:schemeClr val="tx1"/>
                </a:solidFill>
              </a:rPr>
              <a:t>er således ikke hensigtsmæssigt at data afleveres i et regneark.</a:t>
            </a:r>
          </a:p>
        </p:txBody>
      </p:sp>
      <p:pic>
        <p:nvPicPr>
          <p:cNvPr id="4" name="Picture 4" descr="A close up of a logo&#10;&#10;Description automatically generated">
            <a:extLst>
              <a:ext uri="{FF2B5EF4-FFF2-40B4-BE49-F238E27FC236}">
                <a16:creationId xmlns:a16="http://schemas.microsoft.com/office/drawing/2014/main" id="{5DE5790F-FC6C-4AF9-A32B-73A91FEBBE34}"/>
              </a:ext>
            </a:extLst>
          </p:cNvPr>
          <p:cNvPicPr>
            <a:picLocks noChangeAspect="1"/>
          </p:cNvPicPr>
          <p:nvPr/>
        </p:nvPicPr>
        <p:blipFill>
          <a:blip r:embed="rId8"/>
          <a:stretch>
            <a:fillRect/>
          </a:stretch>
        </p:blipFill>
        <p:spPr>
          <a:xfrm>
            <a:off x="1459156" y="2044944"/>
            <a:ext cx="2333625" cy="704850"/>
          </a:xfrm>
          <a:prstGeom prst="rect">
            <a:avLst/>
          </a:prstGeom>
        </p:spPr>
      </p:pic>
      <p:pic>
        <p:nvPicPr>
          <p:cNvPr id="9" name="Picture 9" descr="A picture containing drawing&#10;&#10;Description automatically generated">
            <a:extLst>
              <a:ext uri="{FF2B5EF4-FFF2-40B4-BE49-F238E27FC236}">
                <a16:creationId xmlns:a16="http://schemas.microsoft.com/office/drawing/2014/main" id="{9C9D98C8-10DB-4620-BE8D-80BA0DEE29C2}"/>
              </a:ext>
            </a:extLst>
          </p:cNvPr>
          <p:cNvPicPr>
            <a:picLocks noChangeAspect="1"/>
          </p:cNvPicPr>
          <p:nvPr/>
        </p:nvPicPr>
        <p:blipFill>
          <a:blip r:embed="rId9"/>
          <a:stretch>
            <a:fillRect/>
          </a:stretch>
        </p:blipFill>
        <p:spPr>
          <a:xfrm>
            <a:off x="6058266" y="4267566"/>
            <a:ext cx="942975" cy="714375"/>
          </a:xfrm>
          <a:prstGeom prst="rect">
            <a:avLst/>
          </a:prstGeom>
        </p:spPr>
      </p:pic>
      <p:pic>
        <p:nvPicPr>
          <p:cNvPr id="10" name="Picture 34" descr="A close up of a logo&#10;&#10;Description automatically generated">
            <a:extLst>
              <a:ext uri="{FF2B5EF4-FFF2-40B4-BE49-F238E27FC236}">
                <a16:creationId xmlns:a16="http://schemas.microsoft.com/office/drawing/2014/main" id="{699DD90A-2D76-4419-B0BF-734A6F1F5EA6}"/>
              </a:ext>
            </a:extLst>
          </p:cNvPr>
          <p:cNvPicPr>
            <a:picLocks noChangeAspect="1"/>
          </p:cNvPicPr>
          <p:nvPr/>
        </p:nvPicPr>
        <p:blipFill>
          <a:blip r:embed="rId10"/>
          <a:stretch>
            <a:fillRect/>
          </a:stretch>
        </p:blipFill>
        <p:spPr>
          <a:xfrm>
            <a:off x="6228984" y="1900971"/>
            <a:ext cx="695325" cy="828675"/>
          </a:xfrm>
          <a:prstGeom prst="rect">
            <a:avLst/>
          </a:prstGeom>
        </p:spPr>
      </p:pic>
      <p:pic>
        <p:nvPicPr>
          <p:cNvPr id="2" name="Picture 36" descr="A close up of a logo&#10;&#10;Description automatically generated">
            <a:extLst>
              <a:ext uri="{FF2B5EF4-FFF2-40B4-BE49-F238E27FC236}">
                <a16:creationId xmlns:a16="http://schemas.microsoft.com/office/drawing/2014/main" id="{85E43398-F9C1-4890-A528-3E0C58FAC43C}"/>
              </a:ext>
            </a:extLst>
          </p:cNvPr>
          <p:cNvPicPr>
            <a:picLocks noChangeAspect="1"/>
          </p:cNvPicPr>
          <p:nvPr/>
        </p:nvPicPr>
        <p:blipFill>
          <a:blip r:embed="rId11"/>
          <a:stretch>
            <a:fillRect/>
          </a:stretch>
        </p:blipFill>
        <p:spPr>
          <a:xfrm>
            <a:off x="2179760" y="4252027"/>
            <a:ext cx="1009650" cy="742950"/>
          </a:xfrm>
          <a:prstGeom prst="rect">
            <a:avLst/>
          </a:prstGeom>
        </p:spPr>
      </p:pic>
    </p:spTree>
    <p:extLst>
      <p:ext uri="{BB962C8B-B14F-4D97-AF65-F5344CB8AC3E}">
        <p14:creationId xmlns:p14="http://schemas.microsoft.com/office/powerpoint/2010/main" val="2256948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ED4AE-4117-4A2A-999B-0EC50D6B2A8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1"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3D7ED4AE-4117-4A2A-999B-0EC50D6B2A8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AE20B3F-0E2F-41DD-9161-AFD4CFFD351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a-DK">
              <a:latin typeface="Verdana" panose="020B0604030504040204" pitchFamily="34" charset="0"/>
              <a:ea typeface="Verdana" panose="020B0604030504040204" pitchFamily="34" charset="0"/>
              <a:sym typeface="Verdana" panose="020B0604030504040204" pitchFamily="34" charset="0"/>
            </a:endParaRPr>
          </a:p>
        </p:txBody>
      </p:sp>
      <p:sp>
        <p:nvSpPr>
          <p:cNvPr id="7" name="Title 1">
            <a:extLst>
              <a:ext uri="{FF2B5EF4-FFF2-40B4-BE49-F238E27FC236}">
                <a16:creationId xmlns:a16="http://schemas.microsoft.com/office/drawing/2014/main" id="{AB2F3BDA-6BDD-46D1-868C-9356701B023E}"/>
              </a:ext>
            </a:extLst>
          </p:cNvPr>
          <p:cNvSpPr>
            <a:spLocks noGrp="1"/>
          </p:cNvSpPr>
          <p:nvPr>
            <p:ph type="title"/>
          </p:nvPr>
        </p:nvSpPr>
        <p:spPr>
          <a:xfrm>
            <a:off x="255706" y="269682"/>
            <a:ext cx="8559819" cy="689476"/>
          </a:xfrm>
        </p:spPr>
        <p:txBody>
          <a:bodyPr lIns="91440" tIns="45720" rIns="91440" bIns="45720" anchor="b">
            <a:normAutofit fontScale="90000"/>
          </a:bodyPr>
          <a:lstStyle/>
          <a:p>
            <a:r>
              <a:rPr lang="da-DK" sz="2800" b="0" dirty="0">
                <a:solidFill>
                  <a:schemeClr val="tx1"/>
                </a:solidFill>
                <a:latin typeface="Impact"/>
                <a:ea typeface="Verdana"/>
                <a:cs typeface="Verdana"/>
              </a:rPr>
              <a:t>3. Løsningen</a:t>
            </a:r>
            <a:r>
              <a:rPr lang="da-DK" dirty="0"/>
              <a:t/>
            </a:r>
            <a:br>
              <a:rPr lang="da-DK" dirty="0"/>
            </a:br>
            <a:r>
              <a:rPr lang="da-DK" sz="2000" b="0">
                <a:solidFill>
                  <a:schemeClr val="tx1"/>
                </a:solidFill>
                <a:latin typeface="Verdana"/>
                <a:ea typeface="Verdana"/>
                <a:cs typeface="Verdana"/>
              </a:rPr>
              <a:t>3.1.2.7</a:t>
            </a:r>
            <a:r>
              <a:rPr lang="da-DK" sz="2000" b="0" dirty="0">
                <a:solidFill>
                  <a:schemeClr val="tx1"/>
                </a:solidFill>
                <a:latin typeface="Verdana"/>
                <a:ea typeface="Verdana"/>
                <a:cs typeface="Verdana"/>
              </a:rPr>
              <a:t> </a:t>
            </a:r>
            <a:r>
              <a:rPr lang="da-DK" sz="2000" b="0" dirty="0" err="1">
                <a:solidFill>
                  <a:schemeClr val="tx1"/>
                </a:solidFill>
                <a:latin typeface="Verdana"/>
                <a:ea typeface="Verdana"/>
                <a:cs typeface="Verdana"/>
              </a:rPr>
              <a:t>use</a:t>
            </a:r>
            <a:r>
              <a:rPr lang="da-DK" sz="2000" b="0" dirty="0">
                <a:solidFill>
                  <a:schemeClr val="tx1"/>
                </a:solidFill>
                <a:latin typeface="Verdana"/>
                <a:ea typeface="Verdana"/>
                <a:cs typeface="Verdana"/>
              </a:rPr>
              <a:t> case: PEPPOL</a:t>
            </a:r>
            <a:endParaRPr lang="da-DK" b="0" dirty="0">
              <a:solidFill>
                <a:schemeClr val="tx1"/>
              </a:solidFill>
              <a:latin typeface="Verdana"/>
              <a:ea typeface="Verdana"/>
              <a:cs typeface="Verdana"/>
            </a:endParaRPr>
          </a:p>
        </p:txBody>
      </p:sp>
      <p:cxnSp>
        <p:nvCxnSpPr>
          <p:cNvPr id="164" name="Straight Connector 163">
            <a:extLst>
              <a:ext uri="{FF2B5EF4-FFF2-40B4-BE49-F238E27FC236}">
                <a16:creationId xmlns:a16="http://schemas.microsoft.com/office/drawing/2014/main" id="{57AEC517-DF95-4371-BCD4-70220FFBCA04}"/>
              </a:ext>
            </a:extLst>
          </p:cNvPr>
          <p:cNvCxnSpPr>
            <a:cxnSpLocks/>
          </p:cNvCxnSpPr>
          <p:nvPr/>
        </p:nvCxnSpPr>
        <p:spPr>
          <a:xfrm flipH="1">
            <a:off x="716801" y="4102467"/>
            <a:ext cx="7710399" cy="0"/>
          </a:xfrm>
          <a:prstGeom prst="line">
            <a:avLst/>
          </a:prstGeom>
          <a:ln w="6350">
            <a:solidFill>
              <a:srgbClr val="8AA299"/>
            </a:solidFill>
          </a:ln>
        </p:spPr>
        <p:style>
          <a:lnRef idx="1">
            <a:schemeClr val="accent1"/>
          </a:lnRef>
          <a:fillRef idx="0">
            <a:schemeClr val="accent1"/>
          </a:fillRef>
          <a:effectRef idx="0">
            <a:schemeClr val="accent1"/>
          </a:effectRef>
          <a:fontRef idx="minor">
            <a:schemeClr val="tx1"/>
          </a:fontRef>
        </p:style>
      </p:cxnSp>
      <p:grpSp>
        <p:nvGrpSpPr>
          <p:cNvPr id="165" name="Group 164">
            <a:extLst>
              <a:ext uri="{FF2B5EF4-FFF2-40B4-BE49-F238E27FC236}">
                <a16:creationId xmlns:a16="http://schemas.microsoft.com/office/drawing/2014/main" id="{ED217F91-3173-4F47-BF36-4393E775A8B0}"/>
              </a:ext>
            </a:extLst>
          </p:cNvPr>
          <p:cNvGrpSpPr/>
          <p:nvPr/>
        </p:nvGrpSpPr>
        <p:grpSpPr>
          <a:xfrm>
            <a:off x="622521" y="2108181"/>
            <a:ext cx="215006" cy="212352"/>
            <a:chOff x="-280989" y="3035886"/>
            <a:chExt cx="462913" cy="457200"/>
          </a:xfrm>
        </p:grpSpPr>
        <p:sp>
          <p:nvSpPr>
            <p:cNvPr id="166" name="Oval 165">
              <a:extLst>
                <a:ext uri="{FF2B5EF4-FFF2-40B4-BE49-F238E27FC236}">
                  <a16:creationId xmlns:a16="http://schemas.microsoft.com/office/drawing/2014/main" id="{4332F8AF-C932-4411-BDFA-CC749C0247EC}"/>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1</a:t>
              </a:r>
            </a:p>
          </p:txBody>
        </p:sp>
        <p:sp>
          <p:nvSpPr>
            <p:cNvPr id="167" name="Freeform 26">
              <a:extLst>
                <a:ext uri="{FF2B5EF4-FFF2-40B4-BE49-F238E27FC236}">
                  <a16:creationId xmlns:a16="http://schemas.microsoft.com/office/drawing/2014/main" id="{4BD7B24E-3CD2-4950-8500-2F1915FD3B19}"/>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grpSp>
        <p:nvGrpSpPr>
          <p:cNvPr id="221" name="Group 220">
            <a:extLst>
              <a:ext uri="{FF2B5EF4-FFF2-40B4-BE49-F238E27FC236}">
                <a16:creationId xmlns:a16="http://schemas.microsoft.com/office/drawing/2014/main" id="{B9511CAA-F9E3-4FEE-AD28-4FC386C16B2E}"/>
              </a:ext>
            </a:extLst>
          </p:cNvPr>
          <p:cNvGrpSpPr/>
          <p:nvPr/>
        </p:nvGrpSpPr>
        <p:grpSpPr>
          <a:xfrm>
            <a:off x="4786938" y="2108181"/>
            <a:ext cx="215006" cy="212352"/>
            <a:chOff x="-280989" y="3035886"/>
            <a:chExt cx="462913" cy="457200"/>
          </a:xfrm>
        </p:grpSpPr>
        <p:sp>
          <p:nvSpPr>
            <p:cNvPr id="222" name="Oval 221">
              <a:extLst>
                <a:ext uri="{FF2B5EF4-FFF2-40B4-BE49-F238E27FC236}">
                  <a16:creationId xmlns:a16="http://schemas.microsoft.com/office/drawing/2014/main" id="{FA9E3B47-8A3A-44AE-844D-986EC573B6A8}"/>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4</a:t>
              </a:r>
            </a:p>
          </p:txBody>
        </p:sp>
        <p:sp>
          <p:nvSpPr>
            <p:cNvPr id="223" name="Freeform 26">
              <a:extLst>
                <a:ext uri="{FF2B5EF4-FFF2-40B4-BE49-F238E27FC236}">
                  <a16:creationId xmlns:a16="http://schemas.microsoft.com/office/drawing/2014/main" id="{085D17CF-7626-44CE-8EDF-8BAAEE90D111}"/>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cxnSp>
        <p:nvCxnSpPr>
          <p:cNvPr id="260" name="Straight Connector 259">
            <a:extLst>
              <a:ext uri="{FF2B5EF4-FFF2-40B4-BE49-F238E27FC236}">
                <a16:creationId xmlns:a16="http://schemas.microsoft.com/office/drawing/2014/main" id="{6B563561-0F4B-4160-972D-1397B5FC1482}"/>
              </a:ext>
            </a:extLst>
          </p:cNvPr>
          <p:cNvCxnSpPr>
            <a:cxnSpLocks/>
          </p:cNvCxnSpPr>
          <p:nvPr/>
        </p:nvCxnSpPr>
        <p:spPr>
          <a:xfrm flipV="1">
            <a:off x="4572000" y="2108182"/>
            <a:ext cx="0" cy="3750012"/>
          </a:xfrm>
          <a:prstGeom prst="line">
            <a:avLst/>
          </a:prstGeom>
          <a:ln w="6350">
            <a:solidFill>
              <a:srgbClr val="8AA299"/>
            </a:solidFill>
          </a:ln>
        </p:spPr>
        <p:style>
          <a:lnRef idx="1">
            <a:schemeClr val="accent1"/>
          </a:lnRef>
          <a:fillRef idx="0">
            <a:schemeClr val="accent1"/>
          </a:fillRef>
          <a:effectRef idx="0">
            <a:schemeClr val="accent1"/>
          </a:effectRef>
          <a:fontRef idx="minor">
            <a:schemeClr val="tx1"/>
          </a:fontRef>
        </p:style>
      </p:cxnSp>
      <p:grpSp>
        <p:nvGrpSpPr>
          <p:cNvPr id="268" name="Group 267">
            <a:extLst>
              <a:ext uri="{FF2B5EF4-FFF2-40B4-BE49-F238E27FC236}">
                <a16:creationId xmlns:a16="http://schemas.microsoft.com/office/drawing/2014/main" id="{7E6D29CB-EFB7-46EF-A544-57493263C20C}"/>
              </a:ext>
            </a:extLst>
          </p:cNvPr>
          <p:cNvGrpSpPr/>
          <p:nvPr/>
        </p:nvGrpSpPr>
        <p:grpSpPr>
          <a:xfrm rot="5400000">
            <a:off x="723938" y="4015844"/>
            <a:ext cx="225738" cy="213318"/>
            <a:chOff x="496618" y="4271624"/>
            <a:chExt cx="490538" cy="463550"/>
          </a:xfrm>
        </p:grpSpPr>
        <p:sp>
          <p:nvSpPr>
            <p:cNvPr id="269" name="Freeform 73">
              <a:extLst>
                <a:ext uri="{FF2B5EF4-FFF2-40B4-BE49-F238E27FC236}">
                  <a16:creationId xmlns:a16="http://schemas.microsoft.com/office/drawing/2014/main" id="{011F1F41-A323-4EA3-95BF-3BB89C23127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0" name="Freeform 74">
              <a:extLst>
                <a:ext uri="{FF2B5EF4-FFF2-40B4-BE49-F238E27FC236}">
                  <a16:creationId xmlns:a16="http://schemas.microsoft.com/office/drawing/2014/main" id="{63A13520-D5FE-4A12-A2B0-0F7FCE2FAD6D}"/>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1" name="Freeform 75">
              <a:extLst>
                <a:ext uri="{FF2B5EF4-FFF2-40B4-BE49-F238E27FC236}">
                  <a16:creationId xmlns:a16="http://schemas.microsoft.com/office/drawing/2014/main" id="{B6BA7D65-5CC1-4940-A762-717FCBA5566D}"/>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72" name="Group 271">
            <a:extLst>
              <a:ext uri="{FF2B5EF4-FFF2-40B4-BE49-F238E27FC236}">
                <a16:creationId xmlns:a16="http://schemas.microsoft.com/office/drawing/2014/main" id="{3DEDF1D9-1707-4706-B110-040B11795645}"/>
              </a:ext>
            </a:extLst>
          </p:cNvPr>
          <p:cNvGrpSpPr/>
          <p:nvPr/>
        </p:nvGrpSpPr>
        <p:grpSpPr>
          <a:xfrm>
            <a:off x="4393887" y="5096447"/>
            <a:ext cx="225738" cy="213318"/>
            <a:chOff x="496618" y="4271624"/>
            <a:chExt cx="490538" cy="463550"/>
          </a:xfrm>
        </p:grpSpPr>
        <p:sp>
          <p:nvSpPr>
            <p:cNvPr id="273" name="Freeform 73">
              <a:extLst>
                <a:ext uri="{FF2B5EF4-FFF2-40B4-BE49-F238E27FC236}">
                  <a16:creationId xmlns:a16="http://schemas.microsoft.com/office/drawing/2014/main" id="{E6577463-63D4-499E-B243-A5319CA76D80}"/>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4" name="Freeform 74">
              <a:extLst>
                <a:ext uri="{FF2B5EF4-FFF2-40B4-BE49-F238E27FC236}">
                  <a16:creationId xmlns:a16="http://schemas.microsoft.com/office/drawing/2014/main" id="{3558AA2D-74AF-4D5C-BCCF-52317191801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5" name="Freeform 75">
              <a:extLst>
                <a:ext uri="{FF2B5EF4-FFF2-40B4-BE49-F238E27FC236}">
                  <a16:creationId xmlns:a16="http://schemas.microsoft.com/office/drawing/2014/main" id="{4C1E44C1-D3BB-475E-894D-4442DC405F1D}"/>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76" name="Group 275">
            <a:extLst>
              <a:ext uri="{FF2B5EF4-FFF2-40B4-BE49-F238E27FC236}">
                <a16:creationId xmlns:a16="http://schemas.microsoft.com/office/drawing/2014/main" id="{69F8D3F5-5F1B-4816-B7A6-812194CA8492}"/>
              </a:ext>
            </a:extLst>
          </p:cNvPr>
          <p:cNvGrpSpPr/>
          <p:nvPr/>
        </p:nvGrpSpPr>
        <p:grpSpPr>
          <a:xfrm rot="16200000">
            <a:off x="8207672" y="3984094"/>
            <a:ext cx="225738" cy="213318"/>
            <a:chOff x="496618" y="4271624"/>
            <a:chExt cx="490538" cy="463550"/>
          </a:xfrm>
        </p:grpSpPr>
        <p:sp>
          <p:nvSpPr>
            <p:cNvPr id="277" name="Freeform 73">
              <a:extLst>
                <a:ext uri="{FF2B5EF4-FFF2-40B4-BE49-F238E27FC236}">
                  <a16:creationId xmlns:a16="http://schemas.microsoft.com/office/drawing/2014/main" id="{1135BE0F-7E39-48F8-9DD9-CC51C4C4A92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8" name="Freeform 74">
              <a:extLst>
                <a:ext uri="{FF2B5EF4-FFF2-40B4-BE49-F238E27FC236}">
                  <a16:creationId xmlns:a16="http://schemas.microsoft.com/office/drawing/2014/main" id="{C0EB1807-E59B-4719-884E-969EF8E26D11}"/>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9" name="Freeform 75">
              <a:extLst>
                <a:ext uri="{FF2B5EF4-FFF2-40B4-BE49-F238E27FC236}">
                  <a16:creationId xmlns:a16="http://schemas.microsoft.com/office/drawing/2014/main" id="{17BC1CBE-0C13-413C-A26A-13E36F555310}"/>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80" name="Group 279">
            <a:extLst>
              <a:ext uri="{FF2B5EF4-FFF2-40B4-BE49-F238E27FC236}">
                <a16:creationId xmlns:a16="http://schemas.microsoft.com/office/drawing/2014/main" id="{C4AB9758-1282-4BC3-88C9-B661799AE662}"/>
              </a:ext>
            </a:extLst>
          </p:cNvPr>
          <p:cNvGrpSpPr/>
          <p:nvPr/>
        </p:nvGrpSpPr>
        <p:grpSpPr>
          <a:xfrm>
            <a:off x="4786938" y="4334428"/>
            <a:ext cx="215006" cy="212352"/>
            <a:chOff x="-280989" y="3035886"/>
            <a:chExt cx="462913" cy="457200"/>
          </a:xfrm>
        </p:grpSpPr>
        <p:sp>
          <p:nvSpPr>
            <p:cNvPr id="281" name="Oval 280">
              <a:extLst>
                <a:ext uri="{FF2B5EF4-FFF2-40B4-BE49-F238E27FC236}">
                  <a16:creationId xmlns:a16="http://schemas.microsoft.com/office/drawing/2014/main" id="{A06ED608-6103-4BA7-89DC-BA115ECF9C00}"/>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3</a:t>
              </a:r>
            </a:p>
          </p:txBody>
        </p:sp>
        <p:sp>
          <p:nvSpPr>
            <p:cNvPr id="282" name="Freeform 26">
              <a:extLst>
                <a:ext uri="{FF2B5EF4-FFF2-40B4-BE49-F238E27FC236}">
                  <a16:creationId xmlns:a16="http://schemas.microsoft.com/office/drawing/2014/main" id="{DDA785A3-140A-40E7-B2D0-C5BCD3D7A48C}"/>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grpSp>
        <p:nvGrpSpPr>
          <p:cNvPr id="283" name="Group 282">
            <a:extLst>
              <a:ext uri="{FF2B5EF4-FFF2-40B4-BE49-F238E27FC236}">
                <a16:creationId xmlns:a16="http://schemas.microsoft.com/office/drawing/2014/main" id="{28F157E5-2E35-444E-AEBE-63E775172035}"/>
              </a:ext>
            </a:extLst>
          </p:cNvPr>
          <p:cNvGrpSpPr/>
          <p:nvPr/>
        </p:nvGrpSpPr>
        <p:grpSpPr>
          <a:xfrm>
            <a:off x="622521" y="4334428"/>
            <a:ext cx="215006" cy="212352"/>
            <a:chOff x="-280989" y="3035886"/>
            <a:chExt cx="462913" cy="457200"/>
          </a:xfrm>
        </p:grpSpPr>
        <p:sp>
          <p:nvSpPr>
            <p:cNvPr id="284" name="Oval 283">
              <a:extLst>
                <a:ext uri="{FF2B5EF4-FFF2-40B4-BE49-F238E27FC236}">
                  <a16:creationId xmlns:a16="http://schemas.microsoft.com/office/drawing/2014/main" id="{CBC00A76-E194-4FCE-90B2-97284D719C01}"/>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2</a:t>
              </a:r>
            </a:p>
          </p:txBody>
        </p:sp>
        <p:sp>
          <p:nvSpPr>
            <p:cNvPr id="285" name="Freeform 26">
              <a:extLst>
                <a:ext uri="{FF2B5EF4-FFF2-40B4-BE49-F238E27FC236}">
                  <a16:creationId xmlns:a16="http://schemas.microsoft.com/office/drawing/2014/main" id="{F7992165-9BC8-4BEF-9E14-BD545799E31C}"/>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sp>
        <p:nvSpPr>
          <p:cNvPr id="287" name="Rectangle 286">
            <a:extLst>
              <a:ext uri="{FF2B5EF4-FFF2-40B4-BE49-F238E27FC236}">
                <a16:creationId xmlns:a16="http://schemas.microsoft.com/office/drawing/2014/main" id="{148B3DDD-3DFD-4791-BFBD-3874CC3D264E}"/>
              </a:ext>
            </a:extLst>
          </p:cNvPr>
          <p:cNvSpPr/>
          <p:nvPr/>
        </p:nvSpPr>
        <p:spPr>
          <a:xfrm>
            <a:off x="1619249" y="1194945"/>
            <a:ext cx="7129464" cy="5634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45720" rIns="108000" bIns="45720" rtlCol="0" anchor="ctr"/>
          <a:lstStyle/>
          <a:p>
            <a:r>
              <a:rPr lang="da-DK" sz="900">
                <a:solidFill>
                  <a:schemeClr val="tx1"/>
                </a:solidFill>
              </a:rPr>
              <a:t>Løsningen skal understøtte brug af </a:t>
            </a:r>
            <a:r>
              <a:rPr lang="da-DK" sz="900" err="1">
                <a:solidFill>
                  <a:schemeClr val="tx1"/>
                </a:solidFill>
              </a:rPr>
              <a:t>Peppol</a:t>
            </a:r>
            <a:r>
              <a:rPr lang="da-DK" sz="900">
                <a:solidFill>
                  <a:schemeClr val="tx1"/>
                </a:solidFill>
              </a:rPr>
              <a:t> ved bestilling af varer hos leverandør. </a:t>
            </a:r>
            <a:endParaRPr lang="da-DK" sz="900">
              <a:solidFill>
                <a:schemeClr val="tx1"/>
              </a:solidFill>
              <a:ea typeface="Verdana"/>
              <a:cs typeface="Verdana"/>
            </a:endParaRPr>
          </a:p>
        </p:txBody>
      </p:sp>
      <p:sp>
        <p:nvSpPr>
          <p:cNvPr id="149" name="Rectangle 148">
            <a:extLst>
              <a:ext uri="{FF2B5EF4-FFF2-40B4-BE49-F238E27FC236}">
                <a16:creationId xmlns:a16="http://schemas.microsoft.com/office/drawing/2014/main" id="{35D2CF02-4213-4946-8F5B-1C30925443B4}"/>
              </a:ext>
            </a:extLst>
          </p:cNvPr>
          <p:cNvSpPr/>
          <p:nvPr/>
        </p:nvSpPr>
        <p:spPr>
          <a:xfrm>
            <a:off x="7044856" y="6066845"/>
            <a:ext cx="2099143" cy="791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0" name="Rectangle 149">
            <a:extLst>
              <a:ext uri="{FF2B5EF4-FFF2-40B4-BE49-F238E27FC236}">
                <a16:creationId xmlns:a16="http://schemas.microsoft.com/office/drawing/2014/main" id="{ABF40D23-6491-4158-B904-B1DED99272C8}"/>
              </a:ext>
            </a:extLst>
          </p:cNvPr>
          <p:cNvSpPr/>
          <p:nvPr/>
        </p:nvSpPr>
        <p:spPr>
          <a:xfrm>
            <a:off x="358325" y="1194945"/>
            <a:ext cx="1260925" cy="563419"/>
          </a:xfrm>
          <a:prstGeom prst="rect">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b="1" dirty="0" err="1">
                <a:solidFill>
                  <a:schemeClr val="tx1"/>
                </a:solidFill>
              </a:rPr>
              <a:t>Use</a:t>
            </a:r>
            <a:r>
              <a:rPr lang="da-DK" sz="1200" b="1" dirty="0">
                <a:solidFill>
                  <a:schemeClr val="tx1"/>
                </a:solidFill>
              </a:rPr>
              <a:t> case 7</a:t>
            </a:r>
          </a:p>
        </p:txBody>
      </p:sp>
      <p:sp>
        <p:nvSpPr>
          <p:cNvPr id="140" name="Rectangle 139">
            <a:extLst>
              <a:ext uri="{FF2B5EF4-FFF2-40B4-BE49-F238E27FC236}">
                <a16:creationId xmlns:a16="http://schemas.microsoft.com/office/drawing/2014/main" id="{7DB26B68-212B-4C74-AA36-8D209B2EE9C2}"/>
              </a:ext>
            </a:extLst>
          </p:cNvPr>
          <p:cNvSpPr/>
          <p:nvPr/>
        </p:nvSpPr>
        <p:spPr>
          <a:xfrm>
            <a:off x="601985" y="3012865"/>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effectLst/>
                <a:latin typeface="+mj-lt"/>
                <a:ea typeface="Calibri" panose="020F0502020204030204" pitchFamily="34" charset="0"/>
              </a:rPr>
              <a:t>En bruger har brug for en vare og finder via søgning i </a:t>
            </a:r>
            <a:r>
              <a:rPr lang="da-DK" sz="900" dirty="0" err="1">
                <a:solidFill>
                  <a:schemeClr val="tx1"/>
                </a:solidFill>
                <a:effectLst/>
                <a:latin typeface="+mj-lt"/>
                <a:ea typeface="Calibri" panose="020F0502020204030204" pitchFamily="34" charset="0"/>
              </a:rPr>
              <a:t>IndFak</a:t>
            </a:r>
            <a:r>
              <a:rPr lang="da-DK" sz="900" dirty="0">
                <a:solidFill>
                  <a:schemeClr val="tx1"/>
                </a:solidFill>
                <a:effectLst/>
                <a:latin typeface="+mj-lt"/>
                <a:ea typeface="Calibri" panose="020F0502020204030204" pitchFamily="34" charset="0"/>
              </a:rPr>
              <a:t> en leverandør, der har denne til </a:t>
            </a:r>
            <a:r>
              <a:rPr lang="da-DK" sz="900" dirty="0" smtClean="0">
                <a:solidFill>
                  <a:schemeClr val="tx1"/>
                </a:solidFill>
                <a:effectLst/>
                <a:latin typeface="+mj-lt"/>
                <a:ea typeface="Calibri" panose="020F0502020204030204" pitchFamily="34" charset="0"/>
              </a:rPr>
              <a:t>rådighed.</a:t>
            </a:r>
            <a:endParaRPr lang="da-DK" sz="900" dirty="0">
              <a:solidFill>
                <a:schemeClr val="tx1"/>
              </a:solidFill>
              <a:effectLst/>
              <a:latin typeface="+mj-lt"/>
              <a:ea typeface="Calibri" panose="020F0502020204030204" pitchFamily="34" charset="0"/>
            </a:endParaRPr>
          </a:p>
        </p:txBody>
      </p:sp>
      <p:sp>
        <p:nvSpPr>
          <p:cNvPr id="141" name="Rectangle 140">
            <a:extLst>
              <a:ext uri="{FF2B5EF4-FFF2-40B4-BE49-F238E27FC236}">
                <a16:creationId xmlns:a16="http://schemas.microsoft.com/office/drawing/2014/main" id="{749BA3C8-648D-42A0-BB08-41E3D5C37490}"/>
              </a:ext>
            </a:extLst>
          </p:cNvPr>
          <p:cNvSpPr/>
          <p:nvPr/>
        </p:nvSpPr>
        <p:spPr>
          <a:xfrm>
            <a:off x="620716" y="5095193"/>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latin typeface="+mj-lt"/>
              </a:rPr>
              <a:t>Brugeren har via en integreret </a:t>
            </a:r>
            <a:r>
              <a:rPr lang="da-DK" sz="900" dirty="0" err="1" smtClean="0">
                <a:solidFill>
                  <a:schemeClr val="tx1"/>
                </a:solidFill>
                <a:latin typeface="+mj-lt"/>
              </a:rPr>
              <a:t>punchout</a:t>
            </a:r>
            <a:r>
              <a:rPr lang="da-DK" sz="900" dirty="0" smtClean="0">
                <a:solidFill>
                  <a:schemeClr val="tx1"/>
                </a:solidFill>
                <a:latin typeface="+mj-lt"/>
              </a:rPr>
              <a:t> </a:t>
            </a:r>
            <a:r>
              <a:rPr lang="da-DK" sz="900" dirty="0">
                <a:solidFill>
                  <a:schemeClr val="tx1"/>
                </a:solidFill>
                <a:latin typeface="+mj-lt"/>
              </a:rPr>
              <a:t>løsning adgang til opdateret varekatalog direkte i leverandørens system og logges automatisk </a:t>
            </a:r>
            <a:r>
              <a:rPr lang="da-DK" sz="900" dirty="0" smtClean="0">
                <a:solidFill>
                  <a:schemeClr val="tx1"/>
                </a:solidFill>
                <a:latin typeface="+mj-lt"/>
              </a:rPr>
              <a:t>herinde. Det </a:t>
            </a:r>
            <a:r>
              <a:rPr lang="da-DK" sz="900" dirty="0">
                <a:solidFill>
                  <a:schemeClr val="tx1"/>
                </a:solidFill>
                <a:latin typeface="+mj-lt"/>
              </a:rPr>
              <a:t>er et centralt element, at brugeren oplever denne proces intuitiv og brugervenlig.</a:t>
            </a:r>
          </a:p>
        </p:txBody>
      </p:sp>
      <p:sp>
        <p:nvSpPr>
          <p:cNvPr id="142" name="Rectangle 141">
            <a:extLst>
              <a:ext uri="{FF2B5EF4-FFF2-40B4-BE49-F238E27FC236}">
                <a16:creationId xmlns:a16="http://schemas.microsoft.com/office/drawing/2014/main" id="{1F831652-138C-47D0-9B56-1149F3937DAC}"/>
              </a:ext>
            </a:extLst>
          </p:cNvPr>
          <p:cNvSpPr/>
          <p:nvPr/>
        </p:nvSpPr>
        <p:spPr>
          <a:xfrm>
            <a:off x="4786938" y="5095191"/>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a:solidFill>
                  <a:schemeClr val="tx1"/>
                </a:solidFill>
                <a:latin typeface="+mj-lt"/>
              </a:rPr>
              <a:t>Brugeren finder de efterspurgte varer og tilføjer dem til sin kurv. Brugeren tjekker ud og ordren sendes via </a:t>
            </a:r>
            <a:r>
              <a:rPr lang="da-DK" sz="900" err="1">
                <a:solidFill>
                  <a:schemeClr val="tx1"/>
                </a:solidFill>
                <a:latin typeface="+mj-lt"/>
              </a:rPr>
              <a:t>Peppol</a:t>
            </a:r>
            <a:r>
              <a:rPr lang="da-DK" sz="900">
                <a:solidFill>
                  <a:schemeClr val="tx1"/>
                </a:solidFill>
                <a:latin typeface="+mj-lt"/>
              </a:rPr>
              <a:t> protokol tilbage til IndFak, uden at brugeren ser dette.</a:t>
            </a:r>
          </a:p>
        </p:txBody>
      </p:sp>
      <p:sp>
        <p:nvSpPr>
          <p:cNvPr id="143" name="Rectangle 142">
            <a:extLst>
              <a:ext uri="{FF2B5EF4-FFF2-40B4-BE49-F238E27FC236}">
                <a16:creationId xmlns:a16="http://schemas.microsoft.com/office/drawing/2014/main" id="{1B38998F-06A3-4628-A18D-FB786D61B4BE}"/>
              </a:ext>
            </a:extLst>
          </p:cNvPr>
          <p:cNvSpPr/>
          <p:nvPr/>
        </p:nvSpPr>
        <p:spPr>
          <a:xfrm>
            <a:off x="4808398" y="3008771"/>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a:solidFill>
                  <a:schemeClr val="tx1"/>
                </a:solidFill>
                <a:latin typeface="+mj-lt"/>
              </a:rPr>
              <a:t>Brugeren fortsætter det normale IndFak flow med at færdiggøre ordren, der endelig bekræftes og bestilles via </a:t>
            </a:r>
            <a:r>
              <a:rPr lang="da-DK" sz="900" err="1">
                <a:solidFill>
                  <a:schemeClr val="tx1"/>
                </a:solidFill>
                <a:latin typeface="+mj-lt"/>
              </a:rPr>
              <a:t>Peppol</a:t>
            </a:r>
            <a:r>
              <a:rPr lang="da-DK" sz="900">
                <a:solidFill>
                  <a:schemeClr val="tx1"/>
                </a:solidFill>
                <a:latin typeface="+mj-lt"/>
              </a:rPr>
              <a:t> standarden hos leverandøren</a:t>
            </a:r>
          </a:p>
        </p:txBody>
      </p:sp>
      <p:pic>
        <p:nvPicPr>
          <p:cNvPr id="3" name="Picture 4" descr="A close up of a logo&#10;&#10;Description automatically generated">
            <a:extLst>
              <a:ext uri="{FF2B5EF4-FFF2-40B4-BE49-F238E27FC236}">
                <a16:creationId xmlns:a16="http://schemas.microsoft.com/office/drawing/2014/main" id="{DEAFC5F7-9AC3-47B3-9066-B118E640AEFC}"/>
              </a:ext>
            </a:extLst>
          </p:cNvPr>
          <p:cNvPicPr>
            <a:picLocks noChangeAspect="1"/>
          </p:cNvPicPr>
          <p:nvPr/>
        </p:nvPicPr>
        <p:blipFill>
          <a:blip r:embed="rId8"/>
          <a:stretch>
            <a:fillRect/>
          </a:stretch>
        </p:blipFill>
        <p:spPr>
          <a:xfrm>
            <a:off x="2043806" y="2111791"/>
            <a:ext cx="857250" cy="723900"/>
          </a:xfrm>
          <a:prstGeom prst="rect">
            <a:avLst/>
          </a:prstGeom>
        </p:spPr>
      </p:pic>
      <p:pic>
        <p:nvPicPr>
          <p:cNvPr id="12" name="Picture 9" descr="A picture containing drawing, game, table&#10;&#10;Description automatically generated">
            <a:extLst>
              <a:ext uri="{FF2B5EF4-FFF2-40B4-BE49-F238E27FC236}">
                <a16:creationId xmlns:a16="http://schemas.microsoft.com/office/drawing/2014/main" id="{27414A28-7EC1-4344-B9D3-361C4F38889A}"/>
              </a:ext>
            </a:extLst>
          </p:cNvPr>
          <p:cNvPicPr>
            <a:picLocks noChangeAspect="1"/>
          </p:cNvPicPr>
          <p:nvPr/>
        </p:nvPicPr>
        <p:blipFill>
          <a:blip r:embed="rId9"/>
          <a:stretch>
            <a:fillRect/>
          </a:stretch>
        </p:blipFill>
        <p:spPr>
          <a:xfrm>
            <a:off x="6146103" y="4336510"/>
            <a:ext cx="866775" cy="638175"/>
          </a:xfrm>
          <a:prstGeom prst="rect">
            <a:avLst/>
          </a:prstGeom>
        </p:spPr>
      </p:pic>
      <p:pic>
        <p:nvPicPr>
          <p:cNvPr id="13" name="Picture 4" descr="A drawing of a person&#10;&#10;Description automatically generated">
            <a:extLst>
              <a:ext uri="{FF2B5EF4-FFF2-40B4-BE49-F238E27FC236}">
                <a16:creationId xmlns:a16="http://schemas.microsoft.com/office/drawing/2014/main" id="{AB991653-A3FA-4BE2-9C9E-4FC15D5D0265}"/>
              </a:ext>
            </a:extLst>
          </p:cNvPr>
          <p:cNvPicPr>
            <a:picLocks noChangeAspect="1"/>
          </p:cNvPicPr>
          <p:nvPr/>
        </p:nvPicPr>
        <p:blipFill>
          <a:blip r:embed="rId10"/>
          <a:stretch>
            <a:fillRect/>
          </a:stretch>
        </p:blipFill>
        <p:spPr>
          <a:xfrm>
            <a:off x="5865575" y="2059566"/>
            <a:ext cx="1552575" cy="733425"/>
          </a:xfrm>
          <a:prstGeom prst="rect">
            <a:avLst/>
          </a:prstGeom>
        </p:spPr>
      </p:pic>
      <p:grpSp>
        <p:nvGrpSpPr>
          <p:cNvPr id="15" name="Group 14">
            <a:extLst>
              <a:ext uri="{FF2B5EF4-FFF2-40B4-BE49-F238E27FC236}">
                <a16:creationId xmlns:a16="http://schemas.microsoft.com/office/drawing/2014/main" id="{E77219A7-2CBE-480B-A55A-2488965E7425}"/>
              </a:ext>
            </a:extLst>
          </p:cNvPr>
          <p:cNvGrpSpPr/>
          <p:nvPr/>
        </p:nvGrpSpPr>
        <p:grpSpPr>
          <a:xfrm>
            <a:off x="1799361" y="4135835"/>
            <a:ext cx="1624459" cy="874266"/>
            <a:chOff x="1799361" y="4135835"/>
            <a:chExt cx="1624459" cy="874266"/>
          </a:xfrm>
        </p:grpSpPr>
        <p:pic>
          <p:nvPicPr>
            <p:cNvPr id="11" name="Picture 36" descr="A picture containing clock, drawing&#10;&#10;Description automatically generated">
              <a:extLst>
                <a:ext uri="{FF2B5EF4-FFF2-40B4-BE49-F238E27FC236}">
                  <a16:creationId xmlns:a16="http://schemas.microsoft.com/office/drawing/2014/main" id="{ABAB6C95-981C-4D0F-A659-77521A8B7221}"/>
                </a:ext>
              </a:extLst>
            </p:cNvPr>
            <p:cNvPicPr>
              <a:picLocks noChangeAspect="1"/>
            </p:cNvPicPr>
            <p:nvPr/>
          </p:nvPicPr>
          <p:blipFill>
            <a:blip r:embed="rId11"/>
            <a:stretch>
              <a:fillRect/>
            </a:stretch>
          </p:blipFill>
          <p:spPr>
            <a:xfrm>
              <a:off x="1799361" y="4135835"/>
              <a:ext cx="1265901" cy="874266"/>
            </a:xfrm>
            <a:prstGeom prst="rect">
              <a:avLst/>
            </a:prstGeom>
          </p:spPr>
        </p:pic>
        <p:sp>
          <p:nvSpPr>
            <p:cNvPr id="14" name="Rectangle 13">
              <a:extLst>
                <a:ext uri="{FF2B5EF4-FFF2-40B4-BE49-F238E27FC236}">
                  <a16:creationId xmlns:a16="http://schemas.microsoft.com/office/drawing/2014/main" id="{E2F3B9BD-8324-475F-AB10-C9145169BB27}"/>
                </a:ext>
              </a:extLst>
            </p:cNvPr>
            <p:cNvSpPr/>
            <p:nvPr/>
          </p:nvSpPr>
          <p:spPr>
            <a:xfrm>
              <a:off x="2509421" y="4288654"/>
              <a:ext cx="914399" cy="3743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2106369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ED4AE-4117-4A2A-999B-0EC50D6B2A8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5"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3D7ED4AE-4117-4A2A-999B-0EC50D6B2A8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AE20B3F-0E2F-41DD-9161-AFD4CFFD351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a-DK">
              <a:latin typeface="Verdana" panose="020B0604030504040204" pitchFamily="34" charset="0"/>
              <a:ea typeface="Verdana" panose="020B0604030504040204" pitchFamily="34" charset="0"/>
              <a:sym typeface="Verdana" panose="020B0604030504040204" pitchFamily="34" charset="0"/>
            </a:endParaRPr>
          </a:p>
        </p:txBody>
      </p:sp>
      <p:sp>
        <p:nvSpPr>
          <p:cNvPr id="7" name="Title 1">
            <a:extLst>
              <a:ext uri="{FF2B5EF4-FFF2-40B4-BE49-F238E27FC236}">
                <a16:creationId xmlns:a16="http://schemas.microsoft.com/office/drawing/2014/main" id="{AB2F3BDA-6BDD-46D1-868C-9356701B023E}"/>
              </a:ext>
            </a:extLst>
          </p:cNvPr>
          <p:cNvSpPr>
            <a:spLocks noGrp="1"/>
          </p:cNvSpPr>
          <p:nvPr>
            <p:ph type="title"/>
          </p:nvPr>
        </p:nvSpPr>
        <p:spPr>
          <a:xfrm>
            <a:off x="255706" y="269682"/>
            <a:ext cx="8559819" cy="689476"/>
          </a:xfrm>
        </p:spPr>
        <p:txBody>
          <a:bodyPr lIns="91440" tIns="45720" rIns="91440" bIns="45720" anchor="b">
            <a:normAutofit fontScale="90000"/>
          </a:bodyPr>
          <a:lstStyle/>
          <a:p>
            <a:r>
              <a:rPr lang="da-DK" sz="2800" b="0">
                <a:solidFill>
                  <a:schemeClr val="tx1"/>
                </a:solidFill>
                <a:latin typeface="Impact"/>
                <a:ea typeface="Verdana"/>
                <a:cs typeface="Verdana"/>
              </a:rPr>
              <a:t>3. Løsningen</a:t>
            </a:r>
            <a:r>
              <a:rPr lang="da-DK"/>
              <a:t/>
            </a:r>
            <a:br>
              <a:rPr lang="da-DK"/>
            </a:br>
            <a:r>
              <a:rPr lang="da-DK" sz="2000" b="0">
                <a:solidFill>
                  <a:schemeClr val="tx1"/>
                </a:solidFill>
                <a:latin typeface="Verdana"/>
                <a:ea typeface="Verdana"/>
                <a:cs typeface="Verdana"/>
              </a:rPr>
              <a:t>3.1.2.8 </a:t>
            </a:r>
            <a:r>
              <a:rPr lang="da-DK" sz="2000" b="0" err="1">
                <a:solidFill>
                  <a:schemeClr val="tx1"/>
                </a:solidFill>
                <a:latin typeface="Verdana"/>
                <a:ea typeface="Verdana"/>
                <a:cs typeface="Verdana"/>
              </a:rPr>
              <a:t>use</a:t>
            </a:r>
            <a:r>
              <a:rPr lang="da-DK" sz="2000" b="0">
                <a:solidFill>
                  <a:schemeClr val="tx1"/>
                </a:solidFill>
                <a:latin typeface="Verdana"/>
                <a:ea typeface="Verdana"/>
                <a:cs typeface="Verdana"/>
              </a:rPr>
              <a:t> case: RESSORTÆNDRING</a:t>
            </a:r>
            <a:endParaRPr lang="da-DK" b="0">
              <a:solidFill>
                <a:schemeClr val="tx1"/>
              </a:solidFill>
              <a:latin typeface="Verdana"/>
              <a:ea typeface="Verdana"/>
              <a:cs typeface="Verdana"/>
            </a:endParaRPr>
          </a:p>
        </p:txBody>
      </p:sp>
      <p:cxnSp>
        <p:nvCxnSpPr>
          <p:cNvPr id="164" name="Straight Connector 163">
            <a:extLst>
              <a:ext uri="{FF2B5EF4-FFF2-40B4-BE49-F238E27FC236}">
                <a16:creationId xmlns:a16="http://schemas.microsoft.com/office/drawing/2014/main" id="{57AEC517-DF95-4371-BCD4-70220FFBCA04}"/>
              </a:ext>
            </a:extLst>
          </p:cNvPr>
          <p:cNvCxnSpPr>
            <a:cxnSpLocks/>
          </p:cNvCxnSpPr>
          <p:nvPr/>
        </p:nvCxnSpPr>
        <p:spPr>
          <a:xfrm flipH="1">
            <a:off x="716801" y="4102467"/>
            <a:ext cx="7710399" cy="0"/>
          </a:xfrm>
          <a:prstGeom prst="line">
            <a:avLst/>
          </a:prstGeom>
          <a:ln w="6350">
            <a:solidFill>
              <a:srgbClr val="8AA299"/>
            </a:solidFill>
          </a:ln>
        </p:spPr>
        <p:style>
          <a:lnRef idx="1">
            <a:schemeClr val="accent1"/>
          </a:lnRef>
          <a:fillRef idx="0">
            <a:schemeClr val="accent1"/>
          </a:fillRef>
          <a:effectRef idx="0">
            <a:schemeClr val="accent1"/>
          </a:effectRef>
          <a:fontRef idx="minor">
            <a:schemeClr val="tx1"/>
          </a:fontRef>
        </p:style>
      </p:cxnSp>
      <p:grpSp>
        <p:nvGrpSpPr>
          <p:cNvPr id="165" name="Group 164">
            <a:extLst>
              <a:ext uri="{FF2B5EF4-FFF2-40B4-BE49-F238E27FC236}">
                <a16:creationId xmlns:a16="http://schemas.microsoft.com/office/drawing/2014/main" id="{ED217F91-3173-4F47-BF36-4393E775A8B0}"/>
              </a:ext>
            </a:extLst>
          </p:cNvPr>
          <p:cNvGrpSpPr/>
          <p:nvPr/>
        </p:nvGrpSpPr>
        <p:grpSpPr>
          <a:xfrm>
            <a:off x="622521" y="2108181"/>
            <a:ext cx="215006" cy="212352"/>
            <a:chOff x="-280989" y="3035886"/>
            <a:chExt cx="462913" cy="457200"/>
          </a:xfrm>
        </p:grpSpPr>
        <p:sp>
          <p:nvSpPr>
            <p:cNvPr id="166" name="Oval 165">
              <a:extLst>
                <a:ext uri="{FF2B5EF4-FFF2-40B4-BE49-F238E27FC236}">
                  <a16:creationId xmlns:a16="http://schemas.microsoft.com/office/drawing/2014/main" id="{4332F8AF-C932-4411-BDFA-CC749C0247EC}"/>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1</a:t>
              </a:r>
            </a:p>
          </p:txBody>
        </p:sp>
        <p:sp>
          <p:nvSpPr>
            <p:cNvPr id="167" name="Freeform 26">
              <a:extLst>
                <a:ext uri="{FF2B5EF4-FFF2-40B4-BE49-F238E27FC236}">
                  <a16:creationId xmlns:a16="http://schemas.microsoft.com/office/drawing/2014/main" id="{4BD7B24E-3CD2-4950-8500-2F1915FD3B19}"/>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grpSp>
        <p:nvGrpSpPr>
          <p:cNvPr id="221" name="Group 220">
            <a:extLst>
              <a:ext uri="{FF2B5EF4-FFF2-40B4-BE49-F238E27FC236}">
                <a16:creationId xmlns:a16="http://schemas.microsoft.com/office/drawing/2014/main" id="{B9511CAA-F9E3-4FEE-AD28-4FC386C16B2E}"/>
              </a:ext>
            </a:extLst>
          </p:cNvPr>
          <p:cNvGrpSpPr/>
          <p:nvPr/>
        </p:nvGrpSpPr>
        <p:grpSpPr>
          <a:xfrm>
            <a:off x="4786938" y="2108181"/>
            <a:ext cx="215006" cy="212352"/>
            <a:chOff x="-280989" y="3035886"/>
            <a:chExt cx="462913" cy="457200"/>
          </a:xfrm>
        </p:grpSpPr>
        <p:sp>
          <p:nvSpPr>
            <p:cNvPr id="222" name="Oval 221">
              <a:extLst>
                <a:ext uri="{FF2B5EF4-FFF2-40B4-BE49-F238E27FC236}">
                  <a16:creationId xmlns:a16="http://schemas.microsoft.com/office/drawing/2014/main" id="{FA9E3B47-8A3A-44AE-844D-986EC573B6A8}"/>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4</a:t>
              </a:r>
            </a:p>
          </p:txBody>
        </p:sp>
        <p:sp>
          <p:nvSpPr>
            <p:cNvPr id="223" name="Freeform 26">
              <a:extLst>
                <a:ext uri="{FF2B5EF4-FFF2-40B4-BE49-F238E27FC236}">
                  <a16:creationId xmlns:a16="http://schemas.microsoft.com/office/drawing/2014/main" id="{085D17CF-7626-44CE-8EDF-8BAAEE90D111}"/>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cxnSp>
        <p:nvCxnSpPr>
          <p:cNvPr id="260" name="Straight Connector 259">
            <a:extLst>
              <a:ext uri="{FF2B5EF4-FFF2-40B4-BE49-F238E27FC236}">
                <a16:creationId xmlns:a16="http://schemas.microsoft.com/office/drawing/2014/main" id="{6B563561-0F4B-4160-972D-1397B5FC1482}"/>
              </a:ext>
            </a:extLst>
          </p:cNvPr>
          <p:cNvCxnSpPr>
            <a:cxnSpLocks/>
          </p:cNvCxnSpPr>
          <p:nvPr/>
        </p:nvCxnSpPr>
        <p:spPr>
          <a:xfrm flipV="1">
            <a:off x="4572000" y="2108182"/>
            <a:ext cx="0" cy="3750012"/>
          </a:xfrm>
          <a:prstGeom prst="line">
            <a:avLst/>
          </a:prstGeom>
          <a:ln w="6350">
            <a:solidFill>
              <a:srgbClr val="8AA299"/>
            </a:solidFill>
          </a:ln>
        </p:spPr>
        <p:style>
          <a:lnRef idx="1">
            <a:schemeClr val="accent1"/>
          </a:lnRef>
          <a:fillRef idx="0">
            <a:schemeClr val="accent1"/>
          </a:fillRef>
          <a:effectRef idx="0">
            <a:schemeClr val="accent1"/>
          </a:effectRef>
          <a:fontRef idx="minor">
            <a:schemeClr val="tx1"/>
          </a:fontRef>
        </p:style>
      </p:cxnSp>
      <p:grpSp>
        <p:nvGrpSpPr>
          <p:cNvPr id="268" name="Group 267">
            <a:extLst>
              <a:ext uri="{FF2B5EF4-FFF2-40B4-BE49-F238E27FC236}">
                <a16:creationId xmlns:a16="http://schemas.microsoft.com/office/drawing/2014/main" id="{7E6D29CB-EFB7-46EF-A544-57493263C20C}"/>
              </a:ext>
            </a:extLst>
          </p:cNvPr>
          <p:cNvGrpSpPr/>
          <p:nvPr/>
        </p:nvGrpSpPr>
        <p:grpSpPr>
          <a:xfrm rot="5400000">
            <a:off x="723938" y="4015844"/>
            <a:ext cx="225738" cy="213318"/>
            <a:chOff x="496618" y="4271624"/>
            <a:chExt cx="490538" cy="463550"/>
          </a:xfrm>
        </p:grpSpPr>
        <p:sp>
          <p:nvSpPr>
            <p:cNvPr id="269" name="Freeform 73">
              <a:extLst>
                <a:ext uri="{FF2B5EF4-FFF2-40B4-BE49-F238E27FC236}">
                  <a16:creationId xmlns:a16="http://schemas.microsoft.com/office/drawing/2014/main" id="{011F1F41-A323-4EA3-95BF-3BB89C23127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0" name="Freeform 74">
              <a:extLst>
                <a:ext uri="{FF2B5EF4-FFF2-40B4-BE49-F238E27FC236}">
                  <a16:creationId xmlns:a16="http://schemas.microsoft.com/office/drawing/2014/main" id="{63A13520-D5FE-4A12-A2B0-0F7FCE2FAD6D}"/>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1" name="Freeform 75">
              <a:extLst>
                <a:ext uri="{FF2B5EF4-FFF2-40B4-BE49-F238E27FC236}">
                  <a16:creationId xmlns:a16="http://schemas.microsoft.com/office/drawing/2014/main" id="{B6BA7D65-5CC1-4940-A762-717FCBA5566D}"/>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72" name="Group 271">
            <a:extLst>
              <a:ext uri="{FF2B5EF4-FFF2-40B4-BE49-F238E27FC236}">
                <a16:creationId xmlns:a16="http://schemas.microsoft.com/office/drawing/2014/main" id="{3DEDF1D9-1707-4706-B110-040B11795645}"/>
              </a:ext>
            </a:extLst>
          </p:cNvPr>
          <p:cNvGrpSpPr/>
          <p:nvPr/>
        </p:nvGrpSpPr>
        <p:grpSpPr>
          <a:xfrm>
            <a:off x="4393887" y="5096447"/>
            <a:ext cx="225738" cy="213318"/>
            <a:chOff x="496618" y="4271624"/>
            <a:chExt cx="490538" cy="463550"/>
          </a:xfrm>
        </p:grpSpPr>
        <p:sp>
          <p:nvSpPr>
            <p:cNvPr id="273" name="Freeform 73">
              <a:extLst>
                <a:ext uri="{FF2B5EF4-FFF2-40B4-BE49-F238E27FC236}">
                  <a16:creationId xmlns:a16="http://schemas.microsoft.com/office/drawing/2014/main" id="{E6577463-63D4-499E-B243-A5319CA76D80}"/>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4" name="Freeform 74">
              <a:extLst>
                <a:ext uri="{FF2B5EF4-FFF2-40B4-BE49-F238E27FC236}">
                  <a16:creationId xmlns:a16="http://schemas.microsoft.com/office/drawing/2014/main" id="{3558AA2D-74AF-4D5C-BCCF-52317191801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5" name="Freeform 75">
              <a:extLst>
                <a:ext uri="{FF2B5EF4-FFF2-40B4-BE49-F238E27FC236}">
                  <a16:creationId xmlns:a16="http://schemas.microsoft.com/office/drawing/2014/main" id="{4C1E44C1-D3BB-475E-894D-4442DC405F1D}"/>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76" name="Group 275">
            <a:extLst>
              <a:ext uri="{FF2B5EF4-FFF2-40B4-BE49-F238E27FC236}">
                <a16:creationId xmlns:a16="http://schemas.microsoft.com/office/drawing/2014/main" id="{69F8D3F5-5F1B-4816-B7A6-812194CA8492}"/>
              </a:ext>
            </a:extLst>
          </p:cNvPr>
          <p:cNvGrpSpPr/>
          <p:nvPr/>
        </p:nvGrpSpPr>
        <p:grpSpPr>
          <a:xfrm rot="16200000">
            <a:off x="8207672" y="3984094"/>
            <a:ext cx="225738" cy="213318"/>
            <a:chOff x="496618" y="4271624"/>
            <a:chExt cx="490538" cy="463550"/>
          </a:xfrm>
        </p:grpSpPr>
        <p:sp>
          <p:nvSpPr>
            <p:cNvPr id="277" name="Freeform 73">
              <a:extLst>
                <a:ext uri="{FF2B5EF4-FFF2-40B4-BE49-F238E27FC236}">
                  <a16:creationId xmlns:a16="http://schemas.microsoft.com/office/drawing/2014/main" id="{1135BE0F-7E39-48F8-9DD9-CC51C4C4A927}"/>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 name="T6" fmla="*/ 0 w 199"/>
                <a:gd name="T7" fmla="*/ 292 h 292"/>
              </a:gdLst>
              <a:ahLst/>
              <a:cxnLst>
                <a:cxn ang="0">
                  <a:pos x="T0" y="T1"/>
                </a:cxn>
                <a:cxn ang="0">
                  <a:pos x="T2" y="T3"/>
                </a:cxn>
                <a:cxn ang="0">
                  <a:pos x="T4" y="T5"/>
                </a:cxn>
                <a:cxn ang="0">
                  <a:pos x="T6" y="T7"/>
                </a:cxn>
              </a:cxnLst>
              <a:rect l="0" t="0" r="r" b="b"/>
              <a:pathLst>
                <a:path w="199" h="292">
                  <a:moveTo>
                    <a:pt x="0" y="292"/>
                  </a:moveTo>
                  <a:lnTo>
                    <a:pt x="199" y="147"/>
                  </a:lnTo>
                  <a:lnTo>
                    <a:pt x="0" y="0"/>
                  </a:lnTo>
                  <a:lnTo>
                    <a:pt x="0" y="292"/>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78" name="Freeform 74">
              <a:extLst>
                <a:ext uri="{FF2B5EF4-FFF2-40B4-BE49-F238E27FC236}">
                  <a16:creationId xmlns:a16="http://schemas.microsoft.com/office/drawing/2014/main" id="{C0EB1807-E59B-4719-884E-969EF8E26D11}"/>
                </a:ext>
              </a:extLst>
            </p:cNvPr>
            <p:cNvSpPr>
              <a:spLocks/>
            </p:cNvSpPr>
            <p:nvPr/>
          </p:nvSpPr>
          <p:spPr bwMode="auto">
            <a:xfrm>
              <a:off x="595043" y="4271624"/>
              <a:ext cx="315913" cy="463550"/>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9" name="Freeform 75">
              <a:extLst>
                <a:ext uri="{FF2B5EF4-FFF2-40B4-BE49-F238E27FC236}">
                  <a16:creationId xmlns:a16="http://schemas.microsoft.com/office/drawing/2014/main" id="{17BC1CBE-0C13-413C-A26A-13E36F555310}"/>
                </a:ext>
              </a:extLst>
            </p:cNvPr>
            <p:cNvSpPr>
              <a:spLocks/>
            </p:cNvSpPr>
            <p:nvPr/>
          </p:nvSpPr>
          <p:spPr bwMode="auto">
            <a:xfrm>
              <a:off x="496618" y="4298611"/>
              <a:ext cx="490538" cy="414338"/>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80" name="Group 279">
            <a:extLst>
              <a:ext uri="{FF2B5EF4-FFF2-40B4-BE49-F238E27FC236}">
                <a16:creationId xmlns:a16="http://schemas.microsoft.com/office/drawing/2014/main" id="{C4AB9758-1282-4BC3-88C9-B661799AE662}"/>
              </a:ext>
            </a:extLst>
          </p:cNvPr>
          <p:cNvGrpSpPr/>
          <p:nvPr/>
        </p:nvGrpSpPr>
        <p:grpSpPr>
          <a:xfrm>
            <a:off x="4786938" y="4334428"/>
            <a:ext cx="215006" cy="212352"/>
            <a:chOff x="-280989" y="3035886"/>
            <a:chExt cx="462913" cy="457200"/>
          </a:xfrm>
        </p:grpSpPr>
        <p:sp>
          <p:nvSpPr>
            <p:cNvPr id="281" name="Oval 280">
              <a:extLst>
                <a:ext uri="{FF2B5EF4-FFF2-40B4-BE49-F238E27FC236}">
                  <a16:creationId xmlns:a16="http://schemas.microsoft.com/office/drawing/2014/main" id="{A06ED608-6103-4BA7-89DC-BA115ECF9C00}"/>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3</a:t>
              </a:r>
            </a:p>
          </p:txBody>
        </p:sp>
        <p:sp>
          <p:nvSpPr>
            <p:cNvPr id="282" name="Freeform 26">
              <a:extLst>
                <a:ext uri="{FF2B5EF4-FFF2-40B4-BE49-F238E27FC236}">
                  <a16:creationId xmlns:a16="http://schemas.microsoft.com/office/drawing/2014/main" id="{DDA785A3-140A-40E7-B2D0-C5BCD3D7A48C}"/>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grpSp>
        <p:nvGrpSpPr>
          <p:cNvPr id="283" name="Group 282">
            <a:extLst>
              <a:ext uri="{FF2B5EF4-FFF2-40B4-BE49-F238E27FC236}">
                <a16:creationId xmlns:a16="http://schemas.microsoft.com/office/drawing/2014/main" id="{28F157E5-2E35-444E-AEBE-63E775172035}"/>
              </a:ext>
            </a:extLst>
          </p:cNvPr>
          <p:cNvGrpSpPr/>
          <p:nvPr/>
        </p:nvGrpSpPr>
        <p:grpSpPr>
          <a:xfrm>
            <a:off x="622521" y="4334428"/>
            <a:ext cx="215006" cy="212352"/>
            <a:chOff x="-280989" y="3035886"/>
            <a:chExt cx="462913" cy="457200"/>
          </a:xfrm>
        </p:grpSpPr>
        <p:sp>
          <p:nvSpPr>
            <p:cNvPr id="284" name="Oval 283">
              <a:extLst>
                <a:ext uri="{FF2B5EF4-FFF2-40B4-BE49-F238E27FC236}">
                  <a16:creationId xmlns:a16="http://schemas.microsoft.com/office/drawing/2014/main" id="{CBC00A76-E194-4FCE-90B2-97284D719C01}"/>
                </a:ext>
              </a:extLst>
            </p:cNvPr>
            <p:cNvSpPr/>
            <p:nvPr/>
          </p:nvSpPr>
          <p:spPr>
            <a:xfrm>
              <a:off x="-280989" y="3060058"/>
              <a:ext cx="423347" cy="423348"/>
            </a:xfrm>
            <a:prstGeom prst="ellipse">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b="1">
                  <a:solidFill>
                    <a:schemeClr val="tx1"/>
                  </a:solidFill>
                </a:rPr>
                <a:t>2</a:t>
              </a:r>
            </a:p>
          </p:txBody>
        </p:sp>
        <p:sp>
          <p:nvSpPr>
            <p:cNvPr id="285" name="Freeform 26">
              <a:extLst>
                <a:ext uri="{FF2B5EF4-FFF2-40B4-BE49-F238E27FC236}">
                  <a16:creationId xmlns:a16="http://schemas.microsoft.com/office/drawing/2014/main" id="{F7992165-9BC8-4BEF-9E14-BD545799E31C}"/>
                </a:ext>
              </a:extLst>
            </p:cNvPr>
            <p:cNvSpPr>
              <a:spLocks/>
            </p:cNvSpPr>
            <p:nvPr/>
          </p:nvSpPr>
          <p:spPr bwMode="auto">
            <a:xfrm>
              <a:off x="-280039" y="3035886"/>
              <a:ext cx="461963" cy="457200"/>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b="1"/>
            </a:p>
          </p:txBody>
        </p:sp>
      </p:grpSp>
      <p:sp>
        <p:nvSpPr>
          <p:cNvPr id="287" name="Rectangle 286">
            <a:extLst>
              <a:ext uri="{FF2B5EF4-FFF2-40B4-BE49-F238E27FC236}">
                <a16:creationId xmlns:a16="http://schemas.microsoft.com/office/drawing/2014/main" id="{148B3DDD-3DFD-4791-BFBD-3874CC3D264E}"/>
              </a:ext>
            </a:extLst>
          </p:cNvPr>
          <p:cNvSpPr/>
          <p:nvPr/>
        </p:nvSpPr>
        <p:spPr>
          <a:xfrm>
            <a:off x="1619249" y="1194945"/>
            <a:ext cx="7129464" cy="5634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a:solidFill>
                  <a:schemeClr val="tx1"/>
                </a:solidFill>
              </a:rPr>
              <a:t>Der ønskes en løsning, hvor brugere på en fleksibel måde kan flyttes, når der sker ressortændringer samtidig med at deres historik bevares.</a:t>
            </a:r>
          </a:p>
        </p:txBody>
      </p:sp>
      <p:sp>
        <p:nvSpPr>
          <p:cNvPr id="150" name="Rectangle 149">
            <a:extLst>
              <a:ext uri="{FF2B5EF4-FFF2-40B4-BE49-F238E27FC236}">
                <a16:creationId xmlns:a16="http://schemas.microsoft.com/office/drawing/2014/main" id="{ABF40D23-6491-4158-B904-B1DED99272C8}"/>
              </a:ext>
            </a:extLst>
          </p:cNvPr>
          <p:cNvSpPr/>
          <p:nvPr/>
        </p:nvSpPr>
        <p:spPr>
          <a:xfrm>
            <a:off x="358325" y="1194945"/>
            <a:ext cx="1260925" cy="563419"/>
          </a:xfrm>
          <a:prstGeom prst="rect">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b="1" err="1">
                <a:solidFill>
                  <a:schemeClr val="tx1"/>
                </a:solidFill>
              </a:rPr>
              <a:t>Use</a:t>
            </a:r>
            <a:r>
              <a:rPr lang="da-DK" sz="1200" b="1">
                <a:solidFill>
                  <a:schemeClr val="tx1"/>
                </a:solidFill>
              </a:rPr>
              <a:t> case 8</a:t>
            </a:r>
          </a:p>
        </p:txBody>
      </p:sp>
      <p:sp>
        <p:nvSpPr>
          <p:cNvPr id="140" name="Rectangle 139">
            <a:extLst>
              <a:ext uri="{FF2B5EF4-FFF2-40B4-BE49-F238E27FC236}">
                <a16:creationId xmlns:a16="http://schemas.microsoft.com/office/drawing/2014/main" id="{7DB26B68-212B-4C74-AA36-8D209B2EE9C2}"/>
              </a:ext>
            </a:extLst>
          </p:cNvPr>
          <p:cNvSpPr/>
          <p:nvPr/>
        </p:nvSpPr>
        <p:spPr>
          <a:xfrm>
            <a:off x="601985" y="3012865"/>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Flere brugere skal flytte organisation og bogføringskreds grundet en ressortændring, og man skal derfor flytte mange brugere på én </a:t>
            </a:r>
            <a:r>
              <a:rPr lang="da-DK" sz="900" dirty="0" smtClean="0">
                <a:solidFill>
                  <a:schemeClr val="tx1"/>
                </a:solidFill>
              </a:rPr>
              <a:t>gang.</a:t>
            </a:r>
            <a:endParaRPr lang="da-DK" sz="900" dirty="0">
              <a:solidFill>
                <a:schemeClr val="tx1"/>
              </a:solidFill>
            </a:endParaRPr>
          </a:p>
          <a:p>
            <a:endParaRPr lang="da-DK" sz="900" dirty="0">
              <a:solidFill>
                <a:schemeClr val="tx1"/>
              </a:solidFill>
            </a:endParaRPr>
          </a:p>
        </p:txBody>
      </p:sp>
      <p:sp>
        <p:nvSpPr>
          <p:cNvPr id="141" name="Rectangle 140">
            <a:extLst>
              <a:ext uri="{FF2B5EF4-FFF2-40B4-BE49-F238E27FC236}">
                <a16:creationId xmlns:a16="http://schemas.microsoft.com/office/drawing/2014/main" id="{749BA3C8-648D-42A0-BB08-41E3D5C37490}"/>
              </a:ext>
            </a:extLst>
          </p:cNvPr>
          <p:cNvSpPr/>
          <p:nvPr/>
        </p:nvSpPr>
        <p:spPr>
          <a:xfrm>
            <a:off x="620716" y="5095193"/>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Brugerne skal alle have nye bruger </a:t>
            </a:r>
            <a:r>
              <a:rPr lang="da-DK" sz="900" dirty="0" err="1">
                <a:solidFill>
                  <a:schemeClr val="tx1"/>
                </a:solidFill>
              </a:rPr>
              <a:t>id’er</a:t>
            </a:r>
            <a:r>
              <a:rPr lang="da-DK" sz="900" dirty="0">
                <a:solidFill>
                  <a:schemeClr val="tx1"/>
                </a:solidFill>
              </a:rPr>
              <a:t>, der svarer til deres nye organisation, men skal have deres historik og indstillinger med over fra den </a:t>
            </a:r>
            <a:r>
              <a:rPr lang="da-DK" sz="900" dirty="0" smtClean="0">
                <a:solidFill>
                  <a:schemeClr val="tx1"/>
                </a:solidFill>
              </a:rPr>
              <a:t>gamle.</a:t>
            </a:r>
            <a:endParaRPr lang="da-DK" sz="900" dirty="0">
              <a:solidFill>
                <a:schemeClr val="tx1"/>
              </a:solidFill>
            </a:endParaRPr>
          </a:p>
        </p:txBody>
      </p:sp>
      <p:sp>
        <p:nvSpPr>
          <p:cNvPr id="142" name="Rectangle 141">
            <a:extLst>
              <a:ext uri="{FF2B5EF4-FFF2-40B4-BE49-F238E27FC236}">
                <a16:creationId xmlns:a16="http://schemas.microsoft.com/office/drawing/2014/main" id="{1F831652-138C-47D0-9B56-1149F3937DAC}"/>
              </a:ext>
            </a:extLst>
          </p:cNvPr>
          <p:cNvSpPr/>
          <p:nvPr/>
        </p:nvSpPr>
        <p:spPr>
          <a:xfrm>
            <a:off x="4786938" y="5095191"/>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De tidligere bruger </a:t>
            </a:r>
            <a:r>
              <a:rPr lang="da-DK" sz="900" dirty="0" err="1">
                <a:solidFill>
                  <a:schemeClr val="tx1"/>
                </a:solidFill>
              </a:rPr>
              <a:t>id’er</a:t>
            </a:r>
            <a:r>
              <a:rPr lang="da-DK" sz="900" dirty="0">
                <a:solidFill>
                  <a:schemeClr val="tx1"/>
                </a:solidFill>
              </a:rPr>
              <a:t> skal </a:t>
            </a:r>
            <a:r>
              <a:rPr lang="da-DK" sz="900" dirty="0" err="1">
                <a:solidFill>
                  <a:schemeClr val="tx1"/>
                </a:solidFill>
              </a:rPr>
              <a:t>deaktiveres</a:t>
            </a:r>
            <a:r>
              <a:rPr lang="da-DK" sz="900" dirty="0">
                <a:solidFill>
                  <a:schemeClr val="tx1"/>
                </a:solidFill>
              </a:rPr>
              <a:t> eller tilkobles det nye id, så man ikke har flere brugere liggende til den samme ansatte, der ikke kan knyttes </a:t>
            </a:r>
            <a:r>
              <a:rPr lang="da-DK" sz="900" dirty="0" smtClean="0">
                <a:solidFill>
                  <a:schemeClr val="tx1"/>
                </a:solidFill>
              </a:rPr>
              <a:t>sammen.</a:t>
            </a:r>
            <a:endParaRPr lang="da-DK" sz="900" dirty="0">
              <a:solidFill>
                <a:schemeClr val="tx1"/>
              </a:solidFill>
            </a:endParaRPr>
          </a:p>
        </p:txBody>
      </p:sp>
      <p:sp>
        <p:nvSpPr>
          <p:cNvPr id="143" name="Rectangle 142">
            <a:extLst>
              <a:ext uri="{FF2B5EF4-FFF2-40B4-BE49-F238E27FC236}">
                <a16:creationId xmlns:a16="http://schemas.microsoft.com/office/drawing/2014/main" id="{1B38998F-06A3-4628-A18D-FB786D61B4BE}"/>
              </a:ext>
            </a:extLst>
          </p:cNvPr>
          <p:cNvSpPr/>
          <p:nvPr/>
        </p:nvSpPr>
        <p:spPr>
          <a:xfrm>
            <a:off x="4808398" y="3008771"/>
            <a:ext cx="3708000"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da-DK" sz="900" dirty="0">
                <a:solidFill>
                  <a:schemeClr val="tx1"/>
                </a:solidFill>
              </a:rPr>
              <a:t>De overflyttede brugere kan herefter tildeles flere eller ændrede roller, ændret prokura med mere, men uden at man mister historik og </a:t>
            </a:r>
            <a:r>
              <a:rPr lang="da-DK" sz="900" dirty="0" smtClean="0">
                <a:solidFill>
                  <a:schemeClr val="tx1"/>
                </a:solidFill>
              </a:rPr>
              <a:t>sammenkobling.</a:t>
            </a:r>
            <a:endParaRPr lang="da-DK" sz="900" dirty="0">
              <a:solidFill>
                <a:schemeClr val="tx1"/>
              </a:solidFill>
            </a:endParaRPr>
          </a:p>
        </p:txBody>
      </p:sp>
      <p:pic>
        <p:nvPicPr>
          <p:cNvPr id="10" name="Picture 34" descr="A close up of a logo&#10;&#10;Description automatically generated">
            <a:extLst>
              <a:ext uri="{FF2B5EF4-FFF2-40B4-BE49-F238E27FC236}">
                <a16:creationId xmlns:a16="http://schemas.microsoft.com/office/drawing/2014/main" id="{699DD90A-2D76-4419-B0BF-734A6F1F5EA6}"/>
              </a:ext>
            </a:extLst>
          </p:cNvPr>
          <p:cNvPicPr>
            <a:picLocks noChangeAspect="1"/>
          </p:cNvPicPr>
          <p:nvPr/>
        </p:nvPicPr>
        <p:blipFill>
          <a:blip r:embed="rId8"/>
          <a:stretch>
            <a:fillRect/>
          </a:stretch>
        </p:blipFill>
        <p:spPr>
          <a:xfrm>
            <a:off x="6228984" y="1900971"/>
            <a:ext cx="695325" cy="828675"/>
          </a:xfrm>
          <a:prstGeom prst="rect">
            <a:avLst/>
          </a:prstGeom>
        </p:spPr>
      </p:pic>
      <p:pic>
        <p:nvPicPr>
          <p:cNvPr id="3" name="Picture 8" descr="A picture containing drawing&#10;&#10;Description automatically generated">
            <a:extLst>
              <a:ext uri="{FF2B5EF4-FFF2-40B4-BE49-F238E27FC236}">
                <a16:creationId xmlns:a16="http://schemas.microsoft.com/office/drawing/2014/main" id="{6570803D-1851-4B10-B35B-805BB04BBA2B}"/>
              </a:ext>
            </a:extLst>
          </p:cNvPr>
          <p:cNvPicPr>
            <a:picLocks noChangeAspect="1"/>
          </p:cNvPicPr>
          <p:nvPr/>
        </p:nvPicPr>
        <p:blipFill>
          <a:blip r:embed="rId9"/>
          <a:stretch>
            <a:fillRect/>
          </a:stretch>
        </p:blipFill>
        <p:spPr>
          <a:xfrm>
            <a:off x="1909776" y="4224999"/>
            <a:ext cx="942975" cy="714375"/>
          </a:xfrm>
          <a:prstGeom prst="rect">
            <a:avLst/>
          </a:prstGeom>
        </p:spPr>
      </p:pic>
      <p:pic>
        <p:nvPicPr>
          <p:cNvPr id="11" name="Picture 8" descr="A close up of a logo&#10;&#10;Description automatically generated">
            <a:extLst>
              <a:ext uri="{FF2B5EF4-FFF2-40B4-BE49-F238E27FC236}">
                <a16:creationId xmlns:a16="http://schemas.microsoft.com/office/drawing/2014/main" id="{B8CB25DA-2082-4953-9D73-395608C0ADBF}"/>
              </a:ext>
            </a:extLst>
          </p:cNvPr>
          <p:cNvPicPr>
            <a:picLocks noChangeAspect="1"/>
          </p:cNvPicPr>
          <p:nvPr/>
        </p:nvPicPr>
        <p:blipFill>
          <a:blip r:embed="rId10"/>
          <a:stretch>
            <a:fillRect/>
          </a:stretch>
        </p:blipFill>
        <p:spPr>
          <a:xfrm>
            <a:off x="2133749" y="2073181"/>
            <a:ext cx="933450" cy="771525"/>
          </a:xfrm>
          <a:prstGeom prst="rect">
            <a:avLst/>
          </a:prstGeom>
        </p:spPr>
      </p:pic>
      <p:pic>
        <p:nvPicPr>
          <p:cNvPr id="49" name="Picture 8" descr="A picture containing drawing&#10;&#10;Description automatically generated">
            <a:extLst>
              <a:ext uri="{FF2B5EF4-FFF2-40B4-BE49-F238E27FC236}">
                <a16:creationId xmlns:a16="http://schemas.microsoft.com/office/drawing/2014/main" id="{8AE05678-C929-40B4-ADDB-00B94DB79047}"/>
              </a:ext>
            </a:extLst>
          </p:cNvPr>
          <p:cNvPicPr>
            <a:picLocks noChangeAspect="1"/>
          </p:cNvPicPr>
          <p:nvPr/>
        </p:nvPicPr>
        <p:blipFill rotWithShape="1">
          <a:blip r:embed="rId9"/>
          <a:srcRect r="-788" b="52083"/>
          <a:stretch/>
        </p:blipFill>
        <p:spPr>
          <a:xfrm>
            <a:off x="1650844" y="1916804"/>
            <a:ext cx="950401" cy="342305"/>
          </a:xfrm>
          <a:prstGeom prst="rect">
            <a:avLst/>
          </a:prstGeom>
        </p:spPr>
      </p:pic>
      <p:grpSp>
        <p:nvGrpSpPr>
          <p:cNvPr id="17" name="Group 16">
            <a:extLst>
              <a:ext uri="{FF2B5EF4-FFF2-40B4-BE49-F238E27FC236}">
                <a16:creationId xmlns:a16="http://schemas.microsoft.com/office/drawing/2014/main" id="{0665B5D7-054D-4AA1-A784-F69B5F0BE1A0}"/>
              </a:ext>
            </a:extLst>
          </p:cNvPr>
          <p:cNvGrpSpPr/>
          <p:nvPr/>
        </p:nvGrpSpPr>
        <p:grpSpPr>
          <a:xfrm>
            <a:off x="5848256" y="4298363"/>
            <a:ext cx="1498839" cy="567903"/>
            <a:chOff x="5781674" y="4335353"/>
            <a:chExt cx="1498839" cy="567903"/>
          </a:xfrm>
        </p:grpSpPr>
        <p:pic>
          <p:nvPicPr>
            <p:cNvPr id="12" name="Picture 36" descr="A close up of a logo&#10;&#10;Description automatically generated">
              <a:extLst>
                <a:ext uri="{FF2B5EF4-FFF2-40B4-BE49-F238E27FC236}">
                  <a16:creationId xmlns:a16="http://schemas.microsoft.com/office/drawing/2014/main" id="{A7019C98-DA26-4B56-847D-41AD7E820449}"/>
                </a:ext>
              </a:extLst>
            </p:cNvPr>
            <p:cNvPicPr>
              <a:picLocks noChangeAspect="1"/>
            </p:cNvPicPr>
            <p:nvPr/>
          </p:nvPicPr>
          <p:blipFill rotWithShape="1">
            <a:blip r:embed="rId11"/>
            <a:srcRect l="-1307" t="39823" r="653" b="-885"/>
            <a:stretch/>
          </p:blipFill>
          <p:spPr>
            <a:xfrm>
              <a:off x="6145120" y="4395390"/>
              <a:ext cx="1135393" cy="507866"/>
            </a:xfrm>
            <a:prstGeom prst="rect">
              <a:avLst/>
            </a:prstGeom>
          </p:spPr>
        </p:pic>
        <p:sp>
          <p:nvSpPr>
            <p:cNvPr id="14" name="Rectangle 13">
              <a:extLst>
                <a:ext uri="{FF2B5EF4-FFF2-40B4-BE49-F238E27FC236}">
                  <a16:creationId xmlns:a16="http://schemas.microsoft.com/office/drawing/2014/main" id="{C5173FF6-EDC0-4453-B180-DF183172BB5D}"/>
                </a:ext>
              </a:extLst>
            </p:cNvPr>
            <p:cNvSpPr/>
            <p:nvPr/>
          </p:nvSpPr>
          <p:spPr>
            <a:xfrm>
              <a:off x="5781674" y="4335353"/>
              <a:ext cx="1062360" cy="152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169949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29">
            <a:extLst>
              <a:ext uri="{FF2B5EF4-FFF2-40B4-BE49-F238E27FC236}">
                <a16:creationId xmlns:a16="http://schemas.microsoft.com/office/drawing/2014/main" id="{4DDA5C39-A59D-4CDD-B4F9-015858594AB0}"/>
              </a:ext>
            </a:extLst>
          </p:cNvPr>
          <p:cNvSpPr>
            <a:spLocks noGrp="1"/>
          </p:cNvSpPr>
          <p:nvPr>
            <p:ph type="title"/>
          </p:nvPr>
        </p:nvSpPr>
        <p:spPr/>
        <p:txBody>
          <a:bodyPr/>
          <a:lstStyle/>
          <a:p>
            <a:r>
              <a:rPr lang="da-DK" sz="2585">
                <a:latin typeface="Impact" panose="020B0806030902050204" pitchFamily="34" charset="0"/>
              </a:rPr>
              <a:t>INDHOLD</a:t>
            </a:r>
            <a:endParaRPr lang="da-DK" sz="2585"/>
          </a:p>
        </p:txBody>
      </p:sp>
      <p:sp>
        <p:nvSpPr>
          <p:cNvPr id="2" name="Rectangle 1">
            <a:extLst>
              <a:ext uri="{FF2B5EF4-FFF2-40B4-BE49-F238E27FC236}">
                <a16:creationId xmlns:a16="http://schemas.microsoft.com/office/drawing/2014/main" id="{9B04CA50-9282-471C-9744-3390C9FC9A7E}"/>
              </a:ext>
            </a:extLst>
          </p:cNvPr>
          <p:cNvSpPr/>
          <p:nvPr/>
        </p:nvSpPr>
        <p:spPr>
          <a:xfrm>
            <a:off x="356090" y="2027714"/>
            <a:ext cx="1606269" cy="194748"/>
          </a:xfrm>
          <a:prstGeom prst="rect">
            <a:avLst/>
          </a:prstGeom>
        </p:spPr>
        <p:txBody>
          <a:bodyPr wrap="none" lIns="0" tIns="0" rIns="0" bIns="0">
            <a:noAutofit/>
          </a:bodyPr>
          <a:lstStyle/>
          <a:p>
            <a:endParaRPr lang="en-US" sz="2954">
              <a:latin typeface="Impact" panose="020B0806030902050204" pitchFamily="34" charset="0"/>
            </a:endParaRPr>
          </a:p>
        </p:txBody>
      </p:sp>
      <p:sp>
        <p:nvSpPr>
          <p:cNvPr id="3" name="Rectangle 2">
            <a:extLst>
              <a:ext uri="{FF2B5EF4-FFF2-40B4-BE49-F238E27FC236}">
                <a16:creationId xmlns:a16="http://schemas.microsoft.com/office/drawing/2014/main" id="{8B8ED9C7-4B0C-49D8-8082-012F104C8E33}"/>
              </a:ext>
            </a:extLst>
          </p:cNvPr>
          <p:cNvSpPr/>
          <p:nvPr/>
        </p:nvSpPr>
        <p:spPr>
          <a:xfrm>
            <a:off x="822583" y="2598914"/>
            <a:ext cx="3220788" cy="145542"/>
          </a:xfrm>
          <a:prstGeom prst="rect">
            <a:avLst/>
          </a:prstGeom>
        </p:spPr>
        <p:txBody>
          <a:bodyPr wrap="none" lIns="0" tIns="0" rIns="0" bIns="0">
            <a:noAutofit/>
          </a:bodyPr>
          <a:lstStyle/>
          <a:p>
            <a:r>
              <a:rPr lang="da-DK" sz="1400"/>
              <a:t>Intro del 1: Formål med Dokumentet </a:t>
            </a:r>
          </a:p>
        </p:txBody>
      </p:sp>
      <p:sp>
        <p:nvSpPr>
          <p:cNvPr id="4" name="Rectangle 3">
            <a:extLst>
              <a:ext uri="{FF2B5EF4-FFF2-40B4-BE49-F238E27FC236}">
                <a16:creationId xmlns:a16="http://schemas.microsoft.com/office/drawing/2014/main" id="{B739D7FC-6F1E-469E-8DEC-EA7F6C84901E}"/>
              </a:ext>
            </a:extLst>
          </p:cNvPr>
          <p:cNvSpPr/>
          <p:nvPr/>
        </p:nvSpPr>
        <p:spPr>
          <a:xfrm>
            <a:off x="822583" y="3017776"/>
            <a:ext cx="1809166" cy="145542"/>
          </a:xfrm>
          <a:prstGeom prst="rect">
            <a:avLst/>
          </a:prstGeom>
        </p:spPr>
        <p:txBody>
          <a:bodyPr wrap="none" lIns="0" tIns="0" rIns="0" bIns="0">
            <a:noAutofit/>
          </a:bodyPr>
          <a:lstStyle/>
          <a:p>
            <a:r>
              <a:rPr lang="da-DK" sz="1400"/>
              <a:t>Intro del 2: Formål med Hovedelementerne i RFI Materialet </a:t>
            </a:r>
          </a:p>
        </p:txBody>
      </p:sp>
      <p:sp>
        <p:nvSpPr>
          <p:cNvPr id="5" name="Rectangle 4">
            <a:extLst>
              <a:ext uri="{FF2B5EF4-FFF2-40B4-BE49-F238E27FC236}">
                <a16:creationId xmlns:a16="http://schemas.microsoft.com/office/drawing/2014/main" id="{49C032C8-3C16-4691-8136-73598F50B3C0}"/>
              </a:ext>
            </a:extLst>
          </p:cNvPr>
          <p:cNvSpPr/>
          <p:nvPr/>
        </p:nvSpPr>
        <p:spPr>
          <a:xfrm>
            <a:off x="822583" y="3428551"/>
            <a:ext cx="1639030" cy="161713"/>
          </a:xfrm>
          <a:prstGeom prst="rect">
            <a:avLst/>
          </a:prstGeom>
        </p:spPr>
        <p:txBody>
          <a:bodyPr wrap="none" lIns="0" tIns="0" rIns="0" bIns="0">
            <a:noAutofit/>
          </a:bodyPr>
          <a:lstStyle/>
          <a:p>
            <a:r>
              <a:rPr lang="da-DK" sz="1400"/>
              <a:t>1. Baggrund og Formål </a:t>
            </a:r>
          </a:p>
        </p:txBody>
      </p:sp>
      <p:sp>
        <p:nvSpPr>
          <p:cNvPr id="6" name="Rectangle 5">
            <a:extLst>
              <a:ext uri="{FF2B5EF4-FFF2-40B4-BE49-F238E27FC236}">
                <a16:creationId xmlns:a16="http://schemas.microsoft.com/office/drawing/2014/main" id="{B68A7086-BF4B-47A4-9B2A-301692FF0A5A}"/>
              </a:ext>
            </a:extLst>
          </p:cNvPr>
          <p:cNvSpPr/>
          <p:nvPr/>
        </p:nvSpPr>
        <p:spPr>
          <a:xfrm>
            <a:off x="822583" y="3855499"/>
            <a:ext cx="1162314" cy="145542"/>
          </a:xfrm>
          <a:prstGeom prst="rect">
            <a:avLst/>
          </a:prstGeom>
        </p:spPr>
        <p:txBody>
          <a:bodyPr wrap="none" lIns="0" tIns="0" rIns="0" bIns="0">
            <a:noAutofit/>
          </a:bodyPr>
          <a:lstStyle/>
          <a:p>
            <a:r>
              <a:rPr lang="da-DK" sz="1400"/>
              <a:t>2. Leverandøren</a:t>
            </a:r>
            <a:r>
              <a:rPr lang="da-DK" sz="1400" b="1"/>
              <a:t> </a:t>
            </a:r>
          </a:p>
        </p:txBody>
      </p:sp>
      <p:sp>
        <p:nvSpPr>
          <p:cNvPr id="7" name="Rectangle 6">
            <a:extLst>
              <a:ext uri="{FF2B5EF4-FFF2-40B4-BE49-F238E27FC236}">
                <a16:creationId xmlns:a16="http://schemas.microsoft.com/office/drawing/2014/main" id="{4B7113C2-239A-4175-B62F-29C4F69965CF}"/>
              </a:ext>
            </a:extLst>
          </p:cNvPr>
          <p:cNvSpPr/>
          <p:nvPr/>
        </p:nvSpPr>
        <p:spPr>
          <a:xfrm>
            <a:off x="822583" y="4274360"/>
            <a:ext cx="1125254" cy="145542"/>
          </a:xfrm>
          <a:prstGeom prst="rect">
            <a:avLst/>
          </a:prstGeom>
        </p:spPr>
        <p:txBody>
          <a:bodyPr wrap="none" lIns="0" tIns="0" rIns="0" bIns="0">
            <a:noAutofit/>
          </a:bodyPr>
          <a:lstStyle/>
          <a:p>
            <a:r>
              <a:rPr lang="da-DK" sz="1400"/>
              <a:t>3. Løsningen</a:t>
            </a:r>
            <a:r>
              <a:rPr lang="da-DK" sz="1400" b="1"/>
              <a:t> </a:t>
            </a:r>
          </a:p>
        </p:txBody>
      </p:sp>
      <p:sp>
        <p:nvSpPr>
          <p:cNvPr id="9" name="Rectangle 8">
            <a:extLst>
              <a:ext uri="{FF2B5EF4-FFF2-40B4-BE49-F238E27FC236}">
                <a16:creationId xmlns:a16="http://schemas.microsoft.com/office/drawing/2014/main" id="{5C7EEDC5-2052-4429-87DE-5CC9BC48BCA5}"/>
              </a:ext>
            </a:extLst>
          </p:cNvPr>
          <p:cNvSpPr/>
          <p:nvPr/>
        </p:nvSpPr>
        <p:spPr>
          <a:xfrm>
            <a:off x="822583" y="4685135"/>
            <a:ext cx="2464442" cy="161713"/>
          </a:xfrm>
          <a:prstGeom prst="rect">
            <a:avLst/>
          </a:prstGeom>
        </p:spPr>
        <p:txBody>
          <a:bodyPr wrap="none" lIns="0" tIns="0" rIns="0" bIns="0" anchor="t">
            <a:noAutofit/>
          </a:bodyPr>
          <a:lstStyle/>
          <a:p>
            <a:pPr defTabSz="844083">
              <a:defRPr/>
            </a:pPr>
            <a:r>
              <a:rPr lang="da-DK" sz="1400"/>
              <a:t>4. Planen og processen</a:t>
            </a:r>
          </a:p>
          <a:p>
            <a:pPr defTabSz="844083">
              <a:defRPr/>
            </a:pPr>
            <a:endParaRPr lang="en-US" sz="1292"/>
          </a:p>
        </p:txBody>
      </p:sp>
      <p:sp>
        <p:nvSpPr>
          <p:cNvPr id="18" name="Rectangle 17">
            <a:extLst>
              <a:ext uri="{FF2B5EF4-FFF2-40B4-BE49-F238E27FC236}">
                <a16:creationId xmlns:a16="http://schemas.microsoft.com/office/drawing/2014/main" id="{5A798CDB-986D-43A3-A03A-1DCDAF0E29FC}"/>
              </a:ext>
            </a:extLst>
          </p:cNvPr>
          <p:cNvSpPr/>
          <p:nvPr/>
        </p:nvSpPr>
        <p:spPr>
          <a:xfrm>
            <a:off x="822583" y="5112084"/>
            <a:ext cx="2279145" cy="145542"/>
          </a:xfrm>
          <a:prstGeom prst="rect">
            <a:avLst/>
          </a:prstGeom>
        </p:spPr>
        <p:txBody>
          <a:bodyPr wrap="none" lIns="0" tIns="0" rIns="0" bIns="0">
            <a:noAutofit/>
          </a:bodyPr>
          <a:lstStyle/>
          <a:p>
            <a:endParaRPr lang="en-US" sz="1292"/>
          </a:p>
        </p:txBody>
      </p:sp>
      <p:sp>
        <p:nvSpPr>
          <p:cNvPr id="20" name="Rectangle 19">
            <a:extLst>
              <a:ext uri="{FF2B5EF4-FFF2-40B4-BE49-F238E27FC236}">
                <a16:creationId xmlns:a16="http://schemas.microsoft.com/office/drawing/2014/main" id="{97454644-5880-442E-A4AD-82CE8B94B8F4}"/>
              </a:ext>
            </a:extLst>
          </p:cNvPr>
          <p:cNvSpPr/>
          <p:nvPr/>
        </p:nvSpPr>
        <p:spPr>
          <a:xfrm>
            <a:off x="822583" y="5530950"/>
            <a:ext cx="1692935" cy="145542"/>
          </a:xfrm>
          <a:prstGeom prst="rect">
            <a:avLst/>
          </a:prstGeom>
        </p:spPr>
        <p:txBody>
          <a:bodyPr wrap="none" lIns="0" tIns="0" rIns="0" bIns="0">
            <a:noAutofit/>
          </a:bodyPr>
          <a:lstStyle/>
          <a:p>
            <a:endParaRPr lang="en-US" sz="1292"/>
          </a:p>
        </p:txBody>
      </p:sp>
      <p:cxnSp>
        <p:nvCxnSpPr>
          <p:cNvPr id="33" name="Straight Connector 32">
            <a:extLst>
              <a:ext uri="{FF2B5EF4-FFF2-40B4-BE49-F238E27FC236}">
                <a16:creationId xmlns:a16="http://schemas.microsoft.com/office/drawing/2014/main" id="{91A6E96B-0DE7-4318-9F20-CBC4FDDCC5AD}"/>
              </a:ext>
            </a:extLst>
          </p:cNvPr>
          <p:cNvCxnSpPr>
            <a:cxnSpLocks/>
          </p:cNvCxnSpPr>
          <p:nvPr/>
        </p:nvCxnSpPr>
        <p:spPr>
          <a:xfrm>
            <a:off x="822582" y="2881114"/>
            <a:ext cx="5328000" cy="0"/>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440168D-68F2-4347-B9E5-8ADB27024458}"/>
              </a:ext>
            </a:extLst>
          </p:cNvPr>
          <p:cNvCxnSpPr>
            <a:cxnSpLocks/>
          </p:cNvCxnSpPr>
          <p:nvPr/>
        </p:nvCxnSpPr>
        <p:spPr>
          <a:xfrm>
            <a:off x="822582" y="3299976"/>
            <a:ext cx="5328000" cy="0"/>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ABD0FA4-DEEA-446F-B2D5-4D6A9EC8BA3A}"/>
              </a:ext>
            </a:extLst>
          </p:cNvPr>
          <p:cNvCxnSpPr>
            <a:cxnSpLocks/>
          </p:cNvCxnSpPr>
          <p:nvPr/>
        </p:nvCxnSpPr>
        <p:spPr>
          <a:xfrm>
            <a:off x="822582" y="3718838"/>
            <a:ext cx="5328000" cy="0"/>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C6FAD57-BFE1-4F48-B076-366A593C7BE3}"/>
              </a:ext>
            </a:extLst>
          </p:cNvPr>
          <p:cNvCxnSpPr>
            <a:cxnSpLocks/>
          </p:cNvCxnSpPr>
          <p:nvPr/>
        </p:nvCxnSpPr>
        <p:spPr>
          <a:xfrm>
            <a:off x="822582" y="4137700"/>
            <a:ext cx="5328000" cy="0"/>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D4634B2-BD8A-4F9E-B35B-AF9970C69288}"/>
              </a:ext>
            </a:extLst>
          </p:cNvPr>
          <p:cNvCxnSpPr>
            <a:cxnSpLocks/>
          </p:cNvCxnSpPr>
          <p:nvPr/>
        </p:nvCxnSpPr>
        <p:spPr>
          <a:xfrm>
            <a:off x="822582" y="4556561"/>
            <a:ext cx="5328000" cy="0"/>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9AE1D20-09C1-4651-9FDB-00F01EB9A701}"/>
              </a:ext>
            </a:extLst>
          </p:cNvPr>
          <p:cNvCxnSpPr>
            <a:cxnSpLocks/>
          </p:cNvCxnSpPr>
          <p:nvPr/>
        </p:nvCxnSpPr>
        <p:spPr>
          <a:xfrm>
            <a:off x="822582" y="4975422"/>
            <a:ext cx="5328000" cy="0"/>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C6AA894-582D-455A-84CB-553886DB7B98}"/>
              </a:ext>
            </a:extLst>
          </p:cNvPr>
          <p:cNvCxnSpPr>
            <a:cxnSpLocks/>
          </p:cNvCxnSpPr>
          <p:nvPr/>
        </p:nvCxnSpPr>
        <p:spPr>
          <a:xfrm>
            <a:off x="822583" y="5437447"/>
            <a:ext cx="5328000" cy="0"/>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53FE7D7-6A40-4983-AB7C-7DF9B7FC937C}"/>
              </a:ext>
            </a:extLst>
          </p:cNvPr>
          <p:cNvGrpSpPr/>
          <p:nvPr/>
        </p:nvGrpSpPr>
        <p:grpSpPr>
          <a:xfrm>
            <a:off x="6279090" y="3590265"/>
            <a:ext cx="2290882" cy="1808588"/>
            <a:chOff x="4051300" y="3319463"/>
            <a:chExt cx="512764" cy="404813"/>
          </a:xfrm>
          <a:solidFill>
            <a:srgbClr val="FBF9F1"/>
          </a:solidFill>
        </p:grpSpPr>
        <p:sp>
          <p:nvSpPr>
            <p:cNvPr id="53" name="Freeform 22">
              <a:extLst>
                <a:ext uri="{FF2B5EF4-FFF2-40B4-BE49-F238E27FC236}">
                  <a16:creationId xmlns:a16="http://schemas.microsoft.com/office/drawing/2014/main" id="{3FCC80B1-2DF5-4C61-980E-0E271FD4F929}"/>
                </a:ext>
              </a:extLst>
            </p:cNvPr>
            <p:cNvSpPr>
              <a:spLocks/>
            </p:cNvSpPr>
            <p:nvPr/>
          </p:nvSpPr>
          <p:spPr bwMode="auto">
            <a:xfrm>
              <a:off x="4051300" y="3319463"/>
              <a:ext cx="296863" cy="233363"/>
            </a:xfrm>
            <a:custGeom>
              <a:avLst/>
              <a:gdLst>
                <a:gd name="T0" fmla="*/ 66 w 66"/>
                <a:gd name="T1" fmla="*/ 22 h 52"/>
                <a:gd name="T2" fmla="*/ 66 w 66"/>
                <a:gd name="T3" fmla="*/ 13 h 52"/>
                <a:gd name="T4" fmla="*/ 53 w 66"/>
                <a:gd name="T5" fmla="*/ 0 h 52"/>
                <a:gd name="T6" fmla="*/ 13 w 66"/>
                <a:gd name="T7" fmla="*/ 0 h 52"/>
                <a:gd name="T8" fmla="*/ 0 w 66"/>
                <a:gd name="T9" fmla="*/ 13 h 52"/>
                <a:gd name="T10" fmla="*/ 0 w 66"/>
                <a:gd name="T11" fmla="*/ 39 h 52"/>
                <a:gd name="T12" fmla="*/ 13 w 66"/>
                <a:gd name="T13" fmla="*/ 52 h 52"/>
                <a:gd name="T14" fmla="*/ 44 w 66"/>
                <a:gd name="T15" fmla="*/ 52 h 52"/>
                <a:gd name="T16" fmla="*/ 53 w 66"/>
                <a:gd name="T17" fmla="*/ 52 h 52"/>
                <a:gd name="T18" fmla="*/ 66 w 66"/>
                <a:gd name="T19" fmla="*/ 39 h 52"/>
                <a:gd name="T20" fmla="*/ 66 w 66"/>
                <a:gd name="T21" fmla="*/ 34 h 52"/>
                <a:gd name="T22" fmla="*/ 66 w 66"/>
                <a:gd name="T23"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2">
                  <a:moveTo>
                    <a:pt x="66" y="22"/>
                  </a:moveTo>
                  <a:cubicBezTo>
                    <a:pt x="66" y="13"/>
                    <a:pt x="66" y="13"/>
                    <a:pt x="66" y="13"/>
                  </a:cubicBezTo>
                  <a:cubicBezTo>
                    <a:pt x="66" y="6"/>
                    <a:pt x="60" y="0"/>
                    <a:pt x="53" y="0"/>
                  </a:cubicBezTo>
                  <a:cubicBezTo>
                    <a:pt x="13" y="0"/>
                    <a:pt x="13" y="0"/>
                    <a:pt x="13" y="0"/>
                  </a:cubicBezTo>
                  <a:cubicBezTo>
                    <a:pt x="6" y="0"/>
                    <a:pt x="0" y="6"/>
                    <a:pt x="0" y="13"/>
                  </a:cubicBezTo>
                  <a:cubicBezTo>
                    <a:pt x="0" y="39"/>
                    <a:pt x="0" y="39"/>
                    <a:pt x="0" y="39"/>
                  </a:cubicBezTo>
                  <a:cubicBezTo>
                    <a:pt x="0" y="46"/>
                    <a:pt x="6" y="52"/>
                    <a:pt x="13" y="52"/>
                  </a:cubicBezTo>
                  <a:cubicBezTo>
                    <a:pt x="44" y="52"/>
                    <a:pt x="44" y="52"/>
                    <a:pt x="44" y="52"/>
                  </a:cubicBezTo>
                  <a:cubicBezTo>
                    <a:pt x="53" y="52"/>
                    <a:pt x="53" y="52"/>
                    <a:pt x="53" y="52"/>
                  </a:cubicBezTo>
                  <a:cubicBezTo>
                    <a:pt x="60" y="52"/>
                    <a:pt x="66" y="46"/>
                    <a:pt x="66" y="39"/>
                  </a:cubicBezTo>
                  <a:cubicBezTo>
                    <a:pt x="66" y="34"/>
                    <a:pt x="66" y="34"/>
                    <a:pt x="66" y="34"/>
                  </a:cubicBezTo>
                  <a:lnTo>
                    <a:pt x="6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da-DK" sz="1662"/>
            </a:p>
          </p:txBody>
        </p:sp>
        <p:sp>
          <p:nvSpPr>
            <p:cNvPr id="54" name="Freeform 23">
              <a:extLst>
                <a:ext uri="{FF2B5EF4-FFF2-40B4-BE49-F238E27FC236}">
                  <a16:creationId xmlns:a16="http://schemas.microsoft.com/office/drawing/2014/main" id="{5D3B4FD8-3598-44C7-80F0-F7353453E5FE}"/>
                </a:ext>
              </a:extLst>
            </p:cNvPr>
            <p:cNvSpPr>
              <a:spLocks/>
            </p:cNvSpPr>
            <p:nvPr/>
          </p:nvSpPr>
          <p:spPr bwMode="auto">
            <a:xfrm>
              <a:off x="4100513" y="3319463"/>
              <a:ext cx="292100" cy="282575"/>
            </a:xfrm>
            <a:custGeom>
              <a:avLst/>
              <a:gdLst>
                <a:gd name="T0" fmla="*/ 65 w 65"/>
                <a:gd name="T1" fmla="*/ 22 h 63"/>
                <a:gd name="T2" fmla="*/ 65 w 65"/>
                <a:gd name="T3" fmla="*/ 13 h 63"/>
                <a:gd name="T4" fmla="*/ 53 w 65"/>
                <a:gd name="T5" fmla="*/ 0 h 63"/>
                <a:gd name="T6" fmla="*/ 12 w 65"/>
                <a:gd name="T7" fmla="*/ 0 h 63"/>
                <a:gd name="T8" fmla="*/ 0 w 65"/>
                <a:gd name="T9" fmla="*/ 13 h 63"/>
                <a:gd name="T10" fmla="*/ 0 w 65"/>
                <a:gd name="T11" fmla="*/ 39 h 63"/>
                <a:gd name="T12" fmla="*/ 12 w 65"/>
                <a:gd name="T13" fmla="*/ 52 h 63"/>
                <a:gd name="T14" fmla="*/ 16 w 65"/>
                <a:gd name="T15" fmla="*/ 52 h 63"/>
                <a:gd name="T16" fmla="*/ 16 w 65"/>
                <a:gd name="T17" fmla="*/ 63 h 63"/>
                <a:gd name="T18" fmla="*/ 27 w 65"/>
                <a:gd name="T19" fmla="*/ 52 h 63"/>
                <a:gd name="T20" fmla="*/ 32 w 65"/>
                <a:gd name="T21" fmla="*/ 52 h 63"/>
                <a:gd name="T22" fmla="*/ 44 w 65"/>
                <a:gd name="T23" fmla="*/ 52 h 63"/>
                <a:gd name="T24" fmla="*/ 53 w 65"/>
                <a:gd name="T25" fmla="*/ 52 h 63"/>
                <a:gd name="T26" fmla="*/ 65 w 65"/>
                <a:gd name="T27" fmla="*/ 39 h 63"/>
                <a:gd name="T28" fmla="*/ 65 w 65"/>
                <a:gd name="T29" fmla="*/ 3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63">
                  <a:moveTo>
                    <a:pt x="65" y="22"/>
                  </a:moveTo>
                  <a:cubicBezTo>
                    <a:pt x="65" y="13"/>
                    <a:pt x="65" y="13"/>
                    <a:pt x="65" y="13"/>
                  </a:cubicBezTo>
                  <a:cubicBezTo>
                    <a:pt x="65" y="6"/>
                    <a:pt x="60" y="0"/>
                    <a:pt x="53" y="0"/>
                  </a:cubicBezTo>
                  <a:cubicBezTo>
                    <a:pt x="12" y="0"/>
                    <a:pt x="12" y="0"/>
                    <a:pt x="12" y="0"/>
                  </a:cubicBezTo>
                  <a:cubicBezTo>
                    <a:pt x="6" y="0"/>
                    <a:pt x="0" y="6"/>
                    <a:pt x="0" y="13"/>
                  </a:cubicBezTo>
                  <a:cubicBezTo>
                    <a:pt x="0" y="39"/>
                    <a:pt x="0" y="39"/>
                    <a:pt x="0" y="39"/>
                  </a:cubicBezTo>
                  <a:cubicBezTo>
                    <a:pt x="0" y="46"/>
                    <a:pt x="6" y="52"/>
                    <a:pt x="12" y="52"/>
                  </a:cubicBezTo>
                  <a:cubicBezTo>
                    <a:pt x="16" y="52"/>
                    <a:pt x="16" y="52"/>
                    <a:pt x="16" y="52"/>
                  </a:cubicBezTo>
                  <a:cubicBezTo>
                    <a:pt x="16" y="63"/>
                    <a:pt x="16" y="63"/>
                    <a:pt x="16" y="63"/>
                  </a:cubicBezTo>
                  <a:cubicBezTo>
                    <a:pt x="27" y="52"/>
                    <a:pt x="27" y="52"/>
                    <a:pt x="27" y="52"/>
                  </a:cubicBezTo>
                  <a:cubicBezTo>
                    <a:pt x="32" y="52"/>
                    <a:pt x="32" y="52"/>
                    <a:pt x="32" y="52"/>
                  </a:cubicBezTo>
                  <a:cubicBezTo>
                    <a:pt x="44" y="52"/>
                    <a:pt x="44" y="52"/>
                    <a:pt x="44" y="52"/>
                  </a:cubicBezTo>
                  <a:cubicBezTo>
                    <a:pt x="53" y="52"/>
                    <a:pt x="53" y="52"/>
                    <a:pt x="53" y="52"/>
                  </a:cubicBezTo>
                  <a:cubicBezTo>
                    <a:pt x="60" y="52"/>
                    <a:pt x="65" y="46"/>
                    <a:pt x="65" y="39"/>
                  </a:cubicBezTo>
                  <a:cubicBezTo>
                    <a:pt x="65" y="34"/>
                    <a:pt x="65" y="34"/>
                    <a:pt x="65" y="34"/>
                  </a:cubicBezTo>
                </a:path>
              </a:pathLst>
            </a:custGeom>
            <a:solidFill>
              <a:srgbClr val="8AA299"/>
            </a:solidFill>
            <a:ln w="12700" cap="rnd">
              <a:solidFill>
                <a:srgbClr val="30373B"/>
              </a:solidFill>
              <a:prstDash val="solid"/>
              <a:round/>
              <a:headEnd/>
              <a:tailEnd/>
            </a:ln>
          </p:spPr>
          <p:txBody>
            <a:bodyPr vert="horz" wrap="square" lIns="84406" tIns="42203" rIns="84406" bIns="42203" numCol="1" anchor="t" anchorCtr="0" compatLnSpc="1">
              <a:prstTxWarp prst="textNoShape">
                <a:avLst/>
              </a:prstTxWarp>
            </a:bodyPr>
            <a:lstStyle/>
            <a:p>
              <a:endParaRPr lang="da-DK" sz="1662"/>
            </a:p>
          </p:txBody>
        </p:sp>
        <p:sp>
          <p:nvSpPr>
            <p:cNvPr id="55" name="Freeform 24">
              <a:extLst>
                <a:ext uri="{FF2B5EF4-FFF2-40B4-BE49-F238E27FC236}">
                  <a16:creationId xmlns:a16="http://schemas.microsoft.com/office/drawing/2014/main" id="{CECF07F6-30CE-46E8-9BCB-49879DC03BD5}"/>
                </a:ext>
              </a:extLst>
            </p:cNvPr>
            <p:cNvSpPr>
              <a:spLocks/>
            </p:cNvSpPr>
            <p:nvPr/>
          </p:nvSpPr>
          <p:spPr bwMode="auto">
            <a:xfrm>
              <a:off x="4271964" y="3444876"/>
              <a:ext cx="292100" cy="279400"/>
            </a:xfrm>
            <a:custGeom>
              <a:avLst/>
              <a:gdLst>
                <a:gd name="T0" fmla="*/ 0 w 65"/>
                <a:gd name="T1" fmla="*/ 16 h 62"/>
                <a:gd name="T2" fmla="*/ 0 w 65"/>
                <a:gd name="T3" fmla="*/ 12 h 62"/>
                <a:gd name="T4" fmla="*/ 12 w 65"/>
                <a:gd name="T5" fmla="*/ 0 h 62"/>
                <a:gd name="T6" fmla="*/ 53 w 65"/>
                <a:gd name="T7" fmla="*/ 0 h 62"/>
                <a:gd name="T8" fmla="*/ 65 w 65"/>
                <a:gd name="T9" fmla="*/ 12 h 62"/>
                <a:gd name="T10" fmla="*/ 65 w 65"/>
                <a:gd name="T11" fmla="*/ 39 h 62"/>
                <a:gd name="T12" fmla="*/ 53 w 65"/>
                <a:gd name="T13" fmla="*/ 51 h 62"/>
                <a:gd name="T14" fmla="*/ 49 w 65"/>
                <a:gd name="T15" fmla="*/ 51 h 62"/>
                <a:gd name="T16" fmla="*/ 49 w 65"/>
                <a:gd name="T17" fmla="*/ 62 h 62"/>
                <a:gd name="T18" fmla="*/ 38 w 65"/>
                <a:gd name="T19" fmla="*/ 51 h 62"/>
                <a:gd name="T20" fmla="*/ 12 w 65"/>
                <a:gd name="T21" fmla="*/ 51 h 62"/>
                <a:gd name="T22" fmla="*/ 0 w 65"/>
                <a:gd name="T23" fmla="*/ 39 h 62"/>
                <a:gd name="T24" fmla="*/ 0 w 65"/>
                <a:gd name="T2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2">
                  <a:moveTo>
                    <a:pt x="0" y="16"/>
                  </a:moveTo>
                  <a:cubicBezTo>
                    <a:pt x="0" y="12"/>
                    <a:pt x="0" y="12"/>
                    <a:pt x="0" y="12"/>
                  </a:cubicBezTo>
                  <a:cubicBezTo>
                    <a:pt x="0" y="5"/>
                    <a:pt x="5" y="0"/>
                    <a:pt x="12" y="0"/>
                  </a:cubicBezTo>
                  <a:cubicBezTo>
                    <a:pt x="53" y="0"/>
                    <a:pt x="53" y="0"/>
                    <a:pt x="53" y="0"/>
                  </a:cubicBezTo>
                  <a:cubicBezTo>
                    <a:pt x="59" y="0"/>
                    <a:pt x="65" y="5"/>
                    <a:pt x="65" y="12"/>
                  </a:cubicBezTo>
                  <a:cubicBezTo>
                    <a:pt x="65" y="39"/>
                    <a:pt x="65" y="39"/>
                    <a:pt x="65" y="39"/>
                  </a:cubicBezTo>
                  <a:cubicBezTo>
                    <a:pt x="65" y="45"/>
                    <a:pt x="59" y="51"/>
                    <a:pt x="53" y="51"/>
                  </a:cubicBezTo>
                  <a:cubicBezTo>
                    <a:pt x="49" y="51"/>
                    <a:pt x="49" y="51"/>
                    <a:pt x="49" y="51"/>
                  </a:cubicBezTo>
                  <a:cubicBezTo>
                    <a:pt x="49" y="62"/>
                    <a:pt x="49" y="62"/>
                    <a:pt x="49" y="62"/>
                  </a:cubicBezTo>
                  <a:cubicBezTo>
                    <a:pt x="38" y="51"/>
                    <a:pt x="38" y="51"/>
                    <a:pt x="38" y="51"/>
                  </a:cubicBezTo>
                  <a:cubicBezTo>
                    <a:pt x="12" y="51"/>
                    <a:pt x="12" y="51"/>
                    <a:pt x="12" y="51"/>
                  </a:cubicBezTo>
                  <a:cubicBezTo>
                    <a:pt x="5" y="51"/>
                    <a:pt x="0" y="45"/>
                    <a:pt x="0" y="39"/>
                  </a:cubicBezTo>
                  <a:cubicBezTo>
                    <a:pt x="0" y="31"/>
                    <a:pt x="0" y="31"/>
                    <a:pt x="0" y="31"/>
                  </a:cubicBezTo>
                </a:path>
              </a:pathLst>
            </a:custGeom>
            <a:solidFill>
              <a:srgbClr val="FFFFFF"/>
            </a:solidFill>
            <a:ln w="12700" cap="rnd">
              <a:solidFill>
                <a:srgbClr val="30373B"/>
              </a:solidFill>
              <a:prstDash val="solid"/>
              <a:round/>
              <a:headEnd/>
              <a:tailEnd/>
            </a:ln>
          </p:spPr>
          <p:txBody>
            <a:bodyPr vert="horz" wrap="square" lIns="84406" tIns="42203" rIns="84406" bIns="42203" numCol="1" anchor="t" anchorCtr="0" compatLnSpc="1">
              <a:prstTxWarp prst="textNoShape">
                <a:avLst/>
              </a:prstTxWarp>
            </a:bodyPr>
            <a:lstStyle/>
            <a:p>
              <a:endParaRPr lang="da-DK" sz="1662"/>
            </a:p>
          </p:txBody>
        </p:sp>
      </p:grpSp>
      <p:sp>
        <p:nvSpPr>
          <p:cNvPr id="16" name="Rectangle 15">
            <a:extLst>
              <a:ext uri="{FF2B5EF4-FFF2-40B4-BE49-F238E27FC236}">
                <a16:creationId xmlns:a16="http://schemas.microsoft.com/office/drawing/2014/main" id="{4B86A3E8-9F2F-474A-996A-96EF15656101}"/>
              </a:ext>
            </a:extLst>
          </p:cNvPr>
          <p:cNvSpPr/>
          <p:nvPr/>
        </p:nvSpPr>
        <p:spPr>
          <a:xfrm>
            <a:off x="730289" y="5067856"/>
            <a:ext cx="2376676" cy="307777"/>
          </a:xfrm>
          <a:prstGeom prst="rect">
            <a:avLst/>
          </a:prstGeom>
        </p:spPr>
        <p:txBody>
          <a:bodyPr wrap="none">
            <a:spAutoFit/>
          </a:bodyPr>
          <a:lstStyle/>
          <a:p>
            <a:pPr lvl="0" defTabSz="914400">
              <a:defRPr/>
            </a:pPr>
            <a:r>
              <a:rPr lang="da-DK" sz="1400"/>
              <a:t>5. Kommercielle Forhold</a:t>
            </a:r>
          </a:p>
        </p:txBody>
      </p:sp>
    </p:spTree>
    <p:custDataLst>
      <p:tags r:id="rId1"/>
    </p:custDataLst>
    <p:extLst>
      <p:ext uri="{BB962C8B-B14F-4D97-AF65-F5344CB8AC3E}">
        <p14:creationId xmlns:p14="http://schemas.microsoft.com/office/powerpoint/2010/main" val="3582232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4A9FF1-23CF-4337-9F0A-8D66B3E243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9" name="think-cell Slide" r:id="rId6" imgW="530" imgH="531" progId="TCLayout.ActiveDocument.1">
                  <p:embed/>
                </p:oleObj>
              </mc:Choice>
              <mc:Fallback>
                <p:oleObj name="think-cell Slide" r:id="rId6" imgW="530" imgH="531" progId="TCLayout.ActiveDocument.1">
                  <p:embed/>
                  <p:pic>
                    <p:nvPicPr>
                      <p:cNvPr id="4" name="Object 3" hidden="1">
                        <a:extLst>
                          <a:ext uri="{FF2B5EF4-FFF2-40B4-BE49-F238E27FC236}">
                            <a16:creationId xmlns:a16="http://schemas.microsoft.com/office/drawing/2014/main" id="{234A9FF1-23CF-4337-9F0A-8D66B3E243E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73DA888-8BAB-49B4-8161-3B7C988691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200" b="1">
              <a:latin typeface="Verdana" panose="020B0604030504040204" pitchFamily="34" charset="0"/>
              <a:ea typeface="Verdana" panose="020B0604030504040204" pitchFamily="34" charset="0"/>
              <a:sym typeface="Verdana" panose="020B0604030504040204" pitchFamily="34" charset="0"/>
            </a:endParaRPr>
          </a:p>
        </p:txBody>
      </p:sp>
      <p:sp>
        <p:nvSpPr>
          <p:cNvPr id="73" name="Text Placeholder 72">
            <a:extLst>
              <a:ext uri="{FF2B5EF4-FFF2-40B4-BE49-F238E27FC236}">
                <a16:creationId xmlns:a16="http://schemas.microsoft.com/office/drawing/2014/main" id="{382BD310-BB12-44FD-97C2-04EA2135FC5E}"/>
              </a:ext>
            </a:extLst>
          </p:cNvPr>
          <p:cNvSpPr>
            <a:spLocks noGrp="1"/>
          </p:cNvSpPr>
          <p:nvPr>
            <p:ph type="body" sz="quarter" idx="13"/>
          </p:nvPr>
        </p:nvSpPr>
        <p:spPr/>
        <p:txBody>
          <a:bodyPr/>
          <a:lstStyle/>
          <a:p>
            <a:endParaRPr lang="en-US"/>
          </a:p>
        </p:txBody>
      </p:sp>
      <p:sp>
        <p:nvSpPr>
          <p:cNvPr id="74" name="Text Placeholder 73">
            <a:extLst>
              <a:ext uri="{FF2B5EF4-FFF2-40B4-BE49-F238E27FC236}">
                <a16:creationId xmlns:a16="http://schemas.microsoft.com/office/drawing/2014/main" id="{91995E79-1F07-48CB-B05D-CA720F8AA7DE}"/>
              </a:ext>
            </a:extLst>
          </p:cNvPr>
          <p:cNvSpPr>
            <a:spLocks noGrp="1"/>
          </p:cNvSpPr>
          <p:nvPr>
            <p:ph type="body" sz="quarter" idx="14"/>
          </p:nvPr>
        </p:nvSpPr>
        <p:spPr/>
        <p:txBody>
          <a:bodyPr/>
          <a:lstStyle/>
          <a:p>
            <a:endParaRPr lang="en-US"/>
          </a:p>
        </p:txBody>
      </p:sp>
      <p:sp>
        <p:nvSpPr>
          <p:cNvPr id="6" name="TextBox 5"/>
          <p:cNvSpPr txBox="1"/>
          <p:nvPr/>
        </p:nvSpPr>
        <p:spPr>
          <a:xfrm>
            <a:off x="249115" y="1179157"/>
            <a:ext cx="1765758" cy="1715067"/>
          </a:xfrm>
          <a:prstGeom prst="rect">
            <a:avLst/>
          </a:prstGeom>
          <a:solidFill>
            <a:srgbClr val="F3F2F0"/>
          </a:solidFill>
        </p:spPr>
        <p:txBody>
          <a:bodyPr wrap="square" lIns="108000" tIns="72000" rIns="108000" bIns="72000" rtlCol="0">
            <a:spAutoFit/>
          </a:bodyPr>
          <a:lstStyle/>
          <a:p>
            <a:pPr>
              <a:lnSpc>
                <a:spcPct val="90000"/>
              </a:lnSpc>
              <a:spcAft>
                <a:spcPts val="300"/>
              </a:spcAft>
              <a:tabLst>
                <a:tab pos="358775" algn="l"/>
                <a:tab pos="581025" algn="l"/>
                <a:tab pos="628650" algn="l"/>
              </a:tabLst>
            </a:pPr>
            <a:r>
              <a:rPr lang="en-US" sz="500" b="1" err="1">
                <a:solidFill>
                  <a:srgbClr val="1F2023"/>
                </a:solidFill>
              </a:rPr>
              <a:t>Forklaring</a:t>
            </a:r>
            <a:r>
              <a:rPr lang="en-US" sz="500" b="1">
                <a:solidFill>
                  <a:srgbClr val="1F2023"/>
                </a:solidFill>
              </a:rPr>
              <a:t> – </a:t>
            </a:r>
            <a:r>
              <a:rPr lang="en-US" sz="500" b="1" err="1">
                <a:solidFill>
                  <a:srgbClr val="1F2023"/>
                </a:solidFill>
              </a:rPr>
              <a:t>Transmissionstyper</a:t>
            </a:r>
            <a:endParaRPr lang="en-US" sz="500" b="1">
              <a:solidFill>
                <a:srgbClr val="1F2023"/>
              </a:solidFill>
            </a:endParaRPr>
          </a:p>
          <a:p>
            <a:pPr defTabSz="1076325">
              <a:lnSpc>
                <a:spcPct val="90000"/>
              </a:lnSpc>
              <a:spcAft>
                <a:spcPts val="300"/>
              </a:spcAft>
              <a:tabLst>
                <a:tab pos="358775" algn="l"/>
                <a:tab pos="581025" algn="l"/>
                <a:tab pos="628650" algn="l"/>
              </a:tabLst>
            </a:pPr>
            <a:r>
              <a:rPr lang="en-US" sz="500">
                <a:solidFill>
                  <a:srgbClr val="1F2023"/>
                </a:solidFill>
              </a:rPr>
              <a:t>Sftp		- </a:t>
            </a:r>
            <a:r>
              <a:rPr lang="en-US" sz="500" err="1">
                <a:solidFill>
                  <a:srgbClr val="1F2023"/>
                </a:solidFill>
              </a:rPr>
              <a:t>K</a:t>
            </a:r>
            <a:r>
              <a:rPr lang="en-US" sz="500" err="1">
                <a:solidFill>
                  <a:srgbClr val="1F2023"/>
                </a:solidFill>
                <a:latin typeface="Arial" panose="020B0604020202020204" pitchFamily="34" charset="0"/>
                <a:cs typeface="Arial" panose="020B0604020202020204" pitchFamily="34" charset="0"/>
              </a:rPr>
              <a:t>ører</a:t>
            </a:r>
            <a:r>
              <a:rPr lang="en-US" sz="500">
                <a:solidFill>
                  <a:srgbClr val="1F2023"/>
                </a:solidFill>
                <a:latin typeface="Arial" panose="020B0604020202020204" pitchFamily="34" charset="0"/>
                <a:cs typeface="Arial" panose="020B0604020202020204" pitchFamily="34" charset="0"/>
              </a:rPr>
              <a:t> over SSH port 22</a:t>
            </a:r>
          </a:p>
          <a:p>
            <a:pPr defTabSz="1076325">
              <a:lnSpc>
                <a:spcPct val="90000"/>
              </a:lnSpc>
              <a:spcAft>
                <a:spcPts val="300"/>
              </a:spcAft>
              <a:tabLst>
                <a:tab pos="358775" algn="l"/>
                <a:tab pos="581025" algn="l"/>
                <a:tab pos="628650" algn="l"/>
              </a:tabLst>
            </a:pPr>
            <a:r>
              <a:rPr lang="en-US" sz="500">
                <a:solidFill>
                  <a:srgbClr val="1F2023"/>
                </a:solidFill>
                <a:latin typeface="Arial" panose="020B0604020202020204" pitchFamily="34" charset="0"/>
                <a:cs typeface="Arial" panose="020B0604020202020204" pitchFamily="34" charset="0"/>
              </a:rPr>
              <a:t>WS		- Webservice</a:t>
            </a:r>
          </a:p>
          <a:p>
            <a:pPr defTabSz="1076325">
              <a:lnSpc>
                <a:spcPct val="90000"/>
              </a:lnSpc>
              <a:spcAft>
                <a:spcPts val="300"/>
              </a:spcAft>
              <a:tabLst>
                <a:tab pos="358775" algn="l"/>
                <a:tab pos="581025" algn="l"/>
                <a:tab pos="628650" algn="l"/>
              </a:tabLst>
            </a:pPr>
            <a:r>
              <a:rPr lang="en-US" sz="500">
                <a:solidFill>
                  <a:srgbClr val="1F2023"/>
                </a:solidFill>
                <a:latin typeface="Arial" panose="020B0604020202020204" pitchFamily="34" charset="0"/>
                <a:cs typeface="Arial" panose="020B0604020202020204" pitchFamily="34" charset="0"/>
              </a:rPr>
              <a:t>&lt;</a:t>
            </a:r>
            <a:r>
              <a:rPr lang="en-US" sz="500" err="1">
                <a:solidFill>
                  <a:srgbClr val="1F2023"/>
                </a:solidFill>
                <a:latin typeface="Arial" panose="020B0604020202020204" pitchFamily="34" charset="0"/>
                <a:cs typeface="Arial" panose="020B0604020202020204" pitchFamily="34" charset="0"/>
              </a:rPr>
              <a:t>ingen</a:t>
            </a:r>
            <a:r>
              <a:rPr lang="en-US" sz="500">
                <a:solidFill>
                  <a:srgbClr val="1F2023"/>
                </a:solidFill>
                <a:latin typeface="Arial" panose="020B0604020202020204" pitchFamily="34" charset="0"/>
                <a:cs typeface="Arial" panose="020B0604020202020204" pitchFamily="34" charset="0"/>
              </a:rPr>
              <a:t>&gt;		- </a:t>
            </a:r>
            <a:r>
              <a:rPr lang="en-US" sz="500" err="1">
                <a:solidFill>
                  <a:srgbClr val="1F2023"/>
                </a:solidFill>
                <a:latin typeface="Arial" panose="020B0604020202020204" pitchFamily="34" charset="0"/>
                <a:cs typeface="Arial" panose="020B0604020202020204" pitchFamily="34" charset="0"/>
              </a:rPr>
              <a:t>Filudveksling</a:t>
            </a:r>
            <a:r>
              <a:rPr lang="en-US" sz="500">
                <a:solidFill>
                  <a:srgbClr val="1F2023"/>
                </a:solidFill>
                <a:latin typeface="Arial" panose="020B0604020202020204" pitchFamily="34" charset="0"/>
                <a:cs typeface="Arial" panose="020B0604020202020204" pitchFamily="34" charset="0"/>
              </a:rPr>
              <a:t> </a:t>
            </a:r>
            <a:r>
              <a:rPr lang="en-US" sz="500" err="1">
                <a:solidFill>
                  <a:srgbClr val="1F2023"/>
                </a:solidFill>
                <a:latin typeface="Arial" panose="020B0604020202020204" pitchFamily="34" charset="0"/>
                <a:cs typeface="Arial" panose="020B0604020202020204" pitchFamily="34" charset="0"/>
              </a:rPr>
              <a:t>på</a:t>
            </a:r>
            <a:r>
              <a:rPr lang="en-US" sz="500">
                <a:solidFill>
                  <a:srgbClr val="1F2023"/>
                </a:solidFill>
                <a:latin typeface="Arial" panose="020B0604020202020204" pitchFamily="34" charset="0"/>
                <a:cs typeface="Arial" panose="020B0604020202020204" pitchFamily="34" charset="0"/>
              </a:rPr>
              <a:t> </a:t>
            </a:r>
            <a:r>
              <a:rPr lang="en-US" sz="500" err="1">
                <a:solidFill>
                  <a:srgbClr val="1F2023"/>
                </a:solidFill>
                <a:latin typeface="Arial" panose="020B0604020202020204" pitchFamily="34" charset="0"/>
                <a:cs typeface="Arial" panose="020B0604020202020204" pitchFamily="34" charset="0"/>
              </a:rPr>
              <a:t>Minitool</a:t>
            </a:r>
            <a:endParaRPr lang="en-US" sz="500">
              <a:solidFill>
                <a:srgbClr val="1F2023"/>
              </a:solidFill>
              <a:latin typeface="Arial" panose="020B0604020202020204" pitchFamily="34" charset="0"/>
              <a:cs typeface="Arial" panose="020B0604020202020204" pitchFamily="34" charset="0"/>
            </a:endParaRPr>
          </a:p>
          <a:p>
            <a:pPr defTabSz="1076325">
              <a:lnSpc>
                <a:spcPct val="90000"/>
              </a:lnSpc>
              <a:spcAft>
                <a:spcPts val="300"/>
              </a:spcAft>
              <a:tabLst>
                <a:tab pos="358775" algn="l"/>
                <a:tab pos="581025" algn="l"/>
                <a:tab pos="628650" algn="l"/>
              </a:tabLst>
            </a:pPr>
            <a:endParaRPr lang="en-US" sz="500">
              <a:solidFill>
                <a:srgbClr val="1F2023"/>
              </a:solidFill>
              <a:latin typeface="Arial" panose="020B0604020202020204" pitchFamily="34" charset="0"/>
              <a:cs typeface="Arial" panose="020B0604020202020204" pitchFamily="34" charset="0"/>
            </a:endParaRPr>
          </a:p>
          <a:p>
            <a:pPr defTabSz="1076325">
              <a:lnSpc>
                <a:spcPct val="90000"/>
              </a:lnSpc>
              <a:spcAft>
                <a:spcPts val="300"/>
              </a:spcAft>
              <a:tabLst>
                <a:tab pos="358775" algn="l"/>
                <a:tab pos="581025" algn="l"/>
                <a:tab pos="628650" algn="l"/>
              </a:tabLst>
            </a:pPr>
            <a:r>
              <a:rPr lang="en-US" sz="500" b="1" err="1">
                <a:solidFill>
                  <a:srgbClr val="1F2023"/>
                </a:solidFill>
                <a:latin typeface="Arial" panose="020B0604020202020204" pitchFamily="34" charset="0"/>
                <a:cs typeface="Arial" panose="020B0604020202020204" pitchFamily="34" charset="0"/>
              </a:rPr>
              <a:t>Forklaring</a:t>
            </a:r>
            <a:r>
              <a:rPr lang="en-US" sz="500" b="1">
                <a:solidFill>
                  <a:srgbClr val="1F2023"/>
                </a:solidFill>
                <a:latin typeface="Arial" panose="020B0604020202020204" pitchFamily="34" charset="0"/>
                <a:cs typeface="Arial" panose="020B0604020202020204" pitchFamily="34" charset="0"/>
              </a:rPr>
              <a:t> – </a:t>
            </a:r>
            <a:r>
              <a:rPr lang="en-US" sz="500" b="1" err="1">
                <a:solidFill>
                  <a:srgbClr val="1F2023"/>
                </a:solidFill>
                <a:latin typeface="Arial" panose="020B0604020202020204" pitchFamily="34" charset="0"/>
                <a:cs typeface="Arial" panose="020B0604020202020204" pitchFamily="34" charset="0"/>
              </a:rPr>
              <a:t>Filtyper</a:t>
            </a:r>
            <a:endParaRPr lang="en-US" sz="500" b="1">
              <a:solidFill>
                <a:srgbClr val="1F2023"/>
              </a:solidFill>
              <a:latin typeface="Arial" panose="020B0604020202020204" pitchFamily="34" charset="0"/>
              <a:cs typeface="Arial" panose="020B0604020202020204" pitchFamily="34" charset="0"/>
            </a:endParaRPr>
          </a:p>
          <a:p>
            <a:pPr defTabSz="1076325">
              <a:lnSpc>
                <a:spcPct val="90000"/>
              </a:lnSpc>
              <a:spcAft>
                <a:spcPts val="300"/>
              </a:spcAft>
              <a:tabLst>
                <a:tab pos="358775" algn="l"/>
                <a:tab pos="581025" algn="l"/>
                <a:tab pos="628650" algn="l"/>
              </a:tabLst>
            </a:pPr>
            <a:r>
              <a:rPr lang="en-US" sz="500">
                <a:solidFill>
                  <a:srgbClr val="1F2023"/>
                </a:solidFill>
                <a:latin typeface="Arial" panose="020B0604020202020204" pitchFamily="34" charset="0"/>
                <a:cs typeface="Arial" panose="020B0604020202020204" pitchFamily="34" charset="0"/>
              </a:rPr>
              <a:t>XML		- XML</a:t>
            </a:r>
          </a:p>
          <a:p>
            <a:pPr defTabSz="1076325">
              <a:lnSpc>
                <a:spcPct val="90000"/>
              </a:lnSpc>
              <a:spcAft>
                <a:spcPts val="300"/>
              </a:spcAft>
              <a:tabLst>
                <a:tab pos="358775" algn="l"/>
                <a:tab pos="581025" algn="l"/>
                <a:tab pos="628650" algn="l"/>
              </a:tabLst>
            </a:pPr>
            <a:endParaRPr lang="en-US" sz="500">
              <a:solidFill>
                <a:srgbClr val="1F2023"/>
              </a:solidFill>
              <a:latin typeface="Arial" panose="020B0604020202020204" pitchFamily="34" charset="0"/>
              <a:cs typeface="Arial" panose="020B0604020202020204" pitchFamily="34" charset="0"/>
            </a:endParaRPr>
          </a:p>
          <a:p>
            <a:pPr defTabSz="1076325">
              <a:lnSpc>
                <a:spcPct val="90000"/>
              </a:lnSpc>
              <a:spcAft>
                <a:spcPts val="300"/>
              </a:spcAft>
              <a:tabLst>
                <a:tab pos="358775" algn="l"/>
                <a:tab pos="581025" algn="l"/>
                <a:tab pos="628650" algn="l"/>
              </a:tabLst>
            </a:pPr>
            <a:r>
              <a:rPr lang="en-US" sz="500" b="1" err="1">
                <a:solidFill>
                  <a:srgbClr val="1F2023"/>
                </a:solidFill>
                <a:latin typeface="Arial" panose="020B0604020202020204" pitchFamily="34" charset="0"/>
                <a:cs typeface="Arial" panose="020B0604020202020204" pitchFamily="34" charset="0"/>
              </a:rPr>
              <a:t>Eksempler</a:t>
            </a:r>
            <a:r>
              <a:rPr lang="en-US" sz="500" b="1">
                <a:solidFill>
                  <a:srgbClr val="1F2023"/>
                </a:solidFill>
                <a:latin typeface="Arial" panose="020B0604020202020204" pitchFamily="34" charset="0"/>
                <a:cs typeface="Arial" panose="020B0604020202020204" pitchFamily="34" charset="0"/>
              </a:rPr>
              <a:t>	:</a:t>
            </a:r>
          </a:p>
          <a:p>
            <a:pPr marL="358775" indent="-358775" defTabSz="1076325">
              <a:lnSpc>
                <a:spcPct val="90000"/>
              </a:lnSpc>
              <a:spcAft>
                <a:spcPts val="300"/>
              </a:spcAft>
              <a:tabLst>
                <a:tab pos="358775" algn="l"/>
                <a:tab pos="581025" algn="l"/>
                <a:tab pos="628650" algn="l"/>
              </a:tabLst>
            </a:pPr>
            <a:r>
              <a:rPr lang="en-US" sz="500">
                <a:solidFill>
                  <a:srgbClr val="1F2023"/>
                </a:solidFill>
                <a:latin typeface="Arial" panose="020B0604020202020204" pitchFamily="34" charset="0"/>
                <a:cs typeface="Arial" panose="020B0604020202020204" pitchFamily="34" charset="0"/>
              </a:rPr>
              <a:t>MIR_MIN_23	- XML </a:t>
            </a:r>
            <a:r>
              <a:rPr lang="en-US" sz="500" err="1">
                <a:solidFill>
                  <a:srgbClr val="1F2023"/>
                </a:solidFill>
                <a:latin typeface="Arial" panose="020B0604020202020204" pitchFamily="34" charset="0"/>
                <a:cs typeface="Arial" panose="020B0604020202020204" pitchFamily="34" charset="0"/>
              </a:rPr>
              <a:t>dannes</a:t>
            </a:r>
            <a:r>
              <a:rPr lang="en-US" sz="500">
                <a:solidFill>
                  <a:srgbClr val="1F2023"/>
                </a:solidFill>
                <a:latin typeface="Arial" panose="020B0604020202020204" pitchFamily="34" charset="0"/>
                <a:cs typeface="Arial" panose="020B0604020202020204" pitchFamily="34" charset="0"/>
              </a:rPr>
              <a:t>, TIE 		sender via sftp </a:t>
            </a:r>
            <a:r>
              <a:rPr lang="en-US" sz="500" err="1">
                <a:solidFill>
                  <a:srgbClr val="1F2023"/>
                </a:solidFill>
                <a:latin typeface="Arial" panose="020B0604020202020204" pitchFamily="34" charset="0"/>
                <a:cs typeface="Arial" panose="020B0604020202020204" pitchFamily="34" charset="0"/>
              </a:rPr>
              <a:t>til</a:t>
            </a:r>
            <a:r>
              <a:rPr lang="en-US" sz="500">
                <a:solidFill>
                  <a:srgbClr val="1F2023"/>
                </a:solidFill>
                <a:latin typeface="Arial" panose="020B0604020202020204" pitchFamily="34" charset="0"/>
                <a:cs typeface="Arial" panose="020B0604020202020204" pitchFamily="34" charset="0"/>
              </a:rPr>
              <a:t> Navision Stat</a:t>
            </a:r>
          </a:p>
          <a:p>
            <a:pPr marL="358775" indent="-358775" defTabSz="1076325">
              <a:lnSpc>
                <a:spcPct val="90000"/>
              </a:lnSpc>
              <a:spcAft>
                <a:spcPts val="300"/>
              </a:spcAft>
              <a:tabLst>
                <a:tab pos="358775" algn="l"/>
                <a:tab pos="581025" algn="l"/>
                <a:tab pos="628650" algn="l"/>
              </a:tabLst>
            </a:pPr>
            <a:r>
              <a:rPr lang="en-US" sz="500">
                <a:solidFill>
                  <a:srgbClr val="1F2023"/>
                </a:solidFill>
                <a:latin typeface="Arial" panose="020B0604020202020204" pitchFamily="34" charset="0"/>
                <a:cs typeface="Arial" panose="020B0604020202020204" pitchFamily="34" charset="0"/>
              </a:rPr>
              <a:t>MIR_MIN_24	- XML </a:t>
            </a:r>
            <a:r>
              <a:rPr lang="en-US" sz="500" err="1">
                <a:solidFill>
                  <a:srgbClr val="1F2023"/>
                </a:solidFill>
                <a:latin typeface="Arial" panose="020B0604020202020204" pitchFamily="34" charset="0"/>
                <a:cs typeface="Arial" panose="020B0604020202020204" pitchFamily="34" charset="0"/>
              </a:rPr>
              <a:t>dannes</a:t>
            </a:r>
            <a:r>
              <a:rPr lang="en-US" sz="500">
                <a:solidFill>
                  <a:srgbClr val="1F2023"/>
                </a:solidFill>
                <a:latin typeface="Arial" panose="020B0604020202020204" pitchFamily="34" charset="0"/>
                <a:cs typeface="Arial" panose="020B0604020202020204" pitchFamily="34" charset="0"/>
              </a:rPr>
              <a:t>, TIE 		sender via WS </a:t>
            </a:r>
            <a:r>
              <a:rPr lang="en-US" sz="500" err="1">
                <a:solidFill>
                  <a:srgbClr val="1F2023"/>
                </a:solidFill>
                <a:latin typeface="Arial" panose="020B0604020202020204" pitchFamily="34" charset="0"/>
                <a:cs typeface="Arial" panose="020B0604020202020204" pitchFamily="34" charset="0"/>
              </a:rPr>
              <a:t>til</a:t>
            </a:r>
            <a:r>
              <a:rPr lang="en-US" sz="500">
                <a:solidFill>
                  <a:srgbClr val="1F2023"/>
                </a:solidFill>
                <a:latin typeface="Arial" panose="020B0604020202020204" pitchFamily="34" charset="0"/>
                <a:cs typeface="Arial" panose="020B0604020202020204" pitchFamily="34" charset="0"/>
              </a:rPr>
              <a:t> </a:t>
            </a:r>
            <a:r>
              <a:rPr lang="en-US" sz="500" err="1">
                <a:solidFill>
                  <a:srgbClr val="1F2023"/>
                </a:solidFill>
                <a:latin typeface="Arial" panose="020B0604020202020204" pitchFamily="34" charset="0"/>
                <a:cs typeface="Arial" panose="020B0604020202020204" pitchFamily="34" charset="0"/>
              </a:rPr>
              <a:t>Nemhandel</a:t>
            </a:r>
            <a:endParaRPr lang="en-US" sz="500">
              <a:solidFill>
                <a:srgbClr val="1F2023"/>
              </a:solidFill>
              <a:latin typeface="Arial" panose="020B0604020202020204" pitchFamily="34" charset="0"/>
              <a:cs typeface="Arial" panose="020B0604020202020204" pitchFamily="34" charset="0"/>
            </a:endParaRPr>
          </a:p>
          <a:p>
            <a:pPr defTabSz="1076325">
              <a:lnSpc>
                <a:spcPct val="90000"/>
              </a:lnSpc>
              <a:spcAft>
                <a:spcPts val="300"/>
              </a:spcAft>
              <a:tabLst>
                <a:tab pos="358775" algn="l"/>
                <a:tab pos="581025" algn="l"/>
                <a:tab pos="628650" algn="l"/>
              </a:tabLst>
            </a:pPr>
            <a:r>
              <a:rPr lang="en-US" sz="500">
                <a:solidFill>
                  <a:srgbClr val="1F2023"/>
                </a:solidFill>
                <a:latin typeface="Arial" panose="020B0604020202020204" pitchFamily="34" charset="0"/>
                <a:cs typeface="Arial" panose="020B0604020202020204" pitchFamily="34" charset="0"/>
              </a:rPr>
              <a:t>IBI_MIN_!!		- XML </a:t>
            </a:r>
            <a:r>
              <a:rPr lang="en-US" sz="500" err="1">
                <a:solidFill>
                  <a:srgbClr val="1F2023"/>
                </a:solidFill>
                <a:latin typeface="Arial" panose="020B0604020202020204" pitchFamily="34" charset="0"/>
                <a:cs typeface="Arial" panose="020B0604020202020204" pitchFamily="34" charset="0"/>
              </a:rPr>
              <a:t>filudveksling</a:t>
            </a:r>
            <a:r>
              <a:rPr lang="en-US" sz="500">
                <a:solidFill>
                  <a:srgbClr val="1F2023"/>
                </a:solidFill>
                <a:latin typeface="Arial" panose="020B0604020202020204" pitchFamily="34" charset="0"/>
                <a:cs typeface="Arial" panose="020B0604020202020204" pitchFamily="34" charset="0"/>
              </a:rPr>
              <a:t> </a:t>
            </a:r>
            <a:r>
              <a:rPr lang="en-US" sz="500" err="1">
                <a:solidFill>
                  <a:srgbClr val="1F2023"/>
                </a:solidFill>
                <a:latin typeface="Arial" panose="020B0604020202020204" pitchFamily="34" charset="0"/>
                <a:cs typeface="Arial" panose="020B0604020202020204" pitchFamily="34" charset="0"/>
              </a:rPr>
              <a:t>på</a:t>
            </a:r>
            <a:r>
              <a:rPr lang="en-US" sz="500">
                <a:solidFill>
                  <a:srgbClr val="1F2023"/>
                </a:solidFill>
                <a:latin typeface="Arial" panose="020B0604020202020204" pitchFamily="34" charset="0"/>
                <a:cs typeface="Arial" panose="020B0604020202020204" pitchFamily="34" charset="0"/>
              </a:rPr>
              <a:t> </a:t>
            </a:r>
            <a:r>
              <a:rPr lang="en-US" sz="500" err="1">
                <a:solidFill>
                  <a:srgbClr val="1F2023"/>
                </a:solidFill>
                <a:latin typeface="Arial" panose="020B0604020202020204" pitchFamily="34" charset="0"/>
                <a:cs typeface="Arial" panose="020B0604020202020204" pitchFamily="34" charset="0"/>
              </a:rPr>
              <a:t>Minitool</a:t>
            </a:r>
            <a:endParaRPr lang="en-US" sz="500">
              <a:solidFill>
                <a:srgbClr val="1F2023"/>
              </a:solidFill>
              <a:latin typeface="Arial" panose="020B0604020202020204" pitchFamily="34" charset="0"/>
              <a:cs typeface="Arial" panose="020B0604020202020204" pitchFamily="34" charset="0"/>
            </a:endParaRPr>
          </a:p>
          <a:p>
            <a:pPr marL="360363" indent="-360363" defTabSz="1076325">
              <a:lnSpc>
                <a:spcPct val="90000"/>
              </a:lnSpc>
              <a:spcAft>
                <a:spcPts val="300"/>
              </a:spcAft>
              <a:tabLst>
                <a:tab pos="358775" algn="l"/>
                <a:tab pos="581025" algn="l"/>
                <a:tab pos="619125" algn="l"/>
              </a:tabLst>
            </a:pPr>
            <a:r>
              <a:rPr lang="en-US" sz="500">
                <a:solidFill>
                  <a:srgbClr val="1F2023"/>
                </a:solidFill>
                <a:latin typeface="Arial" panose="020B0604020202020204" pitchFamily="34" charset="0"/>
                <a:cs typeface="Arial" panose="020B0604020202020204" pitchFamily="34" charset="0"/>
              </a:rPr>
              <a:t>TRI_MIN_7*			- Natig </a:t>
            </a:r>
            <a:r>
              <a:rPr lang="en-US" sz="500" err="1">
                <a:solidFill>
                  <a:srgbClr val="1F2023"/>
                </a:solidFill>
                <a:latin typeface="Arial" panose="020B0604020202020204" pitchFamily="34" charset="0"/>
                <a:cs typeface="Arial" panose="020B0604020202020204" pitchFamily="34" charset="0"/>
              </a:rPr>
              <a:t>syncronisering</a:t>
            </a:r>
            <a:r>
              <a:rPr lang="en-US" sz="500">
                <a:solidFill>
                  <a:srgbClr val="1F2023"/>
                </a:solidFill>
                <a:latin typeface="Arial" panose="020B0604020202020204" pitchFamily="34" charset="0"/>
                <a:cs typeface="Arial" panose="020B0604020202020204" pitchFamily="34" charset="0"/>
              </a:rPr>
              <a:t> </a:t>
            </a:r>
            <a:r>
              <a:rPr lang="en-US" sz="500" err="1">
                <a:solidFill>
                  <a:srgbClr val="1F2023"/>
                </a:solidFill>
                <a:latin typeface="Arial" panose="020B0604020202020204" pitchFamily="34" charset="0"/>
                <a:cs typeface="Arial" panose="020B0604020202020204" pitchFamily="34" charset="0"/>
              </a:rPr>
              <a:t>af</a:t>
            </a:r>
            <a:r>
              <a:rPr lang="en-US" sz="500">
                <a:solidFill>
                  <a:srgbClr val="1F2023"/>
                </a:solidFill>
                <a:latin typeface="Arial" panose="020B0604020202020204" pitchFamily="34" charset="0"/>
                <a:cs typeface="Arial" panose="020B0604020202020204" pitchFamily="34" charset="0"/>
              </a:rPr>
              <a:t> 		</a:t>
            </a:r>
            <a:r>
              <a:rPr lang="en-US" sz="500" err="1">
                <a:solidFill>
                  <a:srgbClr val="1F2023"/>
                </a:solidFill>
                <a:latin typeface="Arial" panose="020B0604020202020204" pitchFamily="34" charset="0"/>
                <a:cs typeface="Arial" panose="020B0604020202020204" pitchFamily="34" charset="0"/>
              </a:rPr>
              <a:t>MasterData</a:t>
            </a:r>
            <a:endParaRPr lang="en-US" sz="500">
              <a:solidFill>
                <a:srgbClr val="1F2023"/>
              </a:solidFill>
              <a:latin typeface="Arial" panose="020B0604020202020204" pitchFamily="34" charset="0"/>
              <a:cs typeface="Arial" panose="020B0604020202020204" pitchFamily="34" charset="0"/>
            </a:endParaRPr>
          </a:p>
        </p:txBody>
      </p:sp>
      <p:sp>
        <p:nvSpPr>
          <p:cNvPr id="13" name="TextBox 12"/>
          <p:cNvSpPr txBox="1"/>
          <p:nvPr/>
        </p:nvSpPr>
        <p:spPr>
          <a:xfrm>
            <a:off x="137713" y="6250231"/>
            <a:ext cx="1055097" cy="276999"/>
          </a:xfrm>
          <a:prstGeom prst="rect">
            <a:avLst/>
          </a:prstGeom>
          <a:noFill/>
        </p:spPr>
        <p:txBody>
          <a:bodyPr wrap="none" rtlCol="0">
            <a:spAutoFit/>
          </a:bodyPr>
          <a:lstStyle/>
          <a:p>
            <a:pPr algn="r"/>
            <a:r>
              <a:rPr lang="en-US" sz="600">
                <a:solidFill>
                  <a:srgbClr val="1F2023"/>
                </a:solidFill>
              </a:rPr>
              <a:t>INDFAK </a:t>
            </a:r>
            <a:r>
              <a:rPr lang="en-US" sz="600" err="1">
                <a:solidFill>
                  <a:srgbClr val="1F2023"/>
                </a:solidFill>
              </a:rPr>
              <a:t>Integrationer</a:t>
            </a:r>
            <a:r>
              <a:rPr lang="en-US" sz="600">
                <a:solidFill>
                  <a:srgbClr val="1F2023"/>
                </a:solidFill>
              </a:rPr>
              <a:t> 5-3</a:t>
            </a:r>
          </a:p>
          <a:p>
            <a:pPr algn="r"/>
            <a:r>
              <a:rPr lang="en-US" sz="600">
                <a:solidFill>
                  <a:srgbClr val="1F2023"/>
                </a:solidFill>
              </a:rPr>
              <a:t>23.04.2019 </a:t>
            </a:r>
            <a:r>
              <a:rPr lang="en-US" sz="600" err="1">
                <a:solidFill>
                  <a:srgbClr val="1F2023"/>
                </a:solidFill>
              </a:rPr>
              <a:t>cls</a:t>
            </a:r>
            <a:r>
              <a:rPr lang="en-US" sz="600">
                <a:solidFill>
                  <a:srgbClr val="1F2023"/>
                </a:solidFill>
              </a:rPr>
              <a:t>/</a:t>
            </a:r>
            <a:r>
              <a:rPr lang="en-US" sz="600" err="1">
                <a:solidFill>
                  <a:srgbClr val="1F2023"/>
                </a:solidFill>
              </a:rPr>
              <a:t>dbb</a:t>
            </a:r>
            <a:endParaRPr lang="en-US" sz="600">
              <a:solidFill>
                <a:srgbClr val="1F2023"/>
              </a:solidFill>
            </a:endParaRPr>
          </a:p>
        </p:txBody>
      </p:sp>
      <p:sp>
        <p:nvSpPr>
          <p:cNvPr id="126" name="Rectangle 122">
            <a:extLst>
              <a:ext uri="{FF2B5EF4-FFF2-40B4-BE49-F238E27FC236}">
                <a16:creationId xmlns:a16="http://schemas.microsoft.com/office/drawing/2014/main" id="{1A27C372-0123-440F-890E-8C29CFAE2F35}"/>
              </a:ext>
            </a:extLst>
          </p:cNvPr>
          <p:cNvSpPr/>
          <p:nvPr/>
        </p:nvSpPr>
        <p:spPr>
          <a:xfrm rot="16200000">
            <a:off x="1615319" y="3976061"/>
            <a:ext cx="1351345" cy="3042739"/>
          </a:xfrm>
          <a:custGeom>
            <a:avLst/>
            <a:gdLst>
              <a:gd name="connsiteX0" fmla="*/ 0 w 1126824"/>
              <a:gd name="connsiteY0" fmla="*/ 0 h 1126432"/>
              <a:gd name="connsiteX1" fmla="*/ 1126824 w 1126824"/>
              <a:gd name="connsiteY1" fmla="*/ 0 h 1126432"/>
              <a:gd name="connsiteX2" fmla="*/ 1126824 w 1126824"/>
              <a:gd name="connsiteY2" fmla="*/ 1126432 h 1126432"/>
              <a:gd name="connsiteX3" fmla="*/ 0 w 1126824"/>
              <a:gd name="connsiteY3" fmla="*/ 1126432 h 1126432"/>
              <a:gd name="connsiteX4" fmla="*/ 0 w 1126824"/>
              <a:gd name="connsiteY4" fmla="*/ 0 h 1126432"/>
              <a:gd name="connsiteX0" fmla="*/ 1126824 w 1218264"/>
              <a:gd name="connsiteY0" fmla="*/ 1126432 h 1217872"/>
              <a:gd name="connsiteX1" fmla="*/ 0 w 1218264"/>
              <a:gd name="connsiteY1" fmla="*/ 1126432 h 1217872"/>
              <a:gd name="connsiteX2" fmla="*/ 0 w 1218264"/>
              <a:gd name="connsiteY2" fmla="*/ 0 h 1217872"/>
              <a:gd name="connsiteX3" fmla="*/ 1126824 w 1218264"/>
              <a:gd name="connsiteY3" fmla="*/ 0 h 1217872"/>
              <a:gd name="connsiteX4" fmla="*/ 1218264 w 1218264"/>
              <a:gd name="connsiteY4" fmla="*/ 1217872 h 1217872"/>
              <a:gd name="connsiteX0" fmla="*/ 0 w 1218264"/>
              <a:gd name="connsiteY0" fmla="*/ 1126432 h 1217872"/>
              <a:gd name="connsiteX1" fmla="*/ 0 w 1218264"/>
              <a:gd name="connsiteY1" fmla="*/ 0 h 1217872"/>
              <a:gd name="connsiteX2" fmla="*/ 1126824 w 1218264"/>
              <a:gd name="connsiteY2" fmla="*/ 0 h 1217872"/>
              <a:gd name="connsiteX3" fmla="*/ 1218264 w 1218264"/>
              <a:gd name="connsiteY3" fmla="*/ 1217872 h 1217872"/>
              <a:gd name="connsiteX0" fmla="*/ 0 w 1126824"/>
              <a:gd name="connsiteY0" fmla="*/ 1126432 h 1126432"/>
              <a:gd name="connsiteX1" fmla="*/ 0 w 1126824"/>
              <a:gd name="connsiteY1" fmla="*/ 0 h 1126432"/>
              <a:gd name="connsiteX2" fmla="*/ 1126824 w 1126824"/>
              <a:gd name="connsiteY2" fmla="*/ 0 h 1126432"/>
            </a:gdLst>
            <a:ahLst/>
            <a:cxnLst>
              <a:cxn ang="0">
                <a:pos x="connsiteX0" y="connsiteY0"/>
              </a:cxn>
              <a:cxn ang="0">
                <a:pos x="connsiteX1" y="connsiteY1"/>
              </a:cxn>
              <a:cxn ang="0">
                <a:pos x="connsiteX2" y="connsiteY2"/>
              </a:cxn>
            </a:cxnLst>
            <a:rect l="l" t="t" r="r" b="b"/>
            <a:pathLst>
              <a:path w="1126824" h="1126432">
                <a:moveTo>
                  <a:pt x="0" y="1126432"/>
                </a:moveTo>
                <a:lnTo>
                  <a:pt x="0" y="0"/>
                </a:lnTo>
                <a:lnTo>
                  <a:pt x="1126824" y="0"/>
                </a:lnTo>
              </a:path>
            </a:pathLst>
          </a:cu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txBody>
          <a:bodyPr lIns="108000" tIns="108000" rIns="108000" bIns="108000" rtlCol="0" anchor="t" anchorCtr="0">
            <a:noAutofit/>
          </a:bodyPr>
          <a:lstStyle/>
          <a:p>
            <a:pPr algn="l"/>
            <a:endParaRPr lang="en-US" sz="1100" noProof="0" err="1">
              <a:solidFill>
                <a:srgbClr val="1F2023"/>
              </a:solidFill>
            </a:endParaRPr>
          </a:p>
        </p:txBody>
      </p:sp>
      <p:sp>
        <p:nvSpPr>
          <p:cNvPr id="75" name="Rectangle 74">
            <a:extLst>
              <a:ext uri="{FF2B5EF4-FFF2-40B4-BE49-F238E27FC236}">
                <a16:creationId xmlns:a16="http://schemas.microsoft.com/office/drawing/2014/main" id="{376FB6DB-675F-4C0C-9A5E-35B8E41228CD}"/>
              </a:ext>
            </a:extLst>
          </p:cNvPr>
          <p:cNvSpPr/>
          <p:nvPr/>
        </p:nvSpPr>
        <p:spPr>
          <a:xfrm>
            <a:off x="3812357" y="3217937"/>
            <a:ext cx="2042936" cy="841532"/>
          </a:xfrm>
          <a:prstGeom prst="rect">
            <a:avLst/>
          </a:prstGeom>
          <a:solidFill>
            <a:srgbClr val="F8F5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err="1">
                <a:solidFill>
                  <a:srgbClr val="1F2023"/>
                </a:solidFill>
              </a:rPr>
              <a:t>Indk</a:t>
            </a:r>
            <a:r>
              <a:rPr lang="en-US" sz="800" err="1">
                <a:solidFill>
                  <a:srgbClr val="1F2023"/>
                </a:solidFill>
                <a:latin typeface="Arial" panose="020B0604020202020204" pitchFamily="34" charset="0"/>
                <a:cs typeface="Arial" panose="020B0604020202020204" pitchFamily="34" charset="0"/>
              </a:rPr>
              <a:t>øb</a:t>
            </a:r>
            <a:r>
              <a:rPr lang="en-US" sz="800">
                <a:solidFill>
                  <a:srgbClr val="1F2023"/>
                </a:solidFill>
                <a:latin typeface="Arial" panose="020B0604020202020204" pitchFamily="34" charset="0"/>
                <a:cs typeface="Arial" panose="020B0604020202020204" pitchFamily="34" charset="0"/>
              </a:rPr>
              <a:t>, </a:t>
            </a:r>
            <a:r>
              <a:rPr lang="en-US" sz="800" err="1">
                <a:solidFill>
                  <a:srgbClr val="1F2023"/>
                </a:solidFill>
                <a:latin typeface="Arial" panose="020B0604020202020204" pitchFamily="34" charset="0"/>
                <a:cs typeface="Arial" panose="020B0604020202020204" pitchFamily="34" charset="0"/>
              </a:rPr>
              <a:t>Ordrer</a:t>
            </a:r>
            <a:endParaRPr lang="en-US" sz="800">
              <a:solidFill>
                <a:srgbClr val="1F2023"/>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141A91AB-A4B7-4D5E-94E9-5DD2349A7E64}"/>
              </a:ext>
            </a:extLst>
          </p:cNvPr>
          <p:cNvSpPr/>
          <p:nvPr/>
        </p:nvSpPr>
        <p:spPr>
          <a:xfrm>
            <a:off x="3812357" y="4863239"/>
            <a:ext cx="2042936" cy="1406745"/>
          </a:xfrm>
          <a:prstGeom prst="rect">
            <a:avLst/>
          </a:prstGeom>
          <a:solidFill>
            <a:srgbClr val="F8F5E7"/>
          </a:solidFill>
          <a:ln>
            <a:noFill/>
          </a:ln>
        </p:spPr>
        <p:style>
          <a:lnRef idx="2">
            <a:schemeClr val="accent1">
              <a:shade val="50000"/>
            </a:schemeClr>
          </a:lnRef>
          <a:fillRef idx="1">
            <a:schemeClr val="accent1"/>
          </a:fillRef>
          <a:effectRef idx="0">
            <a:schemeClr val="accent1"/>
          </a:effectRef>
          <a:fontRef idx="minor">
            <a:schemeClr val="lt1"/>
          </a:fontRef>
        </p:style>
        <p:txBody>
          <a:bodyPr tIns="576000" rtlCol="0" anchor="ctr"/>
          <a:lstStyle/>
          <a:p>
            <a:pPr algn="ctr"/>
            <a:r>
              <a:rPr lang="en-US" sz="800" err="1">
                <a:solidFill>
                  <a:srgbClr val="1F2023"/>
                </a:solidFill>
              </a:rPr>
              <a:t>Fakturering</a:t>
            </a:r>
            <a:endParaRPr lang="en-US" sz="800">
              <a:solidFill>
                <a:srgbClr val="1F2023"/>
              </a:solidFill>
            </a:endParaRPr>
          </a:p>
        </p:txBody>
      </p:sp>
      <p:sp>
        <p:nvSpPr>
          <p:cNvPr id="91" name="Rectangle 90">
            <a:extLst>
              <a:ext uri="{FF2B5EF4-FFF2-40B4-BE49-F238E27FC236}">
                <a16:creationId xmlns:a16="http://schemas.microsoft.com/office/drawing/2014/main" id="{B0BDE3A9-76FA-4939-AE8D-CD916B2104DB}"/>
              </a:ext>
            </a:extLst>
          </p:cNvPr>
          <p:cNvSpPr/>
          <p:nvPr/>
        </p:nvSpPr>
        <p:spPr>
          <a:xfrm>
            <a:off x="7473972" y="3217937"/>
            <a:ext cx="128567" cy="841532"/>
          </a:xfrm>
          <a:prstGeom prst="rect">
            <a:avLst/>
          </a:prstGeom>
          <a:solidFill>
            <a:srgbClr val="F8F5E7"/>
          </a:solidFill>
          <a:ln>
            <a:no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US" sz="800">
                <a:solidFill>
                  <a:srgbClr val="1F2023"/>
                </a:solidFill>
              </a:rPr>
              <a:t>TIE</a:t>
            </a:r>
          </a:p>
        </p:txBody>
      </p:sp>
      <p:sp>
        <p:nvSpPr>
          <p:cNvPr id="92" name="Rectangle 91">
            <a:extLst>
              <a:ext uri="{FF2B5EF4-FFF2-40B4-BE49-F238E27FC236}">
                <a16:creationId xmlns:a16="http://schemas.microsoft.com/office/drawing/2014/main" id="{FD4B2568-1DBF-4247-A579-760BF10D3506}"/>
              </a:ext>
            </a:extLst>
          </p:cNvPr>
          <p:cNvSpPr/>
          <p:nvPr/>
        </p:nvSpPr>
        <p:spPr>
          <a:xfrm>
            <a:off x="7884900" y="3217936"/>
            <a:ext cx="862738" cy="882861"/>
          </a:xfrm>
          <a:prstGeom prst="rect">
            <a:avLst/>
          </a:prstGeom>
          <a:solidFill>
            <a:srgbClr val="F8F5E7"/>
          </a:solidFill>
          <a:ln>
            <a:noFill/>
          </a:ln>
        </p:spPr>
        <p:style>
          <a:lnRef idx="2">
            <a:schemeClr val="accent1">
              <a:shade val="50000"/>
            </a:schemeClr>
          </a:lnRef>
          <a:fillRef idx="1">
            <a:schemeClr val="accent1"/>
          </a:fillRef>
          <a:effectRef idx="0">
            <a:schemeClr val="accent1"/>
          </a:effectRef>
          <a:fontRef idx="minor">
            <a:schemeClr val="lt1"/>
          </a:fontRef>
        </p:style>
        <p:txBody>
          <a:bodyPr tIns="504000" rtlCol="0" anchor="t"/>
          <a:lstStyle/>
          <a:p>
            <a:pPr algn="ctr"/>
            <a:r>
              <a:rPr lang="en-US" sz="800" err="1">
                <a:solidFill>
                  <a:srgbClr val="1F2023"/>
                </a:solidFill>
              </a:rPr>
              <a:t>Nemhandel</a:t>
            </a:r>
            <a:r>
              <a:rPr lang="en-US" sz="800">
                <a:solidFill>
                  <a:srgbClr val="1F2023"/>
                </a:solidFill>
              </a:rPr>
              <a:t>,</a:t>
            </a:r>
          </a:p>
          <a:p>
            <a:pPr algn="ctr"/>
            <a:r>
              <a:rPr lang="en-US" sz="800" err="1">
                <a:solidFill>
                  <a:srgbClr val="1F2023"/>
                </a:solidFill>
              </a:rPr>
              <a:t>Leverandører</a:t>
            </a:r>
            <a:endParaRPr lang="en-US" sz="800">
              <a:solidFill>
                <a:srgbClr val="1F2023"/>
              </a:solidFill>
            </a:endParaRPr>
          </a:p>
        </p:txBody>
      </p:sp>
      <p:sp>
        <p:nvSpPr>
          <p:cNvPr id="93" name="Rectangle 92">
            <a:extLst>
              <a:ext uri="{FF2B5EF4-FFF2-40B4-BE49-F238E27FC236}">
                <a16:creationId xmlns:a16="http://schemas.microsoft.com/office/drawing/2014/main" id="{C9B14EA8-FF13-4AB2-AC35-FF96FCC6378A}"/>
              </a:ext>
            </a:extLst>
          </p:cNvPr>
          <p:cNvSpPr/>
          <p:nvPr/>
        </p:nvSpPr>
        <p:spPr>
          <a:xfrm>
            <a:off x="1139718" y="3217937"/>
            <a:ext cx="1012798" cy="841532"/>
          </a:xfrm>
          <a:prstGeom prst="rect">
            <a:avLst/>
          </a:prstGeom>
          <a:solidFill>
            <a:srgbClr val="F8F5E7"/>
          </a:solidFill>
          <a:ln>
            <a:noFill/>
          </a:ln>
        </p:spPr>
        <p:style>
          <a:lnRef idx="2">
            <a:schemeClr val="accent1">
              <a:shade val="50000"/>
            </a:schemeClr>
          </a:lnRef>
          <a:fillRef idx="1">
            <a:schemeClr val="accent1"/>
          </a:fillRef>
          <a:effectRef idx="0">
            <a:schemeClr val="accent1"/>
          </a:effectRef>
          <a:fontRef idx="minor">
            <a:schemeClr val="lt1"/>
          </a:fontRef>
        </p:style>
        <p:txBody>
          <a:bodyPr tIns="504000" rtlCol="0" anchor="t"/>
          <a:lstStyle/>
          <a:p>
            <a:pPr algn="ctr"/>
            <a:r>
              <a:rPr lang="en-US" sz="800">
                <a:solidFill>
                  <a:srgbClr val="1F2023"/>
                </a:solidFill>
              </a:rPr>
              <a:t>Navision</a:t>
            </a:r>
          </a:p>
          <a:p>
            <a:pPr algn="ctr"/>
            <a:r>
              <a:rPr lang="en-US" sz="800">
                <a:solidFill>
                  <a:srgbClr val="1F2023"/>
                </a:solidFill>
              </a:rPr>
              <a:t>Stat</a:t>
            </a:r>
          </a:p>
        </p:txBody>
      </p:sp>
      <p:sp>
        <p:nvSpPr>
          <p:cNvPr id="94" name="Rectangle 93">
            <a:extLst>
              <a:ext uri="{FF2B5EF4-FFF2-40B4-BE49-F238E27FC236}">
                <a16:creationId xmlns:a16="http://schemas.microsoft.com/office/drawing/2014/main" id="{4C649A8A-B96B-4C13-B800-EF1E4B02C625}"/>
              </a:ext>
            </a:extLst>
          </p:cNvPr>
          <p:cNvSpPr/>
          <p:nvPr/>
        </p:nvSpPr>
        <p:spPr>
          <a:xfrm>
            <a:off x="2382658" y="3217937"/>
            <a:ext cx="128567" cy="1222295"/>
          </a:xfrm>
          <a:prstGeom prst="rect">
            <a:avLst/>
          </a:prstGeom>
          <a:solidFill>
            <a:srgbClr val="F8F5E7"/>
          </a:solidFill>
          <a:ln>
            <a:no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US" sz="800">
                <a:solidFill>
                  <a:srgbClr val="1F2023"/>
                </a:solidFill>
              </a:rPr>
              <a:t>TIE</a:t>
            </a:r>
          </a:p>
        </p:txBody>
      </p:sp>
      <p:sp>
        <p:nvSpPr>
          <p:cNvPr id="95" name="Rectangle 94">
            <a:extLst>
              <a:ext uri="{FF2B5EF4-FFF2-40B4-BE49-F238E27FC236}">
                <a16:creationId xmlns:a16="http://schemas.microsoft.com/office/drawing/2014/main" id="{950E88BF-7782-436A-996C-1000A5A94338}"/>
              </a:ext>
            </a:extLst>
          </p:cNvPr>
          <p:cNvSpPr/>
          <p:nvPr/>
        </p:nvSpPr>
        <p:spPr>
          <a:xfrm>
            <a:off x="1139718" y="4450592"/>
            <a:ext cx="1012798" cy="144032"/>
          </a:xfrm>
          <a:prstGeom prst="rect">
            <a:avLst/>
          </a:prstGeom>
          <a:solidFill>
            <a:srgbClr val="F8F5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rgbClr val="1F2023"/>
                </a:solidFill>
              </a:rPr>
              <a:t>TIE</a:t>
            </a:r>
          </a:p>
        </p:txBody>
      </p:sp>
      <p:sp>
        <p:nvSpPr>
          <p:cNvPr id="96" name="Rectangle 95">
            <a:extLst>
              <a:ext uri="{FF2B5EF4-FFF2-40B4-BE49-F238E27FC236}">
                <a16:creationId xmlns:a16="http://schemas.microsoft.com/office/drawing/2014/main" id="{D7E4BACC-047D-44BE-B709-111BE9FB9E0F}"/>
              </a:ext>
            </a:extLst>
          </p:cNvPr>
          <p:cNvSpPr/>
          <p:nvPr/>
        </p:nvSpPr>
        <p:spPr>
          <a:xfrm>
            <a:off x="266700" y="4677728"/>
            <a:ext cx="1012798" cy="144032"/>
          </a:xfrm>
          <a:prstGeom prst="rect">
            <a:avLst/>
          </a:prstGeom>
          <a:solidFill>
            <a:srgbClr val="F8F5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rgbClr val="1F2023"/>
                </a:solidFill>
              </a:rPr>
              <a:t>TIE</a:t>
            </a:r>
          </a:p>
        </p:txBody>
      </p:sp>
      <p:sp>
        <p:nvSpPr>
          <p:cNvPr id="28" name="TextBox 27"/>
          <p:cNvSpPr txBox="1"/>
          <p:nvPr/>
        </p:nvSpPr>
        <p:spPr>
          <a:xfrm>
            <a:off x="6268530" y="3176576"/>
            <a:ext cx="792205" cy="147600"/>
          </a:xfrm>
          <a:prstGeom prst="rect">
            <a:avLst/>
          </a:prstGeom>
          <a:noFill/>
        </p:spPr>
        <p:txBody>
          <a:bodyPr wrap="none" rtlCol="0">
            <a:spAutoFit/>
          </a:bodyPr>
          <a:lstStyle/>
          <a:p>
            <a:pPr algn="ctr">
              <a:lnSpc>
                <a:spcPct val="90000"/>
              </a:lnSpc>
            </a:pPr>
            <a:r>
              <a:rPr lang="en-US" sz="400">
                <a:solidFill>
                  <a:srgbClr val="1F2023"/>
                </a:solidFill>
              </a:rPr>
              <a:t>MIR_MIN_24 Order (XML)</a:t>
            </a:r>
          </a:p>
        </p:txBody>
      </p:sp>
      <p:sp>
        <p:nvSpPr>
          <p:cNvPr id="29" name="TextBox 28"/>
          <p:cNvSpPr txBox="1"/>
          <p:nvPr/>
        </p:nvSpPr>
        <p:spPr>
          <a:xfrm>
            <a:off x="6329444" y="3258740"/>
            <a:ext cx="670375" cy="147600"/>
          </a:xfrm>
          <a:prstGeom prst="rect">
            <a:avLst/>
          </a:prstGeom>
          <a:noFill/>
        </p:spPr>
        <p:txBody>
          <a:bodyPr wrap="none" rtlCol="0">
            <a:spAutoFit/>
          </a:bodyPr>
          <a:lstStyle/>
          <a:p>
            <a:pPr algn="ctr">
              <a:lnSpc>
                <a:spcPct val="90000"/>
              </a:lnSpc>
            </a:pPr>
            <a:r>
              <a:rPr lang="en-US" sz="400">
                <a:solidFill>
                  <a:srgbClr val="1F2023"/>
                </a:solidFill>
                <a:latin typeface="Arial" panose="020B0604020202020204" pitchFamily="34" charset="0"/>
                <a:cs typeface="Arial" panose="020B0604020202020204" pitchFamily="34" charset="0"/>
              </a:rPr>
              <a:t>Order App Response</a:t>
            </a:r>
          </a:p>
          <a:p>
            <a:pPr algn="ctr">
              <a:lnSpc>
                <a:spcPct val="90000"/>
              </a:lnSpc>
            </a:pPr>
            <a:r>
              <a:rPr lang="en-US" sz="400" err="1">
                <a:solidFill>
                  <a:srgbClr val="1F2023"/>
                </a:solidFill>
                <a:latin typeface="Arial" panose="020B0604020202020204" pitchFamily="34" charset="0"/>
                <a:cs typeface="Arial" panose="020B0604020202020204" pitchFamily="34" charset="0"/>
              </a:rPr>
              <a:t>Ordrebekræftelse</a:t>
            </a:r>
            <a:endParaRPr lang="en-US" sz="400">
              <a:solidFill>
                <a:srgbClr val="1F2023"/>
              </a:solidFill>
              <a:latin typeface="Arial" panose="020B0604020202020204" pitchFamily="34" charset="0"/>
              <a:cs typeface="Arial" panose="020B0604020202020204" pitchFamily="34" charset="0"/>
            </a:endParaRPr>
          </a:p>
        </p:txBody>
      </p:sp>
      <p:sp>
        <p:nvSpPr>
          <p:cNvPr id="30" name="TextBox 29"/>
          <p:cNvSpPr txBox="1"/>
          <p:nvPr/>
        </p:nvSpPr>
        <p:spPr>
          <a:xfrm>
            <a:off x="6340665" y="3445680"/>
            <a:ext cx="647934" cy="147600"/>
          </a:xfrm>
          <a:prstGeom prst="rect">
            <a:avLst/>
          </a:prstGeom>
          <a:noFill/>
        </p:spPr>
        <p:txBody>
          <a:bodyPr wrap="none" rtlCol="0">
            <a:spAutoFit/>
          </a:bodyPr>
          <a:lstStyle/>
          <a:p>
            <a:pPr algn="ctr">
              <a:lnSpc>
                <a:spcPct val="90000"/>
              </a:lnSpc>
            </a:pPr>
            <a:r>
              <a:rPr lang="en-US" sz="400">
                <a:solidFill>
                  <a:srgbClr val="1F2023"/>
                </a:solidFill>
              </a:rPr>
              <a:t>Order Cancel (XML)</a:t>
            </a:r>
          </a:p>
        </p:txBody>
      </p:sp>
      <p:sp>
        <p:nvSpPr>
          <p:cNvPr id="31" name="TextBox 30"/>
          <p:cNvSpPr txBox="1"/>
          <p:nvPr/>
        </p:nvSpPr>
        <p:spPr>
          <a:xfrm>
            <a:off x="6330245" y="3580232"/>
            <a:ext cx="668773" cy="147600"/>
          </a:xfrm>
          <a:prstGeom prst="rect">
            <a:avLst/>
          </a:prstGeom>
          <a:noFill/>
        </p:spPr>
        <p:txBody>
          <a:bodyPr wrap="none" rtlCol="0">
            <a:spAutoFit/>
          </a:bodyPr>
          <a:lstStyle/>
          <a:p>
            <a:pPr algn="ctr">
              <a:lnSpc>
                <a:spcPct val="90000"/>
              </a:lnSpc>
            </a:pPr>
            <a:r>
              <a:rPr lang="en-US" sz="400">
                <a:solidFill>
                  <a:srgbClr val="1F2023"/>
                </a:solidFill>
              </a:rPr>
              <a:t>Order Change (XML)</a:t>
            </a:r>
          </a:p>
        </p:txBody>
      </p:sp>
      <p:sp>
        <p:nvSpPr>
          <p:cNvPr id="32" name="TextBox 31"/>
          <p:cNvSpPr txBox="1"/>
          <p:nvPr/>
        </p:nvSpPr>
        <p:spPr>
          <a:xfrm>
            <a:off x="6273339" y="3714784"/>
            <a:ext cx="782586" cy="147600"/>
          </a:xfrm>
          <a:prstGeom prst="rect">
            <a:avLst/>
          </a:prstGeom>
          <a:noFill/>
        </p:spPr>
        <p:txBody>
          <a:bodyPr wrap="none" rtlCol="0">
            <a:spAutoFit/>
          </a:bodyPr>
          <a:lstStyle/>
          <a:p>
            <a:pPr algn="ctr">
              <a:lnSpc>
                <a:spcPct val="90000"/>
              </a:lnSpc>
            </a:pPr>
            <a:r>
              <a:rPr lang="en-US" sz="400">
                <a:solidFill>
                  <a:srgbClr val="1F2023"/>
                </a:solidFill>
              </a:rPr>
              <a:t>TRI_MIN_4 Invoice (XML)</a:t>
            </a:r>
          </a:p>
        </p:txBody>
      </p:sp>
      <p:sp>
        <p:nvSpPr>
          <p:cNvPr id="33" name="TextBox 32"/>
          <p:cNvSpPr txBox="1"/>
          <p:nvPr/>
        </p:nvSpPr>
        <p:spPr>
          <a:xfrm>
            <a:off x="6231661" y="3849334"/>
            <a:ext cx="865942" cy="147600"/>
          </a:xfrm>
          <a:prstGeom prst="rect">
            <a:avLst/>
          </a:prstGeom>
          <a:noFill/>
        </p:spPr>
        <p:txBody>
          <a:bodyPr wrap="none" rtlCol="0">
            <a:spAutoFit/>
          </a:bodyPr>
          <a:lstStyle/>
          <a:p>
            <a:pPr algn="ctr">
              <a:lnSpc>
                <a:spcPct val="90000"/>
              </a:lnSpc>
            </a:pPr>
            <a:r>
              <a:rPr lang="en-US" sz="400">
                <a:solidFill>
                  <a:srgbClr val="1F2023"/>
                </a:solidFill>
              </a:rPr>
              <a:t>TRI_MIN_3 </a:t>
            </a:r>
            <a:r>
              <a:rPr lang="en-US" sz="400" err="1">
                <a:solidFill>
                  <a:srgbClr val="1F2023"/>
                </a:solidFill>
              </a:rPr>
              <a:t>CreditNote</a:t>
            </a:r>
            <a:r>
              <a:rPr lang="en-US" sz="400">
                <a:solidFill>
                  <a:srgbClr val="1F2023"/>
                </a:solidFill>
              </a:rPr>
              <a:t> (XML)</a:t>
            </a:r>
          </a:p>
        </p:txBody>
      </p:sp>
      <p:sp>
        <p:nvSpPr>
          <p:cNvPr id="36" name="TextBox 35"/>
          <p:cNvSpPr txBox="1"/>
          <p:nvPr/>
        </p:nvSpPr>
        <p:spPr>
          <a:xfrm>
            <a:off x="2623519" y="3169289"/>
            <a:ext cx="1078904" cy="222510"/>
          </a:xfrm>
          <a:prstGeom prst="rect">
            <a:avLst/>
          </a:prstGeom>
          <a:noFill/>
        </p:spPr>
        <p:txBody>
          <a:bodyPr wrap="square" rtlCol="0" anchor="ctr">
            <a:spAutoFit/>
          </a:bodyPr>
          <a:lstStyle>
            <a:defPPr>
              <a:defRPr lang="en-US"/>
            </a:defPPr>
            <a:lvl1pPr algn="ctr">
              <a:lnSpc>
                <a:spcPct val="110000"/>
              </a:lnSpc>
              <a:defRPr sz="400">
                <a:solidFill>
                  <a:srgbClr val="1F2023"/>
                </a:solidFill>
              </a:defRPr>
            </a:lvl1pPr>
          </a:lstStyle>
          <a:p>
            <a:r>
              <a:rPr lang="en-US"/>
              <a:t>MIR_MIN_23</a:t>
            </a:r>
          </a:p>
          <a:p>
            <a:r>
              <a:rPr lang="en-US"/>
              <a:t>Transact. Data Request (XML)</a:t>
            </a:r>
          </a:p>
        </p:txBody>
      </p:sp>
      <p:sp>
        <p:nvSpPr>
          <p:cNvPr id="37" name="TextBox 36"/>
          <p:cNvSpPr txBox="1"/>
          <p:nvPr/>
        </p:nvSpPr>
        <p:spPr>
          <a:xfrm>
            <a:off x="2599140" y="3394447"/>
            <a:ext cx="1127662" cy="222510"/>
          </a:xfrm>
          <a:prstGeom prst="rect">
            <a:avLst/>
          </a:prstGeom>
          <a:noFill/>
        </p:spPr>
        <p:txBody>
          <a:bodyPr wrap="square" rtlCol="0" anchor="ctr">
            <a:spAutoFit/>
          </a:bodyPr>
          <a:lstStyle>
            <a:defPPr>
              <a:defRPr lang="en-US"/>
            </a:defPPr>
            <a:lvl1pPr algn="ctr">
              <a:lnSpc>
                <a:spcPct val="110000"/>
              </a:lnSpc>
              <a:defRPr sz="400">
                <a:solidFill>
                  <a:srgbClr val="1F2023"/>
                </a:solidFill>
              </a:defRPr>
            </a:lvl1pPr>
          </a:lstStyle>
          <a:p>
            <a:r>
              <a:rPr lang="en-US"/>
              <a:t>TRI_MIN_1</a:t>
            </a:r>
          </a:p>
          <a:p>
            <a:r>
              <a:rPr lang="en-US"/>
              <a:t>Transact. Data Response (XML)</a:t>
            </a:r>
          </a:p>
        </p:txBody>
      </p:sp>
      <p:sp>
        <p:nvSpPr>
          <p:cNvPr id="38" name="TextBox 37"/>
          <p:cNvSpPr txBox="1"/>
          <p:nvPr/>
        </p:nvSpPr>
        <p:spPr>
          <a:xfrm>
            <a:off x="2672277" y="3619605"/>
            <a:ext cx="981389" cy="222510"/>
          </a:xfrm>
          <a:prstGeom prst="rect">
            <a:avLst/>
          </a:prstGeom>
          <a:noFill/>
        </p:spPr>
        <p:txBody>
          <a:bodyPr wrap="square" rtlCol="0" anchor="ctr">
            <a:spAutoFit/>
          </a:bodyPr>
          <a:lstStyle>
            <a:defPPr>
              <a:defRPr lang="en-US"/>
            </a:defPPr>
            <a:lvl1pPr algn="ctr">
              <a:lnSpc>
                <a:spcPct val="110000"/>
              </a:lnSpc>
              <a:defRPr sz="400">
                <a:solidFill>
                  <a:srgbClr val="1F2023"/>
                </a:solidFill>
              </a:defRPr>
            </a:lvl1pPr>
          </a:lstStyle>
          <a:p>
            <a:r>
              <a:rPr lang="en-US"/>
              <a:t>MIR_MIN_21+TRI_MIN_7*</a:t>
            </a:r>
          </a:p>
          <a:p>
            <a:r>
              <a:rPr lang="en-US" err="1"/>
              <a:t>Masterdata</a:t>
            </a:r>
            <a:r>
              <a:rPr lang="en-US"/>
              <a:t> Request (XML)</a:t>
            </a:r>
          </a:p>
        </p:txBody>
      </p:sp>
      <p:sp>
        <p:nvSpPr>
          <p:cNvPr id="39" name="TextBox 38"/>
          <p:cNvSpPr txBox="1"/>
          <p:nvPr/>
        </p:nvSpPr>
        <p:spPr>
          <a:xfrm>
            <a:off x="2739618" y="3844763"/>
            <a:ext cx="846707" cy="222561"/>
          </a:xfrm>
          <a:prstGeom prst="rect">
            <a:avLst/>
          </a:prstGeom>
          <a:noFill/>
        </p:spPr>
        <p:txBody>
          <a:bodyPr wrap="square" rtlCol="0" anchor="ctr">
            <a:spAutoFit/>
          </a:bodyPr>
          <a:lstStyle>
            <a:defPPr>
              <a:defRPr lang="en-US"/>
            </a:defPPr>
            <a:lvl1pPr algn="ctr">
              <a:lnSpc>
                <a:spcPct val="110000"/>
              </a:lnSpc>
              <a:defRPr sz="400">
                <a:solidFill>
                  <a:srgbClr val="1F2023"/>
                </a:solidFill>
              </a:defRPr>
            </a:lvl1pPr>
          </a:lstStyle>
          <a:p>
            <a:r>
              <a:rPr lang="en-US"/>
              <a:t>TRI_MIN_5</a:t>
            </a:r>
          </a:p>
          <a:p>
            <a:r>
              <a:rPr lang="en-US" err="1"/>
              <a:t>Masterdata</a:t>
            </a:r>
            <a:r>
              <a:rPr lang="en-US"/>
              <a:t> Response (XML)</a:t>
            </a:r>
          </a:p>
        </p:txBody>
      </p:sp>
      <p:sp>
        <p:nvSpPr>
          <p:cNvPr id="40" name="TextBox 39"/>
          <p:cNvSpPr txBox="1"/>
          <p:nvPr/>
        </p:nvSpPr>
        <p:spPr>
          <a:xfrm>
            <a:off x="2111935" y="3156286"/>
            <a:ext cx="311304" cy="153888"/>
          </a:xfrm>
          <a:prstGeom prst="rect">
            <a:avLst/>
          </a:prstGeom>
          <a:noFill/>
        </p:spPr>
        <p:txBody>
          <a:bodyPr wrap="none" rtlCol="0">
            <a:spAutoFit/>
          </a:bodyPr>
          <a:lstStyle/>
          <a:p>
            <a:pPr algn="ctr"/>
            <a:r>
              <a:rPr lang="en-US" sz="400">
                <a:solidFill>
                  <a:srgbClr val="1F2023"/>
                </a:solidFill>
              </a:rPr>
              <a:t>(</a:t>
            </a:r>
            <a:r>
              <a:rPr lang="en-US" sz="400" err="1">
                <a:solidFill>
                  <a:srgbClr val="1F2023"/>
                </a:solidFill>
              </a:rPr>
              <a:t>Sftp</a:t>
            </a:r>
            <a:r>
              <a:rPr lang="en-US" sz="400">
                <a:solidFill>
                  <a:srgbClr val="1F2023"/>
                </a:solidFill>
              </a:rPr>
              <a:t>)</a:t>
            </a:r>
          </a:p>
        </p:txBody>
      </p:sp>
      <p:sp>
        <p:nvSpPr>
          <p:cNvPr id="41" name="TextBox 40"/>
          <p:cNvSpPr txBox="1"/>
          <p:nvPr/>
        </p:nvSpPr>
        <p:spPr>
          <a:xfrm>
            <a:off x="2111935" y="3381101"/>
            <a:ext cx="311304" cy="153888"/>
          </a:xfrm>
          <a:prstGeom prst="rect">
            <a:avLst/>
          </a:prstGeom>
          <a:noFill/>
        </p:spPr>
        <p:txBody>
          <a:bodyPr wrap="none" rtlCol="0">
            <a:spAutoFit/>
          </a:bodyPr>
          <a:lstStyle/>
          <a:p>
            <a:pPr algn="ctr"/>
            <a:r>
              <a:rPr lang="en-US" sz="400">
                <a:solidFill>
                  <a:srgbClr val="1F2023"/>
                </a:solidFill>
              </a:rPr>
              <a:t>(</a:t>
            </a:r>
            <a:r>
              <a:rPr lang="en-US" sz="400" err="1">
                <a:solidFill>
                  <a:srgbClr val="1F2023"/>
                </a:solidFill>
              </a:rPr>
              <a:t>Sftp</a:t>
            </a:r>
            <a:r>
              <a:rPr lang="en-US" sz="400">
                <a:solidFill>
                  <a:srgbClr val="1F2023"/>
                </a:solidFill>
              </a:rPr>
              <a:t>)</a:t>
            </a:r>
          </a:p>
        </p:txBody>
      </p:sp>
      <p:sp>
        <p:nvSpPr>
          <p:cNvPr id="42" name="TextBox 41"/>
          <p:cNvSpPr txBox="1"/>
          <p:nvPr/>
        </p:nvSpPr>
        <p:spPr>
          <a:xfrm>
            <a:off x="2111935" y="3605916"/>
            <a:ext cx="311304" cy="153888"/>
          </a:xfrm>
          <a:prstGeom prst="rect">
            <a:avLst/>
          </a:prstGeom>
          <a:noFill/>
        </p:spPr>
        <p:txBody>
          <a:bodyPr wrap="none" rtlCol="0">
            <a:spAutoFit/>
          </a:bodyPr>
          <a:lstStyle/>
          <a:p>
            <a:pPr algn="ctr"/>
            <a:r>
              <a:rPr lang="en-US" sz="400">
                <a:solidFill>
                  <a:srgbClr val="1F2023"/>
                </a:solidFill>
              </a:rPr>
              <a:t>(</a:t>
            </a:r>
            <a:r>
              <a:rPr lang="en-US" sz="400" err="1">
                <a:solidFill>
                  <a:srgbClr val="1F2023"/>
                </a:solidFill>
              </a:rPr>
              <a:t>Sftp</a:t>
            </a:r>
            <a:r>
              <a:rPr lang="en-US" sz="400">
                <a:solidFill>
                  <a:srgbClr val="1F2023"/>
                </a:solidFill>
              </a:rPr>
              <a:t>)</a:t>
            </a:r>
          </a:p>
        </p:txBody>
      </p:sp>
      <p:sp>
        <p:nvSpPr>
          <p:cNvPr id="43" name="TextBox 42"/>
          <p:cNvSpPr txBox="1"/>
          <p:nvPr/>
        </p:nvSpPr>
        <p:spPr>
          <a:xfrm>
            <a:off x="2111935" y="3830731"/>
            <a:ext cx="311304" cy="153888"/>
          </a:xfrm>
          <a:prstGeom prst="rect">
            <a:avLst/>
          </a:prstGeom>
          <a:noFill/>
        </p:spPr>
        <p:txBody>
          <a:bodyPr wrap="none" rtlCol="0">
            <a:spAutoFit/>
          </a:bodyPr>
          <a:lstStyle/>
          <a:p>
            <a:pPr algn="ctr"/>
            <a:r>
              <a:rPr lang="en-US" sz="400">
                <a:solidFill>
                  <a:srgbClr val="1F2023"/>
                </a:solidFill>
              </a:rPr>
              <a:t>(</a:t>
            </a:r>
            <a:r>
              <a:rPr lang="en-US" sz="400" err="1">
                <a:solidFill>
                  <a:srgbClr val="1F2023"/>
                </a:solidFill>
              </a:rPr>
              <a:t>Sftp</a:t>
            </a:r>
            <a:r>
              <a:rPr lang="en-US" sz="400">
                <a:solidFill>
                  <a:srgbClr val="1F2023"/>
                </a:solidFill>
              </a:rPr>
              <a:t>)</a:t>
            </a:r>
          </a:p>
        </p:txBody>
      </p:sp>
      <p:sp>
        <p:nvSpPr>
          <p:cNvPr id="44" name="TextBox 43"/>
          <p:cNvSpPr txBox="1"/>
          <p:nvPr/>
        </p:nvSpPr>
        <p:spPr>
          <a:xfrm>
            <a:off x="2111935" y="3930992"/>
            <a:ext cx="311304" cy="153888"/>
          </a:xfrm>
          <a:prstGeom prst="rect">
            <a:avLst/>
          </a:prstGeom>
          <a:noFill/>
        </p:spPr>
        <p:txBody>
          <a:bodyPr wrap="none" rtlCol="0">
            <a:spAutoFit/>
          </a:bodyPr>
          <a:lstStyle/>
          <a:p>
            <a:pPr algn="ctr"/>
            <a:r>
              <a:rPr lang="en-US" sz="400">
                <a:solidFill>
                  <a:srgbClr val="1F2023"/>
                </a:solidFill>
              </a:rPr>
              <a:t>(</a:t>
            </a:r>
            <a:r>
              <a:rPr lang="en-US" sz="400" err="1">
                <a:solidFill>
                  <a:srgbClr val="1F2023"/>
                </a:solidFill>
              </a:rPr>
              <a:t>Sftp</a:t>
            </a:r>
            <a:r>
              <a:rPr lang="en-US" sz="400">
                <a:solidFill>
                  <a:srgbClr val="1F2023"/>
                </a:solidFill>
              </a:rPr>
              <a:t>)</a:t>
            </a:r>
          </a:p>
        </p:txBody>
      </p:sp>
      <p:sp>
        <p:nvSpPr>
          <p:cNvPr id="45" name="TextBox 44"/>
          <p:cNvSpPr txBox="1"/>
          <p:nvPr/>
        </p:nvSpPr>
        <p:spPr>
          <a:xfrm>
            <a:off x="2030017" y="4114158"/>
            <a:ext cx="378749" cy="158935"/>
          </a:xfrm>
          <a:prstGeom prst="rect">
            <a:avLst/>
          </a:prstGeom>
          <a:noFill/>
        </p:spPr>
        <p:txBody>
          <a:bodyPr wrap="none" rtlCol="0">
            <a:spAutoFit/>
          </a:bodyPr>
          <a:lstStyle/>
          <a:p>
            <a:r>
              <a:rPr lang="en-US" sz="400">
                <a:solidFill>
                  <a:srgbClr val="1F2023"/>
                </a:solidFill>
              </a:rPr>
              <a:t>(</a:t>
            </a:r>
            <a:r>
              <a:rPr lang="en-US" sz="400" err="1">
                <a:solidFill>
                  <a:srgbClr val="1F2023"/>
                </a:solidFill>
              </a:rPr>
              <a:t>Sftp</a:t>
            </a:r>
            <a:r>
              <a:rPr lang="en-US" sz="400">
                <a:solidFill>
                  <a:srgbClr val="1F2023"/>
                </a:solidFill>
              </a:rPr>
              <a:t>)</a:t>
            </a:r>
          </a:p>
        </p:txBody>
      </p:sp>
      <p:sp>
        <p:nvSpPr>
          <p:cNvPr id="46" name="TextBox 45"/>
          <p:cNvSpPr txBox="1"/>
          <p:nvPr/>
        </p:nvSpPr>
        <p:spPr>
          <a:xfrm>
            <a:off x="534033" y="4170985"/>
            <a:ext cx="367047" cy="158935"/>
          </a:xfrm>
          <a:prstGeom prst="rect">
            <a:avLst/>
          </a:prstGeom>
          <a:noFill/>
        </p:spPr>
        <p:txBody>
          <a:bodyPr wrap="none" rtlCol="0">
            <a:spAutoFit/>
          </a:bodyPr>
          <a:lstStyle/>
          <a:p>
            <a:r>
              <a:rPr lang="en-US" sz="400">
                <a:solidFill>
                  <a:srgbClr val="1F2023"/>
                </a:solidFill>
              </a:rPr>
              <a:t>(WS)</a:t>
            </a:r>
          </a:p>
        </p:txBody>
      </p:sp>
      <p:sp>
        <p:nvSpPr>
          <p:cNvPr id="47" name="TextBox 46"/>
          <p:cNvSpPr txBox="1"/>
          <p:nvPr/>
        </p:nvSpPr>
        <p:spPr>
          <a:xfrm>
            <a:off x="1411974" y="4170985"/>
            <a:ext cx="367047" cy="158935"/>
          </a:xfrm>
          <a:prstGeom prst="rect">
            <a:avLst/>
          </a:prstGeom>
          <a:noFill/>
        </p:spPr>
        <p:txBody>
          <a:bodyPr wrap="none" rtlCol="0">
            <a:spAutoFit/>
          </a:bodyPr>
          <a:lstStyle/>
          <a:p>
            <a:r>
              <a:rPr lang="en-US" sz="400">
                <a:solidFill>
                  <a:srgbClr val="1F2023"/>
                </a:solidFill>
              </a:rPr>
              <a:t>(WS)</a:t>
            </a:r>
          </a:p>
        </p:txBody>
      </p:sp>
      <p:sp>
        <p:nvSpPr>
          <p:cNvPr id="48" name="TextBox 47"/>
          <p:cNvSpPr txBox="1"/>
          <p:nvPr/>
        </p:nvSpPr>
        <p:spPr>
          <a:xfrm>
            <a:off x="7592878" y="3176443"/>
            <a:ext cx="301685" cy="147733"/>
          </a:xfrm>
          <a:prstGeom prst="rect">
            <a:avLst/>
          </a:prstGeom>
          <a:noFill/>
        </p:spPr>
        <p:txBody>
          <a:bodyPr wrap="none" rtlCol="0">
            <a:spAutoFit/>
          </a:bodyPr>
          <a:lstStyle>
            <a:defPPr>
              <a:defRPr lang="en-US"/>
            </a:defPPr>
            <a:lvl1pPr algn="ctr">
              <a:lnSpc>
                <a:spcPct val="90000"/>
              </a:lnSpc>
              <a:defRPr sz="400">
                <a:solidFill>
                  <a:srgbClr val="1F2023"/>
                </a:solidFill>
              </a:defRPr>
            </a:lvl1pPr>
          </a:lstStyle>
          <a:p>
            <a:r>
              <a:rPr lang="en-US"/>
              <a:t>(WS)</a:t>
            </a:r>
          </a:p>
        </p:txBody>
      </p:sp>
      <p:sp>
        <p:nvSpPr>
          <p:cNvPr id="49" name="TextBox 48"/>
          <p:cNvSpPr txBox="1"/>
          <p:nvPr/>
        </p:nvSpPr>
        <p:spPr>
          <a:xfrm>
            <a:off x="7592877" y="3310995"/>
            <a:ext cx="301686" cy="147733"/>
          </a:xfrm>
          <a:prstGeom prst="rect">
            <a:avLst/>
          </a:prstGeom>
          <a:noFill/>
        </p:spPr>
        <p:txBody>
          <a:bodyPr wrap="none" rtlCol="0">
            <a:spAutoFit/>
          </a:bodyPr>
          <a:lstStyle>
            <a:defPPr>
              <a:defRPr lang="en-US"/>
            </a:defPPr>
            <a:lvl1pPr algn="ctr">
              <a:lnSpc>
                <a:spcPct val="90000"/>
              </a:lnSpc>
              <a:defRPr sz="400">
                <a:solidFill>
                  <a:srgbClr val="1F2023"/>
                </a:solidFill>
              </a:defRPr>
            </a:lvl1pPr>
          </a:lstStyle>
          <a:p>
            <a:r>
              <a:rPr lang="en-US"/>
              <a:t>(WS)</a:t>
            </a:r>
          </a:p>
        </p:txBody>
      </p:sp>
      <p:sp>
        <p:nvSpPr>
          <p:cNvPr id="50" name="TextBox 49"/>
          <p:cNvSpPr txBox="1"/>
          <p:nvPr/>
        </p:nvSpPr>
        <p:spPr>
          <a:xfrm>
            <a:off x="7592877" y="3445547"/>
            <a:ext cx="301686" cy="147733"/>
          </a:xfrm>
          <a:prstGeom prst="rect">
            <a:avLst/>
          </a:prstGeom>
          <a:noFill/>
        </p:spPr>
        <p:txBody>
          <a:bodyPr wrap="none" rtlCol="0">
            <a:spAutoFit/>
          </a:bodyPr>
          <a:lstStyle>
            <a:defPPr>
              <a:defRPr lang="en-US"/>
            </a:defPPr>
            <a:lvl1pPr algn="ctr">
              <a:lnSpc>
                <a:spcPct val="90000"/>
              </a:lnSpc>
              <a:defRPr sz="400">
                <a:solidFill>
                  <a:srgbClr val="1F2023"/>
                </a:solidFill>
              </a:defRPr>
            </a:lvl1pPr>
          </a:lstStyle>
          <a:p>
            <a:r>
              <a:rPr lang="en-US"/>
              <a:t>(WS)</a:t>
            </a:r>
          </a:p>
        </p:txBody>
      </p:sp>
      <p:sp>
        <p:nvSpPr>
          <p:cNvPr id="51" name="TextBox 50"/>
          <p:cNvSpPr txBox="1"/>
          <p:nvPr/>
        </p:nvSpPr>
        <p:spPr>
          <a:xfrm>
            <a:off x="7592877" y="3580099"/>
            <a:ext cx="301686" cy="147733"/>
          </a:xfrm>
          <a:prstGeom prst="rect">
            <a:avLst/>
          </a:prstGeom>
          <a:noFill/>
        </p:spPr>
        <p:txBody>
          <a:bodyPr wrap="none" rtlCol="0">
            <a:spAutoFit/>
          </a:bodyPr>
          <a:lstStyle>
            <a:defPPr>
              <a:defRPr lang="en-US"/>
            </a:defPPr>
            <a:lvl1pPr algn="ctr">
              <a:lnSpc>
                <a:spcPct val="90000"/>
              </a:lnSpc>
              <a:defRPr sz="400">
                <a:solidFill>
                  <a:srgbClr val="1F2023"/>
                </a:solidFill>
              </a:defRPr>
            </a:lvl1pPr>
          </a:lstStyle>
          <a:p>
            <a:r>
              <a:rPr lang="en-US"/>
              <a:t>(WS)</a:t>
            </a:r>
          </a:p>
        </p:txBody>
      </p:sp>
      <p:sp>
        <p:nvSpPr>
          <p:cNvPr id="52" name="TextBox 51"/>
          <p:cNvSpPr txBox="1"/>
          <p:nvPr/>
        </p:nvSpPr>
        <p:spPr>
          <a:xfrm>
            <a:off x="7592877" y="3714651"/>
            <a:ext cx="301686" cy="147733"/>
          </a:xfrm>
          <a:prstGeom prst="rect">
            <a:avLst/>
          </a:prstGeom>
          <a:noFill/>
        </p:spPr>
        <p:txBody>
          <a:bodyPr wrap="none" rtlCol="0">
            <a:spAutoFit/>
          </a:bodyPr>
          <a:lstStyle>
            <a:defPPr>
              <a:defRPr lang="en-US"/>
            </a:defPPr>
            <a:lvl1pPr algn="ctr">
              <a:lnSpc>
                <a:spcPct val="90000"/>
              </a:lnSpc>
              <a:defRPr sz="400">
                <a:solidFill>
                  <a:srgbClr val="1F2023"/>
                </a:solidFill>
              </a:defRPr>
            </a:lvl1pPr>
          </a:lstStyle>
          <a:p>
            <a:r>
              <a:rPr lang="en-US"/>
              <a:t>(WS)</a:t>
            </a:r>
          </a:p>
        </p:txBody>
      </p:sp>
      <p:sp>
        <p:nvSpPr>
          <p:cNvPr id="53" name="TextBox 52"/>
          <p:cNvSpPr txBox="1"/>
          <p:nvPr/>
        </p:nvSpPr>
        <p:spPr>
          <a:xfrm>
            <a:off x="7592877" y="3849201"/>
            <a:ext cx="301686" cy="147733"/>
          </a:xfrm>
          <a:prstGeom prst="rect">
            <a:avLst/>
          </a:prstGeom>
          <a:noFill/>
        </p:spPr>
        <p:txBody>
          <a:bodyPr wrap="none" rtlCol="0">
            <a:spAutoFit/>
          </a:bodyPr>
          <a:lstStyle>
            <a:defPPr>
              <a:defRPr lang="en-US"/>
            </a:defPPr>
            <a:lvl1pPr algn="ctr">
              <a:lnSpc>
                <a:spcPct val="90000"/>
              </a:lnSpc>
              <a:defRPr sz="400">
                <a:solidFill>
                  <a:srgbClr val="1F2023"/>
                </a:solidFill>
              </a:defRPr>
            </a:lvl1pPr>
          </a:lstStyle>
          <a:p>
            <a:r>
              <a:rPr lang="en-US"/>
              <a:t>(WS)</a:t>
            </a:r>
          </a:p>
        </p:txBody>
      </p:sp>
      <p:sp>
        <p:nvSpPr>
          <p:cNvPr id="57" name="TextBox 56"/>
          <p:cNvSpPr txBox="1"/>
          <p:nvPr/>
        </p:nvSpPr>
        <p:spPr>
          <a:xfrm>
            <a:off x="2896513" y="4131549"/>
            <a:ext cx="691215" cy="276999"/>
          </a:xfrm>
          <a:prstGeom prst="rect">
            <a:avLst/>
          </a:prstGeom>
          <a:noFill/>
        </p:spPr>
        <p:txBody>
          <a:bodyPr wrap="none" rtlCol="0">
            <a:spAutoFit/>
          </a:bodyPr>
          <a:lstStyle/>
          <a:p>
            <a:r>
              <a:rPr lang="en-US" sz="400">
                <a:solidFill>
                  <a:srgbClr val="1F2023"/>
                </a:solidFill>
              </a:rPr>
              <a:t>IB_MIN_23</a:t>
            </a:r>
          </a:p>
          <a:p>
            <a:r>
              <a:rPr lang="en-US" sz="400" err="1">
                <a:solidFill>
                  <a:srgbClr val="1F2023"/>
                </a:solidFill>
              </a:rPr>
              <a:t>Masterdata</a:t>
            </a:r>
            <a:r>
              <a:rPr lang="en-US" sz="400">
                <a:solidFill>
                  <a:srgbClr val="1F2023"/>
                </a:solidFill>
              </a:rPr>
              <a:t> Response</a:t>
            </a:r>
          </a:p>
          <a:p>
            <a:r>
              <a:rPr lang="en-US" sz="400">
                <a:solidFill>
                  <a:srgbClr val="1F2023"/>
                </a:solidFill>
              </a:rPr>
              <a:t>(XML)</a:t>
            </a:r>
          </a:p>
        </p:txBody>
      </p:sp>
      <p:sp>
        <p:nvSpPr>
          <p:cNvPr id="58" name="TextBox 57"/>
          <p:cNvSpPr txBox="1"/>
          <p:nvPr/>
        </p:nvSpPr>
        <p:spPr>
          <a:xfrm>
            <a:off x="2495467" y="4590403"/>
            <a:ext cx="771365" cy="276999"/>
          </a:xfrm>
          <a:prstGeom prst="rect">
            <a:avLst/>
          </a:prstGeom>
          <a:noFill/>
        </p:spPr>
        <p:txBody>
          <a:bodyPr wrap="none" rtlCol="0">
            <a:spAutoFit/>
          </a:bodyPr>
          <a:lstStyle/>
          <a:p>
            <a:pPr algn="r"/>
            <a:r>
              <a:rPr lang="en-US" sz="400">
                <a:solidFill>
                  <a:srgbClr val="1F2023"/>
                </a:solidFill>
              </a:rPr>
              <a:t>IB_MIN_24</a:t>
            </a:r>
          </a:p>
          <a:p>
            <a:pPr algn="r"/>
            <a:r>
              <a:rPr lang="en-US" sz="400">
                <a:solidFill>
                  <a:srgbClr val="1F2023"/>
                </a:solidFill>
              </a:rPr>
              <a:t>Transact. Data Response</a:t>
            </a:r>
          </a:p>
          <a:p>
            <a:pPr algn="r"/>
            <a:r>
              <a:rPr lang="en-US" sz="400">
                <a:solidFill>
                  <a:srgbClr val="1F2023"/>
                </a:solidFill>
              </a:rPr>
              <a:t>(XML)</a:t>
            </a:r>
          </a:p>
        </p:txBody>
      </p:sp>
      <p:sp>
        <p:nvSpPr>
          <p:cNvPr id="59" name="TextBox 58"/>
          <p:cNvSpPr txBox="1"/>
          <p:nvPr/>
        </p:nvSpPr>
        <p:spPr>
          <a:xfrm>
            <a:off x="1753243" y="4890693"/>
            <a:ext cx="1951989" cy="222510"/>
          </a:xfrm>
          <a:prstGeom prst="rect">
            <a:avLst/>
          </a:prstGeom>
          <a:noFill/>
        </p:spPr>
        <p:txBody>
          <a:bodyPr wrap="square" rtlCol="0" anchor="ctr">
            <a:spAutoFit/>
          </a:bodyPr>
          <a:lstStyle/>
          <a:p>
            <a:pPr algn="ctr">
              <a:lnSpc>
                <a:spcPct val="110000"/>
              </a:lnSpc>
            </a:pPr>
            <a:r>
              <a:rPr lang="en-US" sz="400">
                <a:solidFill>
                  <a:srgbClr val="1F2023"/>
                </a:solidFill>
              </a:rPr>
              <a:t>IB_MIN_10</a:t>
            </a:r>
          </a:p>
          <a:p>
            <a:pPr algn="ctr">
              <a:lnSpc>
                <a:spcPct val="110000"/>
              </a:lnSpc>
            </a:pPr>
            <a:r>
              <a:rPr lang="en-US" sz="400" err="1">
                <a:solidFill>
                  <a:srgbClr val="1F2023"/>
                </a:solidFill>
              </a:rPr>
              <a:t>InvoiceApplicationResponse</a:t>
            </a:r>
            <a:r>
              <a:rPr lang="en-US" sz="400">
                <a:solidFill>
                  <a:srgbClr val="1F2023"/>
                </a:solidFill>
              </a:rPr>
              <a:t> (XML)</a:t>
            </a:r>
          </a:p>
        </p:txBody>
      </p:sp>
      <p:sp>
        <p:nvSpPr>
          <p:cNvPr id="60" name="TextBox 59"/>
          <p:cNvSpPr txBox="1"/>
          <p:nvPr/>
        </p:nvSpPr>
        <p:spPr>
          <a:xfrm>
            <a:off x="1753243" y="5057242"/>
            <a:ext cx="1951989" cy="222510"/>
          </a:xfrm>
          <a:prstGeom prst="rect">
            <a:avLst/>
          </a:prstGeom>
          <a:noFill/>
        </p:spPr>
        <p:txBody>
          <a:bodyPr wrap="square" rtlCol="0" anchor="ctr">
            <a:spAutoFit/>
          </a:bodyPr>
          <a:lstStyle/>
          <a:p>
            <a:pPr algn="ctr">
              <a:lnSpc>
                <a:spcPct val="110000"/>
              </a:lnSpc>
            </a:pPr>
            <a:r>
              <a:rPr lang="en-US" sz="400">
                <a:solidFill>
                  <a:srgbClr val="1F2023"/>
                </a:solidFill>
              </a:rPr>
              <a:t>IB_MIN_9</a:t>
            </a:r>
          </a:p>
          <a:p>
            <a:pPr algn="ctr">
              <a:lnSpc>
                <a:spcPct val="110000"/>
              </a:lnSpc>
            </a:pPr>
            <a:r>
              <a:rPr lang="en-US" sz="400" err="1">
                <a:solidFill>
                  <a:srgbClr val="1F2023"/>
                </a:solidFill>
              </a:rPr>
              <a:t>CreditNoteApplicationResponse</a:t>
            </a:r>
            <a:r>
              <a:rPr lang="en-US" sz="400">
                <a:solidFill>
                  <a:srgbClr val="1F2023"/>
                </a:solidFill>
              </a:rPr>
              <a:t> (XML)</a:t>
            </a:r>
          </a:p>
        </p:txBody>
      </p:sp>
      <p:sp>
        <p:nvSpPr>
          <p:cNvPr id="61" name="TextBox 60"/>
          <p:cNvSpPr txBox="1"/>
          <p:nvPr/>
        </p:nvSpPr>
        <p:spPr>
          <a:xfrm>
            <a:off x="1753243" y="5223791"/>
            <a:ext cx="1951989" cy="222510"/>
          </a:xfrm>
          <a:prstGeom prst="rect">
            <a:avLst/>
          </a:prstGeom>
          <a:noFill/>
        </p:spPr>
        <p:txBody>
          <a:bodyPr wrap="square" rtlCol="0" anchor="ctr">
            <a:spAutoFit/>
          </a:bodyPr>
          <a:lstStyle/>
          <a:p>
            <a:pPr algn="ctr">
              <a:lnSpc>
                <a:spcPct val="110000"/>
              </a:lnSpc>
            </a:pPr>
            <a:r>
              <a:rPr lang="en-US" sz="400">
                <a:solidFill>
                  <a:srgbClr val="1F2023"/>
                </a:solidFill>
              </a:rPr>
              <a:t>IB_MIN_12</a:t>
            </a:r>
          </a:p>
          <a:p>
            <a:pPr algn="ctr">
              <a:lnSpc>
                <a:spcPct val="110000"/>
              </a:lnSpc>
            </a:pPr>
            <a:r>
              <a:rPr lang="en-US" sz="400" err="1">
                <a:solidFill>
                  <a:srgbClr val="1F2023"/>
                </a:solidFill>
              </a:rPr>
              <a:t>ReminderApplicationResponse</a:t>
            </a:r>
            <a:r>
              <a:rPr lang="en-US" sz="400">
                <a:solidFill>
                  <a:srgbClr val="1F2023"/>
                </a:solidFill>
              </a:rPr>
              <a:t> (XML)</a:t>
            </a:r>
          </a:p>
        </p:txBody>
      </p:sp>
      <p:sp>
        <p:nvSpPr>
          <p:cNvPr id="62" name="TextBox 61"/>
          <p:cNvSpPr txBox="1"/>
          <p:nvPr/>
        </p:nvSpPr>
        <p:spPr>
          <a:xfrm>
            <a:off x="1753243" y="5390339"/>
            <a:ext cx="1951989" cy="222510"/>
          </a:xfrm>
          <a:prstGeom prst="rect">
            <a:avLst/>
          </a:prstGeom>
          <a:noFill/>
        </p:spPr>
        <p:txBody>
          <a:bodyPr wrap="square" rtlCol="0" anchor="ctr">
            <a:spAutoFit/>
          </a:bodyPr>
          <a:lstStyle/>
          <a:p>
            <a:pPr algn="ctr">
              <a:lnSpc>
                <a:spcPct val="110000"/>
              </a:lnSpc>
            </a:pPr>
            <a:r>
              <a:rPr lang="en-US" sz="400" err="1">
                <a:solidFill>
                  <a:srgbClr val="1F2023"/>
                </a:solidFill>
              </a:rPr>
              <a:t>StatementApplicationResponse</a:t>
            </a:r>
            <a:r>
              <a:rPr lang="en-US" sz="400">
                <a:solidFill>
                  <a:srgbClr val="1F2023"/>
                </a:solidFill>
              </a:rPr>
              <a:t> (XML)</a:t>
            </a:r>
          </a:p>
          <a:p>
            <a:pPr algn="ctr">
              <a:lnSpc>
                <a:spcPct val="110000"/>
              </a:lnSpc>
            </a:pPr>
            <a:r>
              <a:rPr lang="en-US" sz="400" err="1">
                <a:solidFill>
                  <a:srgbClr val="1F2023"/>
                </a:solidFill>
              </a:rPr>
              <a:t>Senest</a:t>
            </a:r>
            <a:r>
              <a:rPr lang="en-US" sz="400">
                <a:solidFill>
                  <a:srgbClr val="1F2023"/>
                </a:solidFill>
              </a:rPr>
              <a:t> </a:t>
            </a:r>
            <a:r>
              <a:rPr lang="en-US" sz="400" err="1">
                <a:solidFill>
                  <a:srgbClr val="1F2023"/>
                </a:solidFill>
              </a:rPr>
              <a:t>brugt</a:t>
            </a:r>
            <a:r>
              <a:rPr lang="en-US" sz="400">
                <a:solidFill>
                  <a:srgbClr val="1F2023"/>
                </a:solidFill>
              </a:rPr>
              <a:t> 2017</a:t>
            </a:r>
          </a:p>
        </p:txBody>
      </p:sp>
      <p:sp>
        <p:nvSpPr>
          <p:cNvPr id="63" name="TextBox 62"/>
          <p:cNvSpPr txBox="1"/>
          <p:nvPr/>
        </p:nvSpPr>
        <p:spPr>
          <a:xfrm>
            <a:off x="1898508" y="5576484"/>
            <a:ext cx="784961" cy="222510"/>
          </a:xfrm>
          <a:prstGeom prst="rect">
            <a:avLst/>
          </a:prstGeom>
          <a:noFill/>
        </p:spPr>
        <p:txBody>
          <a:bodyPr wrap="square" rtlCol="0" anchor="ctr">
            <a:spAutoFit/>
          </a:bodyPr>
          <a:lstStyle>
            <a:defPPr>
              <a:defRPr lang="en-US"/>
            </a:defPPr>
            <a:lvl1pPr algn="ctr">
              <a:lnSpc>
                <a:spcPct val="110000"/>
              </a:lnSpc>
              <a:defRPr sz="400">
                <a:solidFill>
                  <a:srgbClr val="1F2023"/>
                </a:solidFill>
              </a:defRPr>
            </a:lvl1pPr>
          </a:lstStyle>
          <a:p>
            <a:r>
              <a:rPr lang="en-US"/>
              <a:t>IBI_MIN_1, IBI_MIN_6</a:t>
            </a:r>
          </a:p>
          <a:p>
            <a:r>
              <a:rPr lang="en-US"/>
              <a:t>Invoice (XML)</a:t>
            </a:r>
          </a:p>
        </p:txBody>
      </p:sp>
      <p:sp>
        <p:nvSpPr>
          <p:cNvPr id="64" name="TextBox 63"/>
          <p:cNvSpPr txBox="1"/>
          <p:nvPr/>
        </p:nvSpPr>
        <p:spPr>
          <a:xfrm>
            <a:off x="1898508" y="5738275"/>
            <a:ext cx="784961" cy="222510"/>
          </a:xfrm>
          <a:prstGeom prst="rect">
            <a:avLst/>
          </a:prstGeom>
          <a:noFill/>
        </p:spPr>
        <p:txBody>
          <a:bodyPr wrap="square" rtlCol="0" anchor="ctr">
            <a:spAutoFit/>
          </a:bodyPr>
          <a:lstStyle>
            <a:defPPr>
              <a:defRPr lang="en-US"/>
            </a:defPPr>
            <a:lvl1pPr algn="ctr">
              <a:lnSpc>
                <a:spcPct val="110000"/>
              </a:lnSpc>
              <a:defRPr sz="400">
                <a:solidFill>
                  <a:srgbClr val="1F2023"/>
                </a:solidFill>
              </a:defRPr>
            </a:lvl1pPr>
          </a:lstStyle>
          <a:p>
            <a:r>
              <a:rPr lang="en-US"/>
              <a:t>IBI_MIN_2</a:t>
            </a:r>
          </a:p>
          <a:p>
            <a:r>
              <a:rPr lang="en-US" err="1"/>
              <a:t>CreditNote</a:t>
            </a:r>
            <a:r>
              <a:rPr lang="en-US"/>
              <a:t> (XML)</a:t>
            </a:r>
          </a:p>
        </p:txBody>
      </p:sp>
      <p:sp>
        <p:nvSpPr>
          <p:cNvPr id="65" name="TextBox 64"/>
          <p:cNvSpPr txBox="1"/>
          <p:nvPr/>
        </p:nvSpPr>
        <p:spPr>
          <a:xfrm>
            <a:off x="1898508" y="5900066"/>
            <a:ext cx="784961" cy="222510"/>
          </a:xfrm>
          <a:prstGeom prst="rect">
            <a:avLst/>
          </a:prstGeom>
          <a:noFill/>
        </p:spPr>
        <p:txBody>
          <a:bodyPr wrap="square" rtlCol="0" anchor="ctr">
            <a:spAutoFit/>
          </a:bodyPr>
          <a:lstStyle>
            <a:defPPr>
              <a:defRPr lang="en-US"/>
            </a:defPPr>
            <a:lvl1pPr algn="ctr">
              <a:lnSpc>
                <a:spcPct val="110000"/>
              </a:lnSpc>
              <a:defRPr sz="400">
                <a:solidFill>
                  <a:srgbClr val="1F2023"/>
                </a:solidFill>
              </a:defRPr>
            </a:lvl1pPr>
          </a:lstStyle>
          <a:p>
            <a:r>
              <a:rPr lang="en-US"/>
              <a:t>IBI_MIN_3</a:t>
            </a:r>
          </a:p>
          <a:p>
            <a:r>
              <a:rPr lang="en-US"/>
              <a:t>Reminder (XML)</a:t>
            </a:r>
          </a:p>
        </p:txBody>
      </p:sp>
      <p:sp>
        <p:nvSpPr>
          <p:cNvPr id="66" name="TextBox 65"/>
          <p:cNvSpPr txBox="1"/>
          <p:nvPr/>
        </p:nvSpPr>
        <p:spPr>
          <a:xfrm>
            <a:off x="1898508" y="6061856"/>
            <a:ext cx="784961" cy="222510"/>
          </a:xfrm>
          <a:prstGeom prst="rect">
            <a:avLst/>
          </a:prstGeom>
          <a:noFill/>
        </p:spPr>
        <p:txBody>
          <a:bodyPr wrap="square" rtlCol="0" anchor="ctr">
            <a:spAutoFit/>
          </a:bodyPr>
          <a:lstStyle>
            <a:defPPr>
              <a:defRPr lang="en-US"/>
            </a:defPPr>
            <a:lvl1pPr algn="ctr">
              <a:lnSpc>
                <a:spcPct val="110000"/>
              </a:lnSpc>
              <a:defRPr sz="400">
                <a:solidFill>
                  <a:srgbClr val="1F2023"/>
                </a:solidFill>
              </a:defRPr>
            </a:lvl1pPr>
          </a:lstStyle>
          <a:p>
            <a:r>
              <a:rPr lang="en-US"/>
              <a:t>IBI_MIN_4</a:t>
            </a:r>
          </a:p>
          <a:p>
            <a:r>
              <a:rPr lang="en-US"/>
              <a:t>Statement (XML)</a:t>
            </a:r>
          </a:p>
        </p:txBody>
      </p:sp>
      <p:sp>
        <p:nvSpPr>
          <p:cNvPr id="67" name="TextBox 66"/>
          <p:cNvSpPr txBox="1"/>
          <p:nvPr/>
        </p:nvSpPr>
        <p:spPr>
          <a:xfrm>
            <a:off x="7257223" y="5172161"/>
            <a:ext cx="851515" cy="153888"/>
          </a:xfrm>
          <a:prstGeom prst="rect">
            <a:avLst/>
          </a:prstGeom>
          <a:noFill/>
        </p:spPr>
        <p:txBody>
          <a:bodyPr wrap="none" rtlCol="0">
            <a:spAutoFit/>
          </a:bodyPr>
          <a:lstStyle/>
          <a:p>
            <a:pPr algn="r"/>
            <a:r>
              <a:rPr lang="en-US" sz="400">
                <a:solidFill>
                  <a:srgbClr val="1F2023"/>
                </a:solidFill>
              </a:rPr>
              <a:t>IBI_MIN_11 Reminder (XML)</a:t>
            </a:r>
          </a:p>
        </p:txBody>
      </p:sp>
      <p:sp>
        <p:nvSpPr>
          <p:cNvPr id="68" name="TextBox 67"/>
          <p:cNvSpPr txBox="1"/>
          <p:nvPr/>
        </p:nvSpPr>
        <p:spPr>
          <a:xfrm>
            <a:off x="7419830" y="5486375"/>
            <a:ext cx="862738" cy="153888"/>
          </a:xfrm>
          <a:prstGeom prst="rect">
            <a:avLst/>
          </a:prstGeom>
          <a:noFill/>
        </p:spPr>
        <p:txBody>
          <a:bodyPr wrap="none" rtlCol="0">
            <a:spAutoFit/>
          </a:bodyPr>
          <a:lstStyle/>
          <a:p>
            <a:pPr algn="r"/>
            <a:r>
              <a:rPr lang="en-US" sz="400">
                <a:solidFill>
                  <a:srgbClr val="1F2023"/>
                </a:solidFill>
              </a:rPr>
              <a:t>IBI_MIN_13 Statement (XML)</a:t>
            </a:r>
          </a:p>
        </p:txBody>
      </p:sp>
      <p:sp>
        <p:nvSpPr>
          <p:cNvPr id="69" name="TextBox 68"/>
          <p:cNvSpPr txBox="1"/>
          <p:nvPr/>
        </p:nvSpPr>
        <p:spPr>
          <a:xfrm>
            <a:off x="7681715" y="5800444"/>
            <a:ext cx="792205" cy="153888"/>
          </a:xfrm>
          <a:prstGeom prst="rect">
            <a:avLst/>
          </a:prstGeom>
          <a:noFill/>
        </p:spPr>
        <p:txBody>
          <a:bodyPr wrap="none" rtlCol="0">
            <a:spAutoFit/>
          </a:bodyPr>
          <a:lstStyle/>
          <a:p>
            <a:pPr algn="r"/>
            <a:r>
              <a:rPr lang="en-US" sz="400">
                <a:solidFill>
                  <a:srgbClr val="1F2023"/>
                </a:solidFill>
              </a:rPr>
              <a:t>IBI_MIN_39 Utilities (XML)</a:t>
            </a:r>
          </a:p>
        </p:txBody>
      </p:sp>
      <p:sp>
        <p:nvSpPr>
          <p:cNvPr id="70" name="TextBox 69"/>
          <p:cNvSpPr txBox="1"/>
          <p:nvPr/>
        </p:nvSpPr>
        <p:spPr>
          <a:xfrm>
            <a:off x="3550752" y="4325843"/>
            <a:ext cx="619080" cy="276999"/>
          </a:xfrm>
          <a:prstGeom prst="rect">
            <a:avLst/>
          </a:prstGeom>
          <a:noFill/>
        </p:spPr>
        <p:txBody>
          <a:bodyPr wrap="none" rtlCol="0">
            <a:spAutoFit/>
          </a:bodyPr>
          <a:lstStyle>
            <a:defPPr>
              <a:defRPr lang="en-US"/>
            </a:defPPr>
            <a:lvl1pPr algn="ctr">
              <a:lnSpc>
                <a:spcPct val="90000"/>
              </a:lnSpc>
              <a:defRPr sz="400">
                <a:solidFill>
                  <a:srgbClr val="1F2023"/>
                </a:solidFill>
              </a:defRPr>
            </a:lvl1pPr>
          </a:lstStyle>
          <a:p>
            <a:pPr algn="r"/>
            <a:r>
              <a:rPr lang="en-US"/>
              <a:t>IBI_MIN_22</a:t>
            </a:r>
          </a:p>
          <a:p>
            <a:pPr algn="r"/>
            <a:r>
              <a:rPr lang="en-US" err="1"/>
              <a:t>Bruger</a:t>
            </a:r>
            <a:r>
              <a:rPr lang="en-US"/>
              <a:t> </a:t>
            </a:r>
            <a:r>
              <a:rPr lang="en-US" err="1"/>
              <a:t>oplysninger</a:t>
            </a:r>
            <a:endParaRPr lang="en-US"/>
          </a:p>
          <a:p>
            <a:pPr algn="r"/>
            <a:r>
              <a:rPr lang="en-US"/>
              <a:t>(XML)</a:t>
            </a:r>
          </a:p>
        </p:txBody>
      </p:sp>
      <p:sp>
        <p:nvSpPr>
          <p:cNvPr id="71" name="TextBox 70"/>
          <p:cNvSpPr txBox="1"/>
          <p:nvPr/>
        </p:nvSpPr>
        <p:spPr>
          <a:xfrm>
            <a:off x="4296648" y="4335076"/>
            <a:ext cx="457176" cy="258532"/>
          </a:xfrm>
          <a:prstGeom prst="rect">
            <a:avLst/>
          </a:prstGeom>
          <a:noFill/>
        </p:spPr>
        <p:txBody>
          <a:bodyPr wrap="none" rtlCol="0" anchor="ctr">
            <a:spAutoFit/>
          </a:bodyPr>
          <a:lstStyle/>
          <a:p>
            <a:pPr algn="r">
              <a:lnSpc>
                <a:spcPct val="90000"/>
              </a:lnSpc>
            </a:pPr>
            <a:r>
              <a:rPr lang="en-US" sz="400">
                <a:solidFill>
                  <a:srgbClr val="1F2023"/>
                </a:solidFill>
              </a:rPr>
              <a:t>IBI_MIN_32</a:t>
            </a:r>
          </a:p>
          <a:p>
            <a:pPr algn="r">
              <a:lnSpc>
                <a:spcPct val="90000"/>
              </a:lnSpc>
            </a:pPr>
            <a:r>
              <a:rPr lang="en-US" sz="400">
                <a:solidFill>
                  <a:srgbClr val="1F2023"/>
                </a:solidFill>
              </a:rPr>
              <a:t>Invoice</a:t>
            </a:r>
          </a:p>
          <a:p>
            <a:pPr algn="r">
              <a:lnSpc>
                <a:spcPct val="90000"/>
              </a:lnSpc>
            </a:pPr>
            <a:r>
              <a:rPr lang="en-US" sz="400">
                <a:solidFill>
                  <a:srgbClr val="1F2023"/>
                </a:solidFill>
              </a:rPr>
              <a:t>(XML)</a:t>
            </a:r>
          </a:p>
        </p:txBody>
      </p:sp>
      <p:sp>
        <p:nvSpPr>
          <p:cNvPr id="72" name="TextBox 71"/>
          <p:cNvSpPr txBox="1"/>
          <p:nvPr/>
        </p:nvSpPr>
        <p:spPr>
          <a:xfrm>
            <a:off x="4913855" y="4335076"/>
            <a:ext cx="457176" cy="258532"/>
          </a:xfrm>
          <a:prstGeom prst="rect">
            <a:avLst/>
          </a:prstGeom>
          <a:noFill/>
        </p:spPr>
        <p:txBody>
          <a:bodyPr wrap="none" rtlCol="0" anchor="ctr">
            <a:spAutoFit/>
          </a:bodyPr>
          <a:lstStyle>
            <a:defPPr>
              <a:defRPr lang="en-US"/>
            </a:defPPr>
            <a:lvl1pPr algn="ctr">
              <a:lnSpc>
                <a:spcPct val="90000"/>
              </a:lnSpc>
              <a:defRPr sz="400">
                <a:solidFill>
                  <a:srgbClr val="1F2023"/>
                </a:solidFill>
              </a:defRPr>
            </a:lvl1pPr>
          </a:lstStyle>
          <a:p>
            <a:pPr algn="l"/>
            <a:r>
              <a:rPr lang="en-US"/>
              <a:t>IBI_MIN_31</a:t>
            </a:r>
          </a:p>
          <a:p>
            <a:pPr algn="l"/>
            <a:r>
              <a:rPr lang="en-US" err="1"/>
              <a:t>CreditNote</a:t>
            </a:r>
            <a:endParaRPr lang="en-US"/>
          </a:p>
          <a:p>
            <a:pPr algn="l"/>
            <a:r>
              <a:rPr lang="en-US"/>
              <a:t>(XML)</a:t>
            </a:r>
          </a:p>
        </p:txBody>
      </p:sp>
      <p:sp>
        <p:nvSpPr>
          <p:cNvPr id="78" name="Rectangle 77">
            <a:extLst>
              <a:ext uri="{FF2B5EF4-FFF2-40B4-BE49-F238E27FC236}">
                <a16:creationId xmlns:a16="http://schemas.microsoft.com/office/drawing/2014/main" id="{DABED687-6743-4591-8AD4-0B062281A15F}"/>
              </a:ext>
            </a:extLst>
          </p:cNvPr>
          <p:cNvSpPr/>
          <p:nvPr/>
        </p:nvSpPr>
        <p:spPr>
          <a:xfrm>
            <a:off x="2320948" y="1540766"/>
            <a:ext cx="949079" cy="705136"/>
          </a:xfrm>
          <a:prstGeom prst="rect">
            <a:avLst/>
          </a:prstGeom>
          <a:solidFill>
            <a:srgbClr val="F8F5E7"/>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0" rtlCol="0" anchor="t"/>
          <a:lstStyle/>
          <a:p>
            <a:pPr algn="ctr"/>
            <a:r>
              <a:rPr lang="en-US" sz="800" err="1">
                <a:solidFill>
                  <a:srgbClr val="1F2023"/>
                </a:solidFill>
              </a:rPr>
              <a:t>Leverand</a:t>
            </a:r>
            <a:r>
              <a:rPr lang="en-US" sz="800" err="1">
                <a:solidFill>
                  <a:srgbClr val="1F2023"/>
                </a:solidFill>
                <a:latin typeface="Arial" panose="020B0604020202020204" pitchFamily="34" charset="0"/>
                <a:cs typeface="Arial" panose="020B0604020202020204" pitchFamily="34" charset="0"/>
              </a:rPr>
              <a:t>ører</a:t>
            </a:r>
            <a:endParaRPr lang="en-US" sz="800">
              <a:solidFill>
                <a:srgbClr val="1F2023"/>
              </a:solidFill>
              <a:latin typeface="Arial" panose="020B0604020202020204" pitchFamily="34" charset="0"/>
              <a:cs typeface="Arial" panose="020B0604020202020204" pitchFamily="34" charset="0"/>
            </a:endParaRPr>
          </a:p>
          <a:p>
            <a:pPr algn="ctr"/>
            <a:r>
              <a:rPr lang="en-US" sz="800">
                <a:solidFill>
                  <a:srgbClr val="1F2023"/>
                </a:solidFill>
                <a:latin typeface="Arial" panose="020B0604020202020204" pitchFamily="34" charset="0"/>
                <a:cs typeface="Arial" panose="020B0604020202020204" pitchFamily="34" charset="0"/>
              </a:rPr>
              <a:t>Via Email</a:t>
            </a:r>
            <a:endParaRPr lang="en-US" sz="800">
              <a:solidFill>
                <a:srgbClr val="1F2023"/>
              </a:solidFill>
            </a:endParaRPr>
          </a:p>
        </p:txBody>
      </p:sp>
      <p:sp>
        <p:nvSpPr>
          <p:cNvPr id="79" name="Rectangle 78">
            <a:extLst>
              <a:ext uri="{FF2B5EF4-FFF2-40B4-BE49-F238E27FC236}">
                <a16:creationId xmlns:a16="http://schemas.microsoft.com/office/drawing/2014/main" id="{9159147E-4B58-43D8-8548-0D5D4ECBC877}"/>
              </a:ext>
            </a:extLst>
          </p:cNvPr>
          <p:cNvSpPr/>
          <p:nvPr/>
        </p:nvSpPr>
        <p:spPr>
          <a:xfrm>
            <a:off x="4161318" y="1540766"/>
            <a:ext cx="949079" cy="705136"/>
          </a:xfrm>
          <a:prstGeom prst="rect">
            <a:avLst/>
          </a:prstGeom>
          <a:solidFill>
            <a:srgbClr val="F8F5E7"/>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0" rtlCol="0" anchor="t"/>
          <a:lstStyle/>
          <a:p>
            <a:pPr algn="ctr"/>
            <a:r>
              <a:rPr lang="en-US" sz="800" err="1">
                <a:solidFill>
                  <a:srgbClr val="1F2023"/>
                </a:solidFill>
              </a:rPr>
              <a:t>Leverand</a:t>
            </a:r>
            <a:r>
              <a:rPr lang="en-US" sz="800" err="1">
                <a:solidFill>
                  <a:srgbClr val="1F2023"/>
                </a:solidFill>
                <a:latin typeface="Arial" panose="020B0604020202020204" pitchFamily="34" charset="0"/>
                <a:cs typeface="Arial" panose="020B0604020202020204" pitchFamily="34" charset="0"/>
              </a:rPr>
              <a:t>ører</a:t>
            </a:r>
            <a:endParaRPr lang="en-US" sz="800">
              <a:solidFill>
                <a:srgbClr val="1F2023"/>
              </a:solidFill>
              <a:latin typeface="Arial" panose="020B0604020202020204" pitchFamily="34" charset="0"/>
              <a:cs typeface="Arial" panose="020B0604020202020204" pitchFamily="34" charset="0"/>
            </a:endParaRPr>
          </a:p>
          <a:p>
            <a:pPr algn="ctr"/>
            <a:r>
              <a:rPr lang="en-US" sz="800">
                <a:solidFill>
                  <a:srgbClr val="1F2023"/>
                </a:solidFill>
                <a:latin typeface="Arial" panose="020B0604020202020204" pitchFamily="34" charset="0"/>
                <a:cs typeface="Arial" panose="020B0604020202020204" pitchFamily="34" charset="0"/>
              </a:rPr>
              <a:t>FTP</a:t>
            </a:r>
            <a:endParaRPr lang="en-US" sz="800">
              <a:solidFill>
                <a:srgbClr val="1F2023"/>
              </a:solidFill>
            </a:endParaRPr>
          </a:p>
        </p:txBody>
      </p:sp>
      <p:sp>
        <p:nvSpPr>
          <p:cNvPr id="80" name="Rectangle 79">
            <a:extLst>
              <a:ext uri="{FF2B5EF4-FFF2-40B4-BE49-F238E27FC236}">
                <a16:creationId xmlns:a16="http://schemas.microsoft.com/office/drawing/2014/main" id="{7DEC0A2E-17E3-4B86-9F08-7E22F4F6492C}"/>
              </a:ext>
            </a:extLst>
          </p:cNvPr>
          <p:cNvSpPr/>
          <p:nvPr/>
        </p:nvSpPr>
        <p:spPr>
          <a:xfrm>
            <a:off x="5873973" y="1540766"/>
            <a:ext cx="949079" cy="705136"/>
          </a:xfrm>
          <a:prstGeom prst="rect">
            <a:avLst/>
          </a:prstGeom>
          <a:solidFill>
            <a:srgbClr val="F8F5E7"/>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0" rtlCol="0" anchor="t"/>
          <a:lstStyle/>
          <a:p>
            <a:pPr algn="ctr"/>
            <a:r>
              <a:rPr lang="en-US" sz="800" err="1">
                <a:solidFill>
                  <a:srgbClr val="1F2023"/>
                </a:solidFill>
              </a:rPr>
              <a:t>Peppol</a:t>
            </a:r>
            <a:endParaRPr lang="en-US" sz="800">
              <a:solidFill>
                <a:srgbClr val="1F2023"/>
              </a:solidFill>
            </a:endParaRPr>
          </a:p>
        </p:txBody>
      </p:sp>
      <p:sp>
        <p:nvSpPr>
          <p:cNvPr id="15" name="TextBox 14"/>
          <p:cNvSpPr txBox="1"/>
          <p:nvPr/>
        </p:nvSpPr>
        <p:spPr>
          <a:xfrm rot="2186042">
            <a:off x="3313037" y="2636529"/>
            <a:ext cx="332142" cy="153888"/>
          </a:xfrm>
          <a:prstGeom prst="rect">
            <a:avLst/>
          </a:prstGeom>
          <a:noFill/>
        </p:spPr>
        <p:txBody>
          <a:bodyPr wrap="none" rtlCol="0">
            <a:spAutoFit/>
          </a:bodyPr>
          <a:lstStyle/>
          <a:p>
            <a:pPr algn="ctr"/>
            <a:r>
              <a:rPr lang="en-US" sz="400">
                <a:solidFill>
                  <a:srgbClr val="1F2023"/>
                </a:solidFill>
              </a:rPr>
              <a:t>Order</a:t>
            </a:r>
          </a:p>
        </p:txBody>
      </p:sp>
      <p:sp>
        <p:nvSpPr>
          <p:cNvPr id="16" name="TextBox 15"/>
          <p:cNvSpPr txBox="1"/>
          <p:nvPr/>
        </p:nvSpPr>
        <p:spPr>
          <a:xfrm rot="16200000">
            <a:off x="3828706" y="2679150"/>
            <a:ext cx="902811" cy="153888"/>
          </a:xfrm>
          <a:prstGeom prst="rect">
            <a:avLst/>
          </a:prstGeom>
          <a:noFill/>
        </p:spPr>
        <p:txBody>
          <a:bodyPr wrap="none" rtlCol="0">
            <a:spAutoFit/>
          </a:bodyPr>
          <a:lstStyle/>
          <a:p>
            <a:r>
              <a:rPr lang="en-US" sz="400">
                <a:solidFill>
                  <a:srgbClr val="1F2023"/>
                </a:solidFill>
              </a:rPr>
              <a:t>TRI_MIN_2 Catalogue Deletion</a:t>
            </a:r>
          </a:p>
        </p:txBody>
      </p:sp>
      <p:sp>
        <p:nvSpPr>
          <p:cNvPr id="17" name="TextBox 16"/>
          <p:cNvSpPr txBox="1"/>
          <p:nvPr/>
        </p:nvSpPr>
        <p:spPr>
          <a:xfrm rot="16200000">
            <a:off x="4010817" y="2657509"/>
            <a:ext cx="946093" cy="153888"/>
          </a:xfrm>
          <a:prstGeom prst="rect">
            <a:avLst/>
          </a:prstGeom>
          <a:noFill/>
        </p:spPr>
        <p:txBody>
          <a:bodyPr wrap="none" rtlCol="0">
            <a:spAutoFit/>
          </a:bodyPr>
          <a:lstStyle/>
          <a:p>
            <a:r>
              <a:rPr lang="en-US" sz="400">
                <a:solidFill>
                  <a:srgbClr val="1F2023"/>
                </a:solidFill>
              </a:rPr>
              <a:t>TRI_MIN_2 Catalogue Item Spec</a:t>
            </a:r>
          </a:p>
        </p:txBody>
      </p:sp>
      <p:sp>
        <p:nvSpPr>
          <p:cNvPr id="21" name="TextBox 20"/>
          <p:cNvSpPr txBox="1"/>
          <p:nvPr/>
        </p:nvSpPr>
        <p:spPr>
          <a:xfrm rot="16200000">
            <a:off x="4197738" y="2640678"/>
            <a:ext cx="979755" cy="153888"/>
          </a:xfrm>
          <a:prstGeom prst="rect">
            <a:avLst/>
          </a:prstGeom>
          <a:noFill/>
        </p:spPr>
        <p:txBody>
          <a:bodyPr wrap="none" rtlCol="0">
            <a:spAutoFit/>
          </a:bodyPr>
          <a:lstStyle/>
          <a:p>
            <a:r>
              <a:rPr lang="en-US" sz="400">
                <a:solidFill>
                  <a:srgbClr val="1F2023"/>
                </a:solidFill>
              </a:rPr>
              <a:t>TRI_MIN_2 Catalogue Pricing </a:t>
            </a:r>
            <a:r>
              <a:rPr lang="en-US" sz="400" err="1">
                <a:solidFill>
                  <a:srgbClr val="1F2023"/>
                </a:solidFill>
              </a:rPr>
              <a:t>Upd</a:t>
            </a:r>
            <a:endParaRPr lang="en-US" sz="400">
              <a:solidFill>
                <a:srgbClr val="1F2023"/>
              </a:solidFill>
            </a:endParaRPr>
          </a:p>
        </p:txBody>
      </p:sp>
      <p:sp>
        <p:nvSpPr>
          <p:cNvPr id="22" name="TextBox 21"/>
          <p:cNvSpPr txBox="1"/>
          <p:nvPr/>
        </p:nvSpPr>
        <p:spPr>
          <a:xfrm rot="16200000">
            <a:off x="4418321" y="2657509"/>
            <a:ext cx="946093" cy="153888"/>
          </a:xfrm>
          <a:prstGeom prst="rect">
            <a:avLst/>
          </a:prstGeom>
          <a:noFill/>
        </p:spPr>
        <p:txBody>
          <a:bodyPr wrap="none" rtlCol="0">
            <a:spAutoFit/>
          </a:bodyPr>
          <a:lstStyle/>
          <a:p>
            <a:r>
              <a:rPr lang="en-US" sz="400">
                <a:solidFill>
                  <a:srgbClr val="1F2023"/>
                </a:solidFill>
              </a:rPr>
              <a:t>TRI_MIN_2 Catalogue Item Spec</a:t>
            </a:r>
          </a:p>
        </p:txBody>
      </p:sp>
      <p:sp>
        <p:nvSpPr>
          <p:cNvPr id="23" name="TextBox 22"/>
          <p:cNvSpPr txBox="1"/>
          <p:nvPr/>
        </p:nvSpPr>
        <p:spPr>
          <a:xfrm rot="18660788">
            <a:off x="5213146" y="2629910"/>
            <a:ext cx="1204385" cy="215444"/>
          </a:xfrm>
          <a:prstGeom prst="rect">
            <a:avLst/>
          </a:prstGeom>
          <a:noFill/>
        </p:spPr>
        <p:txBody>
          <a:bodyPr wrap="square" rtlCol="0">
            <a:spAutoFit/>
          </a:bodyPr>
          <a:lstStyle/>
          <a:p>
            <a:pPr algn="ctr"/>
            <a:r>
              <a:rPr lang="en-US" sz="400">
                <a:solidFill>
                  <a:srgbClr val="1F2023"/>
                </a:solidFill>
              </a:rPr>
              <a:t>TRI_MIN_15 </a:t>
            </a:r>
            <a:r>
              <a:rPr lang="en-US" sz="400" err="1">
                <a:solidFill>
                  <a:srgbClr val="1F2023"/>
                </a:solidFill>
              </a:rPr>
              <a:t>Invoive</a:t>
            </a:r>
            <a:r>
              <a:rPr lang="en-US" sz="400">
                <a:solidFill>
                  <a:srgbClr val="1F2023"/>
                </a:solidFill>
              </a:rPr>
              <a:t>/</a:t>
            </a:r>
            <a:r>
              <a:rPr lang="en-US" sz="400" err="1">
                <a:solidFill>
                  <a:srgbClr val="1F2023"/>
                </a:solidFill>
              </a:rPr>
              <a:t>Creditnote</a:t>
            </a:r>
            <a:endParaRPr lang="en-US" sz="400">
              <a:solidFill>
                <a:srgbClr val="1F2023"/>
              </a:solidFill>
            </a:endParaRPr>
          </a:p>
          <a:p>
            <a:pPr algn="ctr"/>
            <a:r>
              <a:rPr lang="en-US" sz="400">
                <a:solidFill>
                  <a:srgbClr val="1F2023"/>
                </a:solidFill>
              </a:rPr>
              <a:t>(XML)</a:t>
            </a:r>
          </a:p>
        </p:txBody>
      </p:sp>
      <p:grpSp>
        <p:nvGrpSpPr>
          <p:cNvPr id="181" name="Group 180">
            <a:extLst>
              <a:ext uri="{FF2B5EF4-FFF2-40B4-BE49-F238E27FC236}">
                <a16:creationId xmlns:a16="http://schemas.microsoft.com/office/drawing/2014/main" id="{0B3D795E-FF3D-40EE-9A46-7B28FF74303C}"/>
              </a:ext>
            </a:extLst>
          </p:cNvPr>
          <p:cNvGrpSpPr/>
          <p:nvPr/>
        </p:nvGrpSpPr>
        <p:grpSpPr>
          <a:xfrm>
            <a:off x="4330319" y="2245902"/>
            <a:ext cx="611076" cy="959738"/>
            <a:chOff x="4222749" y="2245902"/>
            <a:chExt cx="611076" cy="959738"/>
          </a:xfrm>
        </p:grpSpPr>
        <p:cxnSp>
          <p:nvCxnSpPr>
            <p:cNvPr id="82" name="Straight Arrow Connector 81">
              <a:extLst>
                <a:ext uri="{FF2B5EF4-FFF2-40B4-BE49-F238E27FC236}">
                  <a16:creationId xmlns:a16="http://schemas.microsoft.com/office/drawing/2014/main" id="{4175EA2B-D5CB-4B73-B4D9-4F4176EA4D93}"/>
                </a:ext>
              </a:extLst>
            </p:cNvPr>
            <p:cNvCxnSpPr>
              <a:cxnSpLocks/>
            </p:cNvCxnSpPr>
            <p:nvPr/>
          </p:nvCxnSpPr>
          <p:spPr>
            <a:xfrm>
              <a:off x="4222749" y="2245902"/>
              <a:ext cx="0" cy="959738"/>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2CB11FC3-78B9-42D1-9EF8-071A100DFF97}"/>
                </a:ext>
              </a:extLst>
            </p:cNvPr>
            <p:cNvCxnSpPr>
              <a:cxnSpLocks/>
            </p:cNvCxnSpPr>
            <p:nvPr/>
          </p:nvCxnSpPr>
          <p:spPr>
            <a:xfrm>
              <a:off x="4426441" y="2245902"/>
              <a:ext cx="0" cy="959738"/>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268F52EA-E403-453C-9379-A89BDC6D89F9}"/>
                </a:ext>
              </a:extLst>
            </p:cNvPr>
            <p:cNvCxnSpPr>
              <a:cxnSpLocks/>
            </p:cNvCxnSpPr>
            <p:nvPr/>
          </p:nvCxnSpPr>
          <p:spPr>
            <a:xfrm>
              <a:off x="4630133" y="2245902"/>
              <a:ext cx="0" cy="959738"/>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468A3E9A-9F89-4F1F-9F82-0B58ADAAE0BF}"/>
                </a:ext>
              </a:extLst>
            </p:cNvPr>
            <p:cNvCxnSpPr>
              <a:cxnSpLocks/>
            </p:cNvCxnSpPr>
            <p:nvPr/>
          </p:nvCxnSpPr>
          <p:spPr>
            <a:xfrm>
              <a:off x="4833825" y="2245902"/>
              <a:ext cx="0" cy="959738"/>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cxnSp>
        <p:nvCxnSpPr>
          <p:cNvPr id="97" name="Straight Arrow Connector 96">
            <a:extLst>
              <a:ext uri="{FF2B5EF4-FFF2-40B4-BE49-F238E27FC236}">
                <a16:creationId xmlns:a16="http://schemas.microsoft.com/office/drawing/2014/main" id="{5CAAFB75-75C9-402A-A164-84E716F3FDB6}"/>
              </a:ext>
            </a:extLst>
          </p:cNvPr>
          <p:cNvCxnSpPr>
            <a:cxnSpLocks/>
          </p:cNvCxnSpPr>
          <p:nvPr/>
        </p:nvCxnSpPr>
        <p:spPr>
          <a:xfrm flipH="1" flipV="1">
            <a:off x="2823901" y="2261136"/>
            <a:ext cx="1276522" cy="937307"/>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A9A8C75F-1C54-404E-918B-29AC2FA6D4D1}"/>
              </a:ext>
            </a:extLst>
          </p:cNvPr>
          <p:cNvCxnSpPr>
            <a:cxnSpLocks/>
          </p:cNvCxnSpPr>
          <p:nvPr/>
        </p:nvCxnSpPr>
        <p:spPr>
          <a:xfrm flipH="1">
            <a:off x="5508319" y="2245902"/>
            <a:ext cx="840193" cy="952541"/>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1673EDD9-D198-416E-BE9A-480E1E4052E7}"/>
              </a:ext>
            </a:extLst>
          </p:cNvPr>
          <p:cNvCxnSpPr>
            <a:cxnSpLocks/>
          </p:cNvCxnSpPr>
          <p:nvPr/>
        </p:nvCxnSpPr>
        <p:spPr>
          <a:xfrm flipH="1">
            <a:off x="2511442" y="3280544"/>
            <a:ext cx="1303059" cy="0"/>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198CE98F-5B27-4DCA-832E-B4330983BA5D}"/>
              </a:ext>
            </a:extLst>
          </p:cNvPr>
          <p:cNvCxnSpPr/>
          <p:nvPr/>
        </p:nvCxnSpPr>
        <p:spPr>
          <a:xfrm flipH="1">
            <a:off x="2511442" y="3730876"/>
            <a:ext cx="1303059" cy="0"/>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E2F3CB75-7897-4AD9-B22E-526D5427C888}"/>
              </a:ext>
            </a:extLst>
          </p:cNvPr>
          <p:cNvCxnSpPr>
            <a:cxnSpLocks/>
          </p:cNvCxnSpPr>
          <p:nvPr/>
        </p:nvCxnSpPr>
        <p:spPr>
          <a:xfrm rot="10800000" flipH="1">
            <a:off x="2511442" y="3956043"/>
            <a:ext cx="1303059" cy="0"/>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EB0ABE82-3C79-4966-AC33-A165E8DD1E04}"/>
              </a:ext>
            </a:extLst>
          </p:cNvPr>
          <p:cNvCxnSpPr>
            <a:cxnSpLocks/>
          </p:cNvCxnSpPr>
          <p:nvPr/>
        </p:nvCxnSpPr>
        <p:spPr>
          <a:xfrm rot="10800000" flipH="1">
            <a:off x="2511442" y="3505710"/>
            <a:ext cx="1303059" cy="0"/>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551820FB-B1CD-4AE1-B8C6-F541FD87EE2D}"/>
              </a:ext>
            </a:extLst>
          </p:cNvPr>
          <p:cNvCxnSpPr>
            <a:cxnSpLocks/>
          </p:cNvCxnSpPr>
          <p:nvPr/>
        </p:nvCxnSpPr>
        <p:spPr>
          <a:xfrm flipH="1">
            <a:off x="2152517" y="3280544"/>
            <a:ext cx="230142" cy="0"/>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532B8A01-0FFC-4A39-B7C2-4B122AF5D311}"/>
              </a:ext>
            </a:extLst>
          </p:cNvPr>
          <p:cNvCxnSpPr>
            <a:cxnSpLocks/>
          </p:cNvCxnSpPr>
          <p:nvPr/>
        </p:nvCxnSpPr>
        <p:spPr>
          <a:xfrm flipH="1">
            <a:off x="2152517" y="3730876"/>
            <a:ext cx="230142" cy="0"/>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DBB89943-9237-4EB2-BAB2-0D40227C31B2}"/>
              </a:ext>
            </a:extLst>
          </p:cNvPr>
          <p:cNvCxnSpPr>
            <a:cxnSpLocks/>
          </p:cNvCxnSpPr>
          <p:nvPr/>
        </p:nvCxnSpPr>
        <p:spPr>
          <a:xfrm rot="10800000" flipH="1">
            <a:off x="2152517" y="3505710"/>
            <a:ext cx="230142" cy="0"/>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7801794E-3B32-4B52-9124-890214982336}"/>
              </a:ext>
            </a:extLst>
          </p:cNvPr>
          <p:cNvCxnSpPr>
            <a:cxnSpLocks/>
          </p:cNvCxnSpPr>
          <p:nvPr/>
        </p:nvCxnSpPr>
        <p:spPr>
          <a:xfrm rot="10800000" flipH="1">
            <a:off x="2152517" y="3956043"/>
            <a:ext cx="230142" cy="0"/>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F97F7A46-3FD1-4C61-8790-10DBA3815E5C}"/>
              </a:ext>
            </a:extLst>
          </p:cNvPr>
          <p:cNvCxnSpPr>
            <a:cxnSpLocks/>
          </p:cNvCxnSpPr>
          <p:nvPr/>
        </p:nvCxnSpPr>
        <p:spPr>
          <a:xfrm>
            <a:off x="2152517" y="4034884"/>
            <a:ext cx="231114" cy="46579"/>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361EDAE-B70B-4D92-A139-09C0B12B89C3}"/>
              </a:ext>
            </a:extLst>
          </p:cNvPr>
          <p:cNvCxnSpPr>
            <a:cxnSpLocks/>
          </p:cNvCxnSpPr>
          <p:nvPr/>
        </p:nvCxnSpPr>
        <p:spPr>
          <a:xfrm>
            <a:off x="2152517" y="4059215"/>
            <a:ext cx="228720" cy="236551"/>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04E68A36-0BDE-4140-8B61-6F0E3173031A}"/>
              </a:ext>
            </a:extLst>
          </p:cNvPr>
          <p:cNvCxnSpPr>
            <a:cxnSpLocks/>
          </p:cNvCxnSpPr>
          <p:nvPr/>
        </p:nvCxnSpPr>
        <p:spPr>
          <a:xfrm>
            <a:off x="1646117" y="4060674"/>
            <a:ext cx="0" cy="379557"/>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73EF3C0D-4F00-4A99-830F-07484B330A51}"/>
              </a:ext>
            </a:extLst>
          </p:cNvPr>
          <p:cNvSpPr/>
          <p:nvPr/>
        </p:nvSpPr>
        <p:spPr>
          <a:xfrm>
            <a:off x="769620" y="3638703"/>
            <a:ext cx="371175" cy="1039025"/>
          </a:xfrm>
          <a:custGeom>
            <a:avLst/>
            <a:gdLst>
              <a:gd name="connsiteX0" fmla="*/ 0 w 1126824"/>
              <a:gd name="connsiteY0" fmla="*/ 0 h 1126432"/>
              <a:gd name="connsiteX1" fmla="*/ 1126824 w 1126824"/>
              <a:gd name="connsiteY1" fmla="*/ 0 h 1126432"/>
              <a:gd name="connsiteX2" fmla="*/ 1126824 w 1126824"/>
              <a:gd name="connsiteY2" fmla="*/ 1126432 h 1126432"/>
              <a:gd name="connsiteX3" fmla="*/ 0 w 1126824"/>
              <a:gd name="connsiteY3" fmla="*/ 1126432 h 1126432"/>
              <a:gd name="connsiteX4" fmla="*/ 0 w 1126824"/>
              <a:gd name="connsiteY4" fmla="*/ 0 h 1126432"/>
              <a:gd name="connsiteX0" fmla="*/ 1126824 w 1218264"/>
              <a:gd name="connsiteY0" fmla="*/ 1126432 h 1217872"/>
              <a:gd name="connsiteX1" fmla="*/ 0 w 1218264"/>
              <a:gd name="connsiteY1" fmla="*/ 1126432 h 1217872"/>
              <a:gd name="connsiteX2" fmla="*/ 0 w 1218264"/>
              <a:gd name="connsiteY2" fmla="*/ 0 h 1217872"/>
              <a:gd name="connsiteX3" fmla="*/ 1126824 w 1218264"/>
              <a:gd name="connsiteY3" fmla="*/ 0 h 1217872"/>
              <a:gd name="connsiteX4" fmla="*/ 1218264 w 1218264"/>
              <a:gd name="connsiteY4" fmla="*/ 1217872 h 1217872"/>
              <a:gd name="connsiteX0" fmla="*/ 0 w 1218264"/>
              <a:gd name="connsiteY0" fmla="*/ 1126432 h 1217872"/>
              <a:gd name="connsiteX1" fmla="*/ 0 w 1218264"/>
              <a:gd name="connsiteY1" fmla="*/ 0 h 1217872"/>
              <a:gd name="connsiteX2" fmla="*/ 1126824 w 1218264"/>
              <a:gd name="connsiteY2" fmla="*/ 0 h 1217872"/>
              <a:gd name="connsiteX3" fmla="*/ 1218264 w 1218264"/>
              <a:gd name="connsiteY3" fmla="*/ 1217872 h 1217872"/>
              <a:gd name="connsiteX0" fmla="*/ 0 w 1126824"/>
              <a:gd name="connsiteY0" fmla="*/ 1126432 h 1126432"/>
              <a:gd name="connsiteX1" fmla="*/ 0 w 1126824"/>
              <a:gd name="connsiteY1" fmla="*/ 0 h 1126432"/>
              <a:gd name="connsiteX2" fmla="*/ 1126824 w 1126824"/>
              <a:gd name="connsiteY2" fmla="*/ 0 h 1126432"/>
            </a:gdLst>
            <a:ahLst/>
            <a:cxnLst>
              <a:cxn ang="0">
                <a:pos x="connsiteX0" y="connsiteY0"/>
              </a:cxn>
              <a:cxn ang="0">
                <a:pos x="connsiteX1" y="connsiteY1"/>
              </a:cxn>
              <a:cxn ang="0">
                <a:pos x="connsiteX2" y="connsiteY2"/>
              </a:cxn>
            </a:cxnLst>
            <a:rect l="l" t="t" r="r" b="b"/>
            <a:pathLst>
              <a:path w="1126824" h="1126432">
                <a:moveTo>
                  <a:pt x="0" y="1126432"/>
                </a:moveTo>
                <a:lnTo>
                  <a:pt x="0" y="0"/>
                </a:lnTo>
                <a:lnTo>
                  <a:pt x="1126824" y="0"/>
                </a:lnTo>
              </a:path>
            </a:pathLst>
          </a:cu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txBody>
          <a:bodyPr lIns="108000" tIns="108000" rIns="108000" bIns="108000" rtlCol="0" anchor="t" anchorCtr="0">
            <a:noAutofit/>
          </a:bodyPr>
          <a:lstStyle/>
          <a:p>
            <a:pPr algn="l"/>
            <a:endParaRPr lang="en-US" sz="1100" noProof="0" err="1">
              <a:solidFill>
                <a:srgbClr val="1F2023"/>
              </a:solidFill>
            </a:endParaRPr>
          </a:p>
        </p:txBody>
      </p:sp>
      <p:cxnSp>
        <p:nvCxnSpPr>
          <p:cNvPr id="128" name="Straight Connector 127">
            <a:extLst>
              <a:ext uri="{FF2B5EF4-FFF2-40B4-BE49-F238E27FC236}">
                <a16:creationId xmlns:a16="http://schemas.microsoft.com/office/drawing/2014/main" id="{0ACDA421-9C7C-4A0D-9455-F02A1FADDE39}"/>
              </a:ext>
            </a:extLst>
          </p:cNvPr>
          <p:cNvCxnSpPr>
            <a:cxnSpLocks/>
          </p:cNvCxnSpPr>
          <p:nvPr/>
        </p:nvCxnSpPr>
        <p:spPr>
          <a:xfrm flipH="1">
            <a:off x="769620" y="6011321"/>
            <a:ext cx="3042737"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793707F5-851B-4332-9D99-6DBDD39F2711}"/>
              </a:ext>
            </a:extLst>
          </p:cNvPr>
          <p:cNvCxnSpPr>
            <a:cxnSpLocks/>
          </p:cNvCxnSpPr>
          <p:nvPr/>
        </p:nvCxnSpPr>
        <p:spPr>
          <a:xfrm flipH="1">
            <a:off x="769620" y="5849530"/>
            <a:ext cx="3042737"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41D29007-117A-4CCB-9D88-2422C5956780}"/>
              </a:ext>
            </a:extLst>
          </p:cNvPr>
          <p:cNvCxnSpPr>
            <a:cxnSpLocks/>
          </p:cNvCxnSpPr>
          <p:nvPr/>
        </p:nvCxnSpPr>
        <p:spPr>
          <a:xfrm flipH="1">
            <a:off x="769620" y="5687739"/>
            <a:ext cx="3042737"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2" name="Rectangle 122">
            <a:extLst>
              <a:ext uri="{FF2B5EF4-FFF2-40B4-BE49-F238E27FC236}">
                <a16:creationId xmlns:a16="http://schemas.microsoft.com/office/drawing/2014/main" id="{73166ED2-4229-42B6-ABB0-B587E45FAF79}"/>
              </a:ext>
            </a:extLst>
          </p:cNvPr>
          <p:cNvSpPr/>
          <p:nvPr/>
        </p:nvSpPr>
        <p:spPr>
          <a:xfrm rot="10800000" flipH="1">
            <a:off x="1646118" y="4597698"/>
            <a:ext cx="2162337" cy="903893"/>
          </a:xfrm>
          <a:custGeom>
            <a:avLst/>
            <a:gdLst>
              <a:gd name="connsiteX0" fmla="*/ 0 w 1126824"/>
              <a:gd name="connsiteY0" fmla="*/ 0 h 1126432"/>
              <a:gd name="connsiteX1" fmla="*/ 1126824 w 1126824"/>
              <a:gd name="connsiteY1" fmla="*/ 0 h 1126432"/>
              <a:gd name="connsiteX2" fmla="*/ 1126824 w 1126824"/>
              <a:gd name="connsiteY2" fmla="*/ 1126432 h 1126432"/>
              <a:gd name="connsiteX3" fmla="*/ 0 w 1126824"/>
              <a:gd name="connsiteY3" fmla="*/ 1126432 h 1126432"/>
              <a:gd name="connsiteX4" fmla="*/ 0 w 1126824"/>
              <a:gd name="connsiteY4" fmla="*/ 0 h 1126432"/>
              <a:gd name="connsiteX0" fmla="*/ 1126824 w 1218264"/>
              <a:gd name="connsiteY0" fmla="*/ 1126432 h 1217872"/>
              <a:gd name="connsiteX1" fmla="*/ 0 w 1218264"/>
              <a:gd name="connsiteY1" fmla="*/ 1126432 h 1217872"/>
              <a:gd name="connsiteX2" fmla="*/ 0 w 1218264"/>
              <a:gd name="connsiteY2" fmla="*/ 0 h 1217872"/>
              <a:gd name="connsiteX3" fmla="*/ 1126824 w 1218264"/>
              <a:gd name="connsiteY3" fmla="*/ 0 h 1217872"/>
              <a:gd name="connsiteX4" fmla="*/ 1218264 w 1218264"/>
              <a:gd name="connsiteY4" fmla="*/ 1217872 h 1217872"/>
              <a:gd name="connsiteX0" fmla="*/ 0 w 1218264"/>
              <a:gd name="connsiteY0" fmla="*/ 1126432 h 1217872"/>
              <a:gd name="connsiteX1" fmla="*/ 0 w 1218264"/>
              <a:gd name="connsiteY1" fmla="*/ 0 h 1217872"/>
              <a:gd name="connsiteX2" fmla="*/ 1126824 w 1218264"/>
              <a:gd name="connsiteY2" fmla="*/ 0 h 1217872"/>
              <a:gd name="connsiteX3" fmla="*/ 1218264 w 1218264"/>
              <a:gd name="connsiteY3" fmla="*/ 1217872 h 1217872"/>
              <a:gd name="connsiteX0" fmla="*/ 0 w 1126824"/>
              <a:gd name="connsiteY0" fmla="*/ 1126432 h 1126432"/>
              <a:gd name="connsiteX1" fmla="*/ 0 w 1126824"/>
              <a:gd name="connsiteY1" fmla="*/ 0 h 1126432"/>
              <a:gd name="connsiteX2" fmla="*/ 1126824 w 1126824"/>
              <a:gd name="connsiteY2" fmla="*/ 0 h 1126432"/>
            </a:gdLst>
            <a:ahLst/>
            <a:cxnLst>
              <a:cxn ang="0">
                <a:pos x="connsiteX0" y="connsiteY0"/>
              </a:cxn>
              <a:cxn ang="0">
                <a:pos x="connsiteX1" y="connsiteY1"/>
              </a:cxn>
              <a:cxn ang="0">
                <a:pos x="connsiteX2" y="connsiteY2"/>
              </a:cxn>
            </a:cxnLst>
            <a:rect l="l" t="t" r="r" b="b"/>
            <a:pathLst>
              <a:path w="1126824" h="1126432">
                <a:moveTo>
                  <a:pt x="0" y="1126432"/>
                </a:moveTo>
                <a:lnTo>
                  <a:pt x="0" y="0"/>
                </a:lnTo>
                <a:lnTo>
                  <a:pt x="1126824" y="0"/>
                </a:lnTo>
              </a:path>
            </a:pathLst>
          </a:cu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txBody>
          <a:bodyPr lIns="108000" tIns="108000" rIns="108000" bIns="108000" rtlCol="0" anchor="t" anchorCtr="0">
            <a:noAutofit/>
          </a:bodyPr>
          <a:lstStyle/>
          <a:p>
            <a:pPr algn="l"/>
            <a:endParaRPr lang="en-US" sz="1100" noProof="0" err="1">
              <a:solidFill>
                <a:srgbClr val="1F2023"/>
              </a:solidFill>
            </a:endParaRPr>
          </a:p>
        </p:txBody>
      </p:sp>
      <p:cxnSp>
        <p:nvCxnSpPr>
          <p:cNvPr id="133" name="Straight Connector 132">
            <a:extLst>
              <a:ext uri="{FF2B5EF4-FFF2-40B4-BE49-F238E27FC236}">
                <a16:creationId xmlns:a16="http://schemas.microsoft.com/office/drawing/2014/main" id="{408A38DC-ECE8-4606-B52B-AB6D00F79873}"/>
              </a:ext>
            </a:extLst>
          </p:cNvPr>
          <p:cNvCxnSpPr>
            <a:cxnSpLocks/>
          </p:cNvCxnSpPr>
          <p:nvPr/>
        </p:nvCxnSpPr>
        <p:spPr>
          <a:xfrm>
            <a:off x="1646117" y="5335046"/>
            <a:ext cx="2166240" cy="0"/>
          </a:xfrm>
          <a:prstGeom prst="line">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A1471D8-1693-4345-9007-01A8A50F5FCD}"/>
              </a:ext>
            </a:extLst>
          </p:cNvPr>
          <p:cNvCxnSpPr>
            <a:cxnSpLocks/>
          </p:cNvCxnSpPr>
          <p:nvPr/>
        </p:nvCxnSpPr>
        <p:spPr>
          <a:xfrm>
            <a:off x="1646117" y="5168497"/>
            <a:ext cx="2166240" cy="0"/>
          </a:xfrm>
          <a:prstGeom prst="line">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7F437C56-BEF1-4722-956C-5961D64073B7}"/>
              </a:ext>
            </a:extLst>
          </p:cNvPr>
          <p:cNvCxnSpPr>
            <a:cxnSpLocks/>
          </p:cNvCxnSpPr>
          <p:nvPr/>
        </p:nvCxnSpPr>
        <p:spPr>
          <a:xfrm>
            <a:off x="1642554" y="5001948"/>
            <a:ext cx="2166240" cy="0"/>
          </a:xfrm>
          <a:prstGeom prst="line">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0BD784D2-186C-4253-89DF-022A02376758}"/>
              </a:ext>
            </a:extLst>
          </p:cNvPr>
          <p:cNvCxnSpPr>
            <a:cxnSpLocks/>
          </p:cNvCxnSpPr>
          <p:nvPr/>
        </p:nvCxnSpPr>
        <p:spPr>
          <a:xfrm>
            <a:off x="2511226" y="4379567"/>
            <a:ext cx="1301131" cy="511539"/>
          </a:xfrm>
          <a:prstGeom prst="line">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12059652-EA8A-470E-B599-38C5E68D10D9}"/>
              </a:ext>
            </a:extLst>
          </p:cNvPr>
          <p:cNvCxnSpPr>
            <a:cxnSpLocks/>
          </p:cNvCxnSpPr>
          <p:nvPr/>
        </p:nvCxnSpPr>
        <p:spPr>
          <a:xfrm>
            <a:off x="2509145" y="4137692"/>
            <a:ext cx="1516662" cy="731960"/>
          </a:xfrm>
          <a:prstGeom prst="line">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BA7D4F76-8D49-40FA-A85D-A0FE9D449FD2}"/>
              </a:ext>
            </a:extLst>
          </p:cNvPr>
          <p:cNvCxnSpPr>
            <a:cxnSpLocks/>
          </p:cNvCxnSpPr>
          <p:nvPr/>
        </p:nvCxnSpPr>
        <p:spPr>
          <a:xfrm>
            <a:off x="4104726" y="4059033"/>
            <a:ext cx="0" cy="810618"/>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172" name="Group 171">
            <a:extLst>
              <a:ext uri="{FF2B5EF4-FFF2-40B4-BE49-F238E27FC236}">
                <a16:creationId xmlns:a16="http://schemas.microsoft.com/office/drawing/2014/main" id="{E2E5886B-1A59-49B5-935D-AA572FBA2FF2}"/>
              </a:ext>
            </a:extLst>
          </p:cNvPr>
          <p:cNvGrpSpPr/>
          <p:nvPr/>
        </p:nvGrpSpPr>
        <p:grpSpPr>
          <a:xfrm>
            <a:off x="4691865" y="4059033"/>
            <a:ext cx="283921" cy="810618"/>
            <a:chOff x="4732076" y="4059033"/>
            <a:chExt cx="283921" cy="810618"/>
          </a:xfrm>
        </p:grpSpPr>
        <p:cxnSp>
          <p:nvCxnSpPr>
            <p:cNvPr id="147" name="Straight Arrow Connector 146">
              <a:extLst>
                <a:ext uri="{FF2B5EF4-FFF2-40B4-BE49-F238E27FC236}">
                  <a16:creationId xmlns:a16="http://schemas.microsoft.com/office/drawing/2014/main" id="{E95DA568-5CEB-4885-A7BA-DD57CC602490}"/>
                </a:ext>
              </a:extLst>
            </p:cNvPr>
            <p:cNvCxnSpPr>
              <a:cxnSpLocks/>
            </p:cNvCxnSpPr>
            <p:nvPr/>
          </p:nvCxnSpPr>
          <p:spPr>
            <a:xfrm>
              <a:off x="4732076" y="4059033"/>
              <a:ext cx="0" cy="810618"/>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48" name="Straight Arrow Connector 147">
              <a:extLst>
                <a:ext uri="{FF2B5EF4-FFF2-40B4-BE49-F238E27FC236}">
                  <a16:creationId xmlns:a16="http://schemas.microsoft.com/office/drawing/2014/main" id="{E1FCA1F8-BA8C-43F0-B594-DF5D6E2AC09F}"/>
                </a:ext>
              </a:extLst>
            </p:cNvPr>
            <p:cNvCxnSpPr>
              <a:cxnSpLocks/>
            </p:cNvCxnSpPr>
            <p:nvPr/>
          </p:nvCxnSpPr>
          <p:spPr>
            <a:xfrm>
              <a:off x="5015997" y="4059033"/>
              <a:ext cx="0" cy="810618"/>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cxnSp>
        <p:nvCxnSpPr>
          <p:cNvPr id="154" name="Straight Arrow Connector 153">
            <a:extLst>
              <a:ext uri="{FF2B5EF4-FFF2-40B4-BE49-F238E27FC236}">
                <a16:creationId xmlns:a16="http://schemas.microsoft.com/office/drawing/2014/main" id="{7CF941C3-DC58-403C-B839-7373607D12B2}"/>
              </a:ext>
            </a:extLst>
          </p:cNvPr>
          <p:cNvCxnSpPr>
            <a:cxnSpLocks/>
          </p:cNvCxnSpPr>
          <p:nvPr/>
        </p:nvCxnSpPr>
        <p:spPr>
          <a:xfrm rot="10800000">
            <a:off x="5855293" y="3820944"/>
            <a:ext cx="1618679" cy="0"/>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156" name="Group 155">
            <a:extLst>
              <a:ext uri="{FF2B5EF4-FFF2-40B4-BE49-F238E27FC236}">
                <a16:creationId xmlns:a16="http://schemas.microsoft.com/office/drawing/2014/main" id="{A0E61D28-E2B4-4BD5-941E-D17A79EEF3A2}"/>
              </a:ext>
            </a:extLst>
          </p:cNvPr>
          <p:cNvGrpSpPr/>
          <p:nvPr/>
        </p:nvGrpSpPr>
        <p:grpSpPr>
          <a:xfrm>
            <a:off x="5855293" y="3280544"/>
            <a:ext cx="1618679" cy="675500"/>
            <a:chOff x="5780529" y="3225300"/>
            <a:chExt cx="1330437" cy="654050"/>
          </a:xfrm>
        </p:grpSpPr>
        <p:cxnSp>
          <p:nvCxnSpPr>
            <p:cNvPr id="149" name="Straight Arrow Connector 148">
              <a:extLst>
                <a:ext uri="{FF2B5EF4-FFF2-40B4-BE49-F238E27FC236}">
                  <a16:creationId xmlns:a16="http://schemas.microsoft.com/office/drawing/2014/main" id="{8E1FA7BF-D931-4591-9E67-1741925B6236}"/>
                </a:ext>
              </a:extLst>
            </p:cNvPr>
            <p:cNvCxnSpPr>
              <a:cxnSpLocks/>
            </p:cNvCxnSpPr>
            <p:nvPr/>
          </p:nvCxnSpPr>
          <p:spPr>
            <a:xfrm>
              <a:off x="5780529" y="3225300"/>
              <a:ext cx="1330437" cy="0"/>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E8DFB586-069C-4D68-A5D7-98423BA1C493}"/>
                </a:ext>
              </a:extLst>
            </p:cNvPr>
            <p:cNvCxnSpPr>
              <a:cxnSpLocks/>
            </p:cNvCxnSpPr>
            <p:nvPr/>
          </p:nvCxnSpPr>
          <p:spPr>
            <a:xfrm rot="10800000">
              <a:off x="5780529" y="3356110"/>
              <a:ext cx="1330437" cy="0"/>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43628ADA-2525-456F-8A6D-C48B95EC5B26}"/>
                </a:ext>
              </a:extLst>
            </p:cNvPr>
            <p:cNvCxnSpPr>
              <a:cxnSpLocks/>
            </p:cNvCxnSpPr>
            <p:nvPr/>
          </p:nvCxnSpPr>
          <p:spPr>
            <a:xfrm rot="10800000">
              <a:off x="5780529" y="3486920"/>
              <a:ext cx="1330437" cy="0"/>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8A93D46A-C01B-4378-8ED0-25F168C5F638}"/>
                </a:ext>
              </a:extLst>
            </p:cNvPr>
            <p:cNvCxnSpPr>
              <a:cxnSpLocks/>
            </p:cNvCxnSpPr>
            <p:nvPr/>
          </p:nvCxnSpPr>
          <p:spPr>
            <a:xfrm rot="10800000">
              <a:off x="5780529" y="3617730"/>
              <a:ext cx="1330437" cy="0"/>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55" name="Straight Arrow Connector 154">
              <a:extLst>
                <a:ext uri="{FF2B5EF4-FFF2-40B4-BE49-F238E27FC236}">
                  <a16:creationId xmlns:a16="http://schemas.microsoft.com/office/drawing/2014/main" id="{D0EB837C-76FC-49FE-A342-41FDE55A9C22}"/>
                </a:ext>
              </a:extLst>
            </p:cNvPr>
            <p:cNvCxnSpPr>
              <a:cxnSpLocks/>
            </p:cNvCxnSpPr>
            <p:nvPr/>
          </p:nvCxnSpPr>
          <p:spPr>
            <a:xfrm rot="10800000">
              <a:off x="5780529" y="3879350"/>
              <a:ext cx="1330437" cy="0"/>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grpSp>
        <p:nvGrpSpPr>
          <p:cNvPr id="157" name="Group 156">
            <a:extLst>
              <a:ext uri="{FF2B5EF4-FFF2-40B4-BE49-F238E27FC236}">
                <a16:creationId xmlns:a16="http://schemas.microsoft.com/office/drawing/2014/main" id="{4D53B9AC-F13C-49A8-9CF0-90D0546DC45B}"/>
              </a:ext>
            </a:extLst>
          </p:cNvPr>
          <p:cNvGrpSpPr/>
          <p:nvPr/>
        </p:nvGrpSpPr>
        <p:grpSpPr>
          <a:xfrm>
            <a:off x="7602539" y="3280544"/>
            <a:ext cx="282361" cy="675500"/>
            <a:chOff x="5780529" y="3225300"/>
            <a:chExt cx="1330437" cy="654050"/>
          </a:xfrm>
        </p:grpSpPr>
        <p:cxnSp>
          <p:nvCxnSpPr>
            <p:cNvPr id="158" name="Straight Arrow Connector 157">
              <a:extLst>
                <a:ext uri="{FF2B5EF4-FFF2-40B4-BE49-F238E27FC236}">
                  <a16:creationId xmlns:a16="http://schemas.microsoft.com/office/drawing/2014/main" id="{FC2A251F-EAA3-4D31-AFD0-3D9F3E4E0878}"/>
                </a:ext>
              </a:extLst>
            </p:cNvPr>
            <p:cNvCxnSpPr>
              <a:cxnSpLocks/>
            </p:cNvCxnSpPr>
            <p:nvPr/>
          </p:nvCxnSpPr>
          <p:spPr>
            <a:xfrm>
              <a:off x="5780529" y="3225300"/>
              <a:ext cx="1330437" cy="0"/>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B47D7108-44E5-4523-A5A4-EA518E09D631}"/>
                </a:ext>
              </a:extLst>
            </p:cNvPr>
            <p:cNvCxnSpPr>
              <a:cxnSpLocks/>
            </p:cNvCxnSpPr>
            <p:nvPr/>
          </p:nvCxnSpPr>
          <p:spPr>
            <a:xfrm rot="10800000">
              <a:off x="5780529" y="3356110"/>
              <a:ext cx="1330437" cy="0"/>
            </a:xfrm>
            <a:prstGeom prst="straightConnector1">
              <a:avLst/>
            </a:prstGeom>
            <a:ln w="6350">
              <a:solidFill>
                <a:srgbClr val="1F2023"/>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D032DDE4-5FE1-45BF-957E-6202E85600A8}"/>
                </a:ext>
              </a:extLst>
            </p:cNvPr>
            <p:cNvCxnSpPr>
              <a:cxnSpLocks/>
            </p:cNvCxnSpPr>
            <p:nvPr/>
          </p:nvCxnSpPr>
          <p:spPr>
            <a:xfrm rot="10800000">
              <a:off x="5780529" y="3486920"/>
              <a:ext cx="1330437" cy="0"/>
            </a:xfrm>
            <a:prstGeom prst="straightConnector1">
              <a:avLst/>
            </a:prstGeom>
            <a:ln w="6350">
              <a:solidFill>
                <a:srgbClr val="1F2023"/>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93DC175C-C9C3-4D9C-8B31-E243B0BDFFA3}"/>
                </a:ext>
              </a:extLst>
            </p:cNvPr>
            <p:cNvCxnSpPr>
              <a:cxnSpLocks/>
            </p:cNvCxnSpPr>
            <p:nvPr/>
          </p:nvCxnSpPr>
          <p:spPr>
            <a:xfrm rot="10800000">
              <a:off x="5780529" y="3617730"/>
              <a:ext cx="1330437" cy="0"/>
            </a:xfrm>
            <a:prstGeom prst="straightConnector1">
              <a:avLst/>
            </a:prstGeom>
            <a:ln w="6350">
              <a:solidFill>
                <a:srgbClr val="1F2023"/>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62" name="Straight Arrow Connector 161">
              <a:extLst>
                <a:ext uri="{FF2B5EF4-FFF2-40B4-BE49-F238E27FC236}">
                  <a16:creationId xmlns:a16="http://schemas.microsoft.com/office/drawing/2014/main" id="{B8C0BD6F-82A7-4FF4-A214-A2BC53FB2EB1}"/>
                </a:ext>
              </a:extLst>
            </p:cNvPr>
            <p:cNvCxnSpPr>
              <a:cxnSpLocks/>
            </p:cNvCxnSpPr>
            <p:nvPr/>
          </p:nvCxnSpPr>
          <p:spPr>
            <a:xfrm rot="10800000">
              <a:off x="5780529" y="3879350"/>
              <a:ext cx="1330437" cy="0"/>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66CAC515-5D3D-4C1D-8133-E06C5E903FCF}"/>
                </a:ext>
              </a:extLst>
            </p:cNvPr>
            <p:cNvCxnSpPr>
              <a:cxnSpLocks/>
            </p:cNvCxnSpPr>
            <p:nvPr/>
          </p:nvCxnSpPr>
          <p:spPr>
            <a:xfrm rot="10800000">
              <a:off x="5780529" y="3748540"/>
              <a:ext cx="1330437" cy="0"/>
            </a:xfrm>
            <a:prstGeom prst="straightConnector1">
              <a:avLst/>
            </a:pr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64" name="Rectangle 122">
            <a:extLst>
              <a:ext uri="{FF2B5EF4-FFF2-40B4-BE49-F238E27FC236}">
                <a16:creationId xmlns:a16="http://schemas.microsoft.com/office/drawing/2014/main" id="{3D9A7590-0652-4AB6-9448-C3F4A5835847}"/>
              </a:ext>
            </a:extLst>
          </p:cNvPr>
          <p:cNvSpPr/>
          <p:nvPr/>
        </p:nvSpPr>
        <p:spPr>
          <a:xfrm rot="10800000">
            <a:off x="5855291" y="4057169"/>
            <a:ext cx="2618629" cy="1902209"/>
          </a:xfrm>
          <a:custGeom>
            <a:avLst/>
            <a:gdLst>
              <a:gd name="connsiteX0" fmla="*/ 0 w 1126824"/>
              <a:gd name="connsiteY0" fmla="*/ 0 h 1126432"/>
              <a:gd name="connsiteX1" fmla="*/ 1126824 w 1126824"/>
              <a:gd name="connsiteY1" fmla="*/ 0 h 1126432"/>
              <a:gd name="connsiteX2" fmla="*/ 1126824 w 1126824"/>
              <a:gd name="connsiteY2" fmla="*/ 1126432 h 1126432"/>
              <a:gd name="connsiteX3" fmla="*/ 0 w 1126824"/>
              <a:gd name="connsiteY3" fmla="*/ 1126432 h 1126432"/>
              <a:gd name="connsiteX4" fmla="*/ 0 w 1126824"/>
              <a:gd name="connsiteY4" fmla="*/ 0 h 1126432"/>
              <a:gd name="connsiteX0" fmla="*/ 1126824 w 1218264"/>
              <a:gd name="connsiteY0" fmla="*/ 1126432 h 1217872"/>
              <a:gd name="connsiteX1" fmla="*/ 0 w 1218264"/>
              <a:gd name="connsiteY1" fmla="*/ 1126432 h 1217872"/>
              <a:gd name="connsiteX2" fmla="*/ 0 w 1218264"/>
              <a:gd name="connsiteY2" fmla="*/ 0 h 1217872"/>
              <a:gd name="connsiteX3" fmla="*/ 1126824 w 1218264"/>
              <a:gd name="connsiteY3" fmla="*/ 0 h 1217872"/>
              <a:gd name="connsiteX4" fmla="*/ 1218264 w 1218264"/>
              <a:gd name="connsiteY4" fmla="*/ 1217872 h 1217872"/>
              <a:gd name="connsiteX0" fmla="*/ 0 w 1218264"/>
              <a:gd name="connsiteY0" fmla="*/ 1126432 h 1217872"/>
              <a:gd name="connsiteX1" fmla="*/ 0 w 1218264"/>
              <a:gd name="connsiteY1" fmla="*/ 0 h 1217872"/>
              <a:gd name="connsiteX2" fmla="*/ 1126824 w 1218264"/>
              <a:gd name="connsiteY2" fmla="*/ 0 h 1217872"/>
              <a:gd name="connsiteX3" fmla="*/ 1218264 w 1218264"/>
              <a:gd name="connsiteY3" fmla="*/ 1217872 h 1217872"/>
              <a:gd name="connsiteX0" fmla="*/ 0 w 1126824"/>
              <a:gd name="connsiteY0" fmla="*/ 1126432 h 1126432"/>
              <a:gd name="connsiteX1" fmla="*/ 0 w 1126824"/>
              <a:gd name="connsiteY1" fmla="*/ 0 h 1126432"/>
              <a:gd name="connsiteX2" fmla="*/ 1126824 w 1126824"/>
              <a:gd name="connsiteY2" fmla="*/ 0 h 1126432"/>
            </a:gdLst>
            <a:ahLst/>
            <a:cxnLst>
              <a:cxn ang="0">
                <a:pos x="connsiteX0" y="connsiteY0"/>
              </a:cxn>
              <a:cxn ang="0">
                <a:pos x="connsiteX1" y="connsiteY1"/>
              </a:cxn>
              <a:cxn ang="0">
                <a:pos x="connsiteX2" y="connsiteY2"/>
              </a:cxn>
            </a:cxnLst>
            <a:rect l="l" t="t" r="r" b="b"/>
            <a:pathLst>
              <a:path w="1126824" h="1126432">
                <a:moveTo>
                  <a:pt x="0" y="1126432"/>
                </a:moveTo>
                <a:lnTo>
                  <a:pt x="0" y="0"/>
                </a:lnTo>
                <a:lnTo>
                  <a:pt x="1126824" y="0"/>
                </a:lnTo>
              </a:path>
            </a:pathLst>
          </a:cu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txBody>
          <a:bodyPr lIns="108000" tIns="108000" rIns="108000" bIns="108000" rtlCol="0" anchor="t" anchorCtr="0">
            <a:noAutofit/>
          </a:bodyPr>
          <a:lstStyle/>
          <a:p>
            <a:pPr algn="l"/>
            <a:endParaRPr lang="en-US" sz="1100" noProof="0" err="1">
              <a:solidFill>
                <a:srgbClr val="1F2023"/>
              </a:solidFill>
            </a:endParaRPr>
          </a:p>
        </p:txBody>
      </p:sp>
      <p:sp>
        <p:nvSpPr>
          <p:cNvPr id="165" name="Rectangle 122">
            <a:extLst>
              <a:ext uri="{FF2B5EF4-FFF2-40B4-BE49-F238E27FC236}">
                <a16:creationId xmlns:a16="http://schemas.microsoft.com/office/drawing/2014/main" id="{0981B4E0-722A-4D09-B409-58C57A79265F}"/>
              </a:ext>
            </a:extLst>
          </p:cNvPr>
          <p:cNvSpPr/>
          <p:nvPr/>
        </p:nvSpPr>
        <p:spPr>
          <a:xfrm rot="10800000">
            <a:off x="5855287" y="4057168"/>
            <a:ext cx="2427281" cy="1588141"/>
          </a:xfrm>
          <a:custGeom>
            <a:avLst/>
            <a:gdLst>
              <a:gd name="connsiteX0" fmla="*/ 0 w 1126824"/>
              <a:gd name="connsiteY0" fmla="*/ 0 h 1126432"/>
              <a:gd name="connsiteX1" fmla="*/ 1126824 w 1126824"/>
              <a:gd name="connsiteY1" fmla="*/ 0 h 1126432"/>
              <a:gd name="connsiteX2" fmla="*/ 1126824 w 1126824"/>
              <a:gd name="connsiteY2" fmla="*/ 1126432 h 1126432"/>
              <a:gd name="connsiteX3" fmla="*/ 0 w 1126824"/>
              <a:gd name="connsiteY3" fmla="*/ 1126432 h 1126432"/>
              <a:gd name="connsiteX4" fmla="*/ 0 w 1126824"/>
              <a:gd name="connsiteY4" fmla="*/ 0 h 1126432"/>
              <a:gd name="connsiteX0" fmla="*/ 1126824 w 1218264"/>
              <a:gd name="connsiteY0" fmla="*/ 1126432 h 1217872"/>
              <a:gd name="connsiteX1" fmla="*/ 0 w 1218264"/>
              <a:gd name="connsiteY1" fmla="*/ 1126432 h 1217872"/>
              <a:gd name="connsiteX2" fmla="*/ 0 w 1218264"/>
              <a:gd name="connsiteY2" fmla="*/ 0 h 1217872"/>
              <a:gd name="connsiteX3" fmla="*/ 1126824 w 1218264"/>
              <a:gd name="connsiteY3" fmla="*/ 0 h 1217872"/>
              <a:gd name="connsiteX4" fmla="*/ 1218264 w 1218264"/>
              <a:gd name="connsiteY4" fmla="*/ 1217872 h 1217872"/>
              <a:gd name="connsiteX0" fmla="*/ 0 w 1218264"/>
              <a:gd name="connsiteY0" fmla="*/ 1126432 h 1217872"/>
              <a:gd name="connsiteX1" fmla="*/ 0 w 1218264"/>
              <a:gd name="connsiteY1" fmla="*/ 0 h 1217872"/>
              <a:gd name="connsiteX2" fmla="*/ 1126824 w 1218264"/>
              <a:gd name="connsiteY2" fmla="*/ 0 h 1217872"/>
              <a:gd name="connsiteX3" fmla="*/ 1218264 w 1218264"/>
              <a:gd name="connsiteY3" fmla="*/ 1217872 h 1217872"/>
              <a:gd name="connsiteX0" fmla="*/ 0 w 1126824"/>
              <a:gd name="connsiteY0" fmla="*/ 1126432 h 1126432"/>
              <a:gd name="connsiteX1" fmla="*/ 0 w 1126824"/>
              <a:gd name="connsiteY1" fmla="*/ 0 h 1126432"/>
              <a:gd name="connsiteX2" fmla="*/ 1126824 w 1126824"/>
              <a:gd name="connsiteY2" fmla="*/ 0 h 1126432"/>
            </a:gdLst>
            <a:ahLst/>
            <a:cxnLst>
              <a:cxn ang="0">
                <a:pos x="connsiteX0" y="connsiteY0"/>
              </a:cxn>
              <a:cxn ang="0">
                <a:pos x="connsiteX1" y="connsiteY1"/>
              </a:cxn>
              <a:cxn ang="0">
                <a:pos x="connsiteX2" y="connsiteY2"/>
              </a:cxn>
            </a:cxnLst>
            <a:rect l="l" t="t" r="r" b="b"/>
            <a:pathLst>
              <a:path w="1126824" h="1126432">
                <a:moveTo>
                  <a:pt x="0" y="1126432"/>
                </a:moveTo>
                <a:lnTo>
                  <a:pt x="0" y="0"/>
                </a:lnTo>
                <a:lnTo>
                  <a:pt x="1126824" y="0"/>
                </a:lnTo>
              </a:path>
            </a:pathLst>
          </a:cu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txBody>
          <a:bodyPr lIns="108000" tIns="108000" rIns="108000" bIns="108000" rtlCol="0" anchor="t" anchorCtr="0">
            <a:noAutofit/>
          </a:bodyPr>
          <a:lstStyle/>
          <a:p>
            <a:pPr algn="l"/>
            <a:endParaRPr lang="en-US" sz="1100" noProof="0" err="1">
              <a:solidFill>
                <a:srgbClr val="1F2023"/>
              </a:solidFill>
            </a:endParaRPr>
          </a:p>
        </p:txBody>
      </p:sp>
      <p:sp>
        <p:nvSpPr>
          <p:cNvPr id="167" name="Rectangle 122">
            <a:extLst>
              <a:ext uri="{FF2B5EF4-FFF2-40B4-BE49-F238E27FC236}">
                <a16:creationId xmlns:a16="http://schemas.microsoft.com/office/drawing/2014/main" id="{990F909E-C309-4036-9439-97D91F65B394}"/>
              </a:ext>
            </a:extLst>
          </p:cNvPr>
          <p:cNvSpPr/>
          <p:nvPr/>
        </p:nvSpPr>
        <p:spPr>
          <a:xfrm rot="10800000">
            <a:off x="5855286" y="4059032"/>
            <a:ext cx="2253452" cy="1272063"/>
          </a:xfrm>
          <a:custGeom>
            <a:avLst/>
            <a:gdLst>
              <a:gd name="connsiteX0" fmla="*/ 0 w 1126824"/>
              <a:gd name="connsiteY0" fmla="*/ 0 h 1126432"/>
              <a:gd name="connsiteX1" fmla="*/ 1126824 w 1126824"/>
              <a:gd name="connsiteY1" fmla="*/ 0 h 1126432"/>
              <a:gd name="connsiteX2" fmla="*/ 1126824 w 1126824"/>
              <a:gd name="connsiteY2" fmla="*/ 1126432 h 1126432"/>
              <a:gd name="connsiteX3" fmla="*/ 0 w 1126824"/>
              <a:gd name="connsiteY3" fmla="*/ 1126432 h 1126432"/>
              <a:gd name="connsiteX4" fmla="*/ 0 w 1126824"/>
              <a:gd name="connsiteY4" fmla="*/ 0 h 1126432"/>
              <a:gd name="connsiteX0" fmla="*/ 1126824 w 1218264"/>
              <a:gd name="connsiteY0" fmla="*/ 1126432 h 1217872"/>
              <a:gd name="connsiteX1" fmla="*/ 0 w 1218264"/>
              <a:gd name="connsiteY1" fmla="*/ 1126432 h 1217872"/>
              <a:gd name="connsiteX2" fmla="*/ 0 w 1218264"/>
              <a:gd name="connsiteY2" fmla="*/ 0 h 1217872"/>
              <a:gd name="connsiteX3" fmla="*/ 1126824 w 1218264"/>
              <a:gd name="connsiteY3" fmla="*/ 0 h 1217872"/>
              <a:gd name="connsiteX4" fmla="*/ 1218264 w 1218264"/>
              <a:gd name="connsiteY4" fmla="*/ 1217872 h 1217872"/>
              <a:gd name="connsiteX0" fmla="*/ 0 w 1218264"/>
              <a:gd name="connsiteY0" fmla="*/ 1126432 h 1217872"/>
              <a:gd name="connsiteX1" fmla="*/ 0 w 1218264"/>
              <a:gd name="connsiteY1" fmla="*/ 0 h 1217872"/>
              <a:gd name="connsiteX2" fmla="*/ 1126824 w 1218264"/>
              <a:gd name="connsiteY2" fmla="*/ 0 h 1217872"/>
              <a:gd name="connsiteX3" fmla="*/ 1218264 w 1218264"/>
              <a:gd name="connsiteY3" fmla="*/ 1217872 h 1217872"/>
              <a:gd name="connsiteX0" fmla="*/ 0 w 1126824"/>
              <a:gd name="connsiteY0" fmla="*/ 1126432 h 1126432"/>
              <a:gd name="connsiteX1" fmla="*/ 0 w 1126824"/>
              <a:gd name="connsiteY1" fmla="*/ 0 h 1126432"/>
              <a:gd name="connsiteX2" fmla="*/ 1126824 w 1126824"/>
              <a:gd name="connsiteY2" fmla="*/ 0 h 1126432"/>
            </a:gdLst>
            <a:ahLst/>
            <a:cxnLst>
              <a:cxn ang="0">
                <a:pos x="connsiteX0" y="connsiteY0"/>
              </a:cxn>
              <a:cxn ang="0">
                <a:pos x="connsiteX1" y="connsiteY1"/>
              </a:cxn>
              <a:cxn ang="0">
                <a:pos x="connsiteX2" y="connsiteY2"/>
              </a:cxn>
            </a:cxnLst>
            <a:rect l="l" t="t" r="r" b="b"/>
            <a:pathLst>
              <a:path w="1126824" h="1126432">
                <a:moveTo>
                  <a:pt x="0" y="1126432"/>
                </a:moveTo>
                <a:lnTo>
                  <a:pt x="0" y="0"/>
                </a:lnTo>
                <a:lnTo>
                  <a:pt x="1126824" y="0"/>
                </a:lnTo>
              </a:path>
            </a:pathLst>
          </a:custGeom>
          <a:ln w="6350">
            <a:solidFill>
              <a:srgbClr val="1F2023"/>
            </a:solidFill>
            <a:headEnd type="none" w="med" len="med"/>
            <a:tailEnd type="triangle" w="sm" len="sm"/>
          </a:ln>
        </p:spPr>
        <p:style>
          <a:lnRef idx="1">
            <a:schemeClr val="accent1"/>
          </a:lnRef>
          <a:fillRef idx="0">
            <a:schemeClr val="accent1"/>
          </a:fillRef>
          <a:effectRef idx="0">
            <a:schemeClr val="accent1"/>
          </a:effectRef>
          <a:fontRef idx="minor">
            <a:schemeClr val="tx1"/>
          </a:fontRef>
        </p:style>
        <p:txBody>
          <a:bodyPr lIns="108000" tIns="108000" rIns="108000" bIns="108000" rtlCol="0" anchor="t" anchorCtr="0">
            <a:noAutofit/>
          </a:bodyPr>
          <a:lstStyle/>
          <a:p>
            <a:pPr algn="l"/>
            <a:endParaRPr lang="en-US" sz="1100" noProof="0" err="1">
              <a:solidFill>
                <a:srgbClr val="1F2023"/>
              </a:solidFill>
            </a:endParaRPr>
          </a:p>
        </p:txBody>
      </p:sp>
      <p:grpSp>
        <p:nvGrpSpPr>
          <p:cNvPr id="183" name="Group 182">
            <a:extLst>
              <a:ext uri="{FF2B5EF4-FFF2-40B4-BE49-F238E27FC236}">
                <a16:creationId xmlns:a16="http://schemas.microsoft.com/office/drawing/2014/main" id="{8FBCBB10-5597-4928-A088-723D0577AA7B}"/>
              </a:ext>
            </a:extLst>
          </p:cNvPr>
          <p:cNvGrpSpPr/>
          <p:nvPr/>
        </p:nvGrpSpPr>
        <p:grpSpPr>
          <a:xfrm>
            <a:off x="2654120" y="1654969"/>
            <a:ext cx="282734" cy="165482"/>
            <a:chOff x="6804625" y="2989460"/>
            <a:chExt cx="539750" cy="315913"/>
          </a:xfrm>
        </p:grpSpPr>
        <p:sp>
          <p:nvSpPr>
            <p:cNvPr id="184" name="Freeform 69">
              <a:extLst>
                <a:ext uri="{FF2B5EF4-FFF2-40B4-BE49-F238E27FC236}">
                  <a16:creationId xmlns:a16="http://schemas.microsoft.com/office/drawing/2014/main" id="{E7BF5228-FDCA-4A4E-95F1-663B5261D2DA}"/>
                </a:ext>
              </a:extLst>
            </p:cNvPr>
            <p:cNvSpPr>
              <a:spLocks/>
            </p:cNvSpPr>
            <p:nvPr/>
          </p:nvSpPr>
          <p:spPr bwMode="auto">
            <a:xfrm>
              <a:off x="6804625" y="2989460"/>
              <a:ext cx="449263" cy="185738"/>
            </a:xfrm>
            <a:custGeom>
              <a:avLst/>
              <a:gdLst>
                <a:gd name="T0" fmla="*/ 7 w 100"/>
                <a:gd name="T1" fmla="*/ 9 h 41"/>
                <a:gd name="T2" fmla="*/ 41 w 100"/>
                <a:gd name="T3" fmla="*/ 37 h 41"/>
                <a:gd name="T4" fmla="*/ 59 w 100"/>
                <a:gd name="T5" fmla="*/ 37 h 41"/>
                <a:gd name="T6" fmla="*/ 99 w 100"/>
                <a:gd name="T7" fmla="*/ 5 h 41"/>
                <a:gd name="T8" fmla="*/ 97 w 100"/>
                <a:gd name="T9" fmla="*/ 1 h 41"/>
                <a:gd name="T10" fmla="*/ 3 w 100"/>
                <a:gd name="T11" fmla="*/ 1 h 41"/>
                <a:gd name="T12" fmla="*/ 2 w 100"/>
                <a:gd name="T13" fmla="*/ 5 h 41"/>
                <a:gd name="T14" fmla="*/ 7 w 100"/>
                <a:gd name="T15" fmla="*/ 9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41">
                  <a:moveTo>
                    <a:pt x="7" y="9"/>
                  </a:moveTo>
                  <a:cubicBezTo>
                    <a:pt x="41" y="37"/>
                    <a:pt x="41" y="37"/>
                    <a:pt x="41" y="37"/>
                  </a:cubicBezTo>
                  <a:cubicBezTo>
                    <a:pt x="46" y="41"/>
                    <a:pt x="54" y="41"/>
                    <a:pt x="59" y="37"/>
                  </a:cubicBezTo>
                  <a:cubicBezTo>
                    <a:pt x="99" y="5"/>
                    <a:pt x="99" y="5"/>
                    <a:pt x="99" y="5"/>
                  </a:cubicBezTo>
                  <a:cubicBezTo>
                    <a:pt x="100" y="3"/>
                    <a:pt x="99" y="0"/>
                    <a:pt x="97" y="1"/>
                  </a:cubicBezTo>
                  <a:cubicBezTo>
                    <a:pt x="3" y="1"/>
                    <a:pt x="3" y="1"/>
                    <a:pt x="3" y="1"/>
                  </a:cubicBezTo>
                  <a:cubicBezTo>
                    <a:pt x="1" y="1"/>
                    <a:pt x="0" y="3"/>
                    <a:pt x="2" y="5"/>
                  </a:cubicBezTo>
                  <a:lnTo>
                    <a:pt x="7" y="9"/>
                  </a:lnTo>
                  <a:close/>
                </a:path>
              </a:pathLst>
            </a:custGeom>
            <a:solidFill>
              <a:srgbClr val="A1B5AD"/>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185" name="Group 184">
              <a:extLst>
                <a:ext uri="{FF2B5EF4-FFF2-40B4-BE49-F238E27FC236}">
                  <a16:creationId xmlns:a16="http://schemas.microsoft.com/office/drawing/2014/main" id="{1EE92066-CD84-4DDB-A47E-1ED0ECB030AB}"/>
                </a:ext>
              </a:extLst>
            </p:cNvPr>
            <p:cNvGrpSpPr/>
            <p:nvPr/>
          </p:nvGrpSpPr>
          <p:grpSpPr>
            <a:xfrm>
              <a:off x="6858600" y="2989460"/>
              <a:ext cx="485775" cy="315913"/>
              <a:chOff x="6858600" y="2989460"/>
              <a:chExt cx="485775" cy="315913"/>
            </a:xfrm>
          </p:grpSpPr>
          <p:sp>
            <p:nvSpPr>
              <p:cNvPr id="186" name="Freeform 70">
                <a:extLst>
                  <a:ext uri="{FF2B5EF4-FFF2-40B4-BE49-F238E27FC236}">
                    <a16:creationId xmlns:a16="http://schemas.microsoft.com/office/drawing/2014/main" id="{8B40B58C-9E99-4A6D-B732-396D74113AB7}"/>
                  </a:ext>
                </a:extLst>
              </p:cNvPr>
              <p:cNvSpPr>
                <a:spLocks/>
              </p:cNvSpPr>
              <p:nvPr/>
            </p:nvSpPr>
            <p:spPr bwMode="auto">
              <a:xfrm>
                <a:off x="6858600" y="2989460"/>
                <a:ext cx="485775" cy="315913"/>
              </a:xfrm>
              <a:custGeom>
                <a:avLst/>
                <a:gdLst>
                  <a:gd name="T0" fmla="*/ 11 w 108"/>
                  <a:gd name="T1" fmla="*/ 9 h 70"/>
                  <a:gd name="T2" fmla="*/ 44 w 108"/>
                  <a:gd name="T3" fmla="*/ 37 h 70"/>
                  <a:gd name="T4" fmla="*/ 63 w 108"/>
                  <a:gd name="T5" fmla="*/ 37 h 70"/>
                  <a:gd name="T6" fmla="*/ 108 w 108"/>
                  <a:gd name="T7" fmla="*/ 0 h 70"/>
                  <a:gd name="T8" fmla="*/ 6 w 108"/>
                  <a:gd name="T9" fmla="*/ 1 h 70"/>
                  <a:gd name="T10" fmla="*/ 0 w 108"/>
                  <a:gd name="T11" fmla="*/ 7 h 70"/>
                  <a:gd name="T12" fmla="*/ 0 w 108"/>
                  <a:gd name="T13" fmla="*/ 64 h 70"/>
                  <a:gd name="T14" fmla="*/ 6 w 108"/>
                  <a:gd name="T15" fmla="*/ 70 h 70"/>
                  <a:gd name="T16" fmla="*/ 102 w 108"/>
                  <a:gd name="T17" fmla="*/ 70 h 70"/>
                  <a:gd name="T18" fmla="*/ 108 w 108"/>
                  <a:gd name="T19" fmla="*/ 64 h 70"/>
                  <a:gd name="T20" fmla="*/ 108 w 108"/>
                  <a:gd name="T21" fmla="*/ 2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70">
                    <a:moveTo>
                      <a:pt x="11" y="9"/>
                    </a:moveTo>
                    <a:cubicBezTo>
                      <a:pt x="44" y="37"/>
                      <a:pt x="44" y="37"/>
                      <a:pt x="44" y="37"/>
                    </a:cubicBezTo>
                    <a:cubicBezTo>
                      <a:pt x="50" y="41"/>
                      <a:pt x="57" y="41"/>
                      <a:pt x="63" y="37"/>
                    </a:cubicBezTo>
                    <a:cubicBezTo>
                      <a:pt x="108" y="0"/>
                      <a:pt x="108" y="0"/>
                      <a:pt x="108" y="0"/>
                    </a:cubicBezTo>
                    <a:cubicBezTo>
                      <a:pt x="6" y="1"/>
                      <a:pt x="6" y="1"/>
                      <a:pt x="6" y="1"/>
                    </a:cubicBezTo>
                    <a:cubicBezTo>
                      <a:pt x="2" y="1"/>
                      <a:pt x="0" y="3"/>
                      <a:pt x="0" y="7"/>
                    </a:cubicBezTo>
                    <a:cubicBezTo>
                      <a:pt x="0" y="64"/>
                      <a:pt x="0" y="64"/>
                      <a:pt x="0" y="64"/>
                    </a:cubicBezTo>
                    <a:cubicBezTo>
                      <a:pt x="0" y="67"/>
                      <a:pt x="2" y="70"/>
                      <a:pt x="6" y="70"/>
                    </a:cubicBezTo>
                    <a:cubicBezTo>
                      <a:pt x="102" y="70"/>
                      <a:pt x="102" y="70"/>
                      <a:pt x="102" y="70"/>
                    </a:cubicBezTo>
                    <a:cubicBezTo>
                      <a:pt x="106" y="70"/>
                      <a:pt x="108" y="67"/>
                      <a:pt x="108" y="64"/>
                    </a:cubicBezTo>
                    <a:cubicBezTo>
                      <a:pt x="108" y="20"/>
                      <a:pt x="108" y="20"/>
                      <a:pt x="108" y="2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87" name="Line 71">
                <a:extLst>
                  <a:ext uri="{FF2B5EF4-FFF2-40B4-BE49-F238E27FC236}">
                    <a16:creationId xmlns:a16="http://schemas.microsoft.com/office/drawing/2014/main" id="{934A92C2-01D5-4D24-9875-4E175280FC5D}"/>
                  </a:ext>
                </a:extLst>
              </p:cNvPr>
              <p:cNvSpPr>
                <a:spLocks noChangeShapeType="1"/>
              </p:cNvSpPr>
              <p:nvPr/>
            </p:nvSpPr>
            <p:spPr bwMode="auto">
              <a:xfrm flipH="1">
                <a:off x="6947500" y="3151385"/>
                <a:ext cx="103188" cy="10795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88" name="Line 72">
                <a:extLst>
                  <a:ext uri="{FF2B5EF4-FFF2-40B4-BE49-F238E27FC236}">
                    <a16:creationId xmlns:a16="http://schemas.microsoft.com/office/drawing/2014/main" id="{2E54F2E2-62DD-4D3A-8064-DF57C8BA6EA5}"/>
                  </a:ext>
                </a:extLst>
              </p:cNvPr>
              <p:cNvSpPr>
                <a:spLocks noChangeShapeType="1"/>
              </p:cNvSpPr>
              <p:nvPr/>
            </p:nvSpPr>
            <p:spPr bwMode="auto">
              <a:xfrm flipH="1" flipV="1">
                <a:off x="7145937" y="3151385"/>
                <a:ext cx="107950" cy="10795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89" name="Group 188">
            <a:extLst>
              <a:ext uri="{FF2B5EF4-FFF2-40B4-BE49-F238E27FC236}">
                <a16:creationId xmlns:a16="http://schemas.microsoft.com/office/drawing/2014/main" id="{B30403CA-6FDB-4C06-A675-458CA135A17A}"/>
              </a:ext>
            </a:extLst>
          </p:cNvPr>
          <p:cNvGrpSpPr/>
          <p:nvPr/>
        </p:nvGrpSpPr>
        <p:grpSpPr>
          <a:xfrm>
            <a:off x="4509214" y="1602453"/>
            <a:ext cx="253286" cy="269640"/>
            <a:chOff x="2901281" y="3953334"/>
            <a:chExt cx="523546" cy="557352"/>
          </a:xfrm>
        </p:grpSpPr>
        <p:sp>
          <p:nvSpPr>
            <p:cNvPr id="190" name="Freeform: Shape 189">
              <a:extLst>
                <a:ext uri="{FF2B5EF4-FFF2-40B4-BE49-F238E27FC236}">
                  <a16:creationId xmlns:a16="http://schemas.microsoft.com/office/drawing/2014/main" id="{5F330AA3-7000-4E36-A0C5-09D1CF303AF1}"/>
                </a:ext>
              </a:extLst>
            </p:cNvPr>
            <p:cNvSpPr/>
            <p:nvPr/>
          </p:nvSpPr>
          <p:spPr>
            <a:xfrm>
              <a:off x="3070546" y="4172700"/>
              <a:ext cx="205442" cy="337986"/>
            </a:xfrm>
            <a:custGeom>
              <a:avLst/>
              <a:gdLst>
                <a:gd name="connsiteX0" fmla="*/ 3440 w 205442"/>
                <a:gd name="connsiteY0" fmla="*/ 3440 h 337985"/>
                <a:gd name="connsiteX1" fmla="*/ 3440 w 205442"/>
                <a:gd name="connsiteY1" fmla="*/ 217497 h 337985"/>
                <a:gd name="connsiteX2" fmla="*/ 103377 w 205442"/>
                <a:gd name="connsiteY2" fmla="*/ 337846 h 337985"/>
                <a:gd name="connsiteX3" fmla="*/ 203315 w 205442"/>
                <a:gd name="connsiteY3" fmla="*/ 217497 h 337985"/>
                <a:gd name="connsiteX4" fmla="*/ 203315 w 205442"/>
                <a:gd name="connsiteY4" fmla="*/ 3440 h 337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42" h="337985">
                  <a:moveTo>
                    <a:pt x="3440" y="3440"/>
                  </a:moveTo>
                  <a:lnTo>
                    <a:pt x="3440" y="217497"/>
                  </a:lnTo>
                  <a:lnTo>
                    <a:pt x="103377" y="337846"/>
                  </a:lnTo>
                  <a:lnTo>
                    <a:pt x="203315" y="217497"/>
                  </a:lnTo>
                  <a:lnTo>
                    <a:pt x="203315" y="3440"/>
                  </a:lnTo>
                  <a:close/>
                </a:path>
              </a:pathLst>
            </a:custGeom>
            <a:solidFill>
              <a:srgbClr val="A1B5AD"/>
            </a:solidFill>
            <a:ln w="6591" cap="flat">
              <a:noFill/>
              <a:prstDash val="solid"/>
              <a:miter/>
            </a:ln>
          </p:spPr>
          <p:txBody>
            <a:bodyPr rtlCol="0" anchor="ctr"/>
            <a:lstStyle/>
            <a:p>
              <a:endParaRPr lang="en-GB"/>
            </a:p>
          </p:txBody>
        </p:sp>
        <p:grpSp>
          <p:nvGrpSpPr>
            <p:cNvPr id="191" name="Group 190">
              <a:extLst>
                <a:ext uri="{FF2B5EF4-FFF2-40B4-BE49-F238E27FC236}">
                  <a16:creationId xmlns:a16="http://schemas.microsoft.com/office/drawing/2014/main" id="{FE5385EA-1F67-4BBB-8078-F5438E4E298F}"/>
                </a:ext>
              </a:extLst>
            </p:cNvPr>
            <p:cNvGrpSpPr/>
            <p:nvPr/>
          </p:nvGrpSpPr>
          <p:grpSpPr>
            <a:xfrm>
              <a:off x="2901281" y="3953334"/>
              <a:ext cx="523546" cy="524222"/>
              <a:chOff x="2901281" y="3953334"/>
              <a:chExt cx="523546" cy="524222"/>
            </a:xfrm>
          </p:grpSpPr>
          <p:sp>
            <p:nvSpPr>
              <p:cNvPr id="192" name="Freeform: Shape 191">
                <a:extLst>
                  <a:ext uri="{FF2B5EF4-FFF2-40B4-BE49-F238E27FC236}">
                    <a16:creationId xmlns:a16="http://schemas.microsoft.com/office/drawing/2014/main" id="{89306F7D-4F79-46A7-BB27-01D6A977CA89}"/>
                  </a:ext>
                </a:extLst>
              </p:cNvPr>
              <p:cNvSpPr/>
              <p:nvPr/>
            </p:nvSpPr>
            <p:spPr>
              <a:xfrm>
                <a:off x="3160019" y="4364894"/>
                <a:ext cx="159052" cy="112662"/>
              </a:xfrm>
              <a:custGeom>
                <a:avLst/>
                <a:gdLst>
                  <a:gd name="connsiteX0" fmla="*/ 6879 w 159052"/>
                  <a:gd name="connsiteY0" fmla="*/ 6879 h 112661"/>
                  <a:gd name="connsiteX1" fmla="*/ 79977 w 159052"/>
                  <a:gd name="connsiteY1" fmla="*/ 106287 h 112661"/>
                  <a:gd name="connsiteX2" fmla="*/ 153472 w 159052"/>
                  <a:gd name="connsiteY2" fmla="*/ 6879 h 112661"/>
                </a:gdLst>
                <a:ahLst/>
                <a:cxnLst>
                  <a:cxn ang="0">
                    <a:pos x="connsiteX0" y="connsiteY0"/>
                  </a:cxn>
                  <a:cxn ang="0">
                    <a:pos x="connsiteX1" y="connsiteY1"/>
                  </a:cxn>
                  <a:cxn ang="0">
                    <a:pos x="connsiteX2" y="connsiteY2"/>
                  </a:cxn>
                </a:cxnLst>
                <a:rect l="l" t="t" r="r" b="b"/>
                <a:pathLst>
                  <a:path w="159052" h="112661">
                    <a:moveTo>
                      <a:pt x="6879" y="6879"/>
                    </a:moveTo>
                    <a:lnTo>
                      <a:pt x="79977" y="106287"/>
                    </a:lnTo>
                    <a:lnTo>
                      <a:pt x="153472" y="6879"/>
                    </a:lnTo>
                  </a:path>
                </a:pathLst>
              </a:custGeom>
              <a:noFill/>
              <a:ln w="12700" cap="rnd">
                <a:solidFill>
                  <a:srgbClr val="30373B"/>
                </a:solidFill>
                <a:prstDash val="solid"/>
                <a:round/>
              </a:ln>
            </p:spPr>
            <p:txBody>
              <a:bodyPr rtlCol="0" anchor="ctr"/>
              <a:lstStyle/>
              <a:p>
                <a:endParaRPr lang="en-GB"/>
              </a:p>
            </p:txBody>
          </p:sp>
          <p:sp>
            <p:nvSpPr>
              <p:cNvPr id="193" name="Freeform: Shape 192">
                <a:extLst>
                  <a:ext uri="{FF2B5EF4-FFF2-40B4-BE49-F238E27FC236}">
                    <a16:creationId xmlns:a16="http://schemas.microsoft.com/office/drawing/2014/main" id="{CA9FAE94-B30C-4F8B-8713-AA7363EBC020}"/>
                  </a:ext>
                </a:extLst>
              </p:cNvPr>
              <p:cNvSpPr/>
              <p:nvPr/>
            </p:nvSpPr>
            <p:spPr>
              <a:xfrm>
                <a:off x="3231593" y="4175225"/>
                <a:ext cx="13254" cy="238578"/>
              </a:xfrm>
              <a:custGeom>
                <a:avLst/>
                <a:gdLst>
                  <a:gd name="connsiteX0" fmla="*/ 6879 w 13254"/>
                  <a:gd name="connsiteY0" fmla="*/ 237703 h 238578"/>
                  <a:gd name="connsiteX1" fmla="*/ 6879 w 13254"/>
                  <a:gd name="connsiteY1" fmla="*/ 6879 h 238578"/>
                </a:gdLst>
                <a:ahLst/>
                <a:cxnLst>
                  <a:cxn ang="0">
                    <a:pos x="connsiteX0" y="connsiteY0"/>
                  </a:cxn>
                  <a:cxn ang="0">
                    <a:pos x="connsiteX1" y="connsiteY1"/>
                  </a:cxn>
                </a:cxnLst>
                <a:rect l="l" t="t" r="r" b="b"/>
                <a:pathLst>
                  <a:path w="13254" h="238578">
                    <a:moveTo>
                      <a:pt x="6879" y="237703"/>
                    </a:moveTo>
                    <a:lnTo>
                      <a:pt x="6879" y="6879"/>
                    </a:lnTo>
                  </a:path>
                </a:pathLst>
              </a:custGeom>
              <a:ln w="12700" cap="rnd">
                <a:solidFill>
                  <a:srgbClr val="30373B"/>
                </a:solidFill>
                <a:prstDash val="solid"/>
                <a:round/>
              </a:ln>
            </p:spPr>
            <p:txBody>
              <a:bodyPr rtlCol="0" anchor="ctr"/>
              <a:lstStyle/>
              <a:p>
                <a:endParaRPr lang="en-GB"/>
              </a:p>
            </p:txBody>
          </p:sp>
          <p:sp>
            <p:nvSpPr>
              <p:cNvPr id="194" name="Freeform: Shape 193">
                <a:extLst>
                  <a:ext uri="{FF2B5EF4-FFF2-40B4-BE49-F238E27FC236}">
                    <a16:creationId xmlns:a16="http://schemas.microsoft.com/office/drawing/2014/main" id="{5282093D-C179-49BA-A396-6F1CE8F148C9}"/>
                  </a:ext>
                </a:extLst>
              </p:cNvPr>
              <p:cNvSpPr/>
              <p:nvPr/>
            </p:nvSpPr>
            <p:spPr>
              <a:xfrm>
                <a:off x="2901281" y="3953334"/>
                <a:ext cx="523546" cy="377749"/>
              </a:xfrm>
              <a:custGeom>
                <a:avLst/>
                <a:gdLst>
                  <a:gd name="connsiteX0" fmla="*/ 219028 w 523546"/>
                  <a:gd name="connsiteY0" fmla="*/ 370326 h 377748"/>
                  <a:gd name="connsiteX1" fmla="*/ 106035 w 523546"/>
                  <a:gd name="connsiteY1" fmla="*/ 370326 h 377748"/>
                  <a:gd name="connsiteX2" fmla="*/ 9941 w 523546"/>
                  <a:gd name="connsiteY2" fmla="*/ 274232 h 377748"/>
                  <a:gd name="connsiteX3" fmla="*/ 103649 w 523546"/>
                  <a:gd name="connsiteY3" fmla="*/ 178205 h 377748"/>
                  <a:gd name="connsiteX4" fmla="*/ 304253 w 523546"/>
                  <a:gd name="connsiteY4" fmla="*/ 9941 h 377748"/>
                  <a:gd name="connsiteX5" fmla="*/ 304253 w 523546"/>
                  <a:gd name="connsiteY5" fmla="*/ 9941 h 377748"/>
                  <a:gd name="connsiteX6" fmla="*/ 514401 w 523546"/>
                  <a:gd name="connsiteY6" fmla="*/ 248850 h 377748"/>
                  <a:gd name="connsiteX7" fmla="*/ 514467 w 523546"/>
                  <a:gd name="connsiteY7" fmla="*/ 250176 h 377748"/>
                  <a:gd name="connsiteX8" fmla="*/ 394383 w 523546"/>
                  <a:gd name="connsiteY8" fmla="*/ 370326 h 377748"/>
                  <a:gd name="connsiteX9" fmla="*/ 394383 w 523546"/>
                  <a:gd name="connsiteY9" fmla="*/ 370326 h 37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3546" h="377748">
                    <a:moveTo>
                      <a:pt x="219028" y="370326"/>
                    </a:moveTo>
                    <a:lnTo>
                      <a:pt x="106035" y="370326"/>
                    </a:lnTo>
                    <a:cubicBezTo>
                      <a:pt x="52951" y="370326"/>
                      <a:pt x="9941" y="327316"/>
                      <a:pt x="9941" y="274232"/>
                    </a:cubicBezTo>
                    <a:cubicBezTo>
                      <a:pt x="9941" y="221944"/>
                      <a:pt x="51692" y="179464"/>
                      <a:pt x="103649" y="178205"/>
                    </a:cubicBezTo>
                    <a:cubicBezTo>
                      <a:pt x="130423" y="80653"/>
                      <a:pt x="210081" y="9941"/>
                      <a:pt x="304253" y="9941"/>
                    </a:cubicBezTo>
                    <a:moveTo>
                      <a:pt x="304253" y="9941"/>
                    </a:moveTo>
                    <a:cubicBezTo>
                      <a:pt x="419964" y="9941"/>
                      <a:pt x="513804" y="116771"/>
                      <a:pt x="514401" y="248850"/>
                    </a:cubicBezTo>
                    <a:cubicBezTo>
                      <a:pt x="514401" y="249314"/>
                      <a:pt x="514467" y="249712"/>
                      <a:pt x="514467" y="250176"/>
                    </a:cubicBezTo>
                    <a:cubicBezTo>
                      <a:pt x="514467" y="316513"/>
                      <a:pt x="460721" y="370326"/>
                      <a:pt x="394383" y="370326"/>
                    </a:cubicBezTo>
                    <a:lnTo>
                      <a:pt x="394383" y="370326"/>
                    </a:lnTo>
                  </a:path>
                </a:pathLst>
              </a:custGeom>
              <a:noFill/>
              <a:ln w="12700" cap="rnd">
                <a:solidFill>
                  <a:srgbClr val="30373B"/>
                </a:solidFill>
                <a:prstDash val="solid"/>
                <a:miter/>
              </a:ln>
            </p:spPr>
            <p:txBody>
              <a:bodyPr rtlCol="0" anchor="ctr"/>
              <a:lstStyle/>
              <a:p>
                <a:endParaRPr lang="en-GB"/>
              </a:p>
            </p:txBody>
          </p:sp>
          <p:sp>
            <p:nvSpPr>
              <p:cNvPr id="195" name="Freeform: Shape 194">
                <a:extLst>
                  <a:ext uri="{FF2B5EF4-FFF2-40B4-BE49-F238E27FC236}">
                    <a16:creationId xmlns:a16="http://schemas.microsoft.com/office/drawing/2014/main" id="{80ECF41F-CF23-4196-97CD-05C8F509DACF}"/>
                  </a:ext>
                </a:extLst>
              </p:cNvPr>
              <p:cNvSpPr/>
              <p:nvPr/>
            </p:nvSpPr>
            <p:spPr>
              <a:xfrm>
                <a:off x="2991212" y="4121543"/>
                <a:ext cx="92780" cy="92780"/>
              </a:xfrm>
              <a:custGeom>
                <a:avLst/>
                <a:gdLst>
                  <a:gd name="connsiteX0" fmla="*/ 13718 w 92780"/>
                  <a:gd name="connsiteY0" fmla="*/ 9996 h 92780"/>
                  <a:gd name="connsiteX1" fmla="*/ 15309 w 92780"/>
                  <a:gd name="connsiteY1" fmla="*/ 67254 h 92780"/>
                  <a:gd name="connsiteX2" fmla="*/ 55734 w 92780"/>
                  <a:gd name="connsiteY2" fmla="*/ 85612 h 92780"/>
                  <a:gd name="connsiteX3" fmla="*/ 82574 w 92780"/>
                  <a:gd name="connsiteY3" fmla="*/ 44126 h 92780"/>
                  <a:gd name="connsiteX4" fmla="*/ 74291 w 92780"/>
                  <a:gd name="connsiteY4" fmla="*/ 29016 h 92780"/>
                  <a:gd name="connsiteX5" fmla="*/ 74224 w 92780"/>
                  <a:gd name="connsiteY5" fmla="*/ 28949 h 92780"/>
                  <a:gd name="connsiteX6" fmla="*/ 13718 w 92780"/>
                  <a:gd name="connsiteY6" fmla="*/ 9996 h 9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780" h="92780">
                    <a:moveTo>
                      <a:pt x="13718" y="9996"/>
                    </a:moveTo>
                    <a:cubicBezTo>
                      <a:pt x="13718" y="9996"/>
                      <a:pt x="4241" y="36040"/>
                      <a:pt x="15309" y="67254"/>
                    </a:cubicBezTo>
                    <a:cubicBezTo>
                      <a:pt x="23195" y="84220"/>
                      <a:pt x="38901" y="89588"/>
                      <a:pt x="55734" y="85612"/>
                    </a:cubicBezTo>
                    <a:cubicBezTo>
                      <a:pt x="74953" y="81039"/>
                      <a:pt x="86948" y="62417"/>
                      <a:pt x="82574" y="44126"/>
                    </a:cubicBezTo>
                    <a:cubicBezTo>
                      <a:pt x="81183" y="38227"/>
                      <a:pt x="78267" y="33125"/>
                      <a:pt x="74291" y="29016"/>
                    </a:cubicBezTo>
                    <a:lnTo>
                      <a:pt x="74224" y="28949"/>
                    </a:lnTo>
                    <a:cubicBezTo>
                      <a:pt x="49704" y="7941"/>
                      <a:pt x="13718" y="9996"/>
                      <a:pt x="13718" y="9996"/>
                    </a:cubicBezTo>
                  </a:path>
                </a:pathLst>
              </a:custGeom>
              <a:noFill/>
              <a:ln w="12700" cap="rnd">
                <a:solidFill>
                  <a:srgbClr val="30373B"/>
                </a:solidFill>
                <a:prstDash val="solid"/>
                <a:miter/>
              </a:ln>
            </p:spPr>
            <p:txBody>
              <a:bodyPr rtlCol="0" anchor="ctr"/>
              <a:lstStyle/>
              <a:p>
                <a:endParaRPr lang="en-GB"/>
              </a:p>
            </p:txBody>
          </p:sp>
        </p:grpSp>
      </p:grpSp>
      <p:grpSp>
        <p:nvGrpSpPr>
          <p:cNvPr id="196" name="Group 195">
            <a:extLst>
              <a:ext uri="{FF2B5EF4-FFF2-40B4-BE49-F238E27FC236}">
                <a16:creationId xmlns:a16="http://schemas.microsoft.com/office/drawing/2014/main" id="{9CC8B134-0BDF-4D87-BF8F-AE1593E8EBF0}"/>
              </a:ext>
            </a:extLst>
          </p:cNvPr>
          <p:cNvGrpSpPr/>
          <p:nvPr/>
        </p:nvGrpSpPr>
        <p:grpSpPr>
          <a:xfrm>
            <a:off x="6227168" y="1614203"/>
            <a:ext cx="242688" cy="260604"/>
            <a:chOff x="5270703" y="1387476"/>
            <a:chExt cx="473076" cy="508000"/>
          </a:xfrm>
        </p:grpSpPr>
        <p:grpSp>
          <p:nvGrpSpPr>
            <p:cNvPr id="197" name="Group 196">
              <a:extLst>
                <a:ext uri="{FF2B5EF4-FFF2-40B4-BE49-F238E27FC236}">
                  <a16:creationId xmlns:a16="http://schemas.microsoft.com/office/drawing/2014/main" id="{E5DCC7AE-F954-4068-9CE8-4849507ACC30}"/>
                </a:ext>
              </a:extLst>
            </p:cNvPr>
            <p:cNvGrpSpPr/>
            <p:nvPr/>
          </p:nvGrpSpPr>
          <p:grpSpPr>
            <a:xfrm>
              <a:off x="5270703" y="1446213"/>
              <a:ext cx="346075" cy="228601"/>
              <a:chOff x="5270703" y="1446213"/>
              <a:chExt cx="346075" cy="228601"/>
            </a:xfrm>
            <a:solidFill>
              <a:schemeClr val="accent2"/>
            </a:solidFill>
          </p:grpSpPr>
          <p:sp>
            <p:nvSpPr>
              <p:cNvPr id="210" name="Freeform 178">
                <a:extLst>
                  <a:ext uri="{FF2B5EF4-FFF2-40B4-BE49-F238E27FC236}">
                    <a16:creationId xmlns:a16="http://schemas.microsoft.com/office/drawing/2014/main" id="{D0004F7F-25AB-4D28-B937-2FF00D0DCA77}"/>
                  </a:ext>
                </a:extLst>
              </p:cNvPr>
              <p:cNvSpPr>
                <a:spLocks/>
              </p:cNvSpPr>
              <p:nvPr/>
            </p:nvSpPr>
            <p:spPr bwMode="auto">
              <a:xfrm>
                <a:off x="5270703" y="1446213"/>
                <a:ext cx="238125" cy="80963"/>
              </a:xfrm>
              <a:custGeom>
                <a:avLst/>
                <a:gdLst>
                  <a:gd name="T0" fmla="*/ 45 w 53"/>
                  <a:gd name="T1" fmla="*/ 18 h 18"/>
                  <a:gd name="T2" fmla="*/ 0 w 53"/>
                  <a:gd name="T3" fmla="*/ 18 h 18"/>
                  <a:gd name="T4" fmla="*/ 0 w 53"/>
                  <a:gd name="T5" fmla="*/ 0 h 18"/>
                  <a:gd name="T6" fmla="*/ 45 w 53"/>
                  <a:gd name="T7" fmla="*/ 0 h 18"/>
                  <a:gd name="T8" fmla="*/ 53 w 53"/>
                  <a:gd name="T9" fmla="*/ 9 h 18"/>
                  <a:gd name="T10" fmla="*/ 53 w 53"/>
                  <a:gd name="T11" fmla="*/ 9 h 18"/>
                  <a:gd name="T12" fmla="*/ 45 w 5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53" h="18">
                    <a:moveTo>
                      <a:pt x="45" y="18"/>
                    </a:moveTo>
                    <a:cubicBezTo>
                      <a:pt x="0" y="18"/>
                      <a:pt x="0" y="18"/>
                      <a:pt x="0" y="18"/>
                    </a:cubicBezTo>
                    <a:cubicBezTo>
                      <a:pt x="0" y="0"/>
                      <a:pt x="0" y="0"/>
                      <a:pt x="0" y="0"/>
                    </a:cubicBezTo>
                    <a:cubicBezTo>
                      <a:pt x="45" y="0"/>
                      <a:pt x="45" y="0"/>
                      <a:pt x="45" y="0"/>
                    </a:cubicBezTo>
                    <a:cubicBezTo>
                      <a:pt x="49" y="0"/>
                      <a:pt x="53" y="4"/>
                      <a:pt x="53" y="9"/>
                    </a:cubicBezTo>
                    <a:cubicBezTo>
                      <a:pt x="53" y="9"/>
                      <a:pt x="53" y="9"/>
                      <a:pt x="53" y="9"/>
                    </a:cubicBezTo>
                    <a:cubicBezTo>
                      <a:pt x="53" y="14"/>
                      <a:pt x="49" y="18"/>
                      <a:pt x="45" y="18"/>
                    </a:cubicBezTo>
                    <a:close/>
                  </a:path>
                </a:pathLst>
              </a:custGeom>
              <a:solidFill>
                <a:srgbClr val="A1B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1" name="Freeform 179">
                <a:extLst>
                  <a:ext uri="{FF2B5EF4-FFF2-40B4-BE49-F238E27FC236}">
                    <a16:creationId xmlns:a16="http://schemas.microsoft.com/office/drawing/2014/main" id="{DDE3DC3D-9580-44C0-9672-5421C080A1BA}"/>
                  </a:ext>
                </a:extLst>
              </p:cNvPr>
              <p:cNvSpPr>
                <a:spLocks/>
              </p:cNvSpPr>
              <p:nvPr/>
            </p:nvSpPr>
            <p:spPr bwMode="auto">
              <a:xfrm>
                <a:off x="5283403" y="1593851"/>
                <a:ext cx="333375" cy="80963"/>
              </a:xfrm>
              <a:custGeom>
                <a:avLst/>
                <a:gdLst>
                  <a:gd name="T0" fmla="*/ 65 w 74"/>
                  <a:gd name="T1" fmla="*/ 18 h 18"/>
                  <a:gd name="T2" fmla="*/ 0 w 74"/>
                  <a:gd name="T3" fmla="*/ 18 h 18"/>
                  <a:gd name="T4" fmla="*/ 0 w 74"/>
                  <a:gd name="T5" fmla="*/ 0 h 18"/>
                  <a:gd name="T6" fmla="*/ 65 w 74"/>
                  <a:gd name="T7" fmla="*/ 0 h 18"/>
                  <a:gd name="T8" fmla="*/ 74 w 74"/>
                  <a:gd name="T9" fmla="*/ 9 h 18"/>
                  <a:gd name="T10" fmla="*/ 74 w 74"/>
                  <a:gd name="T11" fmla="*/ 9 h 18"/>
                  <a:gd name="T12" fmla="*/ 65 w 7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4" h="18">
                    <a:moveTo>
                      <a:pt x="65" y="18"/>
                    </a:moveTo>
                    <a:cubicBezTo>
                      <a:pt x="0" y="18"/>
                      <a:pt x="0" y="18"/>
                      <a:pt x="0" y="18"/>
                    </a:cubicBezTo>
                    <a:cubicBezTo>
                      <a:pt x="0" y="0"/>
                      <a:pt x="0" y="0"/>
                      <a:pt x="0" y="0"/>
                    </a:cubicBezTo>
                    <a:cubicBezTo>
                      <a:pt x="65" y="0"/>
                      <a:pt x="65" y="0"/>
                      <a:pt x="65" y="0"/>
                    </a:cubicBezTo>
                    <a:cubicBezTo>
                      <a:pt x="70" y="0"/>
                      <a:pt x="74" y="4"/>
                      <a:pt x="74" y="9"/>
                    </a:cubicBezTo>
                    <a:cubicBezTo>
                      <a:pt x="74" y="9"/>
                      <a:pt x="74" y="9"/>
                      <a:pt x="74" y="9"/>
                    </a:cubicBezTo>
                    <a:cubicBezTo>
                      <a:pt x="74" y="14"/>
                      <a:pt x="70" y="18"/>
                      <a:pt x="65" y="18"/>
                    </a:cubicBezTo>
                    <a:close/>
                  </a:path>
                </a:pathLst>
              </a:custGeom>
              <a:solidFill>
                <a:srgbClr val="A1B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8" name="Group 197">
              <a:extLst>
                <a:ext uri="{FF2B5EF4-FFF2-40B4-BE49-F238E27FC236}">
                  <a16:creationId xmlns:a16="http://schemas.microsoft.com/office/drawing/2014/main" id="{30AE46B7-AF53-4223-ABA4-789A9A589D9B}"/>
                </a:ext>
              </a:extLst>
            </p:cNvPr>
            <p:cNvGrpSpPr/>
            <p:nvPr/>
          </p:nvGrpSpPr>
          <p:grpSpPr>
            <a:xfrm>
              <a:off x="5315153" y="1387476"/>
              <a:ext cx="428626" cy="508000"/>
              <a:chOff x="5315153" y="1387476"/>
              <a:chExt cx="428626" cy="508000"/>
            </a:xfrm>
          </p:grpSpPr>
          <p:sp>
            <p:nvSpPr>
              <p:cNvPr id="199" name="Line 180">
                <a:extLst>
                  <a:ext uri="{FF2B5EF4-FFF2-40B4-BE49-F238E27FC236}">
                    <a16:creationId xmlns:a16="http://schemas.microsoft.com/office/drawing/2014/main" id="{570DAB4A-4CA0-41E3-93DB-48EB7871F9D0}"/>
                  </a:ext>
                </a:extLst>
              </p:cNvPr>
              <p:cNvSpPr>
                <a:spLocks noChangeShapeType="1"/>
              </p:cNvSpPr>
              <p:nvPr/>
            </p:nvSpPr>
            <p:spPr bwMode="auto">
              <a:xfrm>
                <a:off x="5437391" y="1824038"/>
                <a:ext cx="0" cy="7143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00" name="Line 181">
                <a:extLst>
                  <a:ext uri="{FF2B5EF4-FFF2-40B4-BE49-F238E27FC236}">
                    <a16:creationId xmlns:a16="http://schemas.microsoft.com/office/drawing/2014/main" id="{8CE49670-8305-4156-A7B3-01C49817C91F}"/>
                  </a:ext>
                </a:extLst>
              </p:cNvPr>
              <p:cNvSpPr>
                <a:spLocks noChangeShapeType="1"/>
              </p:cNvSpPr>
              <p:nvPr/>
            </p:nvSpPr>
            <p:spPr bwMode="auto">
              <a:xfrm>
                <a:off x="5437391" y="1674813"/>
                <a:ext cx="0" cy="7302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01" name="Line 182">
                <a:extLst>
                  <a:ext uri="{FF2B5EF4-FFF2-40B4-BE49-F238E27FC236}">
                    <a16:creationId xmlns:a16="http://schemas.microsoft.com/office/drawing/2014/main" id="{D60BD735-2BBD-44F8-BD8B-74087DCF8C5D}"/>
                  </a:ext>
                </a:extLst>
              </p:cNvPr>
              <p:cNvSpPr>
                <a:spLocks noChangeShapeType="1"/>
              </p:cNvSpPr>
              <p:nvPr/>
            </p:nvSpPr>
            <p:spPr bwMode="auto">
              <a:xfrm>
                <a:off x="5437391" y="1527176"/>
                <a:ext cx="0" cy="6667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02" name="Line 183">
                <a:extLst>
                  <a:ext uri="{FF2B5EF4-FFF2-40B4-BE49-F238E27FC236}">
                    <a16:creationId xmlns:a16="http://schemas.microsoft.com/office/drawing/2014/main" id="{8D70E13D-AE46-4AF8-BE47-05D2B2E71972}"/>
                  </a:ext>
                </a:extLst>
              </p:cNvPr>
              <p:cNvSpPr>
                <a:spLocks noChangeShapeType="1"/>
              </p:cNvSpPr>
              <p:nvPr/>
            </p:nvSpPr>
            <p:spPr bwMode="auto">
              <a:xfrm>
                <a:off x="5437391" y="1387476"/>
                <a:ext cx="0" cy="5873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03" name="Line 184">
                <a:extLst>
                  <a:ext uri="{FF2B5EF4-FFF2-40B4-BE49-F238E27FC236}">
                    <a16:creationId xmlns:a16="http://schemas.microsoft.com/office/drawing/2014/main" id="{E2406D76-E8F7-49C7-BFC5-2AACDB962CDA}"/>
                  </a:ext>
                </a:extLst>
              </p:cNvPr>
              <p:cNvSpPr>
                <a:spLocks noChangeShapeType="1"/>
              </p:cNvSpPr>
              <p:nvPr/>
            </p:nvSpPr>
            <p:spPr bwMode="auto">
              <a:xfrm>
                <a:off x="5604078" y="1824038"/>
                <a:ext cx="0" cy="7143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04" name="Line 185">
                <a:extLst>
                  <a:ext uri="{FF2B5EF4-FFF2-40B4-BE49-F238E27FC236}">
                    <a16:creationId xmlns:a16="http://schemas.microsoft.com/office/drawing/2014/main" id="{84E042AF-AFFD-44A7-B80A-85967704F7B2}"/>
                  </a:ext>
                </a:extLst>
              </p:cNvPr>
              <p:cNvSpPr>
                <a:spLocks noChangeShapeType="1"/>
              </p:cNvSpPr>
              <p:nvPr/>
            </p:nvSpPr>
            <p:spPr bwMode="auto">
              <a:xfrm>
                <a:off x="5604078" y="1679576"/>
                <a:ext cx="0" cy="68263"/>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05" name="Line 186">
                <a:extLst>
                  <a:ext uri="{FF2B5EF4-FFF2-40B4-BE49-F238E27FC236}">
                    <a16:creationId xmlns:a16="http://schemas.microsoft.com/office/drawing/2014/main" id="{4D06CBB5-76C5-403D-87A5-20A69739C7D1}"/>
                  </a:ext>
                </a:extLst>
              </p:cNvPr>
              <p:cNvSpPr>
                <a:spLocks noChangeShapeType="1"/>
              </p:cNvSpPr>
              <p:nvPr/>
            </p:nvSpPr>
            <p:spPr bwMode="auto">
              <a:xfrm>
                <a:off x="5604078" y="1387476"/>
                <a:ext cx="0" cy="20637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06" name="Freeform 187">
                <a:extLst>
                  <a:ext uri="{FF2B5EF4-FFF2-40B4-BE49-F238E27FC236}">
                    <a16:creationId xmlns:a16="http://schemas.microsoft.com/office/drawing/2014/main" id="{069C189F-C9FA-478A-AA33-3A65526FCA54}"/>
                  </a:ext>
                </a:extLst>
              </p:cNvPr>
              <p:cNvSpPr>
                <a:spLocks/>
              </p:cNvSpPr>
              <p:nvPr/>
            </p:nvSpPr>
            <p:spPr bwMode="auto">
              <a:xfrm>
                <a:off x="5315153" y="1446213"/>
                <a:ext cx="234950" cy="80963"/>
              </a:xfrm>
              <a:custGeom>
                <a:avLst/>
                <a:gdLst>
                  <a:gd name="T0" fmla="*/ 0 w 52"/>
                  <a:gd name="T1" fmla="*/ 0 h 18"/>
                  <a:gd name="T2" fmla="*/ 43 w 52"/>
                  <a:gd name="T3" fmla="*/ 0 h 18"/>
                  <a:gd name="T4" fmla="*/ 52 w 52"/>
                  <a:gd name="T5" fmla="*/ 9 h 18"/>
                  <a:gd name="T6" fmla="*/ 52 w 52"/>
                  <a:gd name="T7" fmla="*/ 9 h 18"/>
                  <a:gd name="T8" fmla="*/ 43 w 52"/>
                  <a:gd name="T9" fmla="*/ 18 h 18"/>
                  <a:gd name="T10" fmla="*/ 0 w 52"/>
                  <a:gd name="T11" fmla="*/ 18 h 18"/>
                </a:gdLst>
                <a:ahLst/>
                <a:cxnLst>
                  <a:cxn ang="0">
                    <a:pos x="T0" y="T1"/>
                  </a:cxn>
                  <a:cxn ang="0">
                    <a:pos x="T2" y="T3"/>
                  </a:cxn>
                  <a:cxn ang="0">
                    <a:pos x="T4" y="T5"/>
                  </a:cxn>
                  <a:cxn ang="0">
                    <a:pos x="T6" y="T7"/>
                  </a:cxn>
                  <a:cxn ang="0">
                    <a:pos x="T8" y="T9"/>
                  </a:cxn>
                  <a:cxn ang="0">
                    <a:pos x="T10" y="T11"/>
                  </a:cxn>
                </a:cxnLst>
                <a:rect l="0" t="0" r="r" b="b"/>
                <a:pathLst>
                  <a:path w="52" h="18">
                    <a:moveTo>
                      <a:pt x="0" y="0"/>
                    </a:moveTo>
                    <a:cubicBezTo>
                      <a:pt x="43" y="0"/>
                      <a:pt x="43" y="0"/>
                      <a:pt x="43" y="0"/>
                    </a:cubicBezTo>
                    <a:cubicBezTo>
                      <a:pt x="48" y="0"/>
                      <a:pt x="52" y="4"/>
                      <a:pt x="52" y="9"/>
                    </a:cubicBezTo>
                    <a:cubicBezTo>
                      <a:pt x="52" y="9"/>
                      <a:pt x="52" y="9"/>
                      <a:pt x="52" y="9"/>
                    </a:cubicBezTo>
                    <a:cubicBezTo>
                      <a:pt x="52" y="14"/>
                      <a:pt x="48" y="18"/>
                      <a:pt x="43" y="18"/>
                    </a:cubicBezTo>
                    <a:cubicBezTo>
                      <a:pt x="0" y="18"/>
                      <a:pt x="0" y="18"/>
                      <a:pt x="0" y="18"/>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07" name="Freeform 188">
                <a:extLst>
                  <a:ext uri="{FF2B5EF4-FFF2-40B4-BE49-F238E27FC236}">
                    <a16:creationId xmlns:a16="http://schemas.microsoft.com/office/drawing/2014/main" id="{FF1B5CB6-CF7D-4FEA-BA33-04C1A146D768}"/>
                  </a:ext>
                </a:extLst>
              </p:cNvPr>
              <p:cNvSpPr>
                <a:spLocks/>
              </p:cNvSpPr>
              <p:nvPr/>
            </p:nvSpPr>
            <p:spPr bwMode="auto">
              <a:xfrm>
                <a:off x="5329441" y="1593851"/>
                <a:ext cx="333375" cy="80963"/>
              </a:xfrm>
              <a:custGeom>
                <a:avLst/>
                <a:gdLst>
                  <a:gd name="T0" fmla="*/ 0 w 74"/>
                  <a:gd name="T1" fmla="*/ 0 h 18"/>
                  <a:gd name="T2" fmla="*/ 65 w 74"/>
                  <a:gd name="T3" fmla="*/ 0 h 18"/>
                  <a:gd name="T4" fmla="*/ 74 w 74"/>
                  <a:gd name="T5" fmla="*/ 9 h 18"/>
                  <a:gd name="T6" fmla="*/ 74 w 74"/>
                  <a:gd name="T7" fmla="*/ 9 h 18"/>
                  <a:gd name="T8" fmla="*/ 65 w 74"/>
                  <a:gd name="T9" fmla="*/ 18 h 18"/>
                  <a:gd name="T10" fmla="*/ 0 w 74"/>
                  <a:gd name="T11" fmla="*/ 18 h 18"/>
                </a:gdLst>
                <a:ahLst/>
                <a:cxnLst>
                  <a:cxn ang="0">
                    <a:pos x="T0" y="T1"/>
                  </a:cxn>
                  <a:cxn ang="0">
                    <a:pos x="T2" y="T3"/>
                  </a:cxn>
                  <a:cxn ang="0">
                    <a:pos x="T4" y="T5"/>
                  </a:cxn>
                  <a:cxn ang="0">
                    <a:pos x="T6" y="T7"/>
                  </a:cxn>
                  <a:cxn ang="0">
                    <a:pos x="T8" y="T9"/>
                  </a:cxn>
                  <a:cxn ang="0">
                    <a:pos x="T10" y="T11"/>
                  </a:cxn>
                </a:cxnLst>
                <a:rect l="0" t="0" r="r" b="b"/>
                <a:pathLst>
                  <a:path w="74" h="18">
                    <a:moveTo>
                      <a:pt x="0" y="0"/>
                    </a:moveTo>
                    <a:cubicBezTo>
                      <a:pt x="65" y="0"/>
                      <a:pt x="65" y="0"/>
                      <a:pt x="65" y="0"/>
                    </a:cubicBezTo>
                    <a:cubicBezTo>
                      <a:pt x="70" y="0"/>
                      <a:pt x="74" y="4"/>
                      <a:pt x="74" y="9"/>
                    </a:cubicBezTo>
                    <a:cubicBezTo>
                      <a:pt x="74" y="9"/>
                      <a:pt x="74" y="9"/>
                      <a:pt x="74" y="9"/>
                    </a:cubicBezTo>
                    <a:cubicBezTo>
                      <a:pt x="74" y="14"/>
                      <a:pt x="70" y="18"/>
                      <a:pt x="65" y="18"/>
                    </a:cubicBezTo>
                    <a:cubicBezTo>
                      <a:pt x="0" y="18"/>
                      <a:pt x="0" y="18"/>
                      <a:pt x="0" y="18"/>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08" name="Freeform 189">
                <a:extLst>
                  <a:ext uri="{FF2B5EF4-FFF2-40B4-BE49-F238E27FC236}">
                    <a16:creationId xmlns:a16="http://schemas.microsoft.com/office/drawing/2014/main" id="{127E8B04-0257-4C07-B53A-9CA6CC1730EB}"/>
                  </a:ext>
                </a:extLst>
              </p:cNvPr>
              <p:cNvSpPr>
                <a:spLocks/>
              </p:cNvSpPr>
              <p:nvPr/>
            </p:nvSpPr>
            <p:spPr bwMode="auto">
              <a:xfrm>
                <a:off x="5405641" y="1747838"/>
                <a:ext cx="338138" cy="76200"/>
              </a:xfrm>
              <a:custGeom>
                <a:avLst/>
                <a:gdLst>
                  <a:gd name="T0" fmla="*/ 7 w 75"/>
                  <a:gd name="T1" fmla="*/ 0 h 17"/>
                  <a:gd name="T2" fmla="*/ 66 w 75"/>
                  <a:gd name="T3" fmla="*/ 0 h 17"/>
                  <a:gd name="T4" fmla="*/ 75 w 75"/>
                  <a:gd name="T5" fmla="*/ 8 h 17"/>
                  <a:gd name="T6" fmla="*/ 75 w 75"/>
                  <a:gd name="T7" fmla="*/ 8 h 17"/>
                  <a:gd name="T8" fmla="*/ 66 w 75"/>
                  <a:gd name="T9" fmla="*/ 17 h 17"/>
                  <a:gd name="T10" fmla="*/ 0 w 75"/>
                  <a:gd name="T11" fmla="*/ 17 h 17"/>
                </a:gdLst>
                <a:ahLst/>
                <a:cxnLst>
                  <a:cxn ang="0">
                    <a:pos x="T0" y="T1"/>
                  </a:cxn>
                  <a:cxn ang="0">
                    <a:pos x="T2" y="T3"/>
                  </a:cxn>
                  <a:cxn ang="0">
                    <a:pos x="T4" y="T5"/>
                  </a:cxn>
                  <a:cxn ang="0">
                    <a:pos x="T6" y="T7"/>
                  </a:cxn>
                  <a:cxn ang="0">
                    <a:pos x="T8" y="T9"/>
                  </a:cxn>
                  <a:cxn ang="0">
                    <a:pos x="T10" y="T11"/>
                  </a:cxn>
                </a:cxnLst>
                <a:rect l="0" t="0" r="r" b="b"/>
                <a:pathLst>
                  <a:path w="75" h="17">
                    <a:moveTo>
                      <a:pt x="7" y="0"/>
                    </a:moveTo>
                    <a:cubicBezTo>
                      <a:pt x="66" y="0"/>
                      <a:pt x="66" y="0"/>
                      <a:pt x="66" y="0"/>
                    </a:cubicBezTo>
                    <a:cubicBezTo>
                      <a:pt x="71" y="0"/>
                      <a:pt x="75" y="4"/>
                      <a:pt x="75" y="8"/>
                    </a:cubicBezTo>
                    <a:cubicBezTo>
                      <a:pt x="75" y="8"/>
                      <a:pt x="75" y="8"/>
                      <a:pt x="75" y="8"/>
                    </a:cubicBezTo>
                    <a:cubicBezTo>
                      <a:pt x="75" y="13"/>
                      <a:pt x="71" y="17"/>
                      <a:pt x="66" y="17"/>
                    </a:cubicBezTo>
                    <a:cubicBezTo>
                      <a:pt x="0" y="17"/>
                      <a:pt x="0" y="17"/>
                      <a:pt x="0" y="1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09" name="Line 190">
                <a:extLst>
                  <a:ext uri="{FF2B5EF4-FFF2-40B4-BE49-F238E27FC236}">
                    <a16:creationId xmlns:a16="http://schemas.microsoft.com/office/drawing/2014/main" id="{7354C433-864C-4E77-B14E-F163A7C72C48}"/>
                  </a:ext>
                </a:extLst>
              </p:cNvPr>
              <p:cNvSpPr>
                <a:spLocks noChangeShapeType="1"/>
              </p:cNvSpPr>
              <p:nvPr/>
            </p:nvSpPr>
            <p:spPr bwMode="auto">
              <a:xfrm>
                <a:off x="5405641" y="1747838"/>
                <a:ext cx="31750"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12" name="Group 211">
            <a:extLst>
              <a:ext uri="{FF2B5EF4-FFF2-40B4-BE49-F238E27FC236}">
                <a16:creationId xmlns:a16="http://schemas.microsoft.com/office/drawing/2014/main" id="{A05F46BD-D668-459D-A90F-DB0B7FCC9A97}"/>
              </a:ext>
            </a:extLst>
          </p:cNvPr>
          <p:cNvGrpSpPr/>
          <p:nvPr/>
        </p:nvGrpSpPr>
        <p:grpSpPr>
          <a:xfrm>
            <a:off x="5359469" y="3513693"/>
            <a:ext cx="418446" cy="250021"/>
            <a:chOff x="394609" y="3992288"/>
            <a:chExt cx="635000" cy="379412"/>
          </a:xfrm>
        </p:grpSpPr>
        <p:sp>
          <p:nvSpPr>
            <p:cNvPr id="213" name="Freeform 67">
              <a:extLst>
                <a:ext uri="{FF2B5EF4-FFF2-40B4-BE49-F238E27FC236}">
                  <a16:creationId xmlns:a16="http://schemas.microsoft.com/office/drawing/2014/main" id="{14085CD6-760C-41FE-B7E1-8D939327DAED}"/>
                </a:ext>
              </a:extLst>
            </p:cNvPr>
            <p:cNvSpPr>
              <a:spLocks/>
            </p:cNvSpPr>
            <p:nvPr/>
          </p:nvSpPr>
          <p:spPr bwMode="auto">
            <a:xfrm>
              <a:off x="394609" y="4068488"/>
              <a:ext cx="460375" cy="182562"/>
            </a:xfrm>
            <a:custGeom>
              <a:avLst/>
              <a:gdLst>
                <a:gd name="T0" fmla="*/ 0 w 290"/>
                <a:gd name="T1" fmla="*/ 0 h 115"/>
                <a:gd name="T2" fmla="*/ 42 w 290"/>
                <a:gd name="T3" fmla="*/ 115 h 115"/>
                <a:gd name="T4" fmla="*/ 231 w 290"/>
                <a:gd name="T5" fmla="*/ 115 h 115"/>
                <a:gd name="T6" fmla="*/ 290 w 290"/>
                <a:gd name="T7" fmla="*/ 0 h 115"/>
                <a:gd name="T8" fmla="*/ 0 w 290"/>
                <a:gd name="T9" fmla="*/ 0 h 115"/>
              </a:gdLst>
              <a:ahLst/>
              <a:cxnLst>
                <a:cxn ang="0">
                  <a:pos x="T0" y="T1"/>
                </a:cxn>
                <a:cxn ang="0">
                  <a:pos x="T2" y="T3"/>
                </a:cxn>
                <a:cxn ang="0">
                  <a:pos x="T4" y="T5"/>
                </a:cxn>
                <a:cxn ang="0">
                  <a:pos x="T6" y="T7"/>
                </a:cxn>
                <a:cxn ang="0">
                  <a:pos x="T8" y="T9"/>
                </a:cxn>
              </a:cxnLst>
              <a:rect l="0" t="0" r="r" b="b"/>
              <a:pathLst>
                <a:path w="290" h="115">
                  <a:moveTo>
                    <a:pt x="0" y="0"/>
                  </a:moveTo>
                  <a:lnTo>
                    <a:pt x="42" y="115"/>
                  </a:lnTo>
                  <a:lnTo>
                    <a:pt x="231" y="115"/>
                  </a:lnTo>
                  <a:lnTo>
                    <a:pt x="290" y="0"/>
                  </a:lnTo>
                  <a:lnTo>
                    <a:pt x="0" y="0"/>
                  </a:lnTo>
                  <a:close/>
                </a:path>
              </a:pathLst>
            </a:custGeom>
            <a:solidFill>
              <a:srgbClr val="A1B5AD"/>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214" name="Group 213">
              <a:extLst>
                <a:ext uri="{FF2B5EF4-FFF2-40B4-BE49-F238E27FC236}">
                  <a16:creationId xmlns:a16="http://schemas.microsoft.com/office/drawing/2014/main" id="{AF2F8EB9-DB08-4D6C-A223-3C2799F3B79C}"/>
                </a:ext>
              </a:extLst>
            </p:cNvPr>
            <p:cNvGrpSpPr/>
            <p:nvPr/>
          </p:nvGrpSpPr>
          <p:grpSpPr>
            <a:xfrm>
              <a:off x="439059" y="3992288"/>
              <a:ext cx="590550" cy="379412"/>
              <a:chOff x="439059" y="3992288"/>
              <a:chExt cx="590550" cy="379412"/>
            </a:xfrm>
          </p:grpSpPr>
          <p:sp>
            <p:nvSpPr>
              <p:cNvPr id="215" name="Freeform 68">
                <a:extLst>
                  <a:ext uri="{FF2B5EF4-FFF2-40B4-BE49-F238E27FC236}">
                    <a16:creationId xmlns:a16="http://schemas.microsoft.com/office/drawing/2014/main" id="{24B3352A-2FC0-466D-84BF-2814A725FE6A}"/>
                  </a:ext>
                </a:extLst>
              </p:cNvPr>
              <p:cNvSpPr>
                <a:spLocks/>
              </p:cNvSpPr>
              <p:nvPr/>
            </p:nvSpPr>
            <p:spPr bwMode="auto">
              <a:xfrm>
                <a:off x="439059" y="3992288"/>
                <a:ext cx="590550" cy="258762"/>
              </a:xfrm>
              <a:custGeom>
                <a:avLst/>
                <a:gdLst>
                  <a:gd name="T0" fmla="*/ 0 w 132"/>
                  <a:gd name="T1" fmla="*/ 17 h 58"/>
                  <a:gd name="T2" fmla="*/ 15 w 132"/>
                  <a:gd name="T3" fmla="*/ 58 h 58"/>
                  <a:gd name="T4" fmla="*/ 82 w 132"/>
                  <a:gd name="T5" fmla="*/ 58 h 58"/>
                  <a:gd name="T6" fmla="*/ 108 w 132"/>
                  <a:gd name="T7" fmla="*/ 6 h 58"/>
                  <a:gd name="T8" fmla="*/ 118 w 132"/>
                  <a:gd name="T9" fmla="*/ 0 h 58"/>
                  <a:gd name="T10" fmla="*/ 132 w 132"/>
                  <a:gd name="T11" fmla="*/ 0 h 58"/>
                </a:gdLst>
                <a:ahLst/>
                <a:cxnLst>
                  <a:cxn ang="0">
                    <a:pos x="T0" y="T1"/>
                  </a:cxn>
                  <a:cxn ang="0">
                    <a:pos x="T2" y="T3"/>
                  </a:cxn>
                  <a:cxn ang="0">
                    <a:pos x="T4" y="T5"/>
                  </a:cxn>
                  <a:cxn ang="0">
                    <a:pos x="T6" y="T7"/>
                  </a:cxn>
                  <a:cxn ang="0">
                    <a:pos x="T8" y="T9"/>
                  </a:cxn>
                  <a:cxn ang="0">
                    <a:pos x="T10" y="T11"/>
                  </a:cxn>
                </a:cxnLst>
                <a:rect l="0" t="0" r="r" b="b"/>
                <a:pathLst>
                  <a:path w="132" h="58">
                    <a:moveTo>
                      <a:pt x="0" y="17"/>
                    </a:moveTo>
                    <a:cubicBezTo>
                      <a:pt x="15" y="58"/>
                      <a:pt x="15" y="58"/>
                      <a:pt x="15" y="58"/>
                    </a:cubicBezTo>
                    <a:cubicBezTo>
                      <a:pt x="82" y="58"/>
                      <a:pt x="82" y="58"/>
                      <a:pt x="82" y="58"/>
                    </a:cubicBezTo>
                    <a:cubicBezTo>
                      <a:pt x="108" y="6"/>
                      <a:pt x="108" y="6"/>
                      <a:pt x="108" y="6"/>
                    </a:cubicBezTo>
                    <a:cubicBezTo>
                      <a:pt x="110" y="2"/>
                      <a:pt x="114" y="0"/>
                      <a:pt x="118" y="0"/>
                    </a:cubicBezTo>
                    <a:cubicBezTo>
                      <a:pt x="132" y="0"/>
                      <a:pt x="132" y="0"/>
                      <a:pt x="132"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16" name="Oval 69">
                <a:extLst>
                  <a:ext uri="{FF2B5EF4-FFF2-40B4-BE49-F238E27FC236}">
                    <a16:creationId xmlns:a16="http://schemas.microsoft.com/office/drawing/2014/main" id="{3B917524-EE13-4297-B6DB-E6B47D98B38F}"/>
                  </a:ext>
                </a:extLst>
              </p:cNvPr>
              <p:cNvSpPr>
                <a:spLocks noChangeArrowheads="1"/>
              </p:cNvSpPr>
              <p:nvPr/>
            </p:nvSpPr>
            <p:spPr bwMode="auto">
              <a:xfrm>
                <a:off x="493034" y="4292325"/>
                <a:ext cx="79375" cy="79375"/>
              </a:xfrm>
              <a:prstGeom prst="ellipse">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17" name="Oval 70">
                <a:extLst>
                  <a:ext uri="{FF2B5EF4-FFF2-40B4-BE49-F238E27FC236}">
                    <a16:creationId xmlns:a16="http://schemas.microsoft.com/office/drawing/2014/main" id="{D91CB33E-0A36-4A5C-955E-094D6420C325}"/>
                  </a:ext>
                </a:extLst>
              </p:cNvPr>
              <p:cNvSpPr>
                <a:spLocks noChangeArrowheads="1"/>
              </p:cNvSpPr>
              <p:nvPr/>
            </p:nvSpPr>
            <p:spPr bwMode="auto">
              <a:xfrm>
                <a:off x="729571" y="4292325"/>
                <a:ext cx="76200" cy="79375"/>
              </a:xfrm>
              <a:prstGeom prst="ellipse">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18" name="Line 71">
                <a:extLst>
                  <a:ext uri="{FF2B5EF4-FFF2-40B4-BE49-F238E27FC236}">
                    <a16:creationId xmlns:a16="http://schemas.microsoft.com/office/drawing/2014/main" id="{D2445E5A-808D-4903-8AD0-80F2ECF564F9}"/>
                  </a:ext>
                </a:extLst>
              </p:cNvPr>
              <p:cNvSpPr>
                <a:spLocks noChangeShapeType="1"/>
              </p:cNvSpPr>
              <p:nvPr/>
            </p:nvSpPr>
            <p:spPr bwMode="auto">
              <a:xfrm>
                <a:off x="443821" y="4068488"/>
                <a:ext cx="393700"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19" name="Line 72">
                <a:extLst>
                  <a:ext uri="{FF2B5EF4-FFF2-40B4-BE49-F238E27FC236}">
                    <a16:creationId xmlns:a16="http://schemas.microsoft.com/office/drawing/2014/main" id="{1ADE6800-94D0-4C7F-A692-1920CF7BD24D}"/>
                  </a:ext>
                </a:extLst>
              </p:cNvPr>
              <p:cNvSpPr>
                <a:spLocks noChangeShapeType="1"/>
              </p:cNvSpPr>
              <p:nvPr/>
            </p:nvSpPr>
            <p:spPr bwMode="auto">
              <a:xfrm>
                <a:off x="523196" y="4157388"/>
                <a:ext cx="260350"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20" name="Group 219">
            <a:extLst>
              <a:ext uri="{FF2B5EF4-FFF2-40B4-BE49-F238E27FC236}">
                <a16:creationId xmlns:a16="http://schemas.microsoft.com/office/drawing/2014/main" id="{129D031C-6FCA-45C4-A126-9945777D3930}"/>
              </a:ext>
            </a:extLst>
          </p:cNvPr>
          <p:cNvGrpSpPr/>
          <p:nvPr/>
        </p:nvGrpSpPr>
        <p:grpSpPr>
          <a:xfrm>
            <a:off x="1503550" y="3346271"/>
            <a:ext cx="285136" cy="285136"/>
            <a:chOff x="7579641" y="1224422"/>
            <a:chExt cx="513669" cy="513669"/>
          </a:xfrm>
        </p:grpSpPr>
        <p:sp>
          <p:nvSpPr>
            <p:cNvPr id="221" name="Freeform: Shape 220">
              <a:extLst>
                <a:ext uri="{FF2B5EF4-FFF2-40B4-BE49-F238E27FC236}">
                  <a16:creationId xmlns:a16="http://schemas.microsoft.com/office/drawing/2014/main" id="{8530701D-F262-4412-BAE2-F3D672378A4A}"/>
                </a:ext>
              </a:extLst>
            </p:cNvPr>
            <p:cNvSpPr/>
            <p:nvPr/>
          </p:nvSpPr>
          <p:spPr>
            <a:xfrm>
              <a:off x="7633779" y="1246190"/>
              <a:ext cx="266841" cy="446959"/>
            </a:xfrm>
            <a:custGeom>
              <a:avLst/>
              <a:gdLst>
                <a:gd name="connsiteX0" fmla="*/ 190107 w 266841"/>
                <a:gd name="connsiteY0" fmla="*/ 449692 h 446958"/>
                <a:gd name="connsiteX1" fmla="*/ 142009 w 266841"/>
                <a:gd name="connsiteY1" fmla="*/ 397591 h 446958"/>
                <a:gd name="connsiteX2" fmla="*/ 136072 w 266841"/>
                <a:gd name="connsiteY2" fmla="*/ 345090 h 446958"/>
                <a:gd name="connsiteX3" fmla="*/ 137473 w 266841"/>
                <a:gd name="connsiteY3" fmla="*/ 326411 h 446958"/>
                <a:gd name="connsiteX4" fmla="*/ 99248 w 266841"/>
                <a:gd name="connsiteY4" fmla="*/ 268707 h 446958"/>
                <a:gd name="connsiteX5" fmla="*/ 93111 w 266841"/>
                <a:gd name="connsiteY5" fmla="*/ 229348 h 446958"/>
                <a:gd name="connsiteX6" fmla="*/ 16461 w 266841"/>
                <a:gd name="connsiteY6" fmla="*/ 153031 h 446958"/>
                <a:gd name="connsiteX7" fmla="*/ 4453 w 266841"/>
                <a:gd name="connsiteY7" fmla="*/ 83719 h 446958"/>
                <a:gd name="connsiteX8" fmla="*/ 148814 w 266841"/>
                <a:gd name="connsiteY8" fmla="*/ 17209 h 446958"/>
                <a:gd name="connsiteX9" fmla="*/ 148947 w 266841"/>
                <a:gd name="connsiteY9" fmla="*/ 18143 h 446958"/>
                <a:gd name="connsiteX10" fmla="*/ 149414 w 266841"/>
                <a:gd name="connsiteY10" fmla="*/ 25882 h 446958"/>
                <a:gd name="connsiteX11" fmla="*/ 149948 w 266841"/>
                <a:gd name="connsiteY11" fmla="*/ 34621 h 446958"/>
                <a:gd name="connsiteX12" fmla="*/ 154084 w 266841"/>
                <a:gd name="connsiteY12" fmla="*/ 36422 h 446958"/>
                <a:gd name="connsiteX13" fmla="*/ 154284 w 266841"/>
                <a:gd name="connsiteY13" fmla="*/ 36222 h 446958"/>
                <a:gd name="connsiteX14" fmla="*/ 176365 w 266841"/>
                <a:gd name="connsiteY14" fmla="*/ 22279 h 446958"/>
                <a:gd name="connsiteX15" fmla="*/ 195711 w 266841"/>
                <a:gd name="connsiteY15" fmla="*/ 30818 h 446958"/>
                <a:gd name="connsiteX16" fmla="*/ 208319 w 266841"/>
                <a:gd name="connsiteY16" fmla="*/ 39491 h 446958"/>
                <a:gd name="connsiteX17" fmla="*/ 222395 w 266841"/>
                <a:gd name="connsiteY17" fmla="*/ 65374 h 446958"/>
                <a:gd name="connsiteX18" fmla="*/ 194043 w 266841"/>
                <a:gd name="connsiteY18" fmla="*/ 81985 h 446958"/>
                <a:gd name="connsiteX19" fmla="*/ 166892 w 266841"/>
                <a:gd name="connsiteY19" fmla="*/ 99730 h 446958"/>
                <a:gd name="connsiteX20" fmla="*/ 137540 w 266841"/>
                <a:gd name="connsiteY20" fmla="*/ 137021 h 446958"/>
                <a:gd name="connsiteX21" fmla="*/ 116860 w 266841"/>
                <a:gd name="connsiteY21" fmla="*/ 162504 h 446958"/>
                <a:gd name="connsiteX22" fmla="*/ 114992 w 266841"/>
                <a:gd name="connsiteY22" fmla="*/ 162571 h 446958"/>
                <a:gd name="connsiteX23" fmla="*/ 94311 w 266841"/>
                <a:gd name="connsiteY23" fmla="*/ 146627 h 446958"/>
                <a:gd name="connsiteX24" fmla="*/ 81436 w 266841"/>
                <a:gd name="connsiteY24" fmla="*/ 161237 h 446958"/>
                <a:gd name="connsiteX25" fmla="*/ 110922 w 266841"/>
                <a:gd name="connsiteY25" fmla="*/ 199729 h 446958"/>
                <a:gd name="connsiteX26" fmla="*/ 138407 w 266841"/>
                <a:gd name="connsiteY26" fmla="*/ 187854 h 446958"/>
                <a:gd name="connsiteX27" fmla="*/ 148213 w 266841"/>
                <a:gd name="connsiteY27" fmla="*/ 185319 h 446958"/>
                <a:gd name="connsiteX28" fmla="*/ 165091 w 266841"/>
                <a:gd name="connsiteY28" fmla="*/ 193925 h 446958"/>
                <a:gd name="connsiteX29" fmla="*/ 187839 w 266841"/>
                <a:gd name="connsiteY29" fmla="*/ 208735 h 446958"/>
                <a:gd name="connsiteX30" fmla="*/ 212789 w 266841"/>
                <a:gd name="connsiteY30" fmla="*/ 229615 h 446958"/>
                <a:gd name="connsiteX31" fmla="*/ 218793 w 266841"/>
                <a:gd name="connsiteY31" fmla="*/ 231683 h 446958"/>
                <a:gd name="connsiteX32" fmla="*/ 263489 w 266841"/>
                <a:gd name="connsiteY32" fmla="*/ 271576 h 446958"/>
                <a:gd name="connsiteX33" fmla="*/ 243209 w 266841"/>
                <a:gd name="connsiteY33" fmla="*/ 342489 h 446958"/>
                <a:gd name="connsiteX34" fmla="*/ 199981 w 266841"/>
                <a:gd name="connsiteY34" fmla="*/ 385650 h 446958"/>
                <a:gd name="connsiteX35" fmla="*/ 191508 w 266841"/>
                <a:gd name="connsiteY35" fmla="*/ 392588 h 446958"/>
                <a:gd name="connsiteX36" fmla="*/ 201982 w 266841"/>
                <a:gd name="connsiteY36" fmla="*/ 420273 h 446958"/>
                <a:gd name="connsiteX37" fmla="*/ 203116 w 266841"/>
                <a:gd name="connsiteY37" fmla="*/ 422541 h 446958"/>
                <a:gd name="connsiteX38" fmla="*/ 201315 w 266841"/>
                <a:gd name="connsiteY38" fmla="*/ 444956 h 446958"/>
                <a:gd name="connsiteX39" fmla="*/ 190107 w 266841"/>
                <a:gd name="connsiteY39" fmla="*/ 449692 h 446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66841" h="446958">
                  <a:moveTo>
                    <a:pt x="190107" y="449692"/>
                  </a:moveTo>
                  <a:cubicBezTo>
                    <a:pt x="184170" y="449692"/>
                    <a:pt x="157753" y="442087"/>
                    <a:pt x="142009" y="397591"/>
                  </a:cubicBezTo>
                  <a:cubicBezTo>
                    <a:pt x="134404" y="376044"/>
                    <a:pt x="134404" y="361167"/>
                    <a:pt x="136072" y="345090"/>
                  </a:cubicBezTo>
                  <a:cubicBezTo>
                    <a:pt x="136806" y="337752"/>
                    <a:pt x="137540" y="330948"/>
                    <a:pt x="137473" y="326411"/>
                  </a:cubicBezTo>
                  <a:cubicBezTo>
                    <a:pt x="137473" y="321075"/>
                    <a:pt x="112257" y="310868"/>
                    <a:pt x="99248" y="268707"/>
                  </a:cubicBezTo>
                  <a:cubicBezTo>
                    <a:pt x="99248" y="268707"/>
                    <a:pt x="91643" y="241823"/>
                    <a:pt x="93111" y="229348"/>
                  </a:cubicBezTo>
                  <a:cubicBezTo>
                    <a:pt x="93177" y="226479"/>
                    <a:pt x="44479" y="203931"/>
                    <a:pt x="16461" y="153031"/>
                  </a:cubicBezTo>
                  <a:cubicBezTo>
                    <a:pt x="7655" y="136888"/>
                    <a:pt x="784" y="87856"/>
                    <a:pt x="4453" y="83719"/>
                  </a:cubicBezTo>
                  <a:cubicBezTo>
                    <a:pt x="97113" y="-21349"/>
                    <a:pt x="145612" y="1199"/>
                    <a:pt x="148814" y="17209"/>
                  </a:cubicBezTo>
                  <a:lnTo>
                    <a:pt x="148947" y="18143"/>
                  </a:lnTo>
                  <a:cubicBezTo>
                    <a:pt x="149214" y="20411"/>
                    <a:pt x="149347" y="22946"/>
                    <a:pt x="149414" y="25882"/>
                  </a:cubicBezTo>
                  <a:cubicBezTo>
                    <a:pt x="149548" y="29617"/>
                    <a:pt x="149748" y="32553"/>
                    <a:pt x="149948" y="34621"/>
                  </a:cubicBezTo>
                  <a:cubicBezTo>
                    <a:pt x="151549" y="35154"/>
                    <a:pt x="152883" y="35822"/>
                    <a:pt x="154084" y="36422"/>
                  </a:cubicBezTo>
                  <a:cubicBezTo>
                    <a:pt x="154151" y="36355"/>
                    <a:pt x="154217" y="36288"/>
                    <a:pt x="154284" y="36222"/>
                  </a:cubicBezTo>
                  <a:cubicBezTo>
                    <a:pt x="160421" y="29017"/>
                    <a:pt x="167359" y="22279"/>
                    <a:pt x="176365" y="22279"/>
                  </a:cubicBezTo>
                  <a:cubicBezTo>
                    <a:pt x="182836" y="22279"/>
                    <a:pt x="188773" y="25682"/>
                    <a:pt x="195711" y="30818"/>
                  </a:cubicBezTo>
                  <a:cubicBezTo>
                    <a:pt x="199047" y="33287"/>
                    <a:pt x="202982" y="36155"/>
                    <a:pt x="208319" y="39491"/>
                  </a:cubicBezTo>
                  <a:cubicBezTo>
                    <a:pt x="223329" y="48897"/>
                    <a:pt x="224263" y="58770"/>
                    <a:pt x="222395" y="65374"/>
                  </a:cubicBezTo>
                  <a:cubicBezTo>
                    <a:pt x="219660" y="74980"/>
                    <a:pt x="210121" y="80517"/>
                    <a:pt x="194043" y="81985"/>
                  </a:cubicBezTo>
                  <a:cubicBezTo>
                    <a:pt x="188840" y="89457"/>
                    <a:pt x="179701" y="99263"/>
                    <a:pt x="166892" y="99730"/>
                  </a:cubicBezTo>
                  <a:cubicBezTo>
                    <a:pt x="162356" y="101665"/>
                    <a:pt x="142676" y="121211"/>
                    <a:pt x="137540" y="137021"/>
                  </a:cubicBezTo>
                  <a:cubicBezTo>
                    <a:pt x="133871" y="148362"/>
                    <a:pt x="129668" y="161170"/>
                    <a:pt x="116860" y="162504"/>
                  </a:cubicBezTo>
                  <a:cubicBezTo>
                    <a:pt x="116192" y="162571"/>
                    <a:pt x="115592" y="162571"/>
                    <a:pt x="114992" y="162571"/>
                  </a:cubicBezTo>
                  <a:cubicBezTo>
                    <a:pt x="104652" y="162571"/>
                    <a:pt x="98848" y="154232"/>
                    <a:pt x="94311" y="146627"/>
                  </a:cubicBezTo>
                  <a:cubicBezTo>
                    <a:pt x="91843" y="148695"/>
                    <a:pt x="87774" y="152898"/>
                    <a:pt x="81436" y="161237"/>
                  </a:cubicBezTo>
                  <a:cubicBezTo>
                    <a:pt x="76833" y="167241"/>
                    <a:pt x="80636" y="196260"/>
                    <a:pt x="110922" y="199729"/>
                  </a:cubicBezTo>
                  <a:cubicBezTo>
                    <a:pt x="118461" y="196660"/>
                    <a:pt x="132737" y="190789"/>
                    <a:pt x="138407" y="187854"/>
                  </a:cubicBezTo>
                  <a:cubicBezTo>
                    <a:pt x="141676" y="186186"/>
                    <a:pt x="145011" y="185319"/>
                    <a:pt x="148213" y="185319"/>
                  </a:cubicBezTo>
                  <a:cubicBezTo>
                    <a:pt x="156485" y="185319"/>
                    <a:pt x="161889" y="190656"/>
                    <a:pt x="165091" y="193925"/>
                  </a:cubicBezTo>
                  <a:cubicBezTo>
                    <a:pt x="168960" y="197794"/>
                    <a:pt x="174230" y="202997"/>
                    <a:pt x="187839" y="208735"/>
                  </a:cubicBezTo>
                  <a:cubicBezTo>
                    <a:pt x="202716" y="215005"/>
                    <a:pt x="209654" y="220676"/>
                    <a:pt x="212789" y="229615"/>
                  </a:cubicBezTo>
                  <a:cubicBezTo>
                    <a:pt x="213990" y="230082"/>
                    <a:pt x="215858" y="230816"/>
                    <a:pt x="218793" y="231683"/>
                  </a:cubicBezTo>
                  <a:cubicBezTo>
                    <a:pt x="254083" y="242290"/>
                    <a:pt x="263289" y="270375"/>
                    <a:pt x="263489" y="271576"/>
                  </a:cubicBezTo>
                  <a:cubicBezTo>
                    <a:pt x="266357" y="289787"/>
                    <a:pt x="264089" y="307666"/>
                    <a:pt x="243209" y="342489"/>
                  </a:cubicBezTo>
                  <a:cubicBezTo>
                    <a:pt x="232402" y="360434"/>
                    <a:pt x="209587" y="378445"/>
                    <a:pt x="199981" y="385650"/>
                  </a:cubicBezTo>
                  <a:cubicBezTo>
                    <a:pt x="196845" y="387985"/>
                    <a:pt x="193910" y="390253"/>
                    <a:pt x="191508" y="392588"/>
                  </a:cubicBezTo>
                  <a:cubicBezTo>
                    <a:pt x="191241" y="393589"/>
                    <a:pt x="191175" y="399259"/>
                    <a:pt x="201982" y="420273"/>
                  </a:cubicBezTo>
                  <a:lnTo>
                    <a:pt x="203116" y="422541"/>
                  </a:lnTo>
                  <a:cubicBezTo>
                    <a:pt x="209187" y="434482"/>
                    <a:pt x="204584" y="441687"/>
                    <a:pt x="201315" y="444956"/>
                  </a:cubicBezTo>
                  <a:cubicBezTo>
                    <a:pt x="198246" y="448091"/>
                    <a:pt x="194444" y="449692"/>
                    <a:pt x="190107" y="449692"/>
                  </a:cubicBezTo>
                  <a:close/>
                </a:path>
              </a:pathLst>
            </a:custGeom>
            <a:solidFill>
              <a:srgbClr val="A1B5AD"/>
            </a:solidFill>
            <a:ln w="6556" cap="flat">
              <a:noFill/>
              <a:prstDash val="solid"/>
              <a:miter/>
            </a:ln>
          </p:spPr>
          <p:txBody>
            <a:bodyPr rtlCol="0" anchor="ctr"/>
            <a:lstStyle/>
            <a:p>
              <a:endParaRPr lang="en-GB"/>
            </a:p>
          </p:txBody>
        </p:sp>
        <p:grpSp>
          <p:nvGrpSpPr>
            <p:cNvPr id="222" name="Group 221">
              <a:extLst>
                <a:ext uri="{FF2B5EF4-FFF2-40B4-BE49-F238E27FC236}">
                  <a16:creationId xmlns:a16="http://schemas.microsoft.com/office/drawing/2014/main" id="{FC9E68DB-FD38-4A8B-B18E-980F0A8D8605}"/>
                </a:ext>
              </a:extLst>
            </p:cNvPr>
            <p:cNvGrpSpPr/>
            <p:nvPr/>
          </p:nvGrpSpPr>
          <p:grpSpPr>
            <a:xfrm>
              <a:off x="7579641" y="1224422"/>
              <a:ext cx="513669" cy="513669"/>
              <a:chOff x="7579641" y="1224422"/>
              <a:chExt cx="513669" cy="513669"/>
            </a:xfrm>
          </p:grpSpPr>
          <p:sp>
            <p:nvSpPr>
              <p:cNvPr id="223" name="Freeform: Shape 222">
                <a:extLst>
                  <a:ext uri="{FF2B5EF4-FFF2-40B4-BE49-F238E27FC236}">
                    <a16:creationId xmlns:a16="http://schemas.microsoft.com/office/drawing/2014/main" id="{B7830298-CDAE-4E78-BF09-41DF13904F93}"/>
                  </a:ext>
                </a:extLst>
              </p:cNvPr>
              <p:cNvSpPr/>
              <p:nvPr/>
            </p:nvSpPr>
            <p:spPr>
              <a:xfrm>
                <a:off x="7739914" y="1234282"/>
                <a:ext cx="153434" cy="206802"/>
              </a:xfrm>
              <a:custGeom>
                <a:avLst/>
                <a:gdLst>
                  <a:gd name="connsiteX0" fmla="*/ 24600 w 153433"/>
                  <a:gd name="connsiteY0" fmla="*/ 7771 h 206801"/>
                  <a:gd name="connsiteX1" fmla="*/ 76101 w 153433"/>
                  <a:gd name="connsiteY1" fmla="*/ 27984 h 206801"/>
                  <a:gd name="connsiteX2" fmla="*/ 84106 w 153433"/>
                  <a:gd name="connsiteY2" fmla="*/ 56136 h 206801"/>
                  <a:gd name="connsiteX3" fmla="*/ 107721 w 153433"/>
                  <a:gd name="connsiteY3" fmla="*/ 53801 h 206801"/>
                  <a:gd name="connsiteX4" fmla="*/ 142344 w 153433"/>
                  <a:gd name="connsiteY4" fmla="*/ 60072 h 206801"/>
                  <a:gd name="connsiteX5" fmla="*/ 127267 w 153433"/>
                  <a:gd name="connsiteY5" fmla="*/ 75148 h 206801"/>
                  <a:gd name="connsiteX6" fmla="*/ 107988 w 153433"/>
                  <a:gd name="connsiteY6" fmla="*/ 92559 h 206801"/>
                  <a:gd name="connsiteX7" fmla="*/ 65227 w 153433"/>
                  <a:gd name="connsiteY7" fmla="*/ 140257 h 206801"/>
                  <a:gd name="connsiteX8" fmla="*/ 48016 w 153433"/>
                  <a:gd name="connsiteY8" fmla="*/ 144727 h 206801"/>
                  <a:gd name="connsiteX9" fmla="*/ 11525 w 153433"/>
                  <a:gd name="connsiteY9" fmla="*/ 160004 h 206801"/>
                  <a:gd name="connsiteX10" fmla="*/ 22532 w 153433"/>
                  <a:gd name="connsiteY10" fmla="*/ 205900 h 20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433" h="206801">
                    <a:moveTo>
                      <a:pt x="24600" y="7771"/>
                    </a:moveTo>
                    <a:cubicBezTo>
                      <a:pt x="51685" y="3034"/>
                      <a:pt x="74166" y="18444"/>
                      <a:pt x="76101" y="27984"/>
                    </a:cubicBezTo>
                    <a:cubicBezTo>
                      <a:pt x="76968" y="35722"/>
                      <a:pt x="75434" y="56136"/>
                      <a:pt x="84106" y="56136"/>
                    </a:cubicBezTo>
                    <a:cubicBezTo>
                      <a:pt x="92711" y="56002"/>
                      <a:pt x="94913" y="68944"/>
                      <a:pt x="107721" y="53801"/>
                    </a:cubicBezTo>
                    <a:cubicBezTo>
                      <a:pt x="120596" y="38591"/>
                      <a:pt x="118462" y="45128"/>
                      <a:pt x="142344" y="60072"/>
                    </a:cubicBezTo>
                    <a:cubicBezTo>
                      <a:pt x="166093" y="74948"/>
                      <a:pt x="127267" y="75148"/>
                      <a:pt x="127267" y="75148"/>
                    </a:cubicBezTo>
                    <a:cubicBezTo>
                      <a:pt x="127267" y="75148"/>
                      <a:pt x="118795" y="92493"/>
                      <a:pt x="107988" y="92559"/>
                    </a:cubicBezTo>
                    <a:cubicBezTo>
                      <a:pt x="97248" y="92626"/>
                      <a:pt x="71564" y="120778"/>
                      <a:pt x="65227" y="140257"/>
                    </a:cubicBezTo>
                    <a:cubicBezTo>
                      <a:pt x="58889" y="159670"/>
                      <a:pt x="56755" y="159737"/>
                      <a:pt x="48016" y="144727"/>
                    </a:cubicBezTo>
                    <a:cubicBezTo>
                      <a:pt x="39343" y="129650"/>
                      <a:pt x="26401" y="140524"/>
                      <a:pt x="11525" y="160004"/>
                    </a:cubicBezTo>
                    <a:cubicBezTo>
                      <a:pt x="-3418" y="179483"/>
                      <a:pt x="22532" y="205900"/>
                      <a:pt x="22532" y="205900"/>
                    </a:cubicBezTo>
                  </a:path>
                </a:pathLst>
              </a:custGeom>
              <a:noFill/>
              <a:ln w="12700" cap="rnd">
                <a:solidFill>
                  <a:srgbClr val="30373B"/>
                </a:solidFill>
                <a:prstDash val="solid"/>
                <a:round/>
              </a:ln>
            </p:spPr>
            <p:txBody>
              <a:bodyPr rtlCol="0" anchor="ctr"/>
              <a:lstStyle/>
              <a:p>
                <a:endParaRPr lang="en-GB"/>
              </a:p>
            </p:txBody>
          </p:sp>
          <p:sp>
            <p:nvSpPr>
              <p:cNvPr id="224" name="Freeform: Shape 223">
                <a:extLst>
                  <a:ext uri="{FF2B5EF4-FFF2-40B4-BE49-F238E27FC236}">
                    <a16:creationId xmlns:a16="http://schemas.microsoft.com/office/drawing/2014/main" id="{D7899FAF-F0C7-482B-96B5-FF1692D9D58E}"/>
                  </a:ext>
                </a:extLst>
              </p:cNvPr>
              <p:cNvSpPr/>
              <p:nvPr/>
            </p:nvSpPr>
            <p:spPr>
              <a:xfrm>
                <a:off x="7694452" y="1258446"/>
                <a:ext cx="240157" cy="420275"/>
              </a:xfrm>
              <a:custGeom>
                <a:avLst/>
                <a:gdLst>
                  <a:gd name="connsiteX0" fmla="*/ 93078 w 240156"/>
                  <a:gd name="connsiteY0" fmla="*/ 202483 h 420274"/>
                  <a:gd name="connsiteX1" fmla="*/ 132770 w 240156"/>
                  <a:gd name="connsiteY1" fmla="*/ 184938 h 420274"/>
                  <a:gd name="connsiteX2" fmla="*/ 169527 w 240156"/>
                  <a:gd name="connsiteY2" fmla="*/ 206285 h 420274"/>
                  <a:gd name="connsiteX3" fmla="*/ 202015 w 240156"/>
                  <a:gd name="connsiteY3" fmla="*/ 229767 h 420274"/>
                  <a:gd name="connsiteX4" fmla="*/ 236705 w 240156"/>
                  <a:gd name="connsiteY4" fmla="*/ 259720 h 420274"/>
                  <a:gd name="connsiteX5" fmla="*/ 228166 w 240156"/>
                  <a:gd name="connsiteY5" fmla="*/ 276998 h 420274"/>
                  <a:gd name="connsiteX6" fmla="*/ 219694 w 240156"/>
                  <a:gd name="connsiteY6" fmla="*/ 302949 h 420274"/>
                  <a:gd name="connsiteX7" fmla="*/ 200481 w 240156"/>
                  <a:gd name="connsiteY7" fmla="*/ 328899 h 420274"/>
                  <a:gd name="connsiteX8" fmla="*/ 168393 w 240156"/>
                  <a:gd name="connsiteY8" fmla="*/ 365723 h 420274"/>
                  <a:gd name="connsiteX9" fmla="*/ 177333 w 240156"/>
                  <a:gd name="connsiteY9" fmla="*/ 413021 h 420274"/>
                  <a:gd name="connsiteX10" fmla="*/ 155785 w 240156"/>
                  <a:gd name="connsiteY10" fmla="*/ 408884 h 420274"/>
                  <a:gd name="connsiteX11" fmla="*/ 138240 w 240156"/>
                  <a:gd name="connsiteY11" fmla="*/ 368058 h 420274"/>
                  <a:gd name="connsiteX12" fmla="*/ 140042 w 240156"/>
                  <a:gd name="connsiteY12" fmla="*/ 309820 h 420274"/>
                  <a:gd name="connsiteX13" fmla="*/ 120429 w 240156"/>
                  <a:gd name="connsiteY13" fmla="*/ 277599 h 420274"/>
                  <a:gd name="connsiteX14" fmla="*/ 101416 w 240156"/>
                  <a:gd name="connsiteY14" fmla="*/ 249047 h 420274"/>
                  <a:gd name="connsiteX15" fmla="*/ 95546 w 240156"/>
                  <a:gd name="connsiteY15" fmla="*/ 214758 h 420274"/>
                  <a:gd name="connsiteX16" fmla="*/ 78802 w 240156"/>
                  <a:gd name="connsiteY16" fmla="*/ 187406 h 420274"/>
                  <a:gd name="connsiteX17" fmla="*/ 42044 w 240156"/>
                  <a:gd name="connsiteY17" fmla="*/ 163991 h 420274"/>
                  <a:gd name="connsiteX18" fmla="*/ 15894 w 240156"/>
                  <a:gd name="connsiteY18" fmla="*/ 127501 h 420274"/>
                  <a:gd name="connsiteX19" fmla="*/ 6888 w 240156"/>
                  <a:gd name="connsiteY19" fmla="*/ 67194 h 420274"/>
                  <a:gd name="connsiteX20" fmla="*/ 15227 w 240156"/>
                  <a:gd name="connsiteY20" fmla="*/ 28302 h 420274"/>
                  <a:gd name="connsiteX21" fmla="*/ 16561 w 240156"/>
                  <a:gd name="connsiteY21" fmla="*/ 6888 h 420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0156" h="420274">
                    <a:moveTo>
                      <a:pt x="93078" y="202483"/>
                    </a:moveTo>
                    <a:cubicBezTo>
                      <a:pt x="93078" y="202483"/>
                      <a:pt x="124164" y="189341"/>
                      <a:pt x="132770" y="184938"/>
                    </a:cubicBezTo>
                    <a:cubicBezTo>
                      <a:pt x="141242" y="180602"/>
                      <a:pt x="139241" y="193544"/>
                      <a:pt x="169527" y="206285"/>
                    </a:cubicBezTo>
                    <a:cubicBezTo>
                      <a:pt x="199747" y="219027"/>
                      <a:pt x="173930" y="221362"/>
                      <a:pt x="202015" y="229767"/>
                    </a:cubicBezTo>
                    <a:cubicBezTo>
                      <a:pt x="230034" y="238173"/>
                      <a:pt x="236705" y="259720"/>
                      <a:pt x="236705" y="259720"/>
                    </a:cubicBezTo>
                    <a:lnTo>
                      <a:pt x="228166" y="276998"/>
                    </a:lnTo>
                    <a:lnTo>
                      <a:pt x="219694" y="302949"/>
                    </a:lnTo>
                    <a:cubicBezTo>
                      <a:pt x="219694" y="302949"/>
                      <a:pt x="206819" y="307285"/>
                      <a:pt x="200481" y="328899"/>
                    </a:cubicBezTo>
                    <a:cubicBezTo>
                      <a:pt x="194077" y="350446"/>
                      <a:pt x="179067" y="354849"/>
                      <a:pt x="168393" y="365723"/>
                    </a:cubicBezTo>
                    <a:cubicBezTo>
                      <a:pt x="157653" y="376530"/>
                      <a:pt x="170795" y="400212"/>
                      <a:pt x="177333" y="413021"/>
                    </a:cubicBezTo>
                    <a:cubicBezTo>
                      <a:pt x="183870" y="425962"/>
                      <a:pt x="164458" y="410952"/>
                      <a:pt x="155785" y="408884"/>
                    </a:cubicBezTo>
                    <a:cubicBezTo>
                      <a:pt x="147113" y="406750"/>
                      <a:pt x="142643" y="380933"/>
                      <a:pt x="138240" y="368058"/>
                    </a:cubicBezTo>
                    <a:cubicBezTo>
                      <a:pt x="133904" y="355183"/>
                      <a:pt x="140175" y="324963"/>
                      <a:pt x="140042" y="309820"/>
                    </a:cubicBezTo>
                    <a:cubicBezTo>
                      <a:pt x="139975" y="294743"/>
                      <a:pt x="131302" y="290474"/>
                      <a:pt x="120429" y="277599"/>
                    </a:cubicBezTo>
                    <a:cubicBezTo>
                      <a:pt x="109555" y="264724"/>
                      <a:pt x="103551" y="260187"/>
                      <a:pt x="101416" y="249047"/>
                    </a:cubicBezTo>
                    <a:cubicBezTo>
                      <a:pt x="94745" y="225365"/>
                      <a:pt x="94278" y="225231"/>
                      <a:pt x="95546" y="214758"/>
                    </a:cubicBezTo>
                    <a:cubicBezTo>
                      <a:pt x="95946" y="205285"/>
                      <a:pt x="89675" y="191676"/>
                      <a:pt x="78802" y="187406"/>
                    </a:cubicBezTo>
                    <a:cubicBezTo>
                      <a:pt x="68061" y="183204"/>
                      <a:pt x="57187" y="174598"/>
                      <a:pt x="42044" y="163991"/>
                    </a:cubicBezTo>
                    <a:cubicBezTo>
                      <a:pt x="26901" y="153317"/>
                      <a:pt x="22431" y="136106"/>
                      <a:pt x="15894" y="127501"/>
                    </a:cubicBezTo>
                    <a:cubicBezTo>
                      <a:pt x="9423" y="118895"/>
                      <a:pt x="6955" y="80136"/>
                      <a:pt x="6888" y="67194"/>
                    </a:cubicBezTo>
                    <a:cubicBezTo>
                      <a:pt x="6821" y="54319"/>
                      <a:pt x="21764" y="39109"/>
                      <a:pt x="15227" y="28302"/>
                    </a:cubicBezTo>
                    <a:cubicBezTo>
                      <a:pt x="12291" y="23566"/>
                      <a:pt x="26701" y="6755"/>
                      <a:pt x="16561" y="6888"/>
                    </a:cubicBezTo>
                  </a:path>
                </a:pathLst>
              </a:custGeom>
              <a:noFill/>
              <a:ln w="12700" cap="rnd">
                <a:solidFill>
                  <a:srgbClr val="30373B"/>
                </a:solidFill>
                <a:prstDash val="solid"/>
                <a:round/>
              </a:ln>
            </p:spPr>
            <p:txBody>
              <a:bodyPr rtlCol="0" anchor="ctr"/>
              <a:lstStyle/>
              <a:p>
                <a:endParaRPr lang="en-GB"/>
              </a:p>
            </p:txBody>
          </p:sp>
          <p:sp>
            <p:nvSpPr>
              <p:cNvPr id="225" name="Freeform: Shape 224">
                <a:extLst>
                  <a:ext uri="{FF2B5EF4-FFF2-40B4-BE49-F238E27FC236}">
                    <a16:creationId xmlns:a16="http://schemas.microsoft.com/office/drawing/2014/main" id="{21714DFD-47CF-4FD4-897E-FA28ACA9D319}"/>
                  </a:ext>
                </a:extLst>
              </p:cNvPr>
              <p:cNvSpPr/>
              <p:nvPr/>
            </p:nvSpPr>
            <p:spPr>
              <a:xfrm>
                <a:off x="7579641" y="1224422"/>
                <a:ext cx="513669" cy="513669"/>
              </a:xfrm>
              <a:custGeom>
                <a:avLst/>
                <a:gdLst>
                  <a:gd name="connsiteX0" fmla="*/ 452181 w 513669"/>
                  <a:gd name="connsiteY0" fmla="*/ 419560 h 513669"/>
                  <a:gd name="connsiteX1" fmla="*/ 510353 w 513669"/>
                  <a:gd name="connsiteY1" fmla="*/ 258522 h 513669"/>
                  <a:gd name="connsiteX2" fmla="*/ 258522 w 513669"/>
                  <a:gd name="connsiteY2" fmla="*/ 6690 h 513669"/>
                  <a:gd name="connsiteX3" fmla="*/ 6690 w 513669"/>
                  <a:gd name="connsiteY3" fmla="*/ 258522 h 513669"/>
                  <a:gd name="connsiteX4" fmla="*/ 44248 w 513669"/>
                  <a:gd name="connsiteY4" fmla="*/ 390941 h 513669"/>
                  <a:gd name="connsiteX5" fmla="*/ 44248 w 513669"/>
                  <a:gd name="connsiteY5" fmla="*/ 390941 h 513669"/>
                  <a:gd name="connsiteX6" fmla="*/ 81472 w 513669"/>
                  <a:gd name="connsiteY6" fmla="*/ 400481 h 513669"/>
                  <a:gd name="connsiteX7" fmla="*/ 131238 w 513669"/>
                  <a:gd name="connsiteY7" fmla="*/ 419827 h 513669"/>
                  <a:gd name="connsiteX8" fmla="*/ 133973 w 513669"/>
                  <a:gd name="connsiteY8" fmla="*/ 466858 h 513669"/>
                  <a:gd name="connsiteX9" fmla="*/ 127636 w 513669"/>
                  <a:gd name="connsiteY9" fmla="*/ 473729 h 513669"/>
                  <a:gd name="connsiteX10" fmla="*/ 258522 w 513669"/>
                  <a:gd name="connsiteY10" fmla="*/ 510353 h 513669"/>
                  <a:gd name="connsiteX11" fmla="*/ 399347 w 513669"/>
                  <a:gd name="connsiteY11" fmla="*/ 467325 h 513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669" h="513669">
                    <a:moveTo>
                      <a:pt x="452181" y="419560"/>
                    </a:moveTo>
                    <a:cubicBezTo>
                      <a:pt x="488538" y="375932"/>
                      <a:pt x="510353" y="319762"/>
                      <a:pt x="510353" y="258522"/>
                    </a:cubicBezTo>
                    <a:cubicBezTo>
                      <a:pt x="510353" y="119431"/>
                      <a:pt x="397612" y="6690"/>
                      <a:pt x="258522" y="6690"/>
                    </a:cubicBezTo>
                    <a:cubicBezTo>
                      <a:pt x="119431" y="6690"/>
                      <a:pt x="6690" y="119431"/>
                      <a:pt x="6690" y="258522"/>
                    </a:cubicBezTo>
                    <a:cubicBezTo>
                      <a:pt x="6690" y="307087"/>
                      <a:pt x="20433" y="352450"/>
                      <a:pt x="44248" y="390941"/>
                    </a:cubicBezTo>
                    <a:lnTo>
                      <a:pt x="44248" y="390941"/>
                    </a:lnTo>
                    <a:cubicBezTo>
                      <a:pt x="52921" y="393943"/>
                      <a:pt x="72934" y="400481"/>
                      <a:pt x="81472" y="400481"/>
                    </a:cubicBezTo>
                    <a:cubicBezTo>
                      <a:pt x="92480" y="400481"/>
                      <a:pt x="122966" y="397746"/>
                      <a:pt x="131238" y="419827"/>
                    </a:cubicBezTo>
                    <a:cubicBezTo>
                      <a:pt x="139510" y="441975"/>
                      <a:pt x="153386" y="444710"/>
                      <a:pt x="133973" y="466858"/>
                    </a:cubicBezTo>
                    <a:cubicBezTo>
                      <a:pt x="131639" y="469593"/>
                      <a:pt x="127636" y="473729"/>
                      <a:pt x="127636" y="473729"/>
                    </a:cubicBezTo>
                    <a:cubicBezTo>
                      <a:pt x="165794" y="497011"/>
                      <a:pt x="210624" y="510353"/>
                      <a:pt x="258522" y="510353"/>
                    </a:cubicBezTo>
                    <a:cubicBezTo>
                      <a:pt x="310689" y="510353"/>
                      <a:pt x="359121" y="494476"/>
                      <a:pt x="399347" y="467325"/>
                    </a:cubicBezTo>
                  </a:path>
                </a:pathLst>
              </a:custGeom>
              <a:noFill/>
              <a:ln w="12700" cap="rnd">
                <a:solidFill>
                  <a:srgbClr val="30373B"/>
                </a:solidFill>
                <a:prstDash val="solid"/>
                <a:round/>
              </a:ln>
            </p:spPr>
            <p:txBody>
              <a:bodyPr rtlCol="0" anchor="ctr"/>
              <a:lstStyle/>
              <a:p>
                <a:endParaRPr lang="en-GB"/>
              </a:p>
            </p:txBody>
          </p:sp>
        </p:grpSp>
      </p:grpSp>
      <p:grpSp>
        <p:nvGrpSpPr>
          <p:cNvPr id="226" name="Group 225">
            <a:extLst>
              <a:ext uri="{FF2B5EF4-FFF2-40B4-BE49-F238E27FC236}">
                <a16:creationId xmlns:a16="http://schemas.microsoft.com/office/drawing/2014/main" id="{8699DE75-1824-421A-BE9E-DB315A650B52}"/>
              </a:ext>
            </a:extLst>
          </p:cNvPr>
          <p:cNvGrpSpPr/>
          <p:nvPr/>
        </p:nvGrpSpPr>
        <p:grpSpPr>
          <a:xfrm>
            <a:off x="8133860" y="3358485"/>
            <a:ext cx="394130" cy="244296"/>
            <a:chOff x="2595760" y="3342482"/>
            <a:chExt cx="576262" cy="357188"/>
          </a:xfrm>
        </p:grpSpPr>
        <p:sp>
          <p:nvSpPr>
            <p:cNvPr id="227" name="Freeform 152">
              <a:extLst>
                <a:ext uri="{FF2B5EF4-FFF2-40B4-BE49-F238E27FC236}">
                  <a16:creationId xmlns:a16="http://schemas.microsoft.com/office/drawing/2014/main" id="{92D8384A-446E-464A-9B96-C88880441053}"/>
                </a:ext>
              </a:extLst>
            </p:cNvPr>
            <p:cNvSpPr>
              <a:spLocks/>
            </p:cNvSpPr>
            <p:nvPr/>
          </p:nvSpPr>
          <p:spPr bwMode="auto">
            <a:xfrm>
              <a:off x="2595760" y="3342482"/>
              <a:ext cx="492125" cy="357188"/>
            </a:xfrm>
            <a:custGeom>
              <a:avLst/>
              <a:gdLst>
                <a:gd name="T0" fmla="*/ 100 w 310"/>
                <a:gd name="T1" fmla="*/ 114 h 225"/>
                <a:gd name="T2" fmla="*/ 310 w 310"/>
                <a:gd name="T3" fmla="*/ 114 h 225"/>
                <a:gd name="T4" fmla="*/ 310 w 310"/>
                <a:gd name="T5" fmla="*/ 54 h 225"/>
                <a:gd name="T6" fmla="*/ 156 w 310"/>
                <a:gd name="T7" fmla="*/ 0 h 225"/>
                <a:gd name="T8" fmla="*/ 0 w 310"/>
                <a:gd name="T9" fmla="*/ 54 h 225"/>
                <a:gd name="T10" fmla="*/ 0 w 310"/>
                <a:gd name="T11" fmla="*/ 225 h 225"/>
                <a:gd name="T12" fmla="*/ 100 w 310"/>
                <a:gd name="T13" fmla="*/ 225 h 225"/>
                <a:gd name="T14" fmla="*/ 100 w 310"/>
                <a:gd name="T15" fmla="*/ 154 h 225"/>
                <a:gd name="T16" fmla="*/ 100 w 310"/>
                <a:gd name="T17" fmla="*/ 114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225">
                  <a:moveTo>
                    <a:pt x="100" y="114"/>
                  </a:moveTo>
                  <a:lnTo>
                    <a:pt x="310" y="114"/>
                  </a:lnTo>
                  <a:lnTo>
                    <a:pt x="310" y="54"/>
                  </a:lnTo>
                  <a:lnTo>
                    <a:pt x="156" y="0"/>
                  </a:lnTo>
                  <a:lnTo>
                    <a:pt x="0" y="54"/>
                  </a:lnTo>
                  <a:lnTo>
                    <a:pt x="0" y="225"/>
                  </a:lnTo>
                  <a:lnTo>
                    <a:pt x="100" y="225"/>
                  </a:lnTo>
                  <a:lnTo>
                    <a:pt x="100" y="154"/>
                  </a:lnTo>
                  <a:lnTo>
                    <a:pt x="100" y="114"/>
                  </a:lnTo>
                  <a:close/>
                </a:path>
              </a:pathLst>
            </a:custGeom>
            <a:solidFill>
              <a:srgbClr val="A1B5AD"/>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228" name="Group 227">
              <a:extLst>
                <a:ext uri="{FF2B5EF4-FFF2-40B4-BE49-F238E27FC236}">
                  <a16:creationId xmlns:a16="http://schemas.microsoft.com/office/drawing/2014/main" id="{944EE08A-34FC-4497-B7EF-1BA32A2FCD1C}"/>
                </a:ext>
              </a:extLst>
            </p:cNvPr>
            <p:cNvGrpSpPr/>
            <p:nvPr/>
          </p:nvGrpSpPr>
          <p:grpSpPr>
            <a:xfrm>
              <a:off x="2664022" y="3347245"/>
              <a:ext cx="508000" cy="352425"/>
              <a:chOff x="2664022" y="3347245"/>
              <a:chExt cx="508000" cy="352425"/>
            </a:xfrm>
          </p:grpSpPr>
          <p:sp>
            <p:nvSpPr>
              <p:cNvPr id="229" name="Freeform 153">
                <a:extLst>
                  <a:ext uri="{FF2B5EF4-FFF2-40B4-BE49-F238E27FC236}">
                    <a16:creationId xmlns:a16="http://schemas.microsoft.com/office/drawing/2014/main" id="{5AAECBEB-D1BE-4597-9F4D-F02C8BA5AA14}"/>
                  </a:ext>
                </a:extLst>
              </p:cNvPr>
              <p:cNvSpPr>
                <a:spLocks/>
              </p:cNvSpPr>
              <p:nvPr/>
            </p:nvSpPr>
            <p:spPr bwMode="auto">
              <a:xfrm>
                <a:off x="2664022" y="3347245"/>
                <a:ext cx="490537" cy="352425"/>
              </a:xfrm>
              <a:custGeom>
                <a:avLst/>
                <a:gdLst>
                  <a:gd name="T0" fmla="*/ 309 w 309"/>
                  <a:gd name="T1" fmla="*/ 136 h 222"/>
                  <a:gd name="T2" fmla="*/ 309 w 309"/>
                  <a:gd name="T3" fmla="*/ 54 h 222"/>
                  <a:gd name="T4" fmla="*/ 156 w 309"/>
                  <a:gd name="T5" fmla="*/ 0 h 222"/>
                  <a:gd name="T6" fmla="*/ 0 w 309"/>
                  <a:gd name="T7" fmla="*/ 54 h 222"/>
                  <a:gd name="T8" fmla="*/ 0 w 309"/>
                  <a:gd name="T9" fmla="*/ 222 h 222"/>
                </a:gdLst>
                <a:ahLst/>
                <a:cxnLst>
                  <a:cxn ang="0">
                    <a:pos x="T0" y="T1"/>
                  </a:cxn>
                  <a:cxn ang="0">
                    <a:pos x="T2" y="T3"/>
                  </a:cxn>
                  <a:cxn ang="0">
                    <a:pos x="T4" y="T5"/>
                  </a:cxn>
                  <a:cxn ang="0">
                    <a:pos x="T6" y="T7"/>
                  </a:cxn>
                  <a:cxn ang="0">
                    <a:pos x="T8" y="T9"/>
                  </a:cxn>
                </a:cxnLst>
                <a:rect l="0" t="0" r="r" b="b"/>
                <a:pathLst>
                  <a:path w="309" h="222">
                    <a:moveTo>
                      <a:pt x="309" y="136"/>
                    </a:moveTo>
                    <a:lnTo>
                      <a:pt x="309" y="54"/>
                    </a:lnTo>
                    <a:lnTo>
                      <a:pt x="156" y="0"/>
                    </a:lnTo>
                    <a:lnTo>
                      <a:pt x="0" y="54"/>
                    </a:lnTo>
                    <a:lnTo>
                      <a:pt x="0" y="222"/>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30" name="Rectangle 154">
                <a:extLst>
                  <a:ext uri="{FF2B5EF4-FFF2-40B4-BE49-F238E27FC236}">
                    <a16:creationId xmlns:a16="http://schemas.microsoft.com/office/drawing/2014/main" id="{3BF727DC-2A78-49EF-9B78-292C978B4B8B}"/>
                  </a:ext>
                </a:extLst>
              </p:cNvPr>
              <p:cNvSpPr>
                <a:spLocks noChangeArrowheads="1"/>
              </p:cNvSpPr>
              <p:nvPr/>
            </p:nvSpPr>
            <p:spPr bwMode="auto">
              <a:xfrm>
                <a:off x="3051372" y="3613945"/>
                <a:ext cx="120650" cy="85725"/>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31" name="Line 155">
                <a:extLst>
                  <a:ext uri="{FF2B5EF4-FFF2-40B4-BE49-F238E27FC236}">
                    <a16:creationId xmlns:a16="http://schemas.microsoft.com/office/drawing/2014/main" id="{056DC941-6B1E-45D8-94A8-98C88B38E9EC}"/>
                  </a:ext>
                </a:extLst>
              </p:cNvPr>
              <p:cNvSpPr>
                <a:spLocks noChangeShapeType="1"/>
              </p:cNvSpPr>
              <p:nvPr/>
            </p:nvSpPr>
            <p:spPr bwMode="auto">
              <a:xfrm>
                <a:off x="3114872" y="3617120"/>
                <a:ext cx="0" cy="4127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32" name="Rectangle 156">
                <a:extLst>
                  <a:ext uri="{FF2B5EF4-FFF2-40B4-BE49-F238E27FC236}">
                    <a16:creationId xmlns:a16="http://schemas.microsoft.com/office/drawing/2014/main" id="{141C81F8-7036-40C2-8D79-FE88D742516D}"/>
                  </a:ext>
                </a:extLst>
              </p:cNvPr>
              <p:cNvSpPr>
                <a:spLocks noChangeArrowheads="1"/>
              </p:cNvSpPr>
              <p:nvPr/>
            </p:nvSpPr>
            <p:spPr bwMode="auto">
              <a:xfrm>
                <a:off x="2960885" y="3523457"/>
                <a:ext cx="127000" cy="90488"/>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33" name="Line 157">
                <a:extLst>
                  <a:ext uri="{FF2B5EF4-FFF2-40B4-BE49-F238E27FC236}">
                    <a16:creationId xmlns:a16="http://schemas.microsoft.com/office/drawing/2014/main" id="{ED3FC11C-2CB0-4F3C-A8AB-F147675E2EBD}"/>
                  </a:ext>
                </a:extLst>
              </p:cNvPr>
              <p:cNvSpPr>
                <a:spLocks noChangeShapeType="1"/>
              </p:cNvSpPr>
              <p:nvPr/>
            </p:nvSpPr>
            <p:spPr bwMode="auto">
              <a:xfrm>
                <a:off x="3024385" y="3528220"/>
                <a:ext cx="0" cy="4445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34" name="Rectangle 158">
                <a:extLst>
                  <a:ext uri="{FF2B5EF4-FFF2-40B4-BE49-F238E27FC236}">
                    <a16:creationId xmlns:a16="http://schemas.microsoft.com/office/drawing/2014/main" id="{2C869E72-D903-4CBD-A00F-F923BD253709}"/>
                  </a:ext>
                </a:extLst>
              </p:cNvPr>
              <p:cNvSpPr>
                <a:spLocks noChangeArrowheads="1"/>
              </p:cNvSpPr>
              <p:nvPr/>
            </p:nvSpPr>
            <p:spPr bwMode="auto">
              <a:xfrm>
                <a:off x="2925960" y="3613945"/>
                <a:ext cx="125412" cy="85725"/>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35" name="Line 159">
                <a:extLst>
                  <a:ext uri="{FF2B5EF4-FFF2-40B4-BE49-F238E27FC236}">
                    <a16:creationId xmlns:a16="http://schemas.microsoft.com/office/drawing/2014/main" id="{3ECD19B8-F119-4610-8B72-8596FC5BD1EB}"/>
                  </a:ext>
                </a:extLst>
              </p:cNvPr>
              <p:cNvSpPr>
                <a:spLocks noChangeShapeType="1"/>
              </p:cNvSpPr>
              <p:nvPr/>
            </p:nvSpPr>
            <p:spPr bwMode="auto">
              <a:xfrm>
                <a:off x="2987872" y="3617120"/>
                <a:ext cx="0" cy="4127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36" name="Rectangle 160">
                <a:extLst>
                  <a:ext uri="{FF2B5EF4-FFF2-40B4-BE49-F238E27FC236}">
                    <a16:creationId xmlns:a16="http://schemas.microsoft.com/office/drawing/2014/main" id="{5DF3603F-5A36-4366-9759-F3A447AD6960}"/>
                  </a:ext>
                </a:extLst>
              </p:cNvPr>
              <p:cNvSpPr>
                <a:spLocks noChangeArrowheads="1"/>
              </p:cNvSpPr>
              <p:nvPr/>
            </p:nvSpPr>
            <p:spPr bwMode="auto">
              <a:xfrm>
                <a:off x="2835472" y="3523457"/>
                <a:ext cx="125412" cy="90488"/>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37" name="Line 161">
                <a:extLst>
                  <a:ext uri="{FF2B5EF4-FFF2-40B4-BE49-F238E27FC236}">
                    <a16:creationId xmlns:a16="http://schemas.microsoft.com/office/drawing/2014/main" id="{8AD9C63B-846B-45F4-BB93-8DFFAC479048}"/>
                  </a:ext>
                </a:extLst>
              </p:cNvPr>
              <p:cNvSpPr>
                <a:spLocks noChangeShapeType="1"/>
              </p:cNvSpPr>
              <p:nvPr/>
            </p:nvSpPr>
            <p:spPr bwMode="auto">
              <a:xfrm>
                <a:off x="2897385" y="3528220"/>
                <a:ext cx="0" cy="4445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38" name="Rectangle 162">
                <a:extLst>
                  <a:ext uri="{FF2B5EF4-FFF2-40B4-BE49-F238E27FC236}">
                    <a16:creationId xmlns:a16="http://schemas.microsoft.com/office/drawing/2014/main" id="{9DC6E9C6-C237-46F8-8D23-BEA3C6A42D89}"/>
                  </a:ext>
                </a:extLst>
              </p:cNvPr>
              <p:cNvSpPr>
                <a:spLocks noChangeArrowheads="1"/>
              </p:cNvSpPr>
              <p:nvPr/>
            </p:nvSpPr>
            <p:spPr bwMode="auto">
              <a:xfrm>
                <a:off x="2798960" y="3613945"/>
                <a:ext cx="127000" cy="85725"/>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39" name="Line 163">
                <a:extLst>
                  <a:ext uri="{FF2B5EF4-FFF2-40B4-BE49-F238E27FC236}">
                    <a16:creationId xmlns:a16="http://schemas.microsoft.com/office/drawing/2014/main" id="{294A97B2-6316-4476-9E17-CB3167753CAA}"/>
                  </a:ext>
                </a:extLst>
              </p:cNvPr>
              <p:cNvSpPr>
                <a:spLocks noChangeShapeType="1"/>
              </p:cNvSpPr>
              <p:nvPr/>
            </p:nvSpPr>
            <p:spPr bwMode="auto">
              <a:xfrm>
                <a:off x="2862460" y="3617120"/>
                <a:ext cx="0" cy="4127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40" name="Line 164">
                <a:extLst>
                  <a:ext uri="{FF2B5EF4-FFF2-40B4-BE49-F238E27FC236}">
                    <a16:creationId xmlns:a16="http://schemas.microsoft.com/office/drawing/2014/main" id="{03F20F9B-2CDB-4F70-902D-F7877F794B61}"/>
                  </a:ext>
                </a:extLst>
              </p:cNvPr>
              <p:cNvSpPr>
                <a:spLocks noChangeShapeType="1"/>
              </p:cNvSpPr>
              <p:nvPr/>
            </p:nvSpPr>
            <p:spPr bwMode="auto">
              <a:xfrm>
                <a:off x="2848172" y="3432970"/>
                <a:ext cx="95250"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41" name="Freeform 165">
                <a:extLst>
                  <a:ext uri="{FF2B5EF4-FFF2-40B4-BE49-F238E27FC236}">
                    <a16:creationId xmlns:a16="http://schemas.microsoft.com/office/drawing/2014/main" id="{74D30487-4FEC-46AB-95F7-46605066873D}"/>
                  </a:ext>
                </a:extLst>
              </p:cNvPr>
              <p:cNvSpPr>
                <a:spLocks/>
              </p:cNvSpPr>
              <p:nvPr/>
            </p:nvSpPr>
            <p:spPr bwMode="auto">
              <a:xfrm>
                <a:off x="2722760" y="3486945"/>
                <a:ext cx="71437" cy="212725"/>
              </a:xfrm>
              <a:custGeom>
                <a:avLst/>
                <a:gdLst>
                  <a:gd name="T0" fmla="*/ 0 w 45"/>
                  <a:gd name="T1" fmla="*/ 134 h 134"/>
                  <a:gd name="T2" fmla="*/ 0 w 45"/>
                  <a:gd name="T3" fmla="*/ 0 h 134"/>
                  <a:gd name="T4" fmla="*/ 45 w 45"/>
                  <a:gd name="T5" fmla="*/ 0 h 134"/>
                </a:gdLst>
                <a:ahLst/>
                <a:cxnLst>
                  <a:cxn ang="0">
                    <a:pos x="T0" y="T1"/>
                  </a:cxn>
                  <a:cxn ang="0">
                    <a:pos x="T2" y="T3"/>
                  </a:cxn>
                  <a:cxn ang="0">
                    <a:pos x="T4" y="T5"/>
                  </a:cxn>
                </a:cxnLst>
                <a:rect l="0" t="0" r="r" b="b"/>
                <a:pathLst>
                  <a:path w="45" h="134">
                    <a:moveTo>
                      <a:pt x="0" y="134"/>
                    </a:moveTo>
                    <a:lnTo>
                      <a:pt x="0" y="0"/>
                    </a:lnTo>
                    <a:lnTo>
                      <a:pt x="45"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42" name="Group 241">
            <a:extLst>
              <a:ext uri="{FF2B5EF4-FFF2-40B4-BE49-F238E27FC236}">
                <a16:creationId xmlns:a16="http://schemas.microsoft.com/office/drawing/2014/main" id="{67D91090-EB16-48F2-AA5C-B794782FA583}"/>
              </a:ext>
            </a:extLst>
          </p:cNvPr>
          <p:cNvGrpSpPr/>
          <p:nvPr/>
        </p:nvGrpSpPr>
        <p:grpSpPr>
          <a:xfrm>
            <a:off x="4680731" y="5162547"/>
            <a:ext cx="306190" cy="458632"/>
            <a:chOff x="635332" y="3170743"/>
            <a:chExt cx="373063" cy="558800"/>
          </a:xfrm>
        </p:grpSpPr>
        <p:sp>
          <p:nvSpPr>
            <p:cNvPr id="243" name="Oval 28">
              <a:extLst>
                <a:ext uri="{FF2B5EF4-FFF2-40B4-BE49-F238E27FC236}">
                  <a16:creationId xmlns:a16="http://schemas.microsoft.com/office/drawing/2014/main" id="{8333064A-6D48-4216-AA7E-482806679A41}"/>
                </a:ext>
              </a:extLst>
            </p:cNvPr>
            <p:cNvSpPr>
              <a:spLocks noChangeArrowheads="1"/>
            </p:cNvSpPr>
            <p:nvPr/>
          </p:nvSpPr>
          <p:spPr bwMode="auto">
            <a:xfrm>
              <a:off x="675020" y="3310443"/>
              <a:ext cx="230188" cy="230188"/>
            </a:xfrm>
            <a:prstGeom prst="ellipse">
              <a:avLst/>
            </a:prstGeom>
            <a:solidFill>
              <a:srgbClr val="A1B5AD"/>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244" name="Group 243">
              <a:extLst>
                <a:ext uri="{FF2B5EF4-FFF2-40B4-BE49-F238E27FC236}">
                  <a16:creationId xmlns:a16="http://schemas.microsoft.com/office/drawing/2014/main" id="{EC749063-5E84-4F42-AFA5-9845D23CF42A}"/>
                </a:ext>
              </a:extLst>
            </p:cNvPr>
            <p:cNvGrpSpPr/>
            <p:nvPr/>
          </p:nvGrpSpPr>
          <p:grpSpPr>
            <a:xfrm>
              <a:off x="635332" y="3170743"/>
              <a:ext cx="373063" cy="558800"/>
              <a:chOff x="635332" y="3170743"/>
              <a:chExt cx="373063" cy="558800"/>
            </a:xfrm>
          </p:grpSpPr>
          <p:sp>
            <p:nvSpPr>
              <p:cNvPr id="245" name="Freeform 29">
                <a:extLst>
                  <a:ext uri="{FF2B5EF4-FFF2-40B4-BE49-F238E27FC236}">
                    <a16:creationId xmlns:a16="http://schemas.microsoft.com/office/drawing/2014/main" id="{06C82D65-13D7-444D-915A-62EC0146FD96}"/>
                  </a:ext>
                </a:extLst>
              </p:cNvPr>
              <p:cNvSpPr>
                <a:spLocks/>
              </p:cNvSpPr>
              <p:nvPr/>
            </p:nvSpPr>
            <p:spPr bwMode="auto">
              <a:xfrm>
                <a:off x="635332" y="3224718"/>
                <a:ext cx="373063" cy="504825"/>
              </a:xfrm>
              <a:custGeom>
                <a:avLst/>
                <a:gdLst>
                  <a:gd name="T0" fmla="*/ 45 w 235"/>
                  <a:gd name="T1" fmla="*/ 0 h 318"/>
                  <a:gd name="T2" fmla="*/ 0 w 235"/>
                  <a:gd name="T3" fmla="*/ 0 h 318"/>
                  <a:gd name="T4" fmla="*/ 0 w 235"/>
                  <a:gd name="T5" fmla="*/ 318 h 318"/>
                  <a:gd name="T6" fmla="*/ 235 w 235"/>
                  <a:gd name="T7" fmla="*/ 318 h 318"/>
                  <a:gd name="T8" fmla="*/ 235 w 235"/>
                  <a:gd name="T9" fmla="*/ 270 h 318"/>
                  <a:gd name="T10" fmla="*/ 235 w 235"/>
                  <a:gd name="T11" fmla="*/ 0 h 318"/>
                  <a:gd name="T12" fmla="*/ 187 w 235"/>
                  <a:gd name="T13" fmla="*/ 0 h 318"/>
                </a:gdLst>
                <a:ahLst/>
                <a:cxnLst>
                  <a:cxn ang="0">
                    <a:pos x="T0" y="T1"/>
                  </a:cxn>
                  <a:cxn ang="0">
                    <a:pos x="T2" y="T3"/>
                  </a:cxn>
                  <a:cxn ang="0">
                    <a:pos x="T4" y="T5"/>
                  </a:cxn>
                  <a:cxn ang="0">
                    <a:pos x="T6" y="T7"/>
                  </a:cxn>
                  <a:cxn ang="0">
                    <a:pos x="T8" y="T9"/>
                  </a:cxn>
                  <a:cxn ang="0">
                    <a:pos x="T10" y="T11"/>
                  </a:cxn>
                  <a:cxn ang="0">
                    <a:pos x="T12" y="T13"/>
                  </a:cxn>
                </a:cxnLst>
                <a:rect l="0" t="0" r="r" b="b"/>
                <a:pathLst>
                  <a:path w="235" h="318">
                    <a:moveTo>
                      <a:pt x="45" y="0"/>
                    </a:moveTo>
                    <a:lnTo>
                      <a:pt x="0" y="0"/>
                    </a:lnTo>
                    <a:lnTo>
                      <a:pt x="0" y="318"/>
                    </a:lnTo>
                    <a:lnTo>
                      <a:pt x="235" y="318"/>
                    </a:lnTo>
                    <a:lnTo>
                      <a:pt x="235" y="270"/>
                    </a:lnTo>
                    <a:lnTo>
                      <a:pt x="235" y="0"/>
                    </a:lnTo>
                    <a:lnTo>
                      <a:pt x="187"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46" name="Freeform 30">
                <a:extLst>
                  <a:ext uri="{FF2B5EF4-FFF2-40B4-BE49-F238E27FC236}">
                    <a16:creationId xmlns:a16="http://schemas.microsoft.com/office/drawing/2014/main" id="{72449DFA-A9B3-47F1-817A-3D020102EF82}"/>
                  </a:ext>
                </a:extLst>
              </p:cNvPr>
              <p:cNvSpPr>
                <a:spLocks/>
              </p:cNvSpPr>
              <p:nvPr/>
            </p:nvSpPr>
            <p:spPr bwMode="auto">
              <a:xfrm>
                <a:off x="743282" y="3170743"/>
                <a:ext cx="157163" cy="100013"/>
              </a:xfrm>
              <a:custGeom>
                <a:avLst/>
                <a:gdLst>
                  <a:gd name="T0" fmla="*/ 25 w 35"/>
                  <a:gd name="T1" fmla="*/ 8 h 22"/>
                  <a:gd name="T2" fmla="*/ 17 w 35"/>
                  <a:gd name="T3" fmla="*/ 0 h 22"/>
                  <a:gd name="T4" fmla="*/ 8 w 35"/>
                  <a:gd name="T5" fmla="*/ 8 h 22"/>
                  <a:gd name="T6" fmla="*/ 2 w 35"/>
                  <a:gd name="T7" fmla="*/ 8 h 22"/>
                  <a:gd name="T8" fmla="*/ 0 w 35"/>
                  <a:gd name="T9" fmla="*/ 10 h 22"/>
                  <a:gd name="T10" fmla="*/ 0 w 35"/>
                  <a:gd name="T11" fmla="*/ 22 h 22"/>
                  <a:gd name="T12" fmla="*/ 35 w 35"/>
                  <a:gd name="T13" fmla="*/ 22 h 22"/>
                  <a:gd name="T14" fmla="*/ 35 w 35"/>
                  <a:gd name="T15" fmla="*/ 10 h 22"/>
                  <a:gd name="T16" fmla="*/ 32 w 35"/>
                  <a:gd name="T17" fmla="*/ 8 h 22"/>
                  <a:gd name="T18" fmla="*/ 25 w 35"/>
                  <a:gd name="T19" fmla="*/ 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2">
                    <a:moveTo>
                      <a:pt x="25" y="8"/>
                    </a:moveTo>
                    <a:cubicBezTo>
                      <a:pt x="25" y="3"/>
                      <a:pt x="22" y="0"/>
                      <a:pt x="17" y="0"/>
                    </a:cubicBezTo>
                    <a:cubicBezTo>
                      <a:pt x="12" y="0"/>
                      <a:pt x="8" y="3"/>
                      <a:pt x="8" y="8"/>
                    </a:cubicBezTo>
                    <a:cubicBezTo>
                      <a:pt x="2" y="8"/>
                      <a:pt x="2" y="8"/>
                      <a:pt x="2" y="8"/>
                    </a:cubicBezTo>
                    <a:cubicBezTo>
                      <a:pt x="1" y="8"/>
                      <a:pt x="0" y="9"/>
                      <a:pt x="0" y="10"/>
                    </a:cubicBezTo>
                    <a:cubicBezTo>
                      <a:pt x="0" y="22"/>
                      <a:pt x="0" y="22"/>
                      <a:pt x="0" y="22"/>
                    </a:cubicBezTo>
                    <a:cubicBezTo>
                      <a:pt x="35" y="22"/>
                      <a:pt x="35" y="22"/>
                      <a:pt x="35" y="22"/>
                    </a:cubicBezTo>
                    <a:cubicBezTo>
                      <a:pt x="35" y="10"/>
                      <a:pt x="35" y="10"/>
                      <a:pt x="35" y="10"/>
                    </a:cubicBezTo>
                    <a:cubicBezTo>
                      <a:pt x="35" y="9"/>
                      <a:pt x="34" y="8"/>
                      <a:pt x="32" y="8"/>
                    </a:cubicBezTo>
                    <a:lnTo>
                      <a:pt x="25" y="8"/>
                    </a:lnTo>
                    <a:close/>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47" name="Freeform 31">
                <a:extLst>
                  <a:ext uri="{FF2B5EF4-FFF2-40B4-BE49-F238E27FC236}">
                    <a16:creationId xmlns:a16="http://schemas.microsoft.com/office/drawing/2014/main" id="{5A4747A4-A769-4C82-BE30-968370A67BD5}"/>
                  </a:ext>
                </a:extLst>
              </p:cNvPr>
              <p:cNvSpPr>
                <a:spLocks/>
              </p:cNvSpPr>
              <p:nvPr/>
            </p:nvSpPr>
            <p:spPr bwMode="auto">
              <a:xfrm>
                <a:off x="782970" y="3337430"/>
                <a:ext cx="163513" cy="122238"/>
              </a:xfrm>
              <a:custGeom>
                <a:avLst/>
                <a:gdLst>
                  <a:gd name="T0" fmla="*/ 0 w 103"/>
                  <a:gd name="T1" fmla="*/ 40 h 77"/>
                  <a:gd name="T2" fmla="*/ 32 w 103"/>
                  <a:gd name="T3" fmla="*/ 77 h 77"/>
                  <a:gd name="T4" fmla="*/ 103 w 103"/>
                  <a:gd name="T5" fmla="*/ 0 h 77"/>
                </a:gdLst>
                <a:ahLst/>
                <a:cxnLst>
                  <a:cxn ang="0">
                    <a:pos x="T0" y="T1"/>
                  </a:cxn>
                  <a:cxn ang="0">
                    <a:pos x="T2" y="T3"/>
                  </a:cxn>
                  <a:cxn ang="0">
                    <a:pos x="T4" y="T5"/>
                  </a:cxn>
                </a:cxnLst>
                <a:rect l="0" t="0" r="r" b="b"/>
                <a:pathLst>
                  <a:path w="103" h="77">
                    <a:moveTo>
                      <a:pt x="0" y="40"/>
                    </a:moveTo>
                    <a:lnTo>
                      <a:pt x="32" y="77"/>
                    </a:lnTo>
                    <a:lnTo>
                      <a:pt x="103"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48" name="Freeform 32">
                <a:extLst>
                  <a:ext uri="{FF2B5EF4-FFF2-40B4-BE49-F238E27FC236}">
                    <a16:creationId xmlns:a16="http://schemas.microsoft.com/office/drawing/2014/main" id="{CDCB15C9-829D-4501-9182-6FF047B666EB}"/>
                  </a:ext>
                </a:extLst>
              </p:cNvPr>
              <p:cNvSpPr>
                <a:spLocks/>
              </p:cNvSpPr>
              <p:nvPr/>
            </p:nvSpPr>
            <p:spPr bwMode="auto">
              <a:xfrm>
                <a:off x="728995" y="3337430"/>
                <a:ext cx="185738" cy="180975"/>
              </a:xfrm>
              <a:custGeom>
                <a:avLst/>
                <a:gdLst>
                  <a:gd name="T0" fmla="*/ 38 w 41"/>
                  <a:gd name="T1" fmla="*/ 11 h 40"/>
                  <a:gd name="T2" fmla="*/ 41 w 41"/>
                  <a:gd name="T3" fmla="*/ 20 h 40"/>
                  <a:gd name="T4" fmla="*/ 20 w 41"/>
                  <a:gd name="T5" fmla="*/ 40 h 40"/>
                  <a:gd name="T6" fmla="*/ 0 w 41"/>
                  <a:gd name="T7" fmla="*/ 20 h 40"/>
                  <a:gd name="T8" fmla="*/ 20 w 41"/>
                  <a:gd name="T9" fmla="*/ 0 h 40"/>
                  <a:gd name="T10" fmla="*/ 30 w 41"/>
                  <a:gd name="T11" fmla="*/ 2 h 40"/>
                </a:gdLst>
                <a:ahLst/>
                <a:cxnLst>
                  <a:cxn ang="0">
                    <a:pos x="T0" y="T1"/>
                  </a:cxn>
                  <a:cxn ang="0">
                    <a:pos x="T2" y="T3"/>
                  </a:cxn>
                  <a:cxn ang="0">
                    <a:pos x="T4" y="T5"/>
                  </a:cxn>
                  <a:cxn ang="0">
                    <a:pos x="T6" y="T7"/>
                  </a:cxn>
                  <a:cxn ang="0">
                    <a:pos x="T8" y="T9"/>
                  </a:cxn>
                  <a:cxn ang="0">
                    <a:pos x="T10" y="T11"/>
                  </a:cxn>
                </a:cxnLst>
                <a:rect l="0" t="0" r="r" b="b"/>
                <a:pathLst>
                  <a:path w="41" h="40">
                    <a:moveTo>
                      <a:pt x="38" y="11"/>
                    </a:moveTo>
                    <a:cubicBezTo>
                      <a:pt x="40" y="13"/>
                      <a:pt x="41" y="17"/>
                      <a:pt x="41" y="20"/>
                    </a:cubicBezTo>
                    <a:cubicBezTo>
                      <a:pt x="41" y="31"/>
                      <a:pt x="32" y="40"/>
                      <a:pt x="20" y="40"/>
                    </a:cubicBezTo>
                    <a:cubicBezTo>
                      <a:pt x="9" y="40"/>
                      <a:pt x="0" y="31"/>
                      <a:pt x="0" y="20"/>
                    </a:cubicBezTo>
                    <a:cubicBezTo>
                      <a:pt x="0" y="9"/>
                      <a:pt x="9" y="0"/>
                      <a:pt x="20" y="0"/>
                    </a:cubicBezTo>
                    <a:cubicBezTo>
                      <a:pt x="24" y="0"/>
                      <a:pt x="27" y="0"/>
                      <a:pt x="30" y="2"/>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49" name="Line 33">
                <a:extLst>
                  <a:ext uri="{FF2B5EF4-FFF2-40B4-BE49-F238E27FC236}">
                    <a16:creationId xmlns:a16="http://schemas.microsoft.com/office/drawing/2014/main" id="{DA33C04B-B1DA-4A3C-AED4-060FB1D0505F}"/>
                  </a:ext>
                </a:extLst>
              </p:cNvPr>
              <p:cNvSpPr>
                <a:spLocks noChangeShapeType="1"/>
              </p:cNvSpPr>
              <p:nvPr/>
            </p:nvSpPr>
            <p:spPr bwMode="auto">
              <a:xfrm>
                <a:off x="728995" y="3580318"/>
                <a:ext cx="185738"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50" name="Line 34">
                <a:extLst>
                  <a:ext uri="{FF2B5EF4-FFF2-40B4-BE49-F238E27FC236}">
                    <a16:creationId xmlns:a16="http://schemas.microsoft.com/office/drawing/2014/main" id="{3B028A27-3D33-4E43-A828-19E69C4E7FAF}"/>
                  </a:ext>
                </a:extLst>
              </p:cNvPr>
              <p:cNvSpPr>
                <a:spLocks noChangeShapeType="1"/>
              </p:cNvSpPr>
              <p:nvPr/>
            </p:nvSpPr>
            <p:spPr bwMode="auto">
              <a:xfrm>
                <a:off x="728995" y="3639055"/>
                <a:ext cx="185738"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grpSp>
      </p:grpSp>
      <p:sp>
        <p:nvSpPr>
          <p:cNvPr id="77" name="Rectangle 76">
            <a:extLst>
              <a:ext uri="{FF2B5EF4-FFF2-40B4-BE49-F238E27FC236}">
                <a16:creationId xmlns:a16="http://schemas.microsoft.com/office/drawing/2014/main" id="{44700D7E-4D1D-4256-87FA-9AA86BD1E33E}"/>
              </a:ext>
            </a:extLst>
          </p:cNvPr>
          <p:cNvSpPr/>
          <p:nvPr/>
        </p:nvSpPr>
        <p:spPr>
          <a:xfrm>
            <a:off x="3812357" y="3644033"/>
            <a:ext cx="564842" cy="415435"/>
          </a:xfrm>
          <a:prstGeom prst="rect">
            <a:avLst/>
          </a:prstGeom>
          <a:solidFill>
            <a:srgbClr val="8AA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1F2023"/>
                </a:solidFill>
                <a:effectLst/>
                <a:uLnTx/>
                <a:uFillTx/>
                <a:latin typeface="Arial"/>
                <a:ea typeface="+mn-ea"/>
                <a:cs typeface="+mn-cs"/>
              </a:rPr>
              <a:t>HR-process</a:t>
            </a:r>
          </a:p>
        </p:txBody>
      </p:sp>
      <p:sp>
        <p:nvSpPr>
          <p:cNvPr id="11" name="Title 1">
            <a:extLst>
              <a:ext uri="{FF2B5EF4-FFF2-40B4-BE49-F238E27FC236}">
                <a16:creationId xmlns:a16="http://schemas.microsoft.com/office/drawing/2014/main" id="{4DAB7233-7C41-479E-B8DB-097CAB681D7A}"/>
              </a:ext>
            </a:extLst>
          </p:cNvPr>
          <p:cNvSpPr>
            <a:spLocks noGrp="1"/>
          </p:cNvSpPr>
          <p:nvPr>
            <p:ph type="title"/>
          </p:nvPr>
        </p:nvSpPr>
        <p:spPr>
          <a:xfrm>
            <a:off x="261105" y="270178"/>
            <a:ext cx="7981950" cy="689476"/>
          </a:xfrm>
        </p:spPr>
        <p:txBody>
          <a:bodyPr>
            <a:noAutofit/>
          </a:bodyPr>
          <a:lstStyle/>
          <a:p>
            <a:r>
              <a:rPr lang="da-DK" sz="2490" b="0">
                <a:solidFill>
                  <a:schemeClr val="tx1"/>
                </a:solidFill>
                <a:latin typeface="Impact" panose="020B0806030902050204" pitchFamily="34" charset="0"/>
              </a:rPr>
              <a:t>3. LØSNINGEN</a:t>
            </a:r>
            <a:br>
              <a:rPr lang="da-DK" sz="2490" b="0">
                <a:solidFill>
                  <a:schemeClr val="tx1"/>
                </a:solidFill>
                <a:latin typeface="Impact" panose="020B0806030902050204" pitchFamily="34" charset="0"/>
              </a:rPr>
            </a:br>
            <a:r>
              <a:rPr lang="da-DK" sz="2490" b="0">
                <a:solidFill>
                  <a:schemeClr val="tx1"/>
                </a:solidFill>
                <a:latin typeface="Impact" panose="020B0806030902050204" pitchFamily="34" charset="0"/>
              </a:rPr>
              <a:t> </a:t>
            </a:r>
          </a:p>
        </p:txBody>
      </p:sp>
      <p:sp>
        <p:nvSpPr>
          <p:cNvPr id="12" name="Content Placeholder 7">
            <a:extLst>
              <a:ext uri="{FF2B5EF4-FFF2-40B4-BE49-F238E27FC236}">
                <a16:creationId xmlns:a16="http://schemas.microsoft.com/office/drawing/2014/main" id="{8F4D9349-B382-4BCA-85B0-0CE87506EEB9}"/>
              </a:ext>
            </a:extLst>
          </p:cNvPr>
          <p:cNvSpPr txBox="1">
            <a:spLocks/>
          </p:cNvSpPr>
          <p:nvPr/>
        </p:nvSpPr>
        <p:spPr>
          <a:xfrm>
            <a:off x="362675" y="668050"/>
            <a:ext cx="6894547" cy="500137"/>
          </a:xfrm>
          <a:prstGeom prst="rect">
            <a:avLst/>
          </a:prstGeom>
        </p:spPr>
        <p:txBody>
          <a:bodyPr vert="horz" wrap="square" lIns="0" tIns="0" rIns="0" bIns="0" rtlCol="0" anchor="t">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da-DK">
                <a:latin typeface="+mj-lt"/>
                <a:cs typeface="Arial"/>
              </a:rPr>
              <a:t>3.2 ARKITEKTUR – NUV. </a:t>
            </a:r>
            <a:r>
              <a:rPr lang="en-US">
                <a:solidFill>
                  <a:srgbClr val="1F2023"/>
                </a:solidFill>
                <a:latin typeface="+mj-lt"/>
                <a:cs typeface="Arial"/>
              </a:rPr>
              <a:t>INDFAK INTEGRATIONER</a:t>
            </a:r>
          </a:p>
          <a:p>
            <a:pPr>
              <a:spcBef>
                <a:spcPts val="300"/>
              </a:spcBef>
            </a:pPr>
            <a:endParaRPr lang="da-DK" sz="1200" b="1">
              <a:latin typeface="+mj-lt"/>
            </a:endParaRPr>
          </a:p>
        </p:txBody>
      </p:sp>
      <p:sp>
        <p:nvSpPr>
          <p:cNvPr id="19" name="Content Placeholder 7">
            <a:extLst>
              <a:ext uri="{FF2B5EF4-FFF2-40B4-BE49-F238E27FC236}">
                <a16:creationId xmlns:a16="http://schemas.microsoft.com/office/drawing/2014/main" id="{8EFB4920-10FF-4706-AE7E-37DE9B441254}"/>
              </a:ext>
            </a:extLst>
          </p:cNvPr>
          <p:cNvSpPr txBox="1">
            <a:spLocks/>
          </p:cNvSpPr>
          <p:nvPr/>
        </p:nvSpPr>
        <p:spPr>
          <a:xfrm>
            <a:off x="6892078" y="481600"/>
            <a:ext cx="2239157" cy="2086286"/>
          </a:xfrm>
          <a:prstGeom prst="rect">
            <a:avLst/>
          </a:prstGeom>
          <a:solidFill>
            <a:srgbClr val="C3CFCB"/>
          </a:solidFill>
          <a:ln w="635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defPPr>
              <a:defRPr lang="en-US"/>
            </a:defPPr>
            <a:lvl1pPr marL="0" indent="0" algn="l" defTabSz="914400" rtl="0" eaLnBrk="1" latinLnBrk="0" hangingPunct="1">
              <a:lnSpc>
                <a:spcPct val="150000"/>
              </a:lnSpc>
              <a:spcBef>
                <a:spcPts val="0"/>
              </a:spcBef>
              <a:buFont typeface="Arial" panose="020B0604020202020204" pitchFamily="34" charset="0"/>
              <a:buNone/>
              <a:defRPr sz="1100" kern="1200">
                <a:solidFill>
                  <a:srgbClr val="2F363B"/>
                </a:solidFill>
                <a:latin typeface="Verdana" panose="020B0604030504040204" pitchFamily="34" charset="0"/>
                <a:ea typeface="Verdana" panose="020B0604030504040204" pitchFamily="34" charset="0"/>
                <a:cs typeface="Verdana" panose="020B0604030504040204" pitchFamily="34" charset="0"/>
              </a:defRPr>
            </a:lvl1pPr>
            <a:lvl2pPr marL="0" lvl="1" indent="0" algn="l" defTabSz="914400" rtl="0" eaLnBrk="1" latinLnBrk="0" hangingPunct="1">
              <a:lnSpc>
                <a:spcPct val="150000"/>
              </a:lnSpc>
              <a:spcBef>
                <a:spcPts val="0"/>
              </a:spcBef>
              <a:buSzPct val="100000"/>
              <a:buFont typeface="Arial" panose="020B0604020202020204" pitchFamily="34" charset="0"/>
              <a:buChar char="​"/>
              <a:defRPr sz="1100" kern="1200">
                <a:solidFill>
                  <a:srgbClr val="2F363B"/>
                </a:solidFill>
                <a:latin typeface="Arial" panose="020B0604020202020204" pitchFamily="34" charset="0"/>
                <a:ea typeface="Verdana" panose="020B0604030504040204" pitchFamily="34" charset="0"/>
                <a:cs typeface="Verdana" panose="020B0604030504040204" pitchFamily="34" charset="0"/>
              </a:defRPr>
            </a:lvl2pPr>
            <a:lvl3pPr marL="1257300" indent="-342900" algn="l" defTabSz="914400" rtl="0" eaLnBrk="1" latinLnBrk="0" hangingPunct="1">
              <a:lnSpc>
                <a:spcPct val="150000"/>
              </a:lnSpc>
              <a:spcBef>
                <a:spcPts val="0"/>
              </a:spcBef>
              <a:buFont typeface="Courier New" panose="02070309020205020404" pitchFamily="49" charset="0"/>
              <a:buChar char="o"/>
              <a:defRPr sz="1400" kern="1200">
                <a:solidFill>
                  <a:schemeClr val="lt1"/>
                </a:solidFill>
                <a:latin typeface="Verdana" panose="020B0604030504040204" pitchFamily="34" charset="0"/>
                <a:ea typeface="Verdana" panose="020B0604030504040204" pitchFamily="34" charset="0"/>
                <a:cs typeface="Verdana" panose="020B0604030504040204" pitchFamily="34" charset="0"/>
              </a:defRPr>
            </a:lvl3pPr>
            <a:lvl4pPr marL="1714500" indent="-342900" algn="l" defTabSz="914400" rtl="0" eaLnBrk="1" latinLnBrk="0" hangingPunct="1">
              <a:lnSpc>
                <a:spcPct val="150000"/>
              </a:lnSpc>
              <a:spcBef>
                <a:spcPts val="0"/>
              </a:spcBef>
              <a:buFont typeface="Wingdings" panose="05000000000000000000" pitchFamily="2" charset="2"/>
              <a:buChar char="§"/>
              <a:defRPr sz="1300" kern="1200">
                <a:solidFill>
                  <a:schemeClr val="lt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150000"/>
              </a:lnSpc>
              <a:spcBef>
                <a:spcPts val="0"/>
              </a:spcBef>
              <a:buFont typeface="Arial" panose="020B0604020202020204" pitchFamily="34" charset="0"/>
              <a:buChar char="•"/>
              <a:defRPr sz="1100" kern="1200">
                <a:solidFill>
                  <a:schemeClr val="lt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lvl="1">
              <a:lnSpc>
                <a:spcPct val="100000"/>
              </a:lnSpc>
              <a:spcAft>
                <a:spcPts val="300"/>
              </a:spcAft>
              <a:buNone/>
              <a:defRPr/>
            </a:pPr>
            <a:r>
              <a:rPr lang="da-DK" sz="900" b="1">
                <a:solidFill>
                  <a:schemeClr val="tx1"/>
                </a:solidFill>
                <a:latin typeface="+mj-lt"/>
                <a:ea typeface="Verdana"/>
                <a:cs typeface="Verdana"/>
              </a:rPr>
              <a:t>Spørgsmål, som ønskes besvaret af leverandøren: </a:t>
            </a:r>
            <a:endParaRPr lang="da-DK" sz="900">
              <a:solidFill>
                <a:schemeClr val="tx1"/>
              </a:solidFill>
              <a:latin typeface="+mj-lt"/>
            </a:endParaRPr>
          </a:p>
          <a:p>
            <a:pPr lvl="1">
              <a:lnSpc>
                <a:spcPct val="100000"/>
              </a:lnSpc>
              <a:spcBef>
                <a:spcPts val="600"/>
              </a:spcBef>
              <a:spcAft>
                <a:spcPts val="300"/>
              </a:spcAft>
              <a:buNone/>
              <a:defRPr/>
            </a:pPr>
            <a:r>
              <a:rPr lang="da-DK" sz="900" b="1">
                <a:solidFill>
                  <a:schemeClr val="tx1"/>
                </a:solidFill>
                <a:latin typeface="+mj-lt"/>
                <a:ea typeface="Verdana"/>
                <a:cs typeface="Arial"/>
              </a:rPr>
              <a:t>3.2.a: Inspiration til løsningsarkitektur.</a:t>
            </a:r>
            <a:r>
              <a:rPr lang="da-DK" sz="900">
                <a:solidFill>
                  <a:schemeClr val="tx1"/>
                </a:solidFill>
                <a:latin typeface="+mj-lt"/>
                <a:ea typeface="Verdana"/>
                <a:cs typeface="Arial"/>
              </a:rPr>
              <a:t> </a:t>
            </a:r>
          </a:p>
          <a:p>
            <a:pPr lvl="1">
              <a:lnSpc>
                <a:spcPct val="100000"/>
              </a:lnSpc>
              <a:spcAft>
                <a:spcPts val="300"/>
              </a:spcAft>
              <a:buNone/>
              <a:defRPr/>
            </a:pPr>
            <a:r>
              <a:rPr lang="da-DK" sz="900">
                <a:solidFill>
                  <a:schemeClr val="tx1"/>
                </a:solidFill>
                <a:latin typeface="+mj-lt"/>
                <a:ea typeface="Verdana"/>
                <a:cs typeface="Arial"/>
              </a:rPr>
              <a:t>Leverandøren bedes kort dele sine refleksioner om samspillet imellem IndFak og den øvrige portefølje af statslige systemløsninger, herunder hvilke der eventuelt kan erstattes af løsningen. </a:t>
            </a:r>
            <a:endParaRPr lang="da-DK" sz="900">
              <a:solidFill>
                <a:schemeClr val="tx1"/>
              </a:solidFill>
              <a:latin typeface="+mj-lt"/>
            </a:endParaRPr>
          </a:p>
        </p:txBody>
      </p:sp>
    </p:spTree>
    <p:extLst>
      <p:ext uri="{BB962C8B-B14F-4D97-AF65-F5344CB8AC3E}">
        <p14:creationId xmlns:p14="http://schemas.microsoft.com/office/powerpoint/2010/main" val="34893839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11918703-C016-485D-8E1C-BA5E7BC2A754}"/>
              </a:ext>
            </a:extLst>
          </p:cNvPr>
          <p:cNvSpPr/>
          <p:nvPr/>
        </p:nvSpPr>
        <p:spPr>
          <a:xfrm>
            <a:off x="0" y="1628775"/>
            <a:ext cx="6535971" cy="5229225"/>
          </a:xfrm>
          <a:prstGeom prst="rect">
            <a:avLst/>
          </a:prstGeom>
          <a:solidFill>
            <a:srgbClr val="FBF9F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algn="l"/>
            <a:endParaRPr lang="da-DK" sz="923">
              <a:solidFill>
                <a:srgbClr val="2F363B"/>
              </a:solidFill>
            </a:endParaRPr>
          </a:p>
        </p:txBody>
      </p:sp>
      <p:graphicFrame>
        <p:nvGraphicFramePr>
          <p:cNvPr id="2" name="Object 1" hidden="1">
            <a:extLst>
              <a:ext uri="{FF2B5EF4-FFF2-40B4-BE49-F238E27FC236}">
                <a16:creationId xmlns:a16="http://schemas.microsoft.com/office/drawing/2014/main" id="{D404E921-F1C9-4602-81E1-CE367ABD79FE}"/>
              </a:ext>
            </a:extLst>
          </p:cNvPr>
          <p:cNvGraphicFramePr>
            <a:graphicFrameLocks noChangeAspect="1"/>
          </p:cNvGraphicFramePr>
          <p:nvPr>
            <p:custDataLst>
              <p:tags r:id="rId2"/>
            </p:custDataLst>
            <p:extLst>
              <p:ext uri="{D42A27DB-BD31-4B8C-83A1-F6EECF244321}">
                <p14:modId xmlns:p14="http://schemas.microsoft.com/office/powerpoint/2010/main" val="2370004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3"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D404E921-F1C9-4602-81E1-CE367ABD79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BB98346F-58FB-4F10-9888-607B07D0B0B7}"/>
              </a:ext>
            </a:extLst>
          </p:cNvPr>
          <p:cNvSpPr>
            <a:spLocks noGrp="1"/>
          </p:cNvSpPr>
          <p:nvPr>
            <p:ph type="title"/>
          </p:nvPr>
        </p:nvSpPr>
        <p:spPr>
          <a:xfrm>
            <a:off x="266700" y="350087"/>
            <a:ext cx="7981950" cy="689476"/>
          </a:xfrm>
        </p:spPr>
        <p:txBody>
          <a:bodyPr>
            <a:noAutofit/>
          </a:bodyPr>
          <a:lstStyle/>
          <a:p>
            <a:r>
              <a:rPr lang="da-DK" sz="2490" b="0">
                <a:solidFill>
                  <a:schemeClr val="tx1"/>
                </a:solidFill>
                <a:latin typeface="Impact" panose="020B0806030902050204" pitchFamily="34" charset="0"/>
              </a:rPr>
              <a:t>3. Løsningen</a:t>
            </a:r>
            <a:br>
              <a:rPr lang="da-DK" sz="2490" b="0">
                <a:solidFill>
                  <a:schemeClr val="tx1"/>
                </a:solidFill>
                <a:latin typeface="Impact" panose="020B0806030902050204" pitchFamily="34" charset="0"/>
              </a:rPr>
            </a:br>
            <a:r>
              <a:rPr lang="da-DK" sz="2490" b="0">
                <a:solidFill>
                  <a:schemeClr val="tx1"/>
                </a:solidFill>
                <a:latin typeface="Impact" panose="020B0806030902050204" pitchFamily="34" charset="0"/>
              </a:rPr>
              <a:t> </a:t>
            </a:r>
          </a:p>
        </p:txBody>
      </p:sp>
      <p:sp>
        <p:nvSpPr>
          <p:cNvPr id="66" name="Content Placeholder 7">
            <a:extLst>
              <a:ext uri="{FF2B5EF4-FFF2-40B4-BE49-F238E27FC236}">
                <a16:creationId xmlns:a16="http://schemas.microsoft.com/office/drawing/2014/main" id="{DE55B332-F34F-4974-9BAB-4682A555A533}"/>
              </a:ext>
            </a:extLst>
          </p:cNvPr>
          <p:cNvSpPr txBox="1">
            <a:spLocks/>
          </p:cNvSpPr>
          <p:nvPr/>
        </p:nvSpPr>
        <p:spPr>
          <a:xfrm>
            <a:off x="6185705" y="1196975"/>
            <a:ext cx="2239157" cy="4377915"/>
          </a:xfrm>
          <a:prstGeom prst="rect">
            <a:avLst/>
          </a:prstGeom>
          <a:solidFill>
            <a:srgbClr val="C3CFCB"/>
          </a:solidFill>
          <a:ln w="635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defPPr>
              <a:defRPr lang="en-US"/>
            </a:defPPr>
            <a:lvl1pPr marL="0" indent="0" algn="l" defTabSz="914400" rtl="0" eaLnBrk="1" latinLnBrk="0" hangingPunct="1">
              <a:lnSpc>
                <a:spcPct val="150000"/>
              </a:lnSpc>
              <a:spcBef>
                <a:spcPts val="0"/>
              </a:spcBef>
              <a:buFont typeface="Arial" panose="020B0604020202020204" pitchFamily="34" charset="0"/>
              <a:buNone/>
              <a:defRPr sz="1100" kern="1200">
                <a:solidFill>
                  <a:srgbClr val="2F363B"/>
                </a:solidFill>
                <a:latin typeface="Verdana" panose="020B0604030504040204" pitchFamily="34" charset="0"/>
                <a:ea typeface="Verdana" panose="020B0604030504040204" pitchFamily="34" charset="0"/>
                <a:cs typeface="Verdana" panose="020B0604030504040204" pitchFamily="34" charset="0"/>
              </a:defRPr>
            </a:lvl1pPr>
            <a:lvl2pPr marL="0" lvl="1" indent="0" algn="l" defTabSz="914400" rtl="0" eaLnBrk="1" latinLnBrk="0" hangingPunct="1">
              <a:lnSpc>
                <a:spcPct val="150000"/>
              </a:lnSpc>
              <a:spcBef>
                <a:spcPts val="0"/>
              </a:spcBef>
              <a:buSzPct val="100000"/>
              <a:buFont typeface="Arial" panose="020B0604020202020204" pitchFamily="34" charset="0"/>
              <a:buChar char="​"/>
              <a:defRPr sz="1100" kern="1200">
                <a:solidFill>
                  <a:srgbClr val="2F363B"/>
                </a:solidFill>
                <a:latin typeface="Arial" panose="020B0604020202020204" pitchFamily="34" charset="0"/>
                <a:ea typeface="Verdana" panose="020B0604030504040204" pitchFamily="34" charset="0"/>
                <a:cs typeface="Verdana" panose="020B0604030504040204" pitchFamily="34" charset="0"/>
              </a:defRPr>
            </a:lvl2pPr>
            <a:lvl3pPr marL="1257300" indent="-342900" algn="l" defTabSz="914400" rtl="0" eaLnBrk="1" latinLnBrk="0" hangingPunct="1">
              <a:lnSpc>
                <a:spcPct val="150000"/>
              </a:lnSpc>
              <a:spcBef>
                <a:spcPts val="0"/>
              </a:spcBef>
              <a:buFont typeface="Courier New" panose="02070309020205020404" pitchFamily="49" charset="0"/>
              <a:buChar char="o"/>
              <a:defRPr sz="1400" kern="1200">
                <a:solidFill>
                  <a:schemeClr val="lt1"/>
                </a:solidFill>
                <a:latin typeface="Verdana" panose="020B0604030504040204" pitchFamily="34" charset="0"/>
                <a:ea typeface="Verdana" panose="020B0604030504040204" pitchFamily="34" charset="0"/>
                <a:cs typeface="Verdana" panose="020B0604030504040204" pitchFamily="34" charset="0"/>
              </a:defRPr>
            </a:lvl3pPr>
            <a:lvl4pPr marL="1714500" indent="-342900" algn="l" defTabSz="914400" rtl="0" eaLnBrk="1" latinLnBrk="0" hangingPunct="1">
              <a:lnSpc>
                <a:spcPct val="150000"/>
              </a:lnSpc>
              <a:spcBef>
                <a:spcPts val="0"/>
              </a:spcBef>
              <a:buFont typeface="Wingdings" panose="05000000000000000000" pitchFamily="2" charset="2"/>
              <a:buChar char="§"/>
              <a:defRPr sz="1300" kern="1200">
                <a:solidFill>
                  <a:schemeClr val="lt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150000"/>
              </a:lnSpc>
              <a:spcBef>
                <a:spcPts val="0"/>
              </a:spcBef>
              <a:buFont typeface="Arial" panose="020B0604020202020204" pitchFamily="34" charset="0"/>
              <a:buChar char="•"/>
              <a:defRPr sz="1100" kern="1200">
                <a:solidFill>
                  <a:schemeClr val="lt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lvl="1">
              <a:lnSpc>
                <a:spcPct val="100000"/>
              </a:lnSpc>
              <a:spcAft>
                <a:spcPts val="300"/>
              </a:spcAft>
              <a:buNone/>
              <a:defRPr/>
            </a:pPr>
            <a:r>
              <a:rPr lang="da-DK" sz="900" b="1" dirty="0">
                <a:solidFill>
                  <a:schemeClr val="tx1"/>
                </a:solidFill>
                <a:latin typeface="+mj-lt"/>
                <a:ea typeface="Verdana"/>
                <a:cs typeface="Verdana"/>
              </a:rPr>
              <a:t>Spørgsmål, som ønskes besvaret af leverandøren: </a:t>
            </a:r>
            <a:endParaRPr lang="da-DK" sz="900" b="1" dirty="0">
              <a:solidFill>
                <a:schemeClr val="tx1"/>
              </a:solidFill>
              <a:latin typeface="+mj-lt"/>
            </a:endParaRPr>
          </a:p>
          <a:p>
            <a:pPr lvl="1">
              <a:lnSpc>
                <a:spcPct val="100000"/>
              </a:lnSpc>
              <a:spcBef>
                <a:spcPts val="600"/>
              </a:spcBef>
              <a:spcAft>
                <a:spcPts val="300"/>
              </a:spcAft>
              <a:buNone/>
              <a:defRPr/>
            </a:pPr>
            <a:r>
              <a:rPr lang="da-DK" sz="900" b="1" dirty="0">
                <a:solidFill>
                  <a:schemeClr val="tx1"/>
                </a:solidFill>
                <a:latin typeface="+mj-lt"/>
                <a:ea typeface="Verdana"/>
                <a:cs typeface="Verdana"/>
              </a:rPr>
              <a:t>3.3.a: Kapacitet</a:t>
            </a:r>
            <a:endParaRPr lang="da-DK" sz="900" dirty="0">
              <a:solidFill>
                <a:schemeClr val="tx1"/>
              </a:solidFill>
              <a:latin typeface="+mj-lt"/>
              <a:ea typeface="Verdana"/>
              <a:cs typeface="Verdana"/>
            </a:endParaRPr>
          </a:p>
          <a:p>
            <a:pPr lvl="1">
              <a:lnSpc>
                <a:spcPct val="100000"/>
              </a:lnSpc>
              <a:spcAft>
                <a:spcPts val="300"/>
              </a:spcAft>
              <a:buNone/>
              <a:defRPr/>
            </a:pPr>
            <a:r>
              <a:rPr lang="da-DK" sz="900" dirty="0">
                <a:solidFill>
                  <a:schemeClr val="tx1"/>
                </a:solidFill>
                <a:latin typeface="+mj-lt"/>
                <a:ea typeface="Verdana"/>
                <a:cs typeface="Arial"/>
              </a:rPr>
              <a:t>Leverandøren bedes kort redegøre for sine overvejelser i forhold til, hvordan Økonomistyrelsen under en ny kontrakt bedst muligt sikrer sig god adgang til hurtig fejlretning samt udvikling og implementering af ny funktionalitet hos en kommende leverandør.</a:t>
            </a:r>
          </a:p>
          <a:p>
            <a:pPr lvl="1">
              <a:lnSpc>
                <a:spcPct val="100000"/>
              </a:lnSpc>
              <a:spcAft>
                <a:spcPts val="300"/>
              </a:spcAft>
              <a:buNone/>
              <a:defRPr/>
            </a:pPr>
            <a:endParaRPr lang="da-DK" sz="900" dirty="0">
              <a:solidFill>
                <a:schemeClr val="tx1"/>
              </a:solidFill>
              <a:latin typeface="+mj-lt"/>
              <a:ea typeface="Verdana"/>
              <a:cs typeface="Arial"/>
            </a:endParaRPr>
          </a:p>
          <a:p>
            <a:pPr lvl="1">
              <a:lnSpc>
                <a:spcPct val="100000"/>
              </a:lnSpc>
              <a:spcAft>
                <a:spcPts val="300"/>
              </a:spcAft>
              <a:buNone/>
              <a:defRPr/>
            </a:pPr>
            <a:r>
              <a:rPr lang="da-DK" sz="900" b="1" dirty="0">
                <a:solidFill>
                  <a:schemeClr val="tx1"/>
                </a:solidFill>
                <a:latin typeface="+mj-lt"/>
                <a:ea typeface="Verdana"/>
                <a:cs typeface="Arial"/>
              </a:rPr>
              <a:t>3.3.b: Samarbejdsprocesser</a:t>
            </a:r>
          </a:p>
          <a:p>
            <a:pPr lvl="1">
              <a:lnSpc>
                <a:spcPct val="100000"/>
              </a:lnSpc>
              <a:spcAft>
                <a:spcPts val="300"/>
              </a:spcAft>
              <a:buNone/>
              <a:defRPr/>
            </a:pPr>
            <a:r>
              <a:rPr lang="da-DK" sz="900" dirty="0">
                <a:solidFill>
                  <a:schemeClr val="tx1"/>
                </a:solidFill>
                <a:latin typeface="+mj-lt"/>
                <a:ea typeface="Verdana"/>
                <a:cs typeface="Arial"/>
              </a:rPr>
              <a:t>Leverandøren bedes kort redegøre for, hvordan leverandøren internt og mellem fx leverandørens </a:t>
            </a:r>
            <a:r>
              <a:rPr lang="da-DK" sz="900" dirty="0" err="1">
                <a:solidFill>
                  <a:schemeClr val="tx1"/>
                </a:solidFill>
                <a:latin typeface="+mj-lt"/>
                <a:ea typeface="Verdana"/>
                <a:cs typeface="Arial"/>
              </a:rPr>
              <a:t>konsortiumpartnere</a:t>
            </a:r>
            <a:r>
              <a:rPr lang="da-DK" sz="900" dirty="0">
                <a:solidFill>
                  <a:schemeClr val="tx1"/>
                </a:solidFill>
                <a:latin typeface="+mj-lt"/>
                <a:ea typeface="Verdana"/>
                <a:cs typeface="Arial"/>
              </a:rPr>
              <a:t> eller underleverandører sikrer, at kundens ændringsønsker prioriteres og koordineres optimalt, og hvilke samarbejds- og ændringsprocesser og krav Økonomistyrelsen bør fastlægge for at etablere fundamentet for et godt tværgående </a:t>
            </a:r>
            <a:r>
              <a:rPr lang="da-DK" sz="900" dirty="0" smtClean="0">
                <a:solidFill>
                  <a:schemeClr val="tx1"/>
                </a:solidFill>
                <a:latin typeface="+mj-lt"/>
                <a:ea typeface="Verdana"/>
                <a:cs typeface="Arial"/>
              </a:rPr>
              <a:t>samarbejde.</a:t>
            </a:r>
            <a:endParaRPr lang="da-DK" sz="900" dirty="0">
              <a:solidFill>
                <a:schemeClr val="tx1"/>
              </a:solidFill>
              <a:latin typeface="+mj-lt"/>
              <a:ea typeface="Verdana"/>
              <a:cs typeface="Arial"/>
            </a:endParaRPr>
          </a:p>
          <a:p>
            <a:pPr lvl="1">
              <a:lnSpc>
                <a:spcPct val="100000"/>
              </a:lnSpc>
              <a:spcAft>
                <a:spcPts val="300"/>
              </a:spcAft>
              <a:buNone/>
              <a:defRPr/>
            </a:pPr>
            <a:endParaRPr lang="da-DK" sz="900" dirty="0">
              <a:solidFill>
                <a:schemeClr val="tx1"/>
              </a:solidFill>
              <a:latin typeface="+mj-lt"/>
            </a:endParaRPr>
          </a:p>
        </p:txBody>
      </p:sp>
      <p:sp>
        <p:nvSpPr>
          <p:cNvPr id="19" name="Content Placeholder 7">
            <a:extLst>
              <a:ext uri="{FF2B5EF4-FFF2-40B4-BE49-F238E27FC236}">
                <a16:creationId xmlns:a16="http://schemas.microsoft.com/office/drawing/2014/main" id="{3B715D06-9EA4-4169-8BA2-D34D128A7C49}"/>
              </a:ext>
            </a:extLst>
          </p:cNvPr>
          <p:cNvSpPr txBox="1">
            <a:spLocks/>
          </p:cNvSpPr>
          <p:nvPr/>
        </p:nvSpPr>
        <p:spPr>
          <a:xfrm>
            <a:off x="1341438" y="2056959"/>
            <a:ext cx="3970791" cy="184666"/>
          </a:xfrm>
          <a:prstGeom prst="rect">
            <a:avLst/>
          </a:prstGeom>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da-DK" sz="1200" b="1">
                <a:latin typeface="+mj-lt"/>
              </a:rPr>
              <a:t>3.3 Fejlretning, udvikling og Implementering</a:t>
            </a:r>
          </a:p>
        </p:txBody>
      </p:sp>
      <p:grpSp>
        <p:nvGrpSpPr>
          <p:cNvPr id="20" name="Group 19">
            <a:extLst>
              <a:ext uri="{FF2B5EF4-FFF2-40B4-BE49-F238E27FC236}">
                <a16:creationId xmlns:a16="http://schemas.microsoft.com/office/drawing/2014/main" id="{A8C36117-EFCB-4D94-8B82-435F41EA6836}"/>
              </a:ext>
            </a:extLst>
          </p:cNvPr>
          <p:cNvGrpSpPr/>
          <p:nvPr/>
        </p:nvGrpSpPr>
        <p:grpSpPr>
          <a:xfrm>
            <a:off x="728663" y="1854810"/>
            <a:ext cx="603250" cy="531813"/>
            <a:chOff x="7947943" y="1318011"/>
            <a:chExt cx="603250" cy="531813"/>
          </a:xfrm>
        </p:grpSpPr>
        <p:sp>
          <p:nvSpPr>
            <p:cNvPr id="21" name="Oval 85">
              <a:extLst>
                <a:ext uri="{FF2B5EF4-FFF2-40B4-BE49-F238E27FC236}">
                  <a16:creationId xmlns:a16="http://schemas.microsoft.com/office/drawing/2014/main" id="{0984FC1F-1F99-4CCD-A0C4-29DC4373C489}"/>
                </a:ext>
              </a:extLst>
            </p:cNvPr>
            <p:cNvSpPr>
              <a:spLocks noChangeArrowheads="1"/>
            </p:cNvSpPr>
            <p:nvPr/>
          </p:nvSpPr>
          <p:spPr bwMode="auto">
            <a:xfrm>
              <a:off x="7947943" y="1484699"/>
              <a:ext cx="369888" cy="365125"/>
            </a:xfrm>
            <a:prstGeom prst="ellipse">
              <a:avLst/>
            </a:pr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22" name="Group 21">
              <a:extLst>
                <a:ext uri="{FF2B5EF4-FFF2-40B4-BE49-F238E27FC236}">
                  <a16:creationId xmlns:a16="http://schemas.microsoft.com/office/drawing/2014/main" id="{C8C11807-EE1A-4739-85D2-00CFE9B62BBA}"/>
                </a:ext>
              </a:extLst>
            </p:cNvPr>
            <p:cNvGrpSpPr/>
            <p:nvPr/>
          </p:nvGrpSpPr>
          <p:grpSpPr>
            <a:xfrm>
              <a:off x="8033668" y="1318011"/>
              <a:ext cx="517525" cy="509588"/>
              <a:chOff x="8033668" y="1318011"/>
              <a:chExt cx="517525" cy="509588"/>
            </a:xfrm>
          </p:grpSpPr>
          <p:sp>
            <p:nvSpPr>
              <p:cNvPr id="23" name="Freeform 86">
                <a:extLst>
                  <a:ext uri="{FF2B5EF4-FFF2-40B4-BE49-F238E27FC236}">
                    <a16:creationId xmlns:a16="http://schemas.microsoft.com/office/drawing/2014/main" id="{3CEA6BE8-6A59-4D4F-BAB3-375FB2275E99}"/>
                  </a:ext>
                </a:extLst>
              </p:cNvPr>
              <p:cNvSpPr>
                <a:spLocks/>
              </p:cNvSpPr>
              <p:nvPr/>
            </p:nvSpPr>
            <p:spPr bwMode="auto">
              <a:xfrm>
                <a:off x="8033668" y="1506924"/>
                <a:ext cx="320675" cy="320675"/>
              </a:xfrm>
              <a:custGeom>
                <a:avLst/>
                <a:gdLst>
                  <a:gd name="T0" fmla="*/ 68 w 71"/>
                  <a:gd name="T1" fmla="*/ 53 h 71"/>
                  <a:gd name="T2" fmla="*/ 71 w 71"/>
                  <a:gd name="T3" fmla="*/ 46 h 71"/>
                  <a:gd name="T4" fmla="*/ 64 w 71"/>
                  <a:gd name="T5" fmla="*/ 35 h 71"/>
                  <a:gd name="T6" fmla="*/ 71 w 71"/>
                  <a:gd name="T7" fmla="*/ 25 h 71"/>
                  <a:gd name="T8" fmla="*/ 68 w 71"/>
                  <a:gd name="T9" fmla="*/ 18 h 71"/>
                  <a:gd name="T10" fmla="*/ 57 w 71"/>
                  <a:gd name="T11" fmla="*/ 14 h 71"/>
                  <a:gd name="T12" fmla="*/ 54 w 71"/>
                  <a:gd name="T13" fmla="*/ 3 h 71"/>
                  <a:gd name="T14" fmla="*/ 47 w 71"/>
                  <a:gd name="T15" fmla="*/ 0 h 71"/>
                  <a:gd name="T16" fmla="*/ 36 w 71"/>
                  <a:gd name="T17" fmla="*/ 7 h 71"/>
                  <a:gd name="T18" fmla="*/ 24 w 71"/>
                  <a:gd name="T19" fmla="*/ 0 h 71"/>
                  <a:gd name="T20" fmla="*/ 17 w 71"/>
                  <a:gd name="T21" fmla="*/ 3 h 71"/>
                  <a:gd name="T22" fmla="*/ 14 w 71"/>
                  <a:gd name="T23" fmla="*/ 14 h 71"/>
                  <a:gd name="T24" fmla="*/ 3 w 71"/>
                  <a:gd name="T25" fmla="*/ 18 h 71"/>
                  <a:gd name="T26" fmla="*/ 0 w 71"/>
                  <a:gd name="T27" fmla="*/ 25 h 71"/>
                  <a:gd name="T28" fmla="*/ 7 w 71"/>
                  <a:gd name="T29" fmla="*/ 35 h 71"/>
                  <a:gd name="T30" fmla="*/ 0 w 71"/>
                  <a:gd name="T31" fmla="*/ 46 h 71"/>
                  <a:gd name="T32" fmla="*/ 3 w 71"/>
                  <a:gd name="T33" fmla="*/ 53 h 71"/>
                  <a:gd name="T34" fmla="*/ 14 w 71"/>
                  <a:gd name="T35" fmla="*/ 56 h 71"/>
                  <a:gd name="T36" fmla="*/ 17 w 71"/>
                  <a:gd name="T37" fmla="*/ 68 h 71"/>
                  <a:gd name="T38" fmla="*/ 24 w 71"/>
                  <a:gd name="T39" fmla="*/ 71 h 71"/>
                  <a:gd name="T40" fmla="*/ 36 w 71"/>
                  <a:gd name="T41" fmla="*/ 64 h 71"/>
                  <a:gd name="T42" fmla="*/ 47 w 71"/>
                  <a:gd name="T43" fmla="*/ 71 h 71"/>
                  <a:gd name="T44" fmla="*/ 54 w 71"/>
                  <a:gd name="T45" fmla="*/ 68 h 71"/>
                  <a:gd name="T46" fmla="*/ 57 w 71"/>
                  <a:gd name="T47" fmla="*/ 5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71">
                    <a:moveTo>
                      <a:pt x="68" y="53"/>
                    </a:moveTo>
                    <a:cubicBezTo>
                      <a:pt x="69" y="50"/>
                      <a:pt x="70" y="48"/>
                      <a:pt x="71" y="46"/>
                    </a:cubicBezTo>
                    <a:cubicBezTo>
                      <a:pt x="67" y="43"/>
                      <a:pt x="64" y="40"/>
                      <a:pt x="64" y="35"/>
                    </a:cubicBezTo>
                    <a:cubicBezTo>
                      <a:pt x="64" y="31"/>
                      <a:pt x="67" y="27"/>
                      <a:pt x="71" y="25"/>
                    </a:cubicBezTo>
                    <a:cubicBezTo>
                      <a:pt x="70" y="23"/>
                      <a:pt x="69" y="20"/>
                      <a:pt x="68" y="18"/>
                    </a:cubicBezTo>
                    <a:cubicBezTo>
                      <a:pt x="63" y="19"/>
                      <a:pt x="60" y="17"/>
                      <a:pt x="57" y="14"/>
                    </a:cubicBezTo>
                    <a:cubicBezTo>
                      <a:pt x="53" y="11"/>
                      <a:pt x="52" y="7"/>
                      <a:pt x="54" y="3"/>
                    </a:cubicBezTo>
                    <a:cubicBezTo>
                      <a:pt x="51" y="2"/>
                      <a:pt x="49" y="1"/>
                      <a:pt x="47" y="0"/>
                    </a:cubicBezTo>
                    <a:cubicBezTo>
                      <a:pt x="44" y="4"/>
                      <a:pt x="40" y="7"/>
                      <a:pt x="36" y="7"/>
                    </a:cubicBezTo>
                    <a:cubicBezTo>
                      <a:pt x="31" y="7"/>
                      <a:pt x="27" y="4"/>
                      <a:pt x="24" y="0"/>
                    </a:cubicBezTo>
                    <a:cubicBezTo>
                      <a:pt x="22" y="1"/>
                      <a:pt x="20" y="2"/>
                      <a:pt x="17" y="3"/>
                    </a:cubicBezTo>
                    <a:cubicBezTo>
                      <a:pt x="19" y="7"/>
                      <a:pt x="18" y="11"/>
                      <a:pt x="14" y="14"/>
                    </a:cubicBezTo>
                    <a:cubicBezTo>
                      <a:pt x="11" y="17"/>
                      <a:pt x="8" y="19"/>
                      <a:pt x="3" y="18"/>
                    </a:cubicBezTo>
                    <a:cubicBezTo>
                      <a:pt x="2" y="20"/>
                      <a:pt x="1" y="23"/>
                      <a:pt x="0" y="25"/>
                    </a:cubicBezTo>
                    <a:cubicBezTo>
                      <a:pt x="4" y="27"/>
                      <a:pt x="7" y="31"/>
                      <a:pt x="7" y="35"/>
                    </a:cubicBezTo>
                    <a:cubicBezTo>
                      <a:pt x="7" y="40"/>
                      <a:pt x="4" y="44"/>
                      <a:pt x="0" y="46"/>
                    </a:cubicBezTo>
                    <a:cubicBezTo>
                      <a:pt x="1" y="49"/>
                      <a:pt x="2" y="51"/>
                      <a:pt x="3" y="53"/>
                    </a:cubicBezTo>
                    <a:cubicBezTo>
                      <a:pt x="8" y="52"/>
                      <a:pt x="11" y="53"/>
                      <a:pt x="14" y="56"/>
                    </a:cubicBezTo>
                    <a:cubicBezTo>
                      <a:pt x="18" y="59"/>
                      <a:pt x="19" y="63"/>
                      <a:pt x="17" y="68"/>
                    </a:cubicBezTo>
                    <a:cubicBezTo>
                      <a:pt x="20" y="69"/>
                      <a:pt x="22" y="70"/>
                      <a:pt x="24" y="71"/>
                    </a:cubicBezTo>
                    <a:cubicBezTo>
                      <a:pt x="27" y="67"/>
                      <a:pt x="31" y="64"/>
                      <a:pt x="36" y="64"/>
                    </a:cubicBezTo>
                    <a:cubicBezTo>
                      <a:pt x="40" y="64"/>
                      <a:pt x="44" y="67"/>
                      <a:pt x="47" y="71"/>
                    </a:cubicBezTo>
                    <a:cubicBezTo>
                      <a:pt x="49" y="70"/>
                      <a:pt x="51" y="69"/>
                      <a:pt x="54" y="68"/>
                    </a:cubicBezTo>
                    <a:cubicBezTo>
                      <a:pt x="53" y="63"/>
                      <a:pt x="53" y="59"/>
                      <a:pt x="57" y="56"/>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4" name="Oval 87">
                <a:extLst>
                  <a:ext uri="{FF2B5EF4-FFF2-40B4-BE49-F238E27FC236}">
                    <a16:creationId xmlns:a16="http://schemas.microsoft.com/office/drawing/2014/main" id="{5ED3AA5D-8932-4E9B-80DC-936019A71CAA}"/>
                  </a:ext>
                </a:extLst>
              </p:cNvPr>
              <p:cNvSpPr>
                <a:spLocks noChangeArrowheads="1"/>
              </p:cNvSpPr>
              <p:nvPr/>
            </p:nvSpPr>
            <p:spPr bwMode="auto">
              <a:xfrm>
                <a:off x="8119393" y="1589474"/>
                <a:ext cx="153988" cy="152400"/>
              </a:xfrm>
              <a:prstGeom prst="ellipse">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5" name="Freeform 88">
                <a:extLst>
                  <a:ext uri="{FF2B5EF4-FFF2-40B4-BE49-F238E27FC236}">
                    <a16:creationId xmlns:a16="http://schemas.microsoft.com/office/drawing/2014/main" id="{D9792C80-01D8-47C2-B6BE-EE7E2693B42E}"/>
                  </a:ext>
                </a:extLst>
              </p:cNvPr>
              <p:cNvSpPr>
                <a:spLocks noEditPoints="1"/>
              </p:cNvSpPr>
              <p:nvPr/>
            </p:nvSpPr>
            <p:spPr bwMode="auto">
              <a:xfrm>
                <a:off x="8295605" y="1359286"/>
                <a:ext cx="206375" cy="198438"/>
              </a:xfrm>
              <a:custGeom>
                <a:avLst/>
                <a:gdLst>
                  <a:gd name="T0" fmla="*/ 36 w 46"/>
                  <a:gd name="T1" fmla="*/ 42 h 44"/>
                  <a:gd name="T2" fmla="*/ 36 w 46"/>
                  <a:gd name="T3" fmla="*/ 35 h 44"/>
                  <a:gd name="T4" fmla="*/ 42 w 46"/>
                  <a:gd name="T5" fmla="*/ 35 h 44"/>
                  <a:gd name="T6" fmla="*/ 42 w 46"/>
                  <a:gd name="T7" fmla="*/ 35 h 44"/>
                  <a:gd name="T8" fmla="*/ 45 w 46"/>
                  <a:gd name="T9" fmla="*/ 28 h 44"/>
                  <a:gd name="T10" fmla="*/ 46 w 46"/>
                  <a:gd name="T11" fmla="*/ 21 h 44"/>
                  <a:gd name="T12" fmla="*/ 40 w 46"/>
                  <a:gd name="T13" fmla="*/ 18 h 44"/>
                  <a:gd name="T14" fmla="*/ 43 w 46"/>
                  <a:gd name="T15" fmla="*/ 12 h 44"/>
                  <a:gd name="T16" fmla="*/ 33 w 46"/>
                  <a:gd name="T17" fmla="*/ 2 h 44"/>
                  <a:gd name="T18" fmla="*/ 27 w 46"/>
                  <a:gd name="T19" fmla="*/ 5 h 44"/>
                  <a:gd name="T20" fmla="*/ 23 w 46"/>
                  <a:gd name="T21" fmla="*/ 0 h 44"/>
                  <a:gd name="T22" fmla="*/ 10 w 46"/>
                  <a:gd name="T23" fmla="*/ 4 h 44"/>
                  <a:gd name="T24" fmla="*/ 10 w 46"/>
                  <a:gd name="T25" fmla="*/ 10 h 44"/>
                  <a:gd name="T26" fmla="*/ 3 w 46"/>
                  <a:gd name="T27" fmla="*/ 11 h 44"/>
                  <a:gd name="T28" fmla="*/ 0 w 46"/>
                  <a:gd name="T29" fmla="*/ 18 h 44"/>
                  <a:gd name="T30" fmla="*/ 0 w 46"/>
                  <a:gd name="T31" fmla="*/ 25 h 44"/>
                  <a:gd name="T32" fmla="*/ 5 w 46"/>
                  <a:gd name="T33" fmla="*/ 28 h 44"/>
                  <a:gd name="T34" fmla="*/ 3 w 46"/>
                  <a:gd name="T35" fmla="*/ 34 h 44"/>
                  <a:gd name="T36" fmla="*/ 13 w 46"/>
                  <a:gd name="T37" fmla="*/ 44 h 44"/>
                  <a:gd name="T38" fmla="*/ 19 w 46"/>
                  <a:gd name="T39" fmla="*/ 40 h 44"/>
                  <a:gd name="T40" fmla="*/ 21 w 46"/>
                  <a:gd name="T41" fmla="*/ 29 h 44"/>
                  <a:gd name="T42" fmla="*/ 16 w 46"/>
                  <a:gd name="T43" fmla="*/ 21 h 44"/>
                  <a:gd name="T44" fmla="*/ 24 w 46"/>
                  <a:gd name="T45" fmla="*/ 16 h 44"/>
                  <a:gd name="T46" fmla="*/ 29 w 46"/>
                  <a:gd name="T47" fmla="*/ 24 h 44"/>
                  <a:gd name="T48" fmla="*/ 21 w 46"/>
                  <a:gd name="T49"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4">
                    <a:moveTo>
                      <a:pt x="36" y="42"/>
                    </a:moveTo>
                    <a:cubicBezTo>
                      <a:pt x="34" y="40"/>
                      <a:pt x="34" y="37"/>
                      <a:pt x="36" y="35"/>
                    </a:cubicBezTo>
                    <a:cubicBezTo>
                      <a:pt x="38" y="33"/>
                      <a:pt x="40" y="33"/>
                      <a:pt x="42" y="35"/>
                    </a:cubicBezTo>
                    <a:moveTo>
                      <a:pt x="42" y="35"/>
                    </a:moveTo>
                    <a:cubicBezTo>
                      <a:pt x="44" y="33"/>
                      <a:pt x="45" y="30"/>
                      <a:pt x="45" y="28"/>
                    </a:cubicBezTo>
                    <a:cubicBezTo>
                      <a:pt x="46" y="26"/>
                      <a:pt x="46" y="23"/>
                      <a:pt x="46" y="21"/>
                    </a:cubicBezTo>
                    <a:cubicBezTo>
                      <a:pt x="43" y="21"/>
                      <a:pt x="41" y="20"/>
                      <a:pt x="40" y="18"/>
                    </a:cubicBezTo>
                    <a:cubicBezTo>
                      <a:pt x="39" y="15"/>
                      <a:pt x="41" y="13"/>
                      <a:pt x="43" y="12"/>
                    </a:cubicBezTo>
                    <a:cubicBezTo>
                      <a:pt x="41" y="8"/>
                      <a:pt x="37" y="4"/>
                      <a:pt x="33" y="2"/>
                    </a:cubicBezTo>
                    <a:cubicBezTo>
                      <a:pt x="32" y="4"/>
                      <a:pt x="29" y="6"/>
                      <a:pt x="27" y="5"/>
                    </a:cubicBezTo>
                    <a:cubicBezTo>
                      <a:pt x="24" y="5"/>
                      <a:pt x="23" y="2"/>
                      <a:pt x="23" y="0"/>
                    </a:cubicBezTo>
                    <a:cubicBezTo>
                      <a:pt x="18" y="0"/>
                      <a:pt x="14" y="1"/>
                      <a:pt x="10" y="4"/>
                    </a:cubicBezTo>
                    <a:cubicBezTo>
                      <a:pt x="11" y="6"/>
                      <a:pt x="11" y="9"/>
                      <a:pt x="10" y="10"/>
                    </a:cubicBezTo>
                    <a:cubicBezTo>
                      <a:pt x="8" y="12"/>
                      <a:pt x="5" y="12"/>
                      <a:pt x="3" y="11"/>
                    </a:cubicBezTo>
                    <a:cubicBezTo>
                      <a:pt x="2" y="13"/>
                      <a:pt x="1" y="15"/>
                      <a:pt x="0" y="18"/>
                    </a:cubicBezTo>
                    <a:cubicBezTo>
                      <a:pt x="0" y="20"/>
                      <a:pt x="0" y="22"/>
                      <a:pt x="0" y="25"/>
                    </a:cubicBezTo>
                    <a:cubicBezTo>
                      <a:pt x="2" y="24"/>
                      <a:pt x="5" y="26"/>
                      <a:pt x="5" y="28"/>
                    </a:cubicBezTo>
                    <a:cubicBezTo>
                      <a:pt x="6" y="30"/>
                      <a:pt x="5" y="33"/>
                      <a:pt x="3" y="34"/>
                    </a:cubicBezTo>
                    <a:cubicBezTo>
                      <a:pt x="5" y="38"/>
                      <a:pt x="8" y="41"/>
                      <a:pt x="13" y="44"/>
                    </a:cubicBezTo>
                    <a:cubicBezTo>
                      <a:pt x="14" y="41"/>
                      <a:pt x="16" y="40"/>
                      <a:pt x="19" y="40"/>
                    </a:cubicBezTo>
                    <a:moveTo>
                      <a:pt x="21" y="29"/>
                    </a:moveTo>
                    <a:cubicBezTo>
                      <a:pt x="18" y="28"/>
                      <a:pt x="15" y="25"/>
                      <a:pt x="16" y="21"/>
                    </a:cubicBezTo>
                    <a:cubicBezTo>
                      <a:pt x="17" y="18"/>
                      <a:pt x="21" y="15"/>
                      <a:pt x="24" y="16"/>
                    </a:cubicBezTo>
                    <a:cubicBezTo>
                      <a:pt x="28" y="17"/>
                      <a:pt x="30" y="21"/>
                      <a:pt x="29" y="24"/>
                    </a:cubicBezTo>
                    <a:cubicBezTo>
                      <a:pt x="28" y="28"/>
                      <a:pt x="25" y="30"/>
                      <a:pt x="21" y="29"/>
                    </a:cubicBezTo>
                    <a:close/>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6" name="Freeform 89">
                <a:extLst>
                  <a:ext uri="{FF2B5EF4-FFF2-40B4-BE49-F238E27FC236}">
                    <a16:creationId xmlns:a16="http://schemas.microsoft.com/office/drawing/2014/main" id="{F7E7BD5C-BE9B-4A60-8577-DB8E786FD171}"/>
                  </a:ext>
                </a:extLst>
              </p:cNvPr>
              <p:cNvSpPr>
                <a:spLocks/>
              </p:cNvSpPr>
              <p:nvPr/>
            </p:nvSpPr>
            <p:spPr bwMode="auto">
              <a:xfrm>
                <a:off x="8276555" y="1318011"/>
                <a:ext cx="41275" cy="41275"/>
              </a:xfrm>
              <a:custGeom>
                <a:avLst/>
                <a:gdLst>
                  <a:gd name="T0" fmla="*/ 0 w 26"/>
                  <a:gd name="T1" fmla="*/ 0 h 26"/>
                  <a:gd name="T2" fmla="*/ 26 w 26"/>
                  <a:gd name="T3" fmla="*/ 0 h 26"/>
                  <a:gd name="T4" fmla="*/ 23 w 26"/>
                  <a:gd name="T5" fmla="*/ 26 h 26"/>
                </a:gdLst>
                <a:ahLst/>
                <a:cxnLst>
                  <a:cxn ang="0">
                    <a:pos x="T0" y="T1"/>
                  </a:cxn>
                  <a:cxn ang="0">
                    <a:pos x="T2" y="T3"/>
                  </a:cxn>
                  <a:cxn ang="0">
                    <a:pos x="T4" y="T5"/>
                  </a:cxn>
                </a:cxnLst>
                <a:rect l="0" t="0" r="r" b="b"/>
                <a:pathLst>
                  <a:path w="26" h="26">
                    <a:moveTo>
                      <a:pt x="0" y="0"/>
                    </a:moveTo>
                    <a:lnTo>
                      <a:pt x="26" y="0"/>
                    </a:lnTo>
                    <a:lnTo>
                      <a:pt x="23" y="2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7" name="Freeform 90">
                <a:extLst>
                  <a:ext uri="{FF2B5EF4-FFF2-40B4-BE49-F238E27FC236}">
                    <a16:creationId xmlns:a16="http://schemas.microsoft.com/office/drawing/2014/main" id="{86461144-092F-4027-B3CF-31526AA9659E}"/>
                  </a:ext>
                </a:extLst>
              </p:cNvPr>
              <p:cNvSpPr>
                <a:spLocks/>
              </p:cNvSpPr>
              <p:nvPr/>
            </p:nvSpPr>
            <p:spPr bwMode="auto">
              <a:xfrm>
                <a:off x="8443243" y="1579949"/>
                <a:ext cx="41275" cy="49213"/>
              </a:xfrm>
              <a:custGeom>
                <a:avLst/>
                <a:gdLst>
                  <a:gd name="T0" fmla="*/ 26 w 26"/>
                  <a:gd name="T1" fmla="*/ 31 h 31"/>
                  <a:gd name="T2" fmla="*/ 0 w 26"/>
                  <a:gd name="T3" fmla="*/ 25 h 31"/>
                  <a:gd name="T4" fmla="*/ 6 w 26"/>
                  <a:gd name="T5" fmla="*/ 0 h 31"/>
                </a:gdLst>
                <a:ahLst/>
                <a:cxnLst>
                  <a:cxn ang="0">
                    <a:pos x="T0" y="T1"/>
                  </a:cxn>
                  <a:cxn ang="0">
                    <a:pos x="T2" y="T3"/>
                  </a:cxn>
                  <a:cxn ang="0">
                    <a:pos x="T4" y="T5"/>
                  </a:cxn>
                </a:cxnLst>
                <a:rect l="0" t="0" r="r" b="b"/>
                <a:pathLst>
                  <a:path w="26" h="31">
                    <a:moveTo>
                      <a:pt x="26" y="31"/>
                    </a:moveTo>
                    <a:lnTo>
                      <a:pt x="0" y="25"/>
                    </a:lnTo>
                    <a:lnTo>
                      <a:pt x="6"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8" name="Line 91">
                <a:extLst>
                  <a:ext uri="{FF2B5EF4-FFF2-40B4-BE49-F238E27FC236}">
                    <a16:creationId xmlns:a16="http://schemas.microsoft.com/office/drawing/2014/main" id="{7BB2AAD5-61B6-4E9B-87D5-63E761A194EB}"/>
                  </a:ext>
                </a:extLst>
              </p:cNvPr>
              <p:cNvSpPr>
                <a:spLocks noChangeShapeType="1"/>
              </p:cNvSpPr>
              <p:nvPr/>
            </p:nvSpPr>
            <p:spPr bwMode="auto">
              <a:xfrm>
                <a:off x="8448005" y="1616461"/>
                <a:ext cx="0"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9" name="Freeform 92">
                <a:extLst>
                  <a:ext uri="{FF2B5EF4-FFF2-40B4-BE49-F238E27FC236}">
                    <a16:creationId xmlns:a16="http://schemas.microsoft.com/office/drawing/2014/main" id="{05BB114D-0008-4A4C-A7FE-8EA6A91EFB8F}"/>
                  </a:ext>
                </a:extLst>
              </p:cNvPr>
              <p:cNvSpPr>
                <a:spLocks/>
              </p:cNvSpPr>
              <p:nvPr/>
            </p:nvSpPr>
            <p:spPr bwMode="auto">
              <a:xfrm>
                <a:off x="8448005" y="1503749"/>
                <a:ext cx="103188" cy="112713"/>
              </a:xfrm>
              <a:custGeom>
                <a:avLst/>
                <a:gdLst>
                  <a:gd name="T0" fmla="*/ 23 w 23"/>
                  <a:gd name="T1" fmla="*/ 0 h 25"/>
                  <a:gd name="T2" fmla="*/ 0 w 23"/>
                  <a:gd name="T3" fmla="*/ 25 h 25"/>
                </a:gdLst>
                <a:ahLst/>
                <a:cxnLst>
                  <a:cxn ang="0">
                    <a:pos x="T0" y="T1"/>
                  </a:cxn>
                  <a:cxn ang="0">
                    <a:pos x="T2" y="T3"/>
                  </a:cxn>
                </a:cxnLst>
                <a:rect l="0" t="0" r="r" b="b"/>
                <a:pathLst>
                  <a:path w="23" h="25">
                    <a:moveTo>
                      <a:pt x="23" y="0"/>
                    </a:moveTo>
                    <a:cubicBezTo>
                      <a:pt x="20" y="12"/>
                      <a:pt x="11" y="21"/>
                      <a:pt x="0" y="25"/>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0" name="Freeform 93">
                <a:extLst>
                  <a:ext uri="{FF2B5EF4-FFF2-40B4-BE49-F238E27FC236}">
                    <a16:creationId xmlns:a16="http://schemas.microsoft.com/office/drawing/2014/main" id="{F556C690-AEFA-4743-8A30-85BFE9A8770D}"/>
                  </a:ext>
                </a:extLst>
              </p:cNvPr>
              <p:cNvSpPr>
                <a:spLocks/>
              </p:cNvSpPr>
              <p:nvPr/>
            </p:nvSpPr>
            <p:spPr bwMode="auto">
              <a:xfrm>
                <a:off x="8236868" y="1327536"/>
                <a:ext cx="71438" cy="112713"/>
              </a:xfrm>
              <a:custGeom>
                <a:avLst/>
                <a:gdLst>
                  <a:gd name="T0" fmla="*/ 0 w 16"/>
                  <a:gd name="T1" fmla="*/ 25 h 25"/>
                  <a:gd name="T2" fmla="*/ 0 w 16"/>
                  <a:gd name="T3" fmla="*/ 25 h 25"/>
                  <a:gd name="T4" fmla="*/ 0 w 16"/>
                  <a:gd name="T5" fmla="*/ 25 h 25"/>
                  <a:gd name="T6" fmla="*/ 1 w 16"/>
                  <a:gd name="T7" fmla="*/ 22 h 25"/>
                  <a:gd name="T8" fmla="*/ 16 w 16"/>
                  <a:gd name="T9" fmla="*/ 0 h 25"/>
                </a:gdLst>
                <a:ahLst/>
                <a:cxnLst>
                  <a:cxn ang="0">
                    <a:pos x="T0" y="T1"/>
                  </a:cxn>
                  <a:cxn ang="0">
                    <a:pos x="T2" y="T3"/>
                  </a:cxn>
                  <a:cxn ang="0">
                    <a:pos x="T4" y="T5"/>
                  </a:cxn>
                  <a:cxn ang="0">
                    <a:pos x="T6" y="T7"/>
                  </a:cxn>
                  <a:cxn ang="0">
                    <a:pos x="T8" y="T9"/>
                  </a:cxn>
                </a:cxnLst>
                <a:rect l="0" t="0" r="r" b="b"/>
                <a:pathLst>
                  <a:path w="16" h="25">
                    <a:moveTo>
                      <a:pt x="0" y="25"/>
                    </a:moveTo>
                    <a:cubicBezTo>
                      <a:pt x="0" y="25"/>
                      <a:pt x="0" y="25"/>
                      <a:pt x="0" y="25"/>
                    </a:cubicBezTo>
                    <a:cubicBezTo>
                      <a:pt x="0" y="25"/>
                      <a:pt x="0" y="25"/>
                      <a:pt x="0" y="25"/>
                    </a:cubicBezTo>
                    <a:cubicBezTo>
                      <a:pt x="0" y="24"/>
                      <a:pt x="1" y="23"/>
                      <a:pt x="1" y="22"/>
                    </a:cubicBezTo>
                    <a:cubicBezTo>
                      <a:pt x="3" y="12"/>
                      <a:pt x="8" y="5"/>
                      <a:pt x="16"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3" name="Freeform 94">
                <a:extLst>
                  <a:ext uri="{FF2B5EF4-FFF2-40B4-BE49-F238E27FC236}">
                    <a16:creationId xmlns:a16="http://schemas.microsoft.com/office/drawing/2014/main" id="{A0A5E38F-17A2-4D44-84FE-3F70FF9C29D3}"/>
                  </a:ext>
                </a:extLst>
              </p:cNvPr>
              <p:cNvSpPr>
                <a:spLocks/>
              </p:cNvSpPr>
              <p:nvPr/>
            </p:nvSpPr>
            <p:spPr bwMode="auto">
              <a:xfrm>
                <a:off x="8097168" y="1435486"/>
                <a:ext cx="139700" cy="17463"/>
              </a:xfrm>
              <a:custGeom>
                <a:avLst/>
                <a:gdLst>
                  <a:gd name="T0" fmla="*/ 0 w 31"/>
                  <a:gd name="T1" fmla="*/ 4 h 4"/>
                  <a:gd name="T2" fmla="*/ 22 w 31"/>
                  <a:gd name="T3" fmla="*/ 0 h 4"/>
                  <a:gd name="T4" fmla="*/ 31 w 31"/>
                  <a:gd name="T5" fmla="*/ 1 h 4"/>
                </a:gdLst>
                <a:ahLst/>
                <a:cxnLst>
                  <a:cxn ang="0">
                    <a:pos x="T0" y="T1"/>
                  </a:cxn>
                  <a:cxn ang="0">
                    <a:pos x="T2" y="T3"/>
                  </a:cxn>
                  <a:cxn ang="0">
                    <a:pos x="T4" y="T5"/>
                  </a:cxn>
                </a:cxnLst>
                <a:rect l="0" t="0" r="r" b="b"/>
                <a:pathLst>
                  <a:path w="31" h="4">
                    <a:moveTo>
                      <a:pt x="0" y="4"/>
                    </a:moveTo>
                    <a:cubicBezTo>
                      <a:pt x="6" y="1"/>
                      <a:pt x="14" y="0"/>
                      <a:pt x="22" y="0"/>
                    </a:cubicBezTo>
                    <a:cubicBezTo>
                      <a:pt x="25" y="0"/>
                      <a:pt x="28" y="0"/>
                      <a:pt x="31" y="1"/>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sp>
        <p:nvSpPr>
          <p:cNvPr id="35" name="Pladsholder til diasnummer 5">
            <a:extLst>
              <a:ext uri="{FF2B5EF4-FFF2-40B4-BE49-F238E27FC236}">
                <a16:creationId xmlns:a16="http://schemas.microsoft.com/office/drawing/2014/main" id="{BA91C906-7A99-4503-BC16-0049406E2C80}"/>
              </a:ext>
            </a:extLst>
          </p:cNvPr>
          <p:cNvSpPr txBox="1">
            <a:spLocks/>
          </p:cNvSpPr>
          <p:nvPr/>
        </p:nvSpPr>
        <p:spPr>
          <a:xfrm>
            <a:off x="4124325" y="6599485"/>
            <a:ext cx="990600" cy="297265"/>
          </a:xfrm>
          <a:prstGeom prst="rect">
            <a:avLst/>
          </a:prstGeom>
        </p:spPr>
        <p:txBody>
          <a:bodyPr/>
          <a:lstStyle>
            <a:defPPr>
              <a:defRPr lang="da-DK"/>
            </a:defPPr>
            <a:lvl1pPr marL="0" algn="r" defTabSz="914400" rtl="0" eaLnBrk="1" latinLnBrk="0" hangingPunct="1">
              <a:defRPr sz="1400" kern="1200">
                <a:solidFill>
                  <a:schemeClr val="accent6"/>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900" b="0">
                <a:solidFill>
                  <a:schemeClr val="tx1"/>
                </a:solidFill>
                <a:latin typeface="Verdana" panose="020B0604030504040204" pitchFamily="34" charset="0"/>
                <a:ea typeface="Verdana" panose="020B0604030504040204" pitchFamily="34" charset="0"/>
                <a:cs typeface="Verdana" panose="020B0604030504040204" pitchFamily="34" charset="0"/>
              </a:rPr>
              <a:t>Side </a:t>
            </a:r>
            <a:fld id="{C7AC859A-AE19-4543-AC75-3D2F5ABF6574}" type="slidenum">
              <a:rPr lang="da-DK" sz="900" b="0" smtClean="0">
                <a:solidFill>
                  <a:schemeClr val="tx1"/>
                </a:solidFill>
                <a:latin typeface="Verdana" panose="020B0604030504040204" pitchFamily="34" charset="0"/>
                <a:ea typeface="Verdana" panose="020B0604030504040204" pitchFamily="34" charset="0"/>
                <a:cs typeface="Verdana" panose="020B0604030504040204" pitchFamily="34" charset="0"/>
              </a:rPr>
              <a:pPr algn="ctr"/>
              <a:t>20</a:t>
            </a:fld>
            <a:endParaRPr lang="da-DK" sz="900" b="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36" name="Rectangle 35">
            <a:extLst>
              <a:ext uri="{FF2B5EF4-FFF2-40B4-BE49-F238E27FC236}">
                <a16:creationId xmlns:a16="http://schemas.microsoft.com/office/drawing/2014/main" id="{00C1361B-4FF2-4F55-A996-2B40114263D1}"/>
              </a:ext>
            </a:extLst>
          </p:cNvPr>
          <p:cNvSpPr/>
          <p:nvPr/>
        </p:nvSpPr>
        <p:spPr>
          <a:xfrm>
            <a:off x="7044856" y="6066845"/>
            <a:ext cx="2099143" cy="791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Box 2">
            <a:extLst>
              <a:ext uri="{FF2B5EF4-FFF2-40B4-BE49-F238E27FC236}">
                <a16:creationId xmlns:a16="http://schemas.microsoft.com/office/drawing/2014/main" id="{FF120AFA-0E6A-47B9-85E1-94E00A0D34FC}"/>
              </a:ext>
            </a:extLst>
          </p:cNvPr>
          <p:cNvSpPr txBox="1"/>
          <p:nvPr/>
        </p:nvSpPr>
        <p:spPr>
          <a:xfrm>
            <a:off x="719138" y="2679707"/>
            <a:ext cx="4959099" cy="2408352"/>
          </a:xfrm>
          <a:prstGeom prst="rect">
            <a:avLst/>
          </a:prstGeom>
          <a:noFill/>
        </p:spPr>
        <p:txBody>
          <a:bodyPr wrap="square" lIns="0" tIns="0" rIns="0" bIns="0" rtlCol="0" anchor="t">
            <a:spAutoFit/>
          </a:bodyPr>
          <a:lstStyle>
            <a:defPPr>
              <a:defRPr lang="en-US"/>
            </a:defPPr>
            <a:lvl1pPr lvl="0" algn="just" defTabSz="742950">
              <a:lnSpc>
                <a:spcPct val="90000"/>
              </a:lnSpc>
              <a:spcBef>
                <a:spcPts val="300"/>
              </a:spcBef>
              <a:spcAft>
                <a:spcPts val="600"/>
              </a:spcAft>
              <a:buFont typeface="Arial" panose="020B0604020202020204" pitchFamily="34" charset="0"/>
              <a:buChar char="​"/>
              <a:defRPr sz="1100">
                <a:solidFill>
                  <a:srgbClr val="1F2023"/>
                </a:solidFill>
                <a:latin typeface="Arial"/>
              </a:defRPr>
            </a:lvl1pPr>
          </a:lstStyle>
          <a:p>
            <a:pPr algn="l" defTabSz="457200">
              <a:spcBef>
                <a:spcPts val="600"/>
              </a:spcBef>
              <a:buNone/>
            </a:pPr>
            <a:r>
              <a:rPr lang="da-DK" sz="900" dirty="0">
                <a:latin typeface="+mn-lt"/>
                <a:cs typeface="Verdana"/>
              </a:rPr>
              <a:t>Økonomistyrelsen vil under kontaktperioden løbende have behov for </a:t>
            </a:r>
            <a:r>
              <a:rPr lang="da-DK" sz="900">
                <a:latin typeface="+mn-lt"/>
                <a:cs typeface="Verdana"/>
              </a:rPr>
              <a:t>såvel vedligeholdelse og opdateringer af eksisterende funktionalitet som </a:t>
            </a:r>
            <a:r>
              <a:rPr lang="da-DK" sz="900" dirty="0">
                <a:latin typeface="+mn-lt"/>
                <a:cs typeface="Verdana"/>
              </a:rPr>
              <a:t>udvikling og implementering af ny </a:t>
            </a:r>
            <a:r>
              <a:rPr lang="da-DK" sz="900" dirty="0">
                <a:solidFill>
                  <a:schemeClr val="tx1"/>
                </a:solidFill>
                <a:latin typeface="+mn-lt"/>
                <a:ea typeface="Verdana"/>
                <a:cs typeface="Verdana"/>
              </a:rPr>
              <a:t>funktionalitet.</a:t>
            </a:r>
          </a:p>
          <a:p>
            <a:pPr algn="l" defTabSz="457200">
              <a:spcBef>
                <a:spcPts val="600"/>
              </a:spcBef>
              <a:buNone/>
            </a:pPr>
            <a:r>
              <a:rPr lang="da-DK" sz="900">
                <a:solidFill>
                  <a:schemeClr val="tx1"/>
                </a:solidFill>
                <a:latin typeface="+mn-lt"/>
                <a:ea typeface="Verdana"/>
                <a:cs typeface="Verdana"/>
              </a:rPr>
              <a:t>Behov for ændringer og ny funktionalitet kan opstå med kort varsel, og det </a:t>
            </a:r>
            <a:r>
              <a:rPr lang="da-DK" sz="900" dirty="0">
                <a:solidFill>
                  <a:schemeClr val="tx1"/>
                </a:solidFill>
                <a:latin typeface="+mn-lt"/>
                <a:ea typeface="Verdana"/>
                <a:cs typeface="Verdana"/>
              </a:rPr>
              <a:t>er </a:t>
            </a:r>
            <a:r>
              <a:rPr lang="da-DK" sz="900">
                <a:solidFill>
                  <a:schemeClr val="tx1"/>
                </a:solidFill>
                <a:latin typeface="+mn-lt"/>
                <a:ea typeface="Verdana"/>
                <a:cs typeface="Verdana"/>
              </a:rPr>
              <a:t>således </a:t>
            </a:r>
            <a:r>
              <a:rPr lang="da-DK" sz="900" dirty="0">
                <a:solidFill>
                  <a:schemeClr val="tx1"/>
                </a:solidFill>
                <a:latin typeface="+mn-lt"/>
                <a:ea typeface="Verdana"/>
                <a:cs typeface="Verdana"/>
              </a:rPr>
              <a:t>væsentligt for Økonomistyrelsen, at </a:t>
            </a:r>
            <a:r>
              <a:rPr lang="da-DK" sz="900">
                <a:solidFill>
                  <a:schemeClr val="tx1"/>
                </a:solidFill>
                <a:latin typeface="+mn-lt"/>
                <a:ea typeface="Verdana"/>
                <a:cs typeface="Verdana"/>
              </a:rPr>
              <a:t>leverandører sikrer den nødvendige kapacitet </a:t>
            </a:r>
            <a:r>
              <a:rPr lang="da-DK" sz="900" dirty="0">
                <a:solidFill>
                  <a:schemeClr val="tx1"/>
                </a:solidFill>
                <a:latin typeface="+mn-lt"/>
                <a:ea typeface="Verdana"/>
                <a:cs typeface="Verdana"/>
              </a:rPr>
              <a:t>til, at udvikling og implementering af ny funktionalitet forløber hensigtsmæssigt og leveres i høj kvalitet</a:t>
            </a:r>
            <a:r>
              <a:rPr lang="da-DK" sz="900">
                <a:solidFill>
                  <a:schemeClr val="tx1"/>
                </a:solidFill>
                <a:latin typeface="+mn-lt"/>
                <a:ea typeface="Verdana"/>
                <a:cs typeface="Verdana"/>
              </a:rPr>
              <a:t> sideløbende med håndtering af planlagte og uplanlagte vedligeholdelsesaktiviteter</a:t>
            </a:r>
            <a:r>
              <a:rPr lang="da-DK" sz="900" dirty="0">
                <a:solidFill>
                  <a:schemeClr val="tx1"/>
                </a:solidFill>
                <a:latin typeface="+mn-lt"/>
                <a:ea typeface="Verdana"/>
                <a:cs typeface="Verdana"/>
              </a:rPr>
              <a:t>.</a:t>
            </a:r>
          </a:p>
          <a:p>
            <a:pPr algn="l" defTabSz="457200">
              <a:spcBef>
                <a:spcPts val="600"/>
              </a:spcBef>
              <a:buNone/>
            </a:pPr>
            <a:r>
              <a:rPr lang="da-DK" sz="900">
                <a:solidFill>
                  <a:schemeClr val="tx1"/>
                </a:solidFill>
                <a:latin typeface="+mn-lt"/>
                <a:ea typeface="Verdana"/>
                <a:cs typeface="Verdana"/>
              </a:rPr>
              <a:t>En række ønsker om ny funktionalitet kan gå på tværs af én leverandørs eller konsortiums platforme, løsninger og ressourcepool eller flere leverandørers løsninger og ansvarsområder. Dette stiller krav til samarbejde parterne imellem både internt og eksternt, og Økonomistyrelsen har derfor et behov for, at der etableres gode processer og retningslinjer for et sådant samarbejde.</a:t>
            </a:r>
          </a:p>
          <a:p>
            <a:pPr algn="l"/>
            <a:endParaRPr lang="da-DK" sz="900">
              <a:solidFill>
                <a:schemeClr val="accent2"/>
              </a:solidFill>
              <a:highlight>
                <a:srgbClr val="FFFF00"/>
              </a:highlight>
              <a:latin typeface="+mn-lt"/>
              <a:ea typeface="Verdana"/>
              <a:cs typeface="Verdana"/>
            </a:endParaRPr>
          </a:p>
          <a:p>
            <a:pPr algn="l"/>
            <a:endParaRPr lang="da-DK" sz="900" dirty="0">
              <a:solidFill>
                <a:srgbClr val="FF0000"/>
              </a:solidFill>
              <a:latin typeface="+mn-lt"/>
              <a:ea typeface="Verdana"/>
              <a:cs typeface="Verdana"/>
            </a:endParaRPr>
          </a:p>
        </p:txBody>
      </p:sp>
    </p:spTree>
    <p:extLst>
      <p:ext uri="{BB962C8B-B14F-4D97-AF65-F5344CB8AC3E}">
        <p14:creationId xmlns:p14="http://schemas.microsoft.com/office/powerpoint/2010/main" val="1808190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E7D9A578-B664-4F0B-A2A6-85A1DCD49750}"/>
              </a:ext>
            </a:extLst>
          </p:cNvPr>
          <p:cNvSpPr/>
          <p:nvPr/>
        </p:nvSpPr>
        <p:spPr>
          <a:xfrm>
            <a:off x="0" y="1599841"/>
            <a:ext cx="6535971" cy="5229225"/>
          </a:xfrm>
          <a:prstGeom prst="rect">
            <a:avLst/>
          </a:prstGeom>
          <a:solidFill>
            <a:srgbClr val="FBF9F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algn="l"/>
            <a:endParaRPr lang="da-DK" sz="923">
              <a:solidFill>
                <a:srgbClr val="2F363B"/>
              </a:solidFill>
            </a:endParaRPr>
          </a:p>
        </p:txBody>
      </p:sp>
      <p:graphicFrame>
        <p:nvGraphicFramePr>
          <p:cNvPr id="2" name="Object 1" hidden="1">
            <a:extLst>
              <a:ext uri="{FF2B5EF4-FFF2-40B4-BE49-F238E27FC236}">
                <a16:creationId xmlns:a16="http://schemas.microsoft.com/office/drawing/2014/main" id="{D404E921-F1C9-4602-81E1-CE367ABD79F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7"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D404E921-F1C9-4602-81E1-CE367ABD79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BB98346F-58FB-4F10-9888-607B07D0B0B7}"/>
              </a:ext>
            </a:extLst>
          </p:cNvPr>
          <p:cNvSpPr>
            <a:spLocks noGrp="1"/>
          </p:cNvSpPr>
          <p:nvPr>
            <p:ph type="title"/>
          </p:nvPr>
        </p:nvSpPr>
        <p:spPr>
          <a:xfrm>
            <a:off x="266700" y="258512"/>
            <a:ext cx="7981950" cy="689476"/>
          </a:xfrm>
        </p:spPr>
        <p:txBody>
          <a:bodyPr>
            <a:normAutofit fontScale="90000"/>
          </a:bodyPr>
          <a:lstStyle/>
          <a:p>
            <a:r>
              <a:rPr lang="da-DK" sz="2800" b="0">
                <a:solidFill>
                  <a:schemeClr val="tx1"/>
                </a:solidFill>
                <a:latin typeface="Impact" panose="020B0806030902050204" pitchFamily="34" charset="0"/>
              </a:rPr>
              <a:t>3. Løsningen</a:t>
            </a:r>
            <a:r>
              <a:rPr lang="da-DK"/>
              <a:t/>
            </a:r>
            <a:br>
              <a:rPr lang="da-DK"/>
            </a:br>
            <a:r>
              <a:rPr lang="da-DK" sz="2000"/>
              <a:t> </a:t>
            </a:r>
            <a:endParaRPr lang="da-DK"/>
          </a:p>
        </p:txBody>
      </p:sp>
      <p:sp>
        <p:nvSpPr>
          <p:cNvPr id="40" name="Content Placeholder 7">
            <a:extLst>
              <a:ext uri="{FF2B5EF4-FFF2-40B4-BE49-F238E27FC236}">
                <a16:creationId xmlns:a16="http://schemas.microsoft.com/office/drawing/2014/main" id="{CBD0DB57-3225-4D60-AAEF-2A0745E12755}"/>
              </a:ext>
            </a:extLst>
          </p:cNvPr>
          <p:cNvSpPr txBox="1">
            <a:spLocks/>
          </p:cNvSpPr>
          <p:nvPr/>
        </p:nvSpPr>
        <p:spPr>
          <a:xfrm>
            <a:off x="6185705" y="1196976"/>
            <a:ext cx="2361947" cy="2035301"/>
          </a:xfrm>
          <a:prstGeom prst="rect">
            <a:avLst/>
          </a:prstGeom>
          <a:solidFill>
            <a:srgbClr val="C3CFCB"/>
          </a:solidFill>
          <a:ln w="635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defPPr>
              <a:defRPr lang="en-US"/>
            </a:defPPr>
            <a:lvl1pPr marL="0" indent="0" algn="l" defTabSz="914400" rtl="0" eaLnBrk="1" latinLnBrk="0" hangingPunct="1">
              <a:lnSpc>
                <a:spcPct val="150000"/>
              </a:lnSpc>
              <a:spcBef>
                <a:spcPts val="0"/>
              </a:spcBef>
              <a:buFont typeface="Arial" panose="020B0604020202020204" pitchFamily="34" charset="0"/>
              <a:buNone/>
              <a:defRPr sz="1100" kern="1200">
                <a:solidFill>
                  <a:srgbClr val="2F363B"/>
                </a:solidFill>
                <a:latin typeface="Verdana" panose="020B0604030504040204" pitchFamily="34" charset="0"/>
                <a:ea typeface="Verdana" panose="020B0604030504040204" pitchFamily="34" charset="0"/>
                <a:cs typeface="Verdana" panose="020B0604030504040204" pitchFamily="34" charset="0"/>
              </a:defRPr>
            </a:lvl1pPr>
            <a:lvl2pPr marL="0" lvl="1" indent="0" algn="l" defTabSz="914400" rtl="0" eaLnBrk="1" latinLnBrk="0" hangingPunct="1">
              <a:lnSpc>
                <a:spcPct val="150000"/>
              </a:lnSpc>
              <a:spcBef>
                <a:spcPts val="0"/>
              </a:spcBef>
              <a:buSzPct val="100000"/>
              <a:buFont typeface="Arial" panose="020B0604020202020204" pitchFamily="34" charset="0"/>
              <a:buChar char="​"/>
              <a:defRPr sz="1100" kern="1200">
                <a:solidFill>
                  <a:srgbClr val="2F363B"/>
                </a:solidFill>
                <a:latin typeface="Arial" panose="020B0604020202020204" pitchFamily="34" charset="0"/>
                <a:ea typeface="Verdana" panose="020B0604030504040204" pitchFamily="34" charset="0"/>
                <a:cs typeface="Verdana" panose="020B0604030504040204" pitchFamily="34" charset="0"/>
              </a:defRPr>
            </a:lvl2pPr>
            <a:lvl3pPr marL="1257300" indent="-342900" algn="l" defTabSz="914400" rtl="0" eaLnBrk="1" latinLnBrk="0" hangingPunct="1">
              <a:lnSpc>
                <a:spcPct val="150000"/>
              </a:lnSpc>
              <a:spcBef>
                <a:spcPts val="0"/>
              </a:spcBef>
              <a:buFont typeface="Courier New" panose="02070309020205020404" pitchFamily="49" charset="0"/>
              <a:buChar char="o"/>
              <a:defRPr sz="1400" kern="1200">
                <a:solidFill>
                  <a:schemeClr val="lt1"/>
                </a:solidFill>
                <a:latin typeface="Verdana" panose="020B0604030504040204" pitchFamily="34" charset="0"/>
                <a:ea typeface="Verdana" panose="020B0604030504040204" pitchFamily="34" charset="0"/>
                <a:cs typeface="Verdana" panose="020B0604030504040204" pitchFamily="34" charset="0"/>
              </a:defRPr>
            </a:lvl3pPr>
            <a:lvl4pPr marL="1714500" indent="-342900" algn="l" defTabSz="914400" rtl="0" eaLnBrk="1" latinLnBrk="0" hangingPunct="1">
              <a:lnSpc>
                <a:spcPct val="150000"/>
              </a:lnSpc>
              <a:spcBef>
                <a:spcPts val="0"/>
              </a:spcBef>
              <a:buFont typeface="Wingdings" panose="05000000000000000000" pitchFamily="2" charset="2"/>
              <a:buChar char="§"/>
              <a:defRPr sz="1300" kern="1200">
                <a:solidFill>
                  <a:schemeClr val="lt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150000"/>
              </a:lnSpc>
              <a:spcBef>
                <a:spcPts val="0"/>
              </a:spcBef>
              <a:buFont typeface="Arial" panose="020B0604020202020204" pitchFamily="34" charset="0"/>
              <a:buChar char="•"/>
              <a:defRPr sz="1100" kern="1200">
                <a:solidFill>
                  <a:schemeClr val="lt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lvl="1">
              <a:lnSpc>
                <a:spcPct val="100000"/>
              </a:lnSpc>
              <a:spcAft>
                <a:spcPts val="300"/>
              </a:spcAft>
              <a:buNone/>
              <a:defRPr/>
            </a:pPr>
            <a:r>
              <a:rPr lang="da-DK" sz="900" b="1">
                <a:solidFill>
                  <a:schemeClr val="tx1"/>
                </a:solidFill>
                <a:latin typeface="+mj-lt"/>
                <a:ea typeface="Verdana"/>
                <a:cs typeface="Verdana"/>
              </a:rPr>
              <a:t>Spørgsmål, som ønskes besvaret af leverandøren: </a:t>
            </a:r>
            <a:endParaRPr lang="da-DK" sz="900" b="1">
              <a:solidFill>
                <a:schemeClr val="tx1"/>
              </a:solidFill>
              <a:latin typeface="+mj-lt"/>
            </a:endParaRPr>
          </a:p>
          <a:p>
            <a:pPr lvl="1">
              <a:lnSpc>
                <a:spcPct val="100000"/>
              </a:lnSpc>
              <a:spcBef>
                <a:spcPts val="600"/>
              </a:spcBef>
              <a:spcAft>
                <a:spcPts val="300"/>
              </a:spcAft>
              <a:buNone/>
              <a:defRPr/>
            </a:pPr>
            <a:r>
              <a:rPr lang="da-DK" sz="750" b="1">
                <a:solidFill>
                  <a:schemeClr val="tx1"/>
                </a:solidFill>
                <a:latin typeface="+mj-lt"/>
                <a:ea typeface="Verdana"/>
                <a:cs typeface="Verdana"/>
              </a:rPr>
              <a:t>3.4.a </a:t>
            </a:r>
            <a:r>
              <a:rPr lang="da-DK" sz="750" b="1">
                <a:solidFill>
                  <a:schemeClr val="tx1"/>
                </a:solidFill>
                <a:latin typeface="+mj-lt"/>
                <a:ea typeface="Verdana"/>
                <a:cs typeface="Arial"/>
              </a:rPr>
              <a:t>Understøttede driftsformer: </a:t>
            </a:r>
          </a:p>
          <a:p>
            <a:pPr lvl="1">
              <a:lnSpc>
                <a:spcPct val="100000"/>
              </a:lnSpc>
              <a:spcAft>
                <a:spcPts val="300"/>
              </a:spcAft>
              <a:buNone/>
              <a:defRPr/>
            </a:pPr>
            <a:r>
              <a:rPr lang="da-DK" sz="750">
                <a:solidFill>
                  <a:schemeClr val="tx1"/>
                </a:solidFill>
                <a:latin typeface="+mj-lt"/>
                <a:ea typeface="Verdana"/>
                <a:cs typeface="Arial"/>
              </a:rPr>
              <a:t>Leverandøren bedes kort beskrive hvilke </a:t>
            </a:r>
            <a:r>
              <a:rPr lang="da-DK" sz="750">
                <a:solidFill>
                  <a:schemeClr val="tx1"/>
                </a:solidFill>
                <a:latin typeface="+mj-lt"/>
                <a:ea typeface="Verdana"/>
                <a:cs typeface="Verdana"/>
              </a:rPr>
              <a:t>driftsmodeller leverandørens </a:t>
            </a:r>
            <a:r>
              <a:rPr lang="da-DK" sz="750">
                <a:solidFill>
                  <a:schemeClr val="tx1"/>
                </a:solidFill>
                <a:latin typeface="+mj-lt"/>
                <a:ea typeface="Verdana"/>
                <a:cs typeface="Arial"/>
              </a:rPr>
              <a:t>løsning understøtter, eksempelvis SaaS, multi-/single </a:t>
            </a:r>
            <a:r>
              <a:rPr lang="da-DK" sz="750" err="1">
                <a:solidFill>
                  <a:schemeClr val="tx1"/>
                </a:solidFill>
                <a:latin typeface="+mj-lt"/>
                <a:ea typeface="Verdana"/>
                <a:cs typeface="Arial"/>
              </a:rPr>
              <a:t>tenant</a:t>
            </a:r>
            <a:r>
              <a:rPr lang="da-DK" sz="750">
                <a:solidFill>
                  <a:schemeClr val="tx1"/>
                </a:solidFill>
                <a:latin typeface="+mj-lt"/>
                <a:ea typeface="Verdana"/>
                <a:cs typeface="Arial"/>
              </a:rPr>
              <a:t>/Private cloud, On-</a:t>
            </a:r>
            <a:r>
              <a:rPr lang="da-DK" sz="750" err="1">
                <a:solidFill>
                  <a:schemeClr val="tx1"/>
                </a:solidFill>
                <a:latin typeface="+mj-lt"/>
                <a:ea typeface="Verdana"/>
                <a:cs typeface="Arial"/>
              </a:rPr>
              <a:t>premises</a:t>
            </a:r>
            <a:r>
              <a:rPr lang="da-DK" sz="750">
                <a:solidFill>
                  <a:schemeClr val="tx1"/>
                </a:solidFill>
                <a:latin typeface="+mj-lt"/>
                <a:ea typeface="Verdana"/>
                <a:cs typeface="Arial"/>
              </a:rPr>
              <a:t> mfl., herunder de fordele og ulemper leverandøren vurderer, at forskellige driftsformer vil have for Økonomistyrelsen og de mange berørte statslige enheder.</a:t>
            </a:r>
            <a:endParaRPr lang="da-DK" sz="750">
              <a:solidFill>
                <a:schemeClr val="tx1"/>
              </a:solidFill>
              <a:latin typeface="+mj-lt"/>
              <a:ea typeface="Verdana"/>
            </a:endParaRPr>
          </a:p>
        </p:txBody>
      </p:sp>
      <p:sp>
        <p:nvSpPr>
          <p:cNvPr id="18" name="Content Placeholder 7">
            <a:extLst>
              <a:ext uri="{FF2B5EF4-FFF2-40B4-BE49-F238E27FC236}">
                <a16:creationId xmlns:a16="http://schemas.microsoft.com/office/drawing/2014/main" id="{E48370E2-D8E7-40E6-B8B8-5E4289F414FC}"/>
              </a:ext>
            </a:extLst>
          </p:cNvPr>
          <p:cNvSpPr txBox="1">
            <a:spLocks/>
          </p:cNvSpPr>
          <p:nvPr/>
        </p:nvSpPr>
        <p:spPr>
          <a:xfrm>
            <a:off x="1322388" y="2057318"/>
            <a:ext cx="1604146" cy="184666"/>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da-DK" sz="1200" b="1">
                <a:latin typeface="+mj-lt"/>
              </a:rPr>
              <a:t>3.4 Drift</a:t>
            </a:r>
          </a:p>
        </p:txBody>
      </p:sp>
      <p:grpSp>
        <p:nvGrpSpPr>
          <p:cNvPr id="19" name="Group 18">
            <a:extLst>
              <a:ext uri="{FF2B5EF4-FFF2-40B4-BE49-F238E27FC236}">
                <a16:creationId xmlns:a16="http://schemas.microsoft.com/office/drawing/2014/main" id="{1C17DA95-DDFE-4771-8CD9-BD2ED7171F3C}"/>
              </a:ext>
            </a:extLst>
          </p:cNvPr>
          <p:cNvGrpSpPr/>
          <p:nvPr/>
        </p:nvGrpSpPr>
        <p:grpSpPr>
          <a:xfrm>
            <a:off x="728663" y="1844675"/>
            <a:ext cx="603250" cy="531813"/>
            <a:chOff x="7947943" y="1318011"/>
            <a:chExt cx="603250" cy="531813"/>
          </a:xfrm>
        </p:grpSpPr>
        <p:sp>
          <p:nvSpPr>
            <p:cNvPr id="20" name="Oval 85">
              <a:extLst>
                <a:ext uri="{FF2B5EF4-FFF2-40B4-BE49-F238E27FC236}">
                  <a16:creationId xmlns:a16="http://schemas.microsoft.com/office/drawing/2014/main" id="{A29461B9-0D93-4BA5-8753-00287DE0496B}"/>
                </a:ext>
              </a:extLst>
            </p:cNvPr>
            <p:cNvSpPr>
              <a:spLocks noChangeArrowheads="1"/>
            </p:cNvSpPr>
            <p:nvPr/>
          </p:nvSpPr>
          <p:spPr bwMode="auto">
            <a:xfrm>
              <a:off x="7947943" y="1484699"/>
              <a:ext cx="369888" cy="365125"/>
            </a:xfrm>
            <a:prstGeom prst="ellipse">
              <a:avLst/>
            </a:pr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21" name="Group 20">
              <a:extLst>
                <a:ext uri="{FF2B5EF4-FFF2-40B4-BE49-F238E27FC236}">
                  <a16:creationId xmlns:a16="http://schemas.microsoft.com/office/drawing/2014/main" id="{2CAB41E0-6409-4B56-81BD-E45A31BFA6FF}"/>
                </a:ext>
              </a:extLst>
            </p:cNvPr>
            <p:cNvGrpSpPr/>
            <p:nvPr/>
          </p:nvGrpSpPr>
          <p:grpSpPr>
            <a:xfrm>
              <a:off x="8033668" y="1318011"/>
              <a:ext cx="517525" cy="509588"/>
              <a:chOff x="8033668" y="1318011"/>
              <a:chExt cx="517525" cy="509588"/>
            </a:xfrm>
          </p:grpSpPr>
          <p:sp>
            <p:nvSpPr>
              <p:cNvPr id="22" name="Freeform 86">
                <a:extLst>
                  <a:ext uri="{FF2B5EF4-FFF2-40B4-BE49-F238E27FC236}">
                    <a16:creationId xmlns:a16="http://schemas.microsoft.com/office/drawing/2014/main" id="{89B8D63B-5500-4792-9138-20819972ECCF}"/>
                  </a:ext>
                </a:extLst>
              </p:cNvPr>
              <p:cNvSpPr>
                <a:spLocks/>
              </p:cNvSpPr>
              <p:nvPr/>
            </p:nvSpPr>
            <p:spPr bwMode="auto">
              <a:xfrm>
                <a:off x="8033668" y="1506924"/>
                <a:ext cx="320675" cy="320675"/>
              </a:xfrm>
              <a:custGeom>
                <a:avLst/>
                <a:gdLst>
                  <a:gd name="T0" fmla="*/ 68 w 71"/>
                  <a:gd name="T1" fmla="*/ 53 h 71"/>
                  <a:gd name="T2" fmla="*/ 71 w 71"/>
                  <a:gd name="T3" fmla="*/ 46 h 71"/>
                  <a:gd name="T4" fmla="*/ 64 w 71"/>
                  <a:gd name="T5" fmla="*/ 35 h 71"/>
                  <a:gd name="T6" fmla="*/ 71 w 71"/>
                  <a:gd name="T7" fmla="*/ 25 h 71"/>
                  <a:gd name="T8" fmla="*/ 68 w 71"/>
                  <a:gd name="T9" fmla="*/ 18 h 71"/>
                  <a:gd name="T10" fmla="*/ 57 w 71"/>
                  <a:gd name="T11" fmla="*/ 14 h 71"/>
                  <a:gd name="T12" fmla="*/ 54 w 71"/>
                  <a:gd name="T13" fmla="*/ 3 h 71"/>
                  <a:gd name="T14" fmla="*/ 47 w 71"/>
                  <a:gd name="T15" fmla="*/ 0 h 71"/>
                  <a:gd name="T16" fmla="*/ 36 w 71"/>
                  <a:gd name="T17" fmla="*/ 7 h 71"/>
                  <a:gd name="T18" fmla="*/ 24 w 71"/>
                  <a:gd name="T19" fmla="*/ 0 h 71"/>
                  <a:gd name="T20" fmla="*/ 17 w 71"/>
                  <a:gd name="T21" fmla="*/ 3 h 71"/>
                  <a:gd name="T22" fmla="*/ 14 w 71"/>
                  <a:gd name="T23" fmla="*/ 14 h 71"/>
                  <a:gd name="T24" fmla="*/ 3 w 71"/>
                  <a:gd name="T25" fmla="*/ 18 h 71"/>
                  <a:gd name="T26" fmla="*/ 0 w 71"/>
                  <a:gd name="T27" fmla="*/ 25 h 71"/>
                  <a:gd name="T28" fmla="*/ 7 w 71"/>
                  <a:gd name="T29" fmla="*/ 35 h 71"/>
                  <a:gd name="T30" fmla="*/ 0 w 71"/>
                  <a:gd name="T31" fmla="*/ 46 h 71"/>
                  <a:gd name="T32" fmla="*/ 3 w 71"/>
                  <a:gd name="T33" fmla="*/ 53 h 71"/>
                  <a:gd name="T34" fmla="*/ 14 w 71"/>
                  <a:gd name="T35" fmla="*/ 56 h 71"/>
                  <a:gd name="T36" fmla="*/ 17 w 71"/>
                  <a:gd name="T37" fmla="*/ 68 h 71"/>
                  <a:gd name="T38" fmla="*/ 24 w 71"/>
                  <a:gd name="T39" fmla="*/ 71 h 71"/>
                  <a:gd name="T40" fmla="*/ 36 w 71"/>
                  <a:gd name="T41" fmla="*/ 64 h 71"/>
                  <a:gd name="T42" fmla="*/ 47 w 71"/>
                  <a:gd name="T43" fmla="*/ 71 h 71"/>
                  <a:gd name="T44" fmla="*/ 54 w 71"/>
                  <a:gd name="T45" fmla="*/ 68 h 71"/>
                  <a:gd name="T46" fmla="*/ 57 w 71"/>
                  <a:gd name="T47" fmla="*/ 5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71">
                    <a:moveTo>
                      <a:pt x="68" y="53"/>
                    </a:moveTo>
                    <a:cubicBezTo>
                      <a:pt x="69" y="50"/>
                      <a:pt x="70" y="48"/>
                      <a:pt x="71" y="46"/>
                    </a:cubicBezTo>
                    <a:cubicBezTo>
                      <a:pt x="67" y="43"/>
                      <a:pt x="64" y="40"/>
                      <a:pt x="64" y="35"/>
                    </a:cubicBezTo>
                    <a:cubicBezTo>
                      <a:pt x="64" y="31"/>
                      <a:pt x="67" y="27"/>
                      <a:pt x="71" y="25"/>
                    </a:cubicBezTo>
                    <a:cubicBezTo>
                      <a:pt x="70" y="23"/>
                      <a:pt x="69" y="20"/>
                      <a:pt x="68" y="18"/>
                    </a:cubicBezTo>
                    <a:cubicBezTo>
                      <a:pt x="63" y="19"/>
                      <a:pt x="60" y="17"/>
                      <a:pt x="57" y="14"/>
                    </a:cubicBezTo>
                    <a:cubicBezTo>
                      <a:pt x="53" y="11"/>
                      <a:pt x="52" y="7"/>
                      <a:pt x="54" y="3"/>
                    </a:cubicBezTo>
                    <a:cubicBezTo>
                      <a:pt x="51" y="2"/>
                      <a:pt x="49" y="1"/>
                      <a:pt x="47" y="0"/>
                    </a:cubicBezTo>
                    <a:cubicBezTo>
                      <a:pt x="44" y="4"/>
                      <a:pt x="40" y="7"/>
                      <a:pt x="36" y="7"/>
                    </a:cubicBezTo>
                    <a:cubicBezTo>
                      <a:pt x="31" y="7"/>
                      <a:pt x="27" y="4"/>
                      <a:pt x="24" y="0"/>
                    </a:cubicBezTo>
                    <a:cubicBezTo>
                      <a:pt x="22" y="1"/>
                      <a:pt x="20" y="2"/>
                      <a:pt x="17" y="3"/>
                    </a:cubicBezTo>
                    <a:cubicBezTo>
                      <a:pt x="19" y="7"/>
                      <a:pt x="18" y="11"/>
                      <a:pt x="14" y="14"/>
                    </a:cubicBezTo>
                    <a:cubicBezTo>
                      <a:pt x="11" y="17"/>
                      <a:pt x="8" y="19"/>
                      <a:pt x="3" y="18"/>
                    </a:cubicBezTo>
                    <a:cubicBezTo>
                      <a:pt x="2" y="20"/>
                      <a:pt x="1" y="23"/>
                      <a:pt x="0" y="25"/>
                    </a:cubicBezTo>
                    <a:cubicBezTo>
                      <a:pt x="4" y="27"/>
                      <a:pt x="7" y="31"/>
                      <a:pt x="7" y="35"/>
                    </a:cubicBezTo>
                    <a:cubicBezTo>
                      <a:pt x="7" y="40"/>
                      <a:pt x="4" y="44"/>
                      <a:pt x="0" y="46"/>
                    </a:cubicBezTo>
                    <a:cubicBezTo>
                      <a:pt x="1" y="49"/>
                      <a:pt x="2" y="51"/>
                      <a:pt x="3" y="53"/>
                    </a:cubicBezTo>
                    <a:cubicBezTo>
                      <a:pt x="8" y="52"/>
                      <a:pt x="11" y="53"/>
                      <a:pt x="14" y="56"/>
                    </a:cubicBezTo>
                    <a:cubicBezTo>
                      <a:pt x="18" y="59"/>
                      <a:pt x="19" y="63"/>
                      <a:pt x="17" y="68"/>
                    </a:cubicBezTo>
                    <a:cubicBezTo>
                      <a:pt x="20" y="69"/>
                      <a:pt x="22" y="70"/>
                      <a:pt x="24" y="71"/>
                    </a:cubicBezTo>
                    <a:cubicBezTo>
                      <a:pt x="27" y="67"/>
                      <a:pt x="31" y="64"/>
                      <a:pt x="36" y="64"/>
                    </a:cubicBezTo>
                    <a:cubicBezTo>
                      <a:pt x="40" y="64"/>
                      <a:pt x="44" y="67"/>
                      <a:pt x="47" y="71"/>
                    </a:cubicBezTo>
                    <a:cubicBezTo>
                      <a:pt x="49" y="70"/>
                      <a:pt x="51" y="69"/>
                      <a:pt x="54" y="68"/>
                    </a:cubicBezTo>
                    <a:cubicBezTo>
                      <a:pt x="53" y="63"/>
                      <a:pt x="53" y="59"/>
                      <a:pt x="57" y="56"/>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3" name="Oval 87">
                <a:extLst>
                  <a:ext uri="{FF2B5EF4-FFF2-40B4-BE49-F238E27FC236}">
                    <a16:creationId xmlns:a16="http://schemas.microsoft.com/office/drawing/2014/main" id="{8381AAAC-7E6E-4E2E-BC5D-53991D829BF6}"/>
                  </a:ext>
                </a:extLst>
              </p:cNvPr>
              <p:cNvSpPr>
                <a:spLocks noChangeArrowheads="1"/>
              </p:cNvSpPr>
              <p:nvPr/>
            </p:nvSpPr>
            <p:spPr bwMode="auto">
              <a:xfrm>
                <a:off x="8119393" y="1589474"/>
                <a:ext cx="153988" cy="152400"/>
              </a:xfrm>
              <a:prstGeom prst="ellipse">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4" name="Freeform 88">
                <a:extLst>
                  <a:ext uri="{FF2B5EF4-FFF2-40B4-BE49-F238E27FC236}">
                    <a16:creationId xmlns:a16="http://schemas.microsoft.com/office/drawing/2014/main" id="{50AE495B-6F78-49D0-A22D-70241BE1E80D}"/>
                  </a:ext>
                </a:extLst>
              </p:cNvPr>
              <p:cNvSpPr>
                <a:spLocks noEditPoints="1"/>
              </p:cNvSpPr>
              <p:nvPr/>
            </p:nvSpPr>
            <p:spPr bwMode="auto">
              <a:xfrm>
                <a:off x="8295605" y="1359286"/>
                <a:ext cx="206375" cy="198438"/>
              </a:xfrm>
              <a:custGeom>
                <a:avLst/>
                <a:gdLst>
                  <a:gd name="T0" fmla="*/ 36 w 46"/>
                  <a:gd name="T1" fmla="*/ 42 h 44"/>
                  <a:gd name="T2" fmla="*/ 36 w 46"/>
                  <a:gd name="T3" fmla="*/ 35 h 44"/>
                  <a:gd name="T4" fmla="*/ 42 w 46"/>
                  <a:gd name="T5" fmla="*/ 35 h 44"/>
                  <a:gd name="T6" fmla="*/ 42 w 46"/>
                  <a:gd name="T7" fmla="*/ 35 h 44"/>
                  <a:gd name="T8" fmla="*/ 45 w 46"/>
                  <a:gd name="T9" fmla="*/ 28 h 44"/>
                  <a:gd name="T10" fmla="*/ 46 w 46"/>
                  <a:gd name="T11" fmla="*/ 21 h 44"/>
                  <a:gd name="T12" fmla="*/ 40 w 46"/>
                  <a:gd name="T13" fmla="*/ 18 h 44"/>
                  <a:gd name="T14" fmla="*/ 43 w 46"/>
                  <a:gd name="T15" fmla="*/ 12 h 44"/>
                  <a:gd name="T16" fmla="*/ 33 w 46"/>
                  <a:gd name="T17" fmla="*/ 2 h 44"/>
                  <a:gd name="T18" fmla="*/ 27 w 46"/>
                  <a:gd name="T19" fmla="*/ 5 h 44"/>
                  <a:gd name="T20" fmla="*/ 23 w 46"/>
                  <a:gd name="T21" fmla="*/ 0 h 44"/>
                  <a:gd name="T22" fmla="*/ 10 w 46"/>
                  <a:gd name="T23" fmla="*/ 4 h 44"/>
                  <a:gd name="T24" fmla="*/ 10 w 46"/>
                  <a:gd name="T25" fmla="*/ 10 h 44"/>
                  <a:gd name="T26" fmla="*/ 3 w 46"/>
                  <a:gd name="T27" fmla="*/ 11 h 44"/>
                  <a:gd name="T28" fmla="*/ 0 w 46"/>
                  <a:gd name="T29" fmla="*/ 18 h 44"/>
                  <a:gd name="T30" fmla="*/ 0 w 46"/>
                  <a:gd name="T31" fmla="*/ 25 h 44"/>
                  <a:gd name="T32" fmla="*/ 5 w 46"/>
                  <a:gd name="T33" fmla="*/ 28 h 44"/>
                  <a:gd name="T34" fmla="*/ 3 w 46"/>
                  <a:gd name="T35" fmla="*/ 34 h 44"/>
                  <a:gd name="T36" fmla="*/ 13 w 46"/>
                  <a:gd name="T37" fmla="*/ 44 h 44"/>
                  <a:gd name="T38" fmla="*/ 19 w 46"/>
                  <a:gd name="T39" fmla="*/ 40 h 44"/>
                  <a:gd name="T40" fmla="*/ 21 w 46"/>
                  <a:gd name="T41" fmla="*/ 29 h 44"/>
                  <a:gd name="T42" fmla="*/ 16 w 46"/>
                  <a:gd name="T43" fmla="*/ 21 h 44"/>
                  <a:gd name="T44" fmla="*/ 24 w 46"/>
                  <a:gd name="T45" fmla="*/ 16 h 44"/>
                  <a:gd name="T46" fmla="*/ 29 w 46"/>
                  <a:gd name="T47" fmla="*/ 24 h 44"/>
                  <a:gd name="T48" fmla="*/ 21 w 46"/>
                  <a:gd name="T49"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4">
                    <a:moveTo>
                      <a:pt x="36" y="42"/>
                    </a:moveTo>
                    <a:cubicBezTo>
                      <a:pt x="34" y="40"/>
                      <a:pt x="34" y="37"/>
                      <a:pt x="36" y="35"/>
                    </a:cubicBezTo>
                    <a:cubicBezTo>
                      <a:pt x="38" y="33"/>
                      <a:pt x="40" y="33"/>
                      <a:pt x="42" y="35"/>
                    </a:cubicBezTo>
                    <a:moveTo>
                      <a:pt x="42" y="35"/>
                    </a:moveTo>
                    <a:cubicBezTo>
                      <a:pt x="44" y="33"/>
                      <a:pt x="45" y="30"/>
                      <a:pt x="45" y="28"/>
                    </a:cubicBezTo>
                    <a:cubicBezTo>
                      <a:pt x="46" y="26"/>
                      <a:pt x="46" y="23"/>
                      <a:pt x="46" y="21"/>
                    </a:cubicBezTo>
                    <a:cubicBezTo>
                      <a:pt x="43" y="21"/>
                      <a:pt x="41" y="20"/>
                      <a:pt x="40" y="18"/>
                    </a:cubicBezTo>
                    <a:cubicBezTo>
                      <a:pt x="39" y="15"/>
                      <a:pt x="41" y="13"/>
                      <a:pt x="43" y="12"/>
                    </a:cubicBezTo>
                    <a:cubicBezTo>
                      <a:pt x="41" y="8"/>
                      <a:pt x="37" y="4"/>
                      <a:pt x="33" y="2"/>
                    </a:cubicBezTo>
                    <a:cubicBezTo>
                      <a:pt x="32" y="4"/>
                      <a:pt x="29" y="6"/>
                      <a:pt x="27" y="5"/>
                    </a:cubicBezTo>
                    <a:cubicBezTo>
                      <a:pt x="24" y="5"/>
                      <a:pt x="23" y="2"/>
                      <a:pt x="23" y="0"/>
                    </a:cubicBezTo>
                    <a:cubicBezTo>
                      <a:pt x="18" y="0"/>
                      <a:pt x="14" y="1"/>
                      <a:pt x="10" y="4"/>
                    </a:cubicBezTo>
                    <a:cubicBezTo>
                      <a:pt x="11" y="6"/>
                      <a:pt x="11" y="9"/>
                      <a:pt x="10" y="10"/>
                    </a:cubicBezTo>
                    <a:cubicBezTo>
                      <a:pt x="8" y="12"/>
                      <a:pt x="5" y="12"/>
                      <a:pt x="3" y="11"/>
                    </a:cubicBezTo>
                    <a:cubicBezTo>
                      <a:pt x="2" y="13"/>
                      <a:pt x="1" y="15"/>
                      <a:pt x="0" y="18"/>
                    </a:cubicBezTo>
                    <a:cubicBezTo>
                      <a:pt x="0" y="20"/>
                      <a:pt x="0" y="22"/>
                      <a:pt x="0" y="25"/>
                    </a:cubicBezTo>
                    <a:cubicBezTo>
                      <a:pt x="2" y="24"/>
                      <a:pt x="5" y="26"/>
                      <a:pt x="5" y="28"/>
                    </a:cubicBezTo>
                    <a:cubicBezTo>
                      <a:pt x="6" y="30"/>
                      <a:pt x="5" y="33"/>
                      <a:pt x="3" y="34"/>
                    </a:cubicBezTo>
                    <a:cubicBezTo>
                      <a:pt x="5" y="38"/>
                      <a:pt x="8" y="41"/>
                      <a:pt x="13" y="44"/>
                    </a:cubicBezTo>
                    <a:cubicBezTo>
                      <a:pt x="14" y="41"/>
                      <a:pt x="16" y="40"/>
                      <a:pt x="19" y="40"/>
                    </a:cubicBezTo>
                    <a:moveTo>
                      <a:pt x="21" y="29"/>
                    </a:moveTo>
                    <a:cubicBezTo>
                      <a:pt x="18" y="28"/>
                      <a:pt x="15" y="25"/>
                      <a:pt x="16" y="21"/>
                    </a:cubicBezTo>
                    <a:cubicBezTo>
                      <a:pt x="17" y="18"/>
                      <a:pt x="21" y="15"/>
                      <a:pt x="24" y="16"/>
                    </a:cubicBezTo>
                    <a:cubicBezTo>
                      <a:pt x="28" y="17"/>
                      <a:pt x="30" y="21"/>
                      <a:pt x="29" y="24"/>
                    </a:cubicBezTo>
                    <a:cubicBezTo>
                      <a:pt x="28" y="28"/>
                      <a:pt x="25" y="30"/>
                      <a:pt x="21" y="29"/>
                    </a:cubicBezTo>
                    <a:close/>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5" name="Freeform 89">
                <a:extLst>
                  <a:ext uri="{FF2B5EF4-FFF2-40B4-BE49-F238E27FC236}">
                    <a16:creationId xmlns:a16="http://schemas.microsoft.com/office/drawing/2014/main" id="{D7B95CA3-1117-469C-9369-B4282A35D490}"/>
                  </a:ext>
                </a:extLst>
              </p:cNvPr>
              <p:cNvSpPr>
                <a:spLocks/>
              </p:cNvSpPr>
              <p:nvPr/>
            </p:nvSpPr>
            <p:spPr bwMode="auto">
              <a:xfrm>
                <a:off x="8276555" y="1318011"/>
                <a:ext cx="41275" cy="41275"/>
              </a:xfrm>
              <a:custGeom>
                <a:avLst/>
                <a:gdLst>
                  <a:gd name="T0" fmla="*/ 0 w 26"/>
                  <a:gd name="T1" fmla="*/ 0 h 26"/>
                  <a:gd name="T2" fmla="*/ 26 w 26"/>
                  <a:gd name="T3" fmla="*/ 0 h 26"/>
                  <a:gd name="T4" fmla="*/ 23 w 26"/>
                  <a:gd name="T5" fmla="*/ 26 h 26"/>
                </a:gdLst>
                <a:ahLst/>
                <a:cxnLst>
                  <a:cxn ang="0">
                    <a:pos x="T0" y="T1"/>
                  </a:cxn>
                  <a:cxn ang="0">
                    <a:pos x="T2" y="T3"/>
                  </a:cxn>
                  <a:cxn ang="0">
                    <a:pos x="T4" y="T5"/>
                  </a:cxn>
                </a:cxnLst>
                <a:rect l="0" t="0" r="r" b="b"/>
                <a:pathLst>
                  <a:path w="26" h="26">
                    <a:moveTo>
                      <a:pt x="0" y="0"/>
                    </a:moveTo>
                    <a:lnTo>
                      <a:pt x="26" y="0"/>
                    </a:lnTo>
                    <a:lnTo>
                      <a:pt x="23" y="2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7" name="Freeform 90">
                <a:extLst>
                  <a:ext uri="{FF2B5EF4-FFF2-40B4-BE49-F238E27FC236}">
                    <a16:creationId xmlns:a16="http://schemas.microsoft.com/office/drawing/2014/main" id="{3B625A55-27BC-41DC-A3D0-A782E6DAB9A6}"/>
                  </a:ext>
                </a:extLst>
              </p:cNvPr>
              <p:cNvSpPr>
                <a:spLocks/>
              </p:cNvSpPr>
              <p:nvPr/>
            </p:nvSpPr>
            <p:spPr bwMode="auto">
              <a:xfrm>
                <a:off x="8443243" y="1579949"/>
                <a:ext cx="41275" cy="49213"/>
              </a:xfrm>
              <a:custGeom>
                <a:avLst/>
                <a:gdLst>
                  <a:gd name="T0" fmla="*/ 26 w 26"/>
                  <a:gd name="T1" fmla="*/ 31 h 31"/>
                  <a:gd name="T2" fmla="*/ 0 w 26"/>
                  <a:gd name="T3" fmla="*/ 25 h 31"/>
                  <a:gd name="T4" fmla="*/ 6 w 26"/>
                  <a:gd name="T5" fmla="*/ 0 h 31"/>
                </a:gdLst>
                <a:ahLst/>
                <a:cxnLst>
                  <a:cxn ang="0">
                    <a:pos x="T0" y="T1"/>
                  </a:cxn>
                  <a:cxn ang="0">
                    <a:pos x="T2" y="T3"/>
                  </a:cxn>
                  <a:cxn ang="0">
                    <a:pos x="T4" y="T5"/>
                  </a:cxn>
                </a:cxnLst>
                <a:rect l="0" t="0" r="r" b="b"/>
                <a:pathLst>
                  <a:path w="26" h="31">
                    <a:moveTo>
                      <a:pt x="26" y="31"/>
                    </a:moveTo>
                    <a:lnTo>
                      <a:pt x="0" y="25"/>
                    </a:lnTo>
                    <a:lnTo>
                      <a:pt x="6"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8" name="Line 91">
                <a:extLst>
                  <a:ext uri="{FF2B5EF4-FFF2-40B4-BE49-F238E27FC236}">
                    <a16:creationId xmlns:a16="http://schemas.microsoft.com/office/drawing/2014/main" id="{05E163F9-E214-4DA2-BEEC-2BF735876492}"/>
                  </a:ext>
                </a:extLst>
              </p:cNvPr>
              <p:cNvSpPr>
                <a:spLocks noChangeShapeType="1"/>
              </p:cNvSpPr>
              <p:nvPr/>
            </p:nvSpPr>
            <p:spPr bwMode="auto">
              <a:xfrm>
                <a:off x="8448005" y="1616461"/>
                <a:ext cx="0"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1" name="Freeform 92">
                <a:extLst>
                  <a:ext uri="{FF2B5EF4-FFF2-40B4-BE49-F238E27FC236}">
                    <a16:creationId xmlns:a16="http://schemas.microsoft.com/office/drawing/2014/main" id="{C3C9CE66-062C-4846-957C-10D3E9D04E4D}"/>
                  </a:ext>
                </a:extLst>
              </p:cNvPr>
              <p:cNvSpPr>
                <a:spLocks/>
              </p:cNvSpPr>
              <p:nvPr/>
            </p:nvSpPr>
            <p:spPr bwMode="auto">
              <a:xfrm>
                <a:off x="8448005" y="1503749"/>
                <a:ext cx="103188" cy="112713"/>
              </a:xfrm>
              <a:custGeom>
                <a:avLst/>
                <a:gdLst>
                  <a:gd name="T0" fmla="*/ 23 w 23"/>
                  <a:gd name="T1" fmla="*/ 0 h 25"/>
                  <a:gd name="T2" fmla="*/ 0 w 23"/>
                  <a:gd name="T3" fmla="*/ 25 h 25"/>
                </a:gdLst>
                <a:ahLst/>
                <a:cxnLst>
                  <a:cxn ang="0">
                    <a:pos x="T0" y="T1"/>
                  </a:cxn>
                  <a:cxn ang="0">
                    <a:pos x="T2" y="T3"/>
                  </a:cxn>
                </a:cxnLst>
                <a:rect l="0" t="0" r="r" b="b"/>
                <a:pathLst>
                  <a:path w="23" h="25">
                    <a:moveTo>
                      <a:pt x="23" y="0"/>
                    </a:moveTo>
                    <a:cubicBezTo>
                      <a:pt x="20" y="12"/>
                      <a:pt x="11" y="21"/>
                      <a:pt x="0" y="25"/>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42" name="Freeform 93">
                <a:extLst>
                  <a:ext uri="{FF2B5EF4-FFF2-40B4-BE49-F238E27FC236}">
                    <a16:creationId xmlns:a16="http://schemas.microsoft.com/office/drawing/2014/main" id="{BC86F075-740E-4E63-9F16-79A2374317E3}"/>
                  </a:ext>
                </a:extLst>
              </p:cNvPr>
              <p:cNvSpPr>
                <a:spLocks/>
              </p:cNvSpPr>
              <p:nvPr/>
            </p:nvSpPr>
            <p:spPr bwMode="auto">
              <a:xfrm>
                <a:off x="8236868" y="1327536"/>
                <a:ext cx="71438" cy="112713"/>
              </a:xfrm>
              <a:custGeom>
                <a:avLst/>
                <a:gdLst>
                  <a:gd name="T0" fmla="*/ 0 w 16"/>
                  <a:gd name="T1" fmla="*/ 25 h 25"/>
                  <a:gd name="T2" fmla="*/ 0 w 16"/>
                  <a:gd name="T3" fmla="*/ 25 h 25"/>
                  <a:gd name="T4" fmla="*/ 0 w 16"/>
                  <a:gd name="T5" fmla="*/ 25 h 25"/>
                  <a:gd name="T6" fmla="*/ 1 w 16"/>
                  <a:gd name="T7" fmla="*/ 22 h 25"/>
                  <a:gd name="T8" fmla="*/ 16 w 16"/>
                  <a:gd name="T9" fmla="*/ 0 h 25"/>
                </a:gdLst>
                <a:ahLst/>
                <a:cxnLst>
                  <a:cxn ang="0">
                    <a:pos x="T0" y="T1"/>
                  </a:cxn>
                  <a:cxn ang="0">
                    <a:pos x="T2" y="T3"/>
                  </a:cxn>
                  <a:cxn ang="0">
                    <a:pos x="T4" y="T5"/>
                  </a:cxn>
                  <a:cxn ang="0">
                    <a:pos x="T6" y="T7"/>
                  </a:cxn>
                  <a:cxn ang="0">
                    <a:pos x="T8" y="T9"/>
                  </a:cxn>
                </a:cxnLst>
                <a:rect l="0" t="0" r="r" b="b"/>
                <a:pathLst>
                  <a:path w="16" h="25">
                    <a:moveTo>
                      <a:pt x="0" y="25"/>
                    </a:moveTo>
                    <a:cubicBezTo>
                      <a:pt x="0" y="25"/>
                      <a:pt x="0" y="25"/>
                      <a:pt x="0" y="25"/>
                    </a:cubicBezTo>
                    <a:cubicBezTo>
                      <a:pt x="0" y="25"/>
                      <a:pt x="0" y="25"/>
                      <a:pt x="0" y="25"/>
                    </a:cubicBezTo>
                    <a:cubicBezTo>
                      <a:pt x="0" y="24"/>
                      <a:pt x="1" y="23"/>
                      <a:pt x="1" y="22"/>
                    </a:cubicBezTo>
                    <a:cubicBezTo>
                      <a:pt x="3" y="12"/>
                      <a:pt x="8" y="5"/>
                      <a:pt x="16"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43" name="Freeform 94">
                <a:extLst>
                  <a:ext uri="{FF2B5EF4-FFF2-40B4-BE49-F238E27FC236}">
                    <a16:creationId xmlns:a16="http://schemas.microsoft.com/office/drawing/2014/main" id="{54558B18-5A5A-46EF-8712-512E855B0AFF}"/>
                  </a:ext>
                </a:extLst>
              </p:cNvPr>
              <p:cNvSpPr>
                <a:spLocks/>
              </p:cNvSpPr>
              <p:nvPr/>
            </p:nvSpPr>
            <p:spPr bwMode="auto">
              <a:xfrm>
                <a:off x="8097168" y="1435486"/>
                <a:ext cx="139700" cy="17463"/>
              </a:xfrm>
              <a:custGeom>
                <a:avLst/>
                <a:gdLst>
                  <a:gd name="T0" fmla="*/ 0 w 31"/>
                  <a:gd name="T1" fmla="*/ 4 h 4"/>
                  <a:gd name="T2" fmla="*/ 22 w 31"/>
                  <a:gd name="T3" fmla="*/ 0 h 4"/>
                  <a:gd name="T4" fmla="*/ 31 w 31"/>
                  <a:gd name="T5" fmla="*/ 1 h 4"/>
                </a:gdLst>
                <a:ahLst/>
                <a:cxnLst>
                  <a:cxn ang="0">
                    <a:pos x="T0" y="T1"/>
                  </a:cxn>
                  <a:cxn ang="0">
                    <a:pos x="T2" y="T3"/>
                  </a:cxn>
                  <a:cxn ang="0">
                    <a:pos x="T4" y="T5"/>
                  </a:cxn>
                </a:cxnLst>
                <a:rect l="0" t="0" r="r" b="b"/>
                <a:pathLst>
                  <a:path w="31" h="4">
                    <a:moveTo>
                      <a:pt x="0" y="4"/>
                    </a:moveTo>
                    <a:cubicBezTo>
                      <a:pt x="6" y="1"/>
                      <a:pt x="14" y="0"/>
                      <a:pt x="22" y="0"/>
                    </a:cubicBezTo>
                    <a:cubicBezTo>
                      <a:pt x="25" y="0"/>
                      <a:pt x="28" y="0"/>
                      <a:pt x="31" y="1"/>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sp>
        <p:nvSpPr>
          <p:cNvPr id="30" name="Rectangle 29">
            <a:extLst>
              <a:ext uri="{FF2B5EF4-FFF2-40B4-BE49-F238E27FC236}">
                <a16:creationId xmlns:a16="http://schemas.microsoft.com/office/drawing/2014/main" id="{6BDE72D1-86F5-45F6-BFBB-CCF5F547B801}"/>
              </a:ext>
            </a:extLst>
          </p:cNvPr>
          <p:cNvSpPr/>
          <p:nvPr/>
        </p:nvSpPr>
        <p:spPr>
          <a:xfrm>
            <a:off x="7044857" y="6066845"/>
            <a:ext cx="2099143" cy="791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F3710A4B-5C7F-46F7-9EAB-55FE4832361D}"/>
              </a:ext>
            </a:extLst>
          </p:cNvPr>
          <p:cNvSpPr/>
          <p:nvPr/>
        </p:nvSpPr>
        <p:spPr>
          <a:xfrm>
            <a:off x="728663" y="2920391"/>
            <a:ext cx="5209119" cy="2503762"/>
          </a:xfrm>
          <a:prstGeom prst="rect">
            <a:avLst/>
          </a:prstGeom>
        </p:spPr>
        <p:txBody>
          <a:bodyPr wrap="square" lIns="0" tIns="0" rIns="0" bIns="0" anchor="t">
            <a:spAutoFit/>
          </a:bodyPr>
          <a:lstStyle/>
          <a:p>
            <a:pPr>
              <a:lnSpc>
                <a:spcPct val="90000"/>
              </a:lnSpc>
              <a:spcAft>
                <a:spcPts val="600"/>
              </a:spcAft>
            </a:pPr>
            <a:r>
              <a:rPr lang="da-DK" sz="900" dirty="0"/>
              <a:t>Som det fremgår af indledningen servicerer den eksisterende </a:t>
            </a:r>
            <a:r>
              <a:rPr lang="da-DK" sz="900" dirty="0" err="1"/>
              <a:t>IndFak</a:t>
            </a:r>
            <a:r>
              <a:rPr lang="da-DK" sz="900" dirty="0"/>
              <a:t> </a:t>
            </a:r>
            <a:r>
              <a:rPr lang="da-DK" sz="900" dirty="0" smtClean="0"/>
              <a:t>løsning over 400 statslige </a:t>
            </a:r>
            <a:r>
              <a:rPr lang="da-DK" sz="900" dirty="0"/>
              <a:t>myndigheder og statslige selvejende institutioner, der i alt har ca. </a:t>
            </a:r>
            <a:r>
              <a:rPr lang="da-DK" sz="900" dirty="0" smtClean="0"/>
              <a:t>110.000 brugere, heraf ca. 25.000 månedlige, </a:t>
            </a:r>
            <a:r>
              <a:rPr lang="da-DK" sz="900" dirty="0"/>
              <a:t>ligesom yderligere ca. 300 statslige enheder skal kunne tilslutte sig løsningen, hvilket i givet fald ud over et stort antal indkøbsordrer vil kræve driftskapacitet til behandling af ca. 2</a:t>
            </a:r>
            <a:r>
              <a:rPr lang="da-DK" sz="900" dirty="0" smtClean="0"/>
              <a:t> mio</a:t>
            </a:r>
            <a:r>
              <a:rPr lang="da-DK" sz="900" dirty="0"/>
              <a:t>. </a:t>
            </a:r>
            <a:r>
              <a:rPr lang="da-DK" sz="900" dirty="0" smtClean="0"/>
              <a:t>fakturaer </a:t>
            </a:r>
            <a:r>
              <a:rPr lang="da-DK" sz="900" dirty="0"/>
              <a:t>årligt.</a:t>
            </a:r>
          </a:p>
          <a:p>
            <a:pPr>
              <a:lnSpc>
                <a:spcPct val="90000"/>
              </a:lnSpc>
              <a:spcAft>
                <a:spcPts val="600"/>
              </a:spcAft>
            </a:pPr>
            <a:r>
              <a:rPr lang="da-DK" sz="900" dirty="0"/>
              <a:t>Med så mange forskellige enheder og brugere kombineret med karakteren af data i systemerne skal Økonomistyrelsen overveje forskellige driftsmodeller, der kan kombinere behovet for fleksibilitet med et stort behov for driftsstabilitet og evne til </a:t>
            </a:r>
            <a:r>
              <a:rPr lang="da-DK" sz="900" dirty="0" err="1"/>
              <a:t>skalering</a:t>
            </a:r>
            <a:r>
              <a:rPr lang="da-DK" sz="900" dirty="0"/>
              <a:t> (”</a:t>
            </a:r>
            <a:r>
              <a:rPr lang="da-DK" sz="900" dirty="0" err="1"/>
              <a:t>capacity</a:t>
            </a:r>
            <a:r>
              <a:rPr lang="da-DK" sz="900" dirty="0"/>
              <a:t> on </a:t>
            </a:r>
            <a:r>
              <a:rPr lang="da-DK" sz="900" dirty="0" err="1"/>
              <a:t>demand</a:t>
            </a:r>
            <a:r>
              <a:rPr lang="da-DK" sz="900" dirty="0"/>
              <a:t>”)</a:t>
            </a:r>
          </a:p>
          <a:p>
            <a:pPr>
              <a:lnSpc>
                <a:spcPct val="90000"/>
              </a:lnSpc>
              <a:spcAft>
                <a:spcPts val="600"/>
              </a:spcAft>
            </a:pPr>
            <a:r>
              <a:rPr lang="da-DK" sz="900" dirty="0"/>
              <a:t>En </a:t>
            </a:r>
            <a:r>
              <a:rPr lang="da-DK" sz="900" dirty="0" err="1"/>
              <a:t>SaaS</a:t>
            </a:r>
            <a:r>
              <a:rPr lang="da-DK" sz="900" dirty="0"/>
              <a:t>-model kan være god til at understøtte fleksibel </a:t>
            </a:r>
            <a:r>
              <a:rPr lang="da-DK" sz="900" dirty="0" err="1" smtClean="0"/>
              <a:t>skalering</a:t>
            </a:r>
            <a:r>
              <a:rPr lang="da-DK" sz="900" dirty="0" smtClean="0"/>
              <a:t>, </a:t>
            </a:r>
            <a:r>
              <a:rPr lang="da-DK" sz="900" dirty="0"/>
              <a:t>men kan samtidig reducere fleksibiliteten ift. kundespecifik funktionalitet og opgraderingscykler.</a:t>
            </a:r>
          </a:p>
          <a:p>
            <a:pPr>
              <a:lnSpc>
                <a:spcPct val="90000"/>
              </a:lnSpc>
              <a:spcAft>
                <a:spcPts val="600"/>
              </a:spcAft>
            </a:pPr>
            <a:r>
              <a:rPr lang="da-DK" sz="900" dirty="0"/>
              <a:t>Egen drift (via Statens IT) kan modsat give fleksibilitet i versionering og kundespecifikke </a:t>
            </a:r>
            <a:r>
              <a:rPr lang="da-DK" sz="900" dirty="0" smtClean="0"/>
              <a:t>tilpasninger </a:t>
            </a:r>
            <a:r>
              <a:rPr lang="da-DK" sz="900" dirty="0"/>
              <a:t>samtidig med, at det formentlig vil øge sikkerhed og kontrol over dataplacering. </a:t>
            </a:r>
          </a:p>
          <a:p>
            <a:pPr>
              <a:lnSpc>
                <a:spcPct val="90000"/>
              </a:lnSpc>
              <a:spcAft>
                <a:spcPts val="600"/>
              </a:spcAft>
            </a:pPr>
            <a:r>
              <a:rPr lang="da-DK" sz="900" dirty="0"/>
              <a:t>Driftsmodellen vil endvidere givet have betydning for løsningens TCO, og hvilke løsninger og driftsgarantier leverandøren kan tilbyde.</a:t>
            </a:r>
          </a:p>
          <a:p>
            <a:pPr>
              <a:lnSpc>
                <a:spcPct val="90000"/>
              </a:lnSpc>
              <a:spcAft>
                <a:spcPts val="600"/>
              </a:spcAft>
            </a:pPr>
            <a:endParaRPr lang="da-DK" sz="900" b="1" dirty="0"/>
          </a:p>
        </p:txBody>
      </p:sp>
    </p:spTree>
    <p:extLst>
      <p:ext uri="{BB962C8B-B14F-4D97-AF65-F5344CB8AC3E}">
        <p14:creationId xmlns:p14="http://schemas.microsoft.com/office/powerpoint/2010/main" val="11768033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E967D5E-FA82-40B6-AB9D-04EAEF8B53BB}"/>
              </a:ext>
            </a:extLst>
          </p:cNvPr>
          <p:cNvSpPr/>
          <p:nvPr/>
        </p:nvSpPr>
        <p:spPr>
          <a:xfrm>
            <a:off x="0" y="1611830"/>
            <a:ext cx="7846535" cy="5246170"/>
          </a:xfrm>
          <a:prstGeom prst="rect">
            <a:avLst/>
          </a:prstGeom>
          <a:solidFill>
            <a:srgbClr val="FBF9F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algn="l"/>
            <a:endParaRPr lang="da-DK" sz="923">
              <a:solidFill>
                <a:srgbClr val="2F363B"/>
              </a:solidFill>
            </a:endParaRPr>
          </a:p>
        </p:txBody>
      </p:sp>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3615626333"/>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27665" name="think-cell Slide" r:id="rId7" imgW="216" imgH="216" progId="TCLayout.ActiveDocument.1">
                  <p:embed/>
                </p:oleObj>
              </mc:Choice>
              <mc:Fallback>
                <p:oleObj name="think-cell Slide" r:id="rId7" imgW="216" imgH="216" progId="TCLayout.ActiveDocument.1">
                  <p:embed/>
                  <p:pic>
                    <p:nvPicPr>
                      <p:cNvPr id="2" name="Object 1" hidden="1"/>
                      <p:cNvPicPr/>
                      <p:nvPr/>
                    </p:nvPicPr>
                    <p:blipFill>
                      <a:blip r:embed="rId8"/>
                      <a:stretch>
                        <a:fillRect/>
                      </a:stretch>
                    </p:blipFill>
                    <p:spPr>
                      <a:xfrm>
                        <a:off x="1466" y="265236"/>
                        <a:ext cx="1465" cy="146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2B40EC1-E74B-4120-9E59-F5F17C97C321}"/>
              </a:ext>
            </a:extLst>
          </p:cNvPr>
          <p:cNvSpPr/>
          <p:nvPr>
            <p:custDataLst>
              <p:tags r:id="rId4"/>
            </p:custDataLst>
          </p:nvPr>
        </p:nvSpPr>
        <p:spPr>
          <a:xfrm>
            <a:off x="0" y="263769"/>
            <a:ext cx="146538" cy="146538"/>
          </a:xfrm>
          <a:prstGeom prst="rect">
            <a:avLst/>
          </a:prstGeom>
          <a:noFill/>
          <a:ln w="12700" cap="rnd">
            <a:solidFill>
              <a:srgbClr val="30373B"/>
            </a:solidFill>
            <a:prstDash val="solid"/>
            <a:round/>
          </a:ln>
        </p:spPr>
        <p:txBody>
          <a:bodyPr vert="horz" wrap="none" lIns="0" tIns="0" rIns="0" bIns="0" numCol="1" spcCol="0" rtlCol="0" anchor="ctr" anchorCtr="0">
            <a:noAutofit/>
          </a:bodyPr>
          <a:lstStyle/>
          <a:p>
            <a:pPr>
              <a:spcBef>
                <a:spcPct val="0"/>
              </a:spcBef>
              <a:spcAft>
                <a:spcPct val="0"/>
              </a:spcAft>
            </a:pPr>
            <a:endParaRPr lang="da-DK" sz="2215"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3795" name="Rectangle 2"/>
          <p:cNvSpPr>
            <a:spLocks noGrp="1" noChangeArrowheads="1"/>
          </p:cNvSpPr>
          <p:nvPr>
            <p:ph type="title"/>
          </p:nvPr>
        </p:nvSpPr>
        <p:spPr>
          <a:xfrm>
            <a:off x="273043" y="264796"/>
            <a:ext cx="7606283" cy="461665"/>
          </a:xfrm>
        </p:spPr>
        <p:txBody>
          <a:bodyPr/>
          <a:lstStyle/>
          <a:p>
            <a:r>
              <a:rPr lang="da-DK" sz="2500" dirty="0">
                <a:latin typeface="Impact" panose="020B0806030902050204" pitchFamily="34" charset="0"/>
              </a:rPr>
              <a:t>4. PLANEN OG PROCESSEN    </a:t>
            </a:r>
            <a:r>
              <a:rPr lang="da-DK" sz="1800" dirty="0">
                <a:latin typeface="Impact" panose="020B0806030902050204" pitchFamily="34" charset="0"/>
              </a:rPr>
              <a:t/>
            </a:r>
            <a:br>
              <a:rPr lang="da-DK" sz="1800" dirty="0">
                <a:latin typeface="Impact" panose="020B0806030902050204" pitchFamily="34" charset="0"/>
              </a:rPr>
            </a:br>
            <a:r>
              <a:rPr lang="da-DK" sz="1800" b="0" dirty="0" smtClean="0">
                <a:solidFill>
                  <a:schemeClr val="tx1"/>
                </a:solidFill>
                <a:latin typeface="+mn-lt"/>
                <a:ea typeface="Verdana"/>
                <a:cs typeface="Verdana"/>
              </a:rPr>
              <a:t>4.1 </a:t>
            </a:r>
            <a:r>
              <a:rPr lang="da-DK" sz="1800" b="0" dirty="0" smtClean="0">
                <a:solidFill>
                  <a:srgbClr val="1F2023"/>
                </a:solidFill>
                <a:latin typeface="+mn-lt"/>
                <a:ea typeface="Verdana"/>
                <a:cs typeface="Verdana"/>
              </a:rPr>
              <a:t>OVERBLIK </a:t>
            </a:r>
            <a:r>
              <a:rPr lang="da-DK" sz="1800" b="0" dirty="0">
                <a:solidFill>
                  <a:srgbClr val="1F2023"/>
                </a:solidFill>
                <a:latin typeface="+mn-lt"/>
                <a:ea typeface="Verdana"/>
                <a:cs typeface="Verdana"/>
              </a:rPr>
              <a:t>OVER ANSKAFFELSESPROCESSEN</a:t>
            </a:r>
            <a:r>
              <a:rPr lang="da-DK" sz="2215" dirty="0">
                <a:latin typeface="Impact" panose="020B0806030902050204" pitchFamily="34" charset="0"/>
              </a:rPr>
              <a:t/>
            </a:r>
            <a:br>
              <a:rPr lang="da-DK" sz="2215" dirty="0">
                <a:latin typeface="Impact" panose="020B0806030902050204" pitchFamily="34" charset="0"/>
              </a:rPr>
            </a:br>
            <a:r>
              <a:rPr lang="da-DK" sz="2215" dirty="0">
                <a:solidFill>
                  <a:srgbClr val="000000">
                    <a:lumMod val="65000"/>
                    <a:lumOff val="35000"/>
                  </a:srgbClr>
                </a:solidFill>
                <a:latin typeface="Arial" pitchFamily="34" charset="0"/>
                <a:cs typeface="Arial" pitchFamily="34" charset="0"/>
              </a:rPr>
              <a:t> </a:t>
            </a:r>
            <a:endParaRPr lang="da-DK" sz="2215" dirty="0">
              <a:sym typeface="Arial" charset="0"/>
            </a:endParaRPr>
          </a:p>
        </p:txBody>
      </p:sp>
      <p:sp>
        <p:nvSpPr>
          <p:cNvPr id="31" name="TextBox 30">
            <a:extLst>
              <a:ext uri="{FF2B5EF4-FFF2-40B4-BE49-F238E27FC236}">
                <a16:creationId xmlns:a16="http://schemas.microsoft.com/office/drawing/2014/main" id="{BC446A61-812A-44C5-A401-3D386940261A}"/>
              </a:ext>
            </a:extLst>
          </p:cNvPr>
          <p:cNvSpPr txBox="1"/>
          <p:nvPr/>
        </p:nvSpPr>
        <p:spPr>
          <a:xfrm>
            <a:off x="385489" y="2323477"/>
            <a:ext cx="5517661" cy="1231106"/>
          </a:xfrm>
          <a:prstGeom prst="rect">
            <a:avLst/>
          </a:prstGeom>
          <a:noFill/>
          <a:ln w="6350">
            <a:noFill/>
            <a:prstDash val="sysDash"/>
          </a:ln>
        </p:spPr>
        <p:txBody>
          <a:bodyPr wrap="square" lIns="0" tIns="0" rIns="0" bIns="0" rtlCol="0" anchor="t">
            <a:spAutoFit/>
          </a:bodyPr>
          <a:lstStyle/>
          <a:p>
            <a:pPr algn="just"/>
            <a:r>
              <a:rPr lang="da-DK" sz="1000" dirty="0"/>
              <a:t>Markedsdialogen skal bidrage til Økonomistyrelsens overvejelser om strategi og plan for et kommende udbud. Den centrale milepæl er udløbet af den eksisterende kontrakt for </a:t>
            </a:r>
            <a:r>
              <a:rPr lang="da-DK" sz="1000" dirty="0" err="1"/>
              <a:t>IndFak</a:t>
            </a:r>
            <a:r>
              <a:rPr lang="da-DK" sz="1000" dirty="0"/>
              <a:t> </a:t>
            </a:r>
            <a:r>
              <a:rPr lang="da-DK" sz="1000" dirty="0" smtClean="0"/>
              <a:t>i </a:t>
            </a:r>
            <a:r>
              <a:rPr lang="da-DK" sz="1000" dirty="0"/>
              <a:t>september 2022. Et kommende udbud skal derfor gennemføres med fokus på at give tilstrækkelig tid til implementering af nye løsninger således at go-live, </a:t>
            </a:r>
            <a:r>
              <a:rPr lang="da-DK" sz="1000" dirty="0" err="1"/>
              <a:t>hypercare</a:t>
            </a:r>
            <a:r>
              <a:rPr lang="da-DK" sz="1000" dirty="0"/>
              <a:t> og driftsprøve kan være gennemført inden 1. september 2022. For at realisere tidskravene kan det være nødvendigt at implementere og idriftsætte en kommende løsning i </a:t>
            </a:r>
            <a:r>
              <a:rPr lang="da-DK" sz="1000" dirty="0" err="1"/>
              <a:t>iterationer</a:t>
            </a:r>
            <a:r>
              <a:rPr lang="da-DK" sz="1000" dirty="0" smtClean="0"/>
              <a:t>. Nedenstående tidsplan er vejledende og kan blive tilpasset i løbet af processen.</a:t>
            </a:r>
            <a:endParaRPr lang="da-DK" sz="1000" dirty="0"/>
          </a:p>
        </p:txBody>
      </p:sp>
      <p:sp>
        <p:nvSpPr>
          <p:cNvPr id="85" name="Rectangle 84">
            <a:extLst>
              <a:ext uri="{FF2B5EF4-FFF2-40B4-BE49-F238E27FC236}">
                <a16:creationId xmlns:a16="http://schemas.microsoft.com/office/drawing/2014/main" id="{1AE57CDF-BCCD-44A5-8058-1C6F1A16FA06}"/>
              </a:ext>
            </a:extLst>
          </p:cNvPr>
          <p:cNvSpPr/>
          <p:nvPr/>
        </p:nvSpPr>
        <p:spPr>
          <a:xfrm>
            <a:off x="385489" y="3831352"/>
            <a:ext cx="7267227" cy="673622"/>
          </a:xfrm>
          <a:prstGeom prst="rect">
            <a:avLst/>
          </a:prstGeom>
          <a:solidFill>
            <a:srgbClr val="F3F2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7">
              <a:lnSpc>
                <a:spcPct val="90000"/>
              </a:lnSpc>
              <a:spcAft>
                <a:spcPts val="554"/>
              </a:spcAft>
              <a:buFont typeface="Arial" panose="020B0604020202020204" pitchFamily="34" charset="0"/>
              <a:buChar char="​"/>
              <a:defRPr/>
            </a:pPr>
            <a:endParaRPr lang="nb-NO" sz="923">
              <a:solidFill>
                <a:srgbClr val="1F2023"/>
              </a:solidFill>
              <a:latin typeface="Arial"/>
            </a:endParaRPr>
          </a:p>
        </p:txBody>
      </p:sp>
      <p:graphicFrame>
        <p:nvGraphicFramePr>
          <p:cNvPr id="87" name="Table 86">
            <a:extLst>
              <a:ext uri="{FF2B5EF4-FFF2-40B4-BE49-F238E27FC236}">
                <a16:creationId xmlns:a16="http://schemas.microsoft.com/office/drawing/2014/main" id="{8A63544E-7B80-4514-994E-07B14C5ECD24}"/>
              </a:ext>
            </a:extLst>
          </p:cNvPr>
          <p:cNvGraphicFramePr>
            <a:graphicFrameLocks noGrp="1"/>
          </p:cNvGraphicFramePr>
          <p:nvPr>
            <p:extLst>
              <p:ext uri="{D42A27DB-BD31-4B8C-83A1-F6EECF244321}">
                <p14:modId xmlns:p14="http://schemas.microsoft.com/office/powerpoint/2010/main" val="2157256792"/>
              </p:ext>
            </p:extLst>
          </p:nvPr>
        </p:nvGraphicFramePr>
        <p:xfrm>
          <a:off x="490931" y="3844038"/>
          <a:ext cx="6817893" cy="662025"/>
        </p:xfrm>
        <a:graphic>
          <a:graphicData uri="http://schemas.openxmlformats.org/drawingml/2006/table">
            <a:tbl>
              <a:tblPr/>
              <a:tblGrid>
                <a:gridCol w="627963">
                  <a:extLst>
                    <a:ext uri="{9D8B030D-6E8A-4147-A177-3AD203B41FA5}">
                      <a16:colId xmlns:a16="http://schemas.microsoft.com/office/drawing/2014/main" val="20001"/>
                    </a:ext>
                  </a:extLst>
                </a:gridCol>
                <a:gridCol w="618993">
                  <a:extLst>
                    <a:ext uri="{9D8B030D-6E8A-4147-A177-3AD203B41FA5}">
                      <a16:colId xmlns:a16="http://schemas.microsoft.com/office/drawing/2014/main" val="20002"/>
                    </a:ext>
                  </a:extLst>
                </a:gridCol>
                <a:gridCol w="618993">
                  <a:extLst>
                    <a:ext uri="{9D8B030D-6E8A-4147-A177-3AD203B41FA5}">
                      <a16:colId xmlns:a16="http://schemas.microsoft.com/office/drawing/2014/main" val="20003"/>
                    </a:ext>
                  </a:extLst>
                </a:gridCol>
                <a:gridCol w="618993">
                  <a:extLst>
                    <a:ext uri="{9D8B030D-6E8A-4147-A177-3AD203B41FA5}">
                      <a16:colId xmlns:a16="http://schemas.microsoft.com/office/drawing/2014/main" val="20004"/>
                    </a:ext>
                  </a:extLst>
                </a:gridCol>
                <a:gridCol w="618993">
                  <a:extLst>
                    <a:ext uri="{9D8B030D-6E8A-4147-A177-3AD203B41FA5}">
                      <a16:colId xmlns:a16="http://schemas.microsoft.com/office/drawing/2014/main" val="20005"/>
                    </a:ext>
                  </a:extLst>
                </a:gridCol>
                <a:gridCol w="618993">
                  <a:extLst>
                    <a:ext uri="{9D8B030D-6E8A-4147-A177-3AD203B41FA5}">
                      <a16:colId xmlns:a16="http://schemas.microsoft.com/office/drawing/2014/main" val="20006"/>
                    </a:ext>
                  </a:extLst>
                </a:gridCol>
                <a:gridCol w="618993">
                  <a:extLst>
                    <a:ext uri="{9D8B030D-6E8A-4147-A177-3AD203B41FA5}">
                      <a16:colId xmlns:a16="http://schemas.microsoft.com/office/drawing/2014/main" val="20007"/>
                    </a:ext>
                  </a:extLst>
                </a:gridCol>
                <a:gridCol w="618993">
                  <a:extLst>
                    <a:ext uri="{9D8B030D-6E8A-4147-A177-3AD203B41FA5}">
                      <a16:colId xmlns:a16="http://schemas.microsoft.com/office/drawing/2014/main" val="20008"/>
                    </a:ext>
                  </a:extLst>
                </a:gridCol>
                <a:gridCol w="618993">
                  <a:extLst>
                    <a:ext uri="{9D8B030D-6E8A-4147-A177-3AD203B41FA5}">
                      <a16:colId xmlns:a16="http://schemas.microsoft.com/office/drawing/2014/main" val="20009"/>
                    </a:ext>
                  </a:extLst>
                </a:gridCol>
                <a:gridCol w="618993">
                  <a:extLst>
                    <a:ext uri="{9D8B030D-6E8A-4147-A177-3AD203B41FA5}">
                      <a16:colId xmlns:a16="http://schemas.microsoft.com/office/drawing/2014/main" val="20010"/>
                    </a:ext>
                  </a:extLst>
                </a:gridCol>
                <a:gridCol w="618993">
                  <a:extLst>
                    <a:ext uri="{9D8B030D-6E8A-4147-A177-3AD203B41FA5}">
                      <a16:colId xmlns:a16="http://schemas.microsoft.com/office/drawing/2014/main" val="20011"/>
                    </a:ext>
                  </a:extLst>
                </a:gridCol>
              </a:tblGrid>
              <a:tr h="662025">
                <a:tc>
                  <a:txBody>
                    <a:bodyPr/>
                    <a:lstStyle/>
                    <a:p>
                      <a:pPr algn="ctr" eaLnBrk="1" fontAlgn="b"/>
                      <a:endParaRPr lang="nb-NO" sz="700" b="1" i="0" u="none" strike="noStrike">
                        <a:solidFill>
                          <a:schemeClr val="tx1"/>
                        </a:solidFill>
                        <a:latin typeface="+mj-lt"/>
                      </a:endParaRPr>
                    </a:p>
                  </a:txBody>
                  <a:tcPr marL="6646" marR="6646" marT="33231" marB="0">
                    <a:lnL w="3175" cap="flat" cmpd="sng" algn="ctr">
                      <a:solidFill>
                        <a:srgbClr val="40615F"/>
                      </a:solidFill>
                      <a:prstDash val="solid"/>
                      <a:round/>
                      <a:headEnd type="none" w="med" len="med"/>
                      <a:tailEnd type="none" w="med" len="med"/>
                    </a:lnL>
                    <a:lnR w="3175" cap="flat" cmpd="sng" algn="ctr">
                      <a:solidFill>
                        <a:srgbClr val="40615F"/>
                      </a:solidFill>
                      <a:prstDash val="solid"/>
                      <a:round/>
                      <a:headEnd type="none" w="med" len="med"/>
                      <a:tailEnd type="none" w="med" len="med"/>
                    </a:lnR>
                    <a:lnT>
                      <a:noFill/>
                    </a:lnT>
                    <a:lnB>
                      <a:noFill/>
                    </a:lnB>
                  </a:tcPr>
                </a:tc>
                <a:tc>
                  <a:txBody>
                    <a:bodyPr/>
                    <a:lstStyle/>
                    <a:p>
                      <a:pPr algn="ctr" eaLnBrk="1" fontAlgn="b"/>
                      <a:endParaRPr lang="nb-NO" sz="700" b="1" i="0" u="none" strike="noStrike">
                        <a:solidFill>
                          <a:schemeClr val="tx1"/>
                        </a:solidFill>
                        <a:latin typeface="+mj-lt"/>
                      </a:endParaRPr>
                    </a:p>
                  </a:txBody>
                  <a:tcPr marL="6646" marR="6646" marT="33231" marB="0">
                    <a:lnL w="3175" cap="flat" cmpd="sng" algn="ctr">
                      <a:solidFill>
                        <a:srgbClr val="40615F"/>
                      </a:solidFill>
                      <a:prstDash val="solid"/>
                      <a:round/>
                      <a:headEnd type="none" w="med" len="med"/>
                      <a:tailEnd type="none" w="med" len="med"/>
                    </a:lnL>
                    <a:lnR w="3175" cap="flat" cmpd="sng" algn="ctr">
                      <a:solidFill>
                        <a:srgbClr val="40615F"/>
                      </a:solidFill>
                      <a:prstDash val="solid"/>
                      <a:round/>
                      <a:headEnd type="none" w="med" len="med"/>
                      <a:tailEnd type="none" w="med" len="med"/>
                    </a:lnR>
                    <a:lnT>
                      <a:noFill/>
                    </a:lnT>
                    <a:lnB>
                      <a:noFill/>
                    </a:lnB>
                  </a:tcPr>
                </a:tc>
                <a:tc>
                  <a:txBody>
                    <a:bodyPr/>
                    <a:lstStyle/>
                    <a:p>
                      <a:pPr algn="ctr" eaLnBrk="1" fontAlgn="b"/>
                      <a:endParaRPr lang="nb-NO" sz="700" b="1" i="0" u="none" strike="noStrike">
                        <a:solidFill>
                          <a:schemeClr val="tx1"/>
                        </a:solidFill>
                        <a:latin typeface="+mj-lt"/>
                      </a:endParaRPr>
                    </a:p>
                  </a:txBody>
                  <a:tcPr marL="6646" marR="6646" marT="33231" marB="0">
                    <a:lnL w="3175" cap="flat" cmpd="sng" algn="ctr">
                      <a:solidFill>
                        <a:srgbClr val="40615F"/>
                      </a:solidFill>
                      <a:prstDash val="solid"/>
                      <a:round/>
                      <a:headEnd type="none" w="med" len="med"/>
                      <a:tailEnd type="none" w="med" len="med"/>
                    </a:lnL>
                    <a:lnR w="3175" cap="flat" cmpd="sng" algn="ctr">
                      <a:solidFill>
                        <a:srgbClr val="40615F"/>
                      </a:solidFill>
                      <a:prstDash val="solid"/>
                      <a:round/>
                      <a:headEnd type="none" w="med" len="med"/>
                      <a:tailEnd type="none" w="med" len="med"/>
                    </a:lnR>
                    <a:lnT>
                      <a:noFill/>
                    </a:lnT>
                    <a:lnB>
                      <a:noFill/>
                    </a:lnB>
                  </a:tcPr>
                </a:tc>
                <a:tc>
                  <a:txBody>
                    <a:bodyPr/>
                    <a:lstStyle/>
                    <a:p>
                      <a:pPr algn="ctr" eaLnBrk="1" fontAlgn="b"/>
                      <a:endParaRPr lang="nb-NO" sz="700" b="1" i="0" u="none" strike="noStrike">
                        <a:solidFill>
                          <a:schemeClr val="tx1"/>
                        </a:solidFill>
                        <a:latin typeface="+mj-lt"/>
                      </a:endParaRPr>
                    </a:p>
                  </a:txBody>
                  <a:tcPr marL="6646" marR="6646" marT="33231" marB="0">
                    <a:lnL w="3175" cap="flat" cmpd="sng" algn="ctr">
                      <a:solidFill>
                        <a:srgbClr val="40615F"/>
                      </a:solidFill>
                      <a:prstDash val="solid"/>
                      <a:round/>
                      <a:headEnd type="none" w="med" len="med"/>
                      <a:tailEnd type="none" w="med" len="med"/>
                    </a:lnL>
                    <a:lnR w="3175" cap="flat" cmpd="sng" algn="ctr">
                      <a:solidFill>
                        <a:srgbClr val="40615F"/>
                      </a:solidFill>
                      <a:prstDash val="solid"/>
                      <a:round/>
                      <a:headEnd type="none" w="med" len="med"/>
                      <a:tailEnd type="none" w="med" len="med"/>
                    </a:lnR>
                    <a:lnT>
                      <a:noFill/>
                    </a:lnT>
                    <a:lnB>
                      <a:noFill/>
                    </a:lnB>
                  </a:tcPr>
                </a:tc>
                <a:tc>
                  <a:txBody>
                    <a:bodyPr/>
                    <a:lstStyle/>
                    <a:p>
                      <a:pPr algn="ctr" eaLnBrk="1" fontAlgn="b"/>
                      <a:endParaRPr lang="nb-NO" sz="700" b="1" i="0" u="none" strike="noStrike">
                        <a:solidFill>
                          <a:schemeClr val="tx1"/>
                        </a:solidFill>
                        <a:latin typeface="+mj-lt"/>
                      </a:endParaRPr>
                    </a:p>
                  </a:txBody>
                  <a:tcPr marL="6646" marR="6646" marT="33231" marB="0">
                    <a:lnL w="3175" cap="flat" cmpd="sng" algn="ctr">
                      <a:solidFill>
                        <a:srgbClr val="40615F"/>
                      </a:solidFill>
                      <a:prstDash val="solid"/>
                      <a:round/>
                      <a:headEnd type="none" w="med" len="med"/>
                      <a:tailEnd type="none" w="med" len="med"/>
                    </a:lnL>
                    <a:lnR w="3175" cap="flat" cmpd="sng" algn="ctr">
                      <a:solidFill>
                        <a:srgbClr val="40615F"/>
                      </a:solidFill>
                      <a:prstDash val="solid"/>
                      <a:round/>
                      <a:headEnd type="none" w="med" len="med"/>
                      <a:tailEnd type="none" w="med" len="med"/>
                    </a:lnR>
                    <a:lnT>
                      <a:noFill/>
                    </a:lnT>
                    <a:lnB>
                      <a:noFill/>
                    </a:lnB>
                  </a:tcPr>
                </a:tc>
                <a:tc>
                  <a:txBody>
                    <a:bodyPr/>
                    <a:lstStyle/>
                    <a:p>
                      <a:pPr algn="ctr" eaLnBrk="1" fontAlgn="b"/>
                      <a:endParaRPr lang="nb-NO" sz="700" b="1" i="0" u="none" strike="noStrike">
                        <a:solidFill>
                          <a:schemeClr val="tx1"/>
                        </a:solidFill>
                        <a:latin typeface="+mj-lt"/>
                      </a:endParaRPr>
                    </a:p>
                  </a:txBody>
                  <a:tcPr marL="6646" marR="6646" marT="33231" marB="0">
                    <a:lnL w="3175" cap="flat" cmpd="sng" algn="ctr">
                      <a:solidFill>
                        <a:srgbClr val="40615F"/>
                      </a:solidFill>
                      <a:prstDash val="solid"/>
                      <a:round/>
                      <a:headEnd type="none" w="med" len="med"/>
                      <a:tailEnd type="none" w="med" len="med"/>
                    </a:lnL>
                    <a:lnR w="3175" cap="flat" cmpd="sng" algn="ctr">
                      <a:solidFill>
                        <a:srgbClr val="40615F"/>
                      </a:solidFill>
                      <a:prstDash val="solid"/>
                      <a:round/>
                      <a:headEnd type="none" w="med" len="med"/>
                      <a:tailEnd type="none" w="med" len="med"/>
                    </a:lnR>
                    <a:lnT>
                      <a:noFill/>
                    </a:lnT>
                    <a:lnB>
                      <a:noFill/>
                    </a:lnB>
                  </a:tcPr>
                </a:tc>
                <a:tc>
                  <a:txBody>
                    <a:bodyPr/>
                    <a:lstStyle/>
                    <a:p>
                      <a:pPr algn="ctr" eaLnBrk="1" fontAlgn="b"/>
                      <a:endParaRPr lang="nb-NO" sz="700" b="1" i="0" u="none" strike="noStrike">
                        <a:solidFill>
                          <a:schemeClr val="tx1"/>
                        </a:solidFill>
                        <a:latin typeface="+mj-lt"/>
                      </a:endParaRPr>
                    </a:p>
                  </a:txBody>
                  <a:tcPr marL="6646" marR="6646" marT="33231" marB="0">
                    <a:lnL w="3175" cap="flat" cmpd="sng" algn="ctr">
                      <a:solidFill>
                        <a:srgbClr val="40615F"/>
                      </a:solidFill>
                      <a:prstDash val="solid"/>
                      <a:round/>
                      <a:headEnd type="none" w="med" len="med"/>
                      <a:tailEnd type="none" w="med" len="med"/>
                    </a:lnL>
                    <a:lnR w="3175" cap="flat" cmpd="sng" algn="ctr">
                      <a:solidFill>
                        <a:srgbClr val="40615F"/>
                      </a:solidFill>
                      <a:prstDash val="solid"/>
                      <a:round/>
                      <a:headEnd type="none" w="med" len="med"/>
                      <a:tailEnd type="none" w="med" len="med"/>
                    </a:lnR>
                    <a:lnT>
                      <a:noFill/>
                    </a:lnT>
                    <a:lnB>
                      <a:noFill/>
                    </a:lnB>
                  </a:tcPr>
                </a:tc>
                <a:tc>
                  <a:txBody>
                    <a:bodyPr/>
                    <a:lstStyle/>
                    <a:p>
                      <a:pPr algn="ctr" eaLnBrk="1" fontAlgn="b"/>
                      <a:endParaRPr lang="nb-NO" sz="700" b="1" i="0" u="none" strike="noStrike">
                        <a:solidFill>
                          <a:schemeClr val="tx1"/>
                        </a:solidFill>
                        <a:latin typeface="+mj-lt"/>
                      </a:endParaRPr>
                    </a:p>
                  </a:txBody>
                  <a:tcPr marL="6646" marR="6646" marT="33231" marB="0">
                    <a:lnL w="3175" cap="flat" cmpd="sng" algn="ctr">
                      <a:solidFill>
                        <a:srgbClr val="40615F"/>
                      </a:solidFill>
                      <a:prstDash val="solid"/>
                      <a:round/>
                      <a:headEnd type="none" w="med" len="med"/>
                      <a:tailEnd type="none" w="med" len="med"/>
                    </a:lnL>
                    <a:lnR w="3175" cap="flat" cmpd="sng" algn="ctr">
                      <a:solidFill>
                        <a:srgbClr val="40615F"/>
                      </a:solidFill>
                      <a:prstDash val="solid"/>
                      <a:round/>
                      <a:headEnd type="none" w="med" len="med"/>
                      <a:tailEnd type="none" w="med" len="med"/>
                    </a:lnR>
                    <a:lnT>
                      <a:noFill/>
                    </a:lnT>
                    <a:lnB>
                      <a:noFill/>
                    </a:lnB>
                    <a:noFill/>
                  </a:tcPr>
                </a:tc>
                <a:tc>
                  <a:txBody>
                    <a:bodyPr/>
                    <a:lstStyle/>
                    <a:p>
                      <a:pPr algn="ctr" eaLnBrk="1" fontAlgn="b"/>
                      <a:endParaRPr lang="nb-NO" sz="700" b="1" i="0" u="none" strike="noStrike">
                        <a:solidFill>
                          <a:schemeClr val="tx1"/>
                        </a:solidFill>
                        <a:latin typeface="+mj-lt"/>
                      </a:endParaRPr>
                    </a:p>
                  </a:txBody>
                  <a:tcPr marL="6646" marR="6646" marT="33231" marB="0">
                    <a:lnL w="3175" cap="flat" cmpd="sng" algn="ctr">
                      <a:solidFill>
                        <a:srgbClr val="40615F"/>
                      </a:solidFill>
                      <a:prstDash val="solid"/>
                      <a:round/>
                      <a:headEnd type="none" w="med" len="med"/>
                      <a:tailEnd type="none" w="med" len="med"/>
                    </a:lnL>
                    <a:lnR w="3175" cap="flat" cmpd="sng" algn="ctr">
                      <a:solidFill>
                        <a:srgbClr val="40615F"/>
                      </a:solidFill>
                      <a:prstDash val="solid"/>
                      <a:round/>
                      <a:headEnd type="none" w="med" len="med"/>
                      <a:tailEnd type="none" w="med" len="med"/>
                    </a:lnR>
                    <a:lnT>
                      <a:noFill/>
                    </a:lnT>
                    <a:lnB>
                      <a:noFill/>
                    </a:lnB>
                    <a:noFill/>
                  </a:tcPr>
                </a:tc>
                <a:tc>
                  <a:txBody>
                    <a:bodyPr/>
                    <a:lstStyle/>
                    <a:p>
                      <a:pPr algn="ctr" eaLnBrk="1" fontAlgn="b"/>
                      <a:endParaRPr lang="nb-NO" sz="700" b="1" i="0" u="none" strike="noStrike">
                        <a:solidFill>
                          <a:schemeClr val="tx1"/>
                        </a:solidFill>
                        <a:latin typeface="+mj-lt"/>
                      </a:endParaRPr>
                    </a:p>
                  </a:txBody>
                  <a:tcPr marL="6646" marR="6646" marT="33231" marB="0">
                    <a:lnL w="3175" cap="flat" cmpd="sng" algn="ctr">
                      <a:solidFill>
                        <a:srgbClr val="40615F"/>
                      </a:solidFill>
                      <a:prstDash val="solid"/>
                      <a:round/>
                      <a:headEnd type="none" w="med" len="med"/>
                      <a:tailEnd type="none" w="med" len="med"/>
                    </a:lnL>
                    <a:lnR w="3175" cap="flat" cmpd="sng" algn="ctr">
                      <a:solidFill>
                        <a:srgbClr val="40615F"/>
                      </a:solidFill>
                      <a:prstDash val="solid"/>
                      <a:round/>
                      <a:headEnd type="none" w="med" len="med"/>
                      <a:tailEnd type="none" w="med" len="med"/>
                    </a:lnR>
                    <a:lnT>
                      <a:noFill/>
                    </a:lnT>
                    <a:lnB>
                      <a:noFill/>
                    </a:lnB>
                  </a:tcPr>
                </a:tc>
                <a:tc>
                  <a:txBody>
                    <a:bodyPr/>
                    <a:lstStyle/>
                    <a:p>
                      <a:pPr algn="ctr" eaLnBrk="1" fontAlgn="b"/>
                      <a:endParaRPr lang="nb-NO" sz="700" b="1" i="0" u="none" strike="noStrike">
                        <a:solidFill>
                          <a:schemeClr val="tx1"/>
                        </a:solidFill>
                        <a:latin typeface="+mj-lt"/>
                      </a:endParaRPr>
                    </a:p>
                  </a:txBody>
                  <a:tcPr marL="6646" marR="6646" marT="33231" marB="0">
                    <a:lnL w="3175" cap="flat" cmpd="sng" algn="ctr">
                      <a:solidFill>
                        <a:srgbClr val="40615F"/>
                      </a:solidFill>
                      <a:prstDash val="solid"/>
                      <a:round/>
                      <a:headEnd type="none" w="med" len="med"/>
                      <a:tailEnd type="none" w="med" len="med"/>
                    </a:lnL>
                    <a:lnR w="3175" cap="flat" cmpd="sng" algn="ctr">
                      <a:solidFill>
                        <a:srgbClr val="40615F"/>
                      </a:solidFill>
                      <a:prstDash val="solid"/>
                      <a:round/>
                      <a:headEnd type="none" w="med" len="med"/>
                      <a:tailEnd type="none" w="med" len="med"/>
                    </a:lnR>
                    <a:lnT>
                      <a:noFill/>
                    </a:lnT>
                    <a:lnB>
                      <a:noFill/>
                    </a:lnB>
                  </a:tcPr>
                </a:tc>
                <a:extLst>
                  <a:ext uri="{0D108BD9-81ED-4DB2-BD59-A6C34878D82A}">
                    <a16:rowId xmlns:a16="http://schemas.microsoft.com/office/drawing/2014/main" val="10000"/>
                  </a:ext>
                </a:extLst>
              </a:tr>
            </a:tbl>
          </a:graphicData>
        </a:graphic>
      </p:graphicFrame>
      <p:sp>
        <p:nvSpPr>
          <p:cNvPr id="89" name="Pentagon 6">
            <a:extLst>
              <a:ext uri="{FF2B5EF4-FFF2-40B4-BE49-F238E27FC236}">
                <a16:creationId xmlns:a16="http://schemas.microsoft.com/office/drawing/2014/main" id="{EE6AF4FB-6617-4310-88FF-314ED854C2ED}"/>
              </a:ext>
            </a:extLst>
          </p:cNvPr>
          <p:cNvSpPr/>
          <p:nvPr/>
        </p:nvSpPr>
        <p:spPr>
          <a:xfrm>
            <a:off x="490931" y="3889209"/>
            <a:ext cx="1373089" cy="557909"/>
          </a:xfrm>
          <a:prstGeom prst="homePlate">
            <a:avLst>
              <a:gd name="adj" fmla="val 16392"/>
            </a:avLst>
          </a:prstGeom>
          <a:solidFill>
            <a:srgbClr val="40615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3231" tIns="33227" rIns="0" bIns="33227" rtlCol="0" anchor="ctr"/>
          <a:lstStyle/>
          <a:p>
            <a:pPr defTabSz="685817">
              <a:lnSpc>
                <a:spcPct val="90000"/>
              </a:lnSpc>
              <a:spcAft>
                <a:spcPts val="554"/>
              </a:spcAft>
              <a:buFont typeface="Arial" panose="020B0604020202020204" pitchFamily="34" charset="0"/>
              <a:buChar char="​"/>
              <a:defRPr/>
            </a:pPr>
            <a:r>
              <a:rPr lang="nb-NO" sz="831" b="1">
                <a:solidFill>
                  <a:srgbClr val="FFFFFF"/>
                </a:solidFill>
              </a:rPr>
              <a:t>Forberedelse</a:t>
            </a:r>
            <a:r>
              <a:rPr lang="nb-NO" sz="831" b="1">
                <a:solidFill>
                  <a:srgbClr val="FFFFFF"/>
                </a:solidFill>
                <a:latin typeface="Arial"/>
              </a:rPr>
              <a:t> af udbud</a:t>
            </a:r>
          </a:p>
        </p:txBody>
      </p:sp>
      <p:sp>
        <p:nvSpPr>
          <p:cNvPr id="91" name="Pentagon 6">
            <a:extLst>
              <a:ext uri="{FF2B5EF4-FFF2-40B4-BE49-F238E27FC236}">
                <a16:creationId xmlns:a16="http://schemas.microsoft.com/office/drawing/2014/main" id="{E3C8AFCB-FBDE-4EF5-87B2-3C773B39D135}"/>
              </a:ext>
            </a:extLst>
          </p:cNvPr>
          <p:cNvSpPr/>
          <p:nvPr/>
        </p:nvSpPr>
        <p:spPr>
          <a:xfrm>
            <a:off x="1894257" y="3889209"/>
            <a:ext cx="2331048" cy="557909"/>
          </a:xfrm>
          <a:prstGeom prst="homePlate">
            <a:avLst>
              <a:gd name="adj" fmla="val 16392"/>
            </a:avLst>
          </a:prstGeom>
          <a:solidFill>
            <a:srgbClr val="40615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3231" tIns="33227" rIns="0" bIns="33227" rtlCol="0" anchor="ctr"/>
          <a:lstStyle/>
          <a:p>
            <a:pPr lvl="0" algn="ctr"/>
            <a:r>
              <a:rPr lang="nb-NO" sz="831" b="1">
                <a:solidFill>
                  <a:srgbClr val="FFFFFF"/>
                </a:solidFill>
              </a:rPr>
              <a:t>Gennemførelse af udbud</a:t>
            </a:r>
            <a:endParaRPr lang="da-DK" sz="831"/>
          </a:p>
        </p:txBody>
      </p:sp>
      <p:sp>
        <p:nvSpPr>
          <p:cNvPr id="115" name="Pentagon 6">
            <a:extLst>
              <a:ext uri="{FF2B5EF4-FFF2-40B4-BE49-F238E27FC236}">
                <a16:creationId xmlns:a16="http://schemas.microsoft.com/office/drawing/2014/main" id="{8EE26453-41A6-4D4F-8F56-D7F6DC8ACA8A}"/>
              </a:ext>
            </a:extLst>
          </p:cNvPr>
          <p:cNvSpPr/>
          <p:nvPr/>
        </p:nvSpPr>
        <p:spPr>
          <a:xfrm>
            <a:off x="4255543" y="3889209"/>
            <a:ext cx="2202630" cy="557909"/>
          </a:xfrm>
          <a:prstGeom prst="homePlate">
            <a:avLst>
              <a:gd name="adj" fmla="val 16392"/>
            </a:avLst>
          </a:prstGeom>
          <a:solidFill>
            <a:srgbClr val="40615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3231" tIns="33227" rIns="0" bIns="33227" rtlCol="0" anchor="ctr"/>
          <a:lstStyle/>
          <a:p>
            <a:pPr algn="ctr" defTabSz="685817">
              <a:lnSpc>
                <a:spcPct val="90000"/>
              </a:lnSpc>
              <a:spcAft>
                <a:spcPts val="554"/>
              </a:spcAft>
              <a:buFont typeface="Arial" panose="020B0604020202020204" pitchFamily="34" charset="0"/>
              <a:buChar char="​"/>
              <a:defRPr/>
            </a:pPr>
            <a:r>
              <a:rPr lang="nb-NO" sz="831" b="1">
                <a:solidFill>
                  <a:srgbClr val="FFFFFF"/>
                </a:solidFill>
              </a:rPr>
              <a:t>Implementering og «go-live»</a:t>
            </a:r>
          </a:p>
        </p:txBody>
      </p:sp>
      <p:cxnSp>
        <p:nvCxnSpPr>
          <p:cNvPr id="120" name="Straight Connector 119">
            <a:extLst>
              <a:ext uri="{FF2B5EF4-FFF2-40B4-BE49-F238E27FC236}">
                <a16:creationId xmlns:a16="http://schemas.microsoft.com/office/drawing/2014/main" id="{4C5F04E5-84D5-4CF3-89BC-358CF84D3E13}"/>
              </a:ext>
            </a:extLst>
          </p:cNvPr>
          <p:cNvCxnSpPr>
            <a:cxnSpLocks/>
          </p:cNvCxnSpPr>
          <p:nvPr/>
        </p:nvCxnSpPr>
        <p:spPr>
          <a:xfrm>
            <a:off x="499786" y="4527310"/>
            <a:ext cx="7193193"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EB91A4D-FCC8-43A5-B495-163A9F55E9AA}"/>
              </a:ext>
            </a:extLst>
          </p:cNvPr>
          <p:cNvCxnSpPr>
            <a:cxnSpLocks/>
          </p:cNvCxnSpPr>
          <p:nvPr/>
        </p:nvCxnSpPr>
        <p:spPr>
          <a:xfrm>
            <a:off x="385489" y="6303954"/>
            <a:ext cx="7193193"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0463438D-A311-413E-ADBC-EC1C4BD7633C}"/>
              </a:ext>
            </a:extLst>
          </p:cNvPr>
          <p:cNvCxnSpPr>
            <a:cxnSpLocks/>
          </p:cNvCxnSpPr>
          <p:nvPr/>
        </p:nvCxnSpPr>
        <p:spPr>
          <a:xfrm>
            <a:off x="518058" y="3737031"/>
            <a:ext cx="7078154" cy="0"/>
          </a:xfrm>
          <a:prstGeom prst="line">
            <a:avLst/>
          </a:prstGeom>
          <a:ln w="6350">
            <a:solidFill>
              <a:srgbClr val="1F202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5D951784-D237-4194-9C69-CED6F9D866AB}"/>
              </a:ext>
            </a:extLst>
          </p:cNvPr>
          <p:cNvSpPr txBox="1"/>
          <p:nvPr/>
        </p:nvSpPr>
        <p:spPr>
          <a:xfrm>
            <a:off x="1886003" y="3677550"/>
            <a:ext cx="449978" cy="134204"/>
          </a:xfrm>
          <a:prstGeom prst="rect">
            <a:avLst/>
          </a:prstGeom>
          <a:solidFill>
            <a:schemeClr val="bg1"/>
          </a:solidFill>
          <a:ln w="6350">
            <a:noFill/>
            <a:prstDash val="sysDash"/>
          </a:ln>
        </p:spPr>
        <p:txBody>
          <a:bodyPr wrap="square" lIns="0" tIns="0" rIns="0" bIns="0" rtlCol="0">
            <a:spAutoFit/>
          </a:bodyPr>
          <a:lstStyle/>
          <a:p>
            <a:pPr algn="ctr" defTabSz="685817">
              <a:lnSpc>
                <a:spcPct val="90000"/>
              </a:lnSpc>
              <a:spcAft>
                <a:spcPts val="554"/>
              </a:spcAft>
              <a:defRPr/>
            </a:pPr>
            <a:r>
              <a:rPr lang="nb-NO" sz="969">
                <a:latin typeface="Impact" panose="020B0806030902050204" pitchFamily="34" charset="0"/>
              </a:rPr>
              <a:t>Q2-2021</a:t>
            </a:r>
            <a:endParaRPr lang="nb-NO" sz="969">
              <a:solidFill>
                <a:srgbClr val="1F2023"/>
              </a:solidFill>
              <a:latin typeface="Impact" panose="020B0806030902050204" pitchFamily="34" charset="0"/>
            </a:endParaRPr>
          </a:p>
        </p:txBody>
      </p:sp>
      <p:sp>
        <p:nvSpPr>
          <p:cNvPr id="127" name="TextBox 126">
            <a:extLst>
              <a:ext uri="{FF2B5EF4-FFF2-40B4-BE49-F238E27FC236}">
                <a16:creationId xmlns:a16="http://schemas.microsoft.com/office/drawing/2014/main" id="{7A80C980-CF62-47F0-9CCE-6F8DC442ADA4}"/>
              </a:ext>
            </a:extLst>
          </p:cNvPr>
          <p:cNvSpPr txBox="1"/>
          <p:nvPr/>
        </p:nvSpPr>
        <p:spPr>
          <a:xfrm>
            <a:off x="672073" y="3677550"/>
            <a:ext cx="332308" cy="134204"/>
          </a:xfrm>
          <a:prstGeom prst="rect">
            <a:avLst/>
          </a:prstGeom>
          <a:solidFill>
            <a:schemeClr val="bg1"/>
          </a:solidFill>
          <a:ln w="6350">
            <a:noFill/>
            <a:prstDash val="sysDash"/>
          </a:ln>
        </p:spPr>
        <p:txBody>
          <a:bodyPr wrap="square" lIns="0" tIns="0" rIns="0" bIns="0" rtlCol="0">
            <a:spAutoFit/>
          </a:bodyPr>
          <a:lstStyle/>
          <a:p>
            <a:pPr algn="ctr" defTabSz="685817">
              <a:lnSpc>
                <a:spcPct val="90000"/>
              </a:lnSpc>
              <a:spcAft>
                <a:spcPts val="554"/>
              </a:spcAft>
              <a:buFont typeface="Arial" panose="020B0604020202020204" pitchFamily="34" charset="0"/>
              <a:buChar char="​"/>
              <a:defRPr/>
            </a:pPr>
            <a:r>
              <a:rPr lang="nb-NO" sz="969">
                <a:solidFill>
                  <a:srgbClr val="1F2023"/>
                </a:solidFill>
                <a:latin typeface="Impact" panose="020B0806030902050204" pitchFamily="34" charset="0"/>
              </a:rPr>
              <a:t>Q4</a:t>
            </a:r>
          </a:p>
        </p:txBody>
      </p:sp>
      <p:sp>
        <p:nvSpPr>
          <p:cNvPr id="134" name="Arrow: Chevron 133">
            <a:extLst>
              <a:ext uri="{FF2B5EF4-FFF2-40B4-BE49-F238E27FC236}">
                <a16:creationId xmlns:a16="http://schemas.microsoft.com/office/drawing/2014/main" id="{A265696E-1F8E-4803-81CA-197E6512B675}"/>
              </a:ext>
            </a:extLst>
          </p:cNvPr>
          <p:cNvSpPr/>
          <p:nvPr/>
        </p:nvSpPr>
        <p:spPr>
          <a:xfrm>
            <a:off x="2987966" y="3893330"/>
            <a:ext cx="120578" cy="551631"/>
          </a:xfrm>
          <a:prstGeom prst="chevron">
            <a:avLst/>
          </a:prstGeom>
          <a:solidFill>
            <a:srgbClr val="66817F">
              <a:alpha val="4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defTabSz="685817">
              <a:lnSpc>
                <a:spcPct val="90000"/>
              </a:lnSpc>
              <a:spcAft>
                <a:spcPts val="554"/>
              </a:spcAft>
              <a:buFont typeface="Arial" panose="020B0604020202020204" pitchFamily="34" charset="0"/>
              <a:buChar char="​"/>
              <a:defRPr/>
            </a:pPr>
            <a:endParaRPr lang="nb-NO" sz="923">
              <a:solidFill>
                <a:srgbClr val="2F363B"/>
              </a:solidFill>
              <a:latin typeface="Arial"/>
            </a:endParaRPr>
          </a:p>
        </p:txBody>
      </p:sp>
      <p:sp>
        <p:nvSpPr>
          <p:cNvPr id="138" name="Arrow: Chevron 137">
            <a:extLst>
              <a:ext uri="{FF2B5EF4-FFF2-40B4-BE49-F238E27FC236}">
                <a16:creationId xmlns:a16="http://schemas.microsoft.com/office/drawing/2014/main" id="{AA5FE6C6-3E10-476A-8DA3-AD539E3049E9}"/>
              </a:ext>
            </a:extLst>
          </p:cNvPr>
          <p:cNvSpPr/>
          <p:nvPr/>
        </p:nvSpPr>
        <p:spPr>
          <a:xfrm>
            <a:off x="3968664" y="3887584"/>
            <a:ext cx="120578" cy="551631"/>
          </a:xfrm>
          <a:prstGeom prst="chevron">
            <a:avLst/>
          </a:prstGeom>
          <a:solidFill>
            <a:srgbClr val="66817F">
              <a:alpha val="4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defTabSz="685817">
              <a:lnSpc>
                <a:spcPct val="90000"/>
              </a:lnSpc>
              <a:spcAft>
                <a:spcPts val="554"/>
              </a:spcAft>
              <a:buFont typeface="Arial" panose="020B0604020202020204" pitchFamily="34" charset="0"/>
              <a:buChar char="​"/>
              <a:defRPr/>
            </a:pPr>
            <a:endParaRPr lang="nb-NO" sz="923">
              <a:solidFill>
                <a:srgbClr val="2F363B"/>
              </a:solidFill>
              <a:latin typeface="Arial"/>
            </a:endParaRPr>
          </a:p>
        </p:txBody>
      </p:sp>
      <p:sp>
        <p:nvSpPr>
          <p:cNvPr id="141" name="Arrow: Chevron 140">
            <a:extLst>
              <a:ext uri="{FF2B5EF4-FFF2-40B4-BE49-F238E27FC236}">
                <a16:creationId xmlns:a16="http://schemas.microsoft.com/office/drawing/2014/main" id="{431F210B-EA88-47A8-AB2D-149AA7F04AB1}"/>
              </a:ext>
            </a:extLst>
          </p:cNvPr>
          <p:cNvSpPr/>
          <p:nvPr/>
        </p:nvSpPr>
        <p:spPr>
          <a:xfrm>
            <a:off x="3545660" y="3893319"/>
            <a:ext cx="120578" cy="551631"/>
          </a:xfrm>
          <a:prstGeom prst="chevron">
            <a:avLst/>
          </a:prstGeom>
          <a:solidFill>
            <a:srgbClr val="66817F">
              <a:alpha val="4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defTabSz="685817">
              <a:lnSpc>
                <a:spcPct val="90000"/>
              </a:lnSpc>
              <a:spcAft>
                <a:spcPts val="554"/>
              </a:spcAft>
              <a:buFont typeface="Arial" panose="020B0604020202020204" pitchFamily="34" charset="0"/>
              <a:buChar char="​"/>
              <a:defRPr/>
            </a:pPr>
            <a:endParaRPr lang="nb-NO" sz="923">
              <a:solidFill>
                <a:srgbClr val="2F363B"/>
              </a:solidFill>
              <a:latin typeface="Arial"/>
            </a:endParaRPr>
          </a:p>
        </p:txBody>
      </p:sp>
      <p:sp>
        <p:nvSpPr>
          <p:cNvPr id="154" name="Pentagon 6">
            <a:extLst>
              <a:ext uri="{FF2B5EF4-FFF2-40B4-BE49-F238E27FC236}">
                <a16:creationId xmlns:a16="http://schemas.microsoft.com/office/drawing/2014/main" id="{A42778FB-73BC-4577-AF96-A6630E5B21D3}"/>
              </a:ext>
            </a:extLst>
          </p:cNvPr>
          <p:cNvSpPr/>
          <p:nvPr/>
        </p:nvSpPr>
        <p:spPr>
          <a:xfrm>
            <a:off x="6458563" y="3896096"/>
            <a:ext cx="480217" cy="557909"/>
          </a:xfrm>
          <a:prstGeom prst="homePlate">
            <a:avLst>
              <a:gd name="adj" fmla="val 16392"/>
            </a:avLst>
          </a:prstGeom>
          <a:solidFill>
            <a:srgbClr val="8CA09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3231" tIns="33227" rIns="0" bIns="33227" rtlCol="0" anchor="ctr"/>
          <a:lstStyle/>
          <a:p>
            <a:pPr algn="ctr" defTabSz="685817">
              <a:lnSpc>
                <a:spcPct val="90000"/>
              </a:lnSpc>
              <a:spcAft>
                <a:spcPts val="554"/>
              </a:spcAft>
              <a:buFont typeface="Arial" panose="020B0604020202020204" pitchFamily="34" charset="0"/>
              <a:buChar char="​"/>
              <a:defRPr/>
            </a:pPr>
            <a:r>
              <a:rPr lang="nb-NO" sz="800" b="1" dirty="0">
                <a:solidFill>
                  <a:srgbClr val="FFFFFF"/>
                </a:solidFill>
              </a:rPr>
              <a:t>Drifts-prøve</a:t>
            </a:r>
            <a:endParaRPr lang="nb-NO" sz="831" b="1">
              <a:solidFill>
                <a:srgbClr val="FFFFFF"/>
              </a:solidFill>
            </a:endParaRPr>
          </a:p>
        </p:txBody>
      </p:sp>
      <p:sp>
        <p:nvSpPr>
          <p:cNvPr id="51" name="Arrow: Chevron 133">
            <a:extLst>
              <a:ext uri="{FF2B5EF4-FFF2-40B4-BE49-F238E27FC236}">
                <a16:creationId xmlns:a16="http://schemas.microsoft.com/office/drawing/2014/main" id="{A265696E-1F8E-4803-81CA-197E6512B675}"/>
              </a:ext>
            </a:extLst>
          </p:cNvPr>
          <p:cNvSpPr/>
          <p:nvPr/>
        </p:nvSpPr>
        <p:spPr>
          <a:xfrm>
            <a:off x="2371433" y="3893330"/>
            <a:ext cx="120578" cy="551631"/>
          </a:xfrm>
          <a:prstGeom prst="chevron">
            <a:avLst/>
          </a:prstGeom>
          <a:solidFill>
            <a:srgbClr val="66817F">
              <a:alpha val="4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defTabSz="685817">
              <a:lnSpc>
                <a:spcPct val="90000"/>
              </a:lnSpc>
              <a:spcAft>
                <a:spcPts val="554"/>
              </a:spcAft>
              <a:buFont typeface="Arial" panose="020B0604020202020204" pitchFamily="34" charset="0"/>
              <a:buChar char="​"/>
              <a:defRPr/>
            </a:pPr>
            <a:endParaRPr lang="nb-NO" sz="923">
              <a:solidFill>
                <a:srgbClr val="2F363B"/>
              </a:solidFill>
              <a:latin typeface="Arial"/>
            </a:endParaRPr>
          </a:p>
        </p:txBody>
      </p:sp>
      <p:grpSp>
        <p:nvGrpSpPr>
          <p:cNvPr id="60" name="Group 59">
            <a:extLst>
              <a:ext uri="{FF2B5EF4-FFF2-40B4-BE49-F238E27FC236}">
                <a16:creationId xmlns:a16="http://schemas.microsoft.com/office/drawing/2014/main" id="{C4063F5C-3628-465D-91D7-80495CB9EDC3}"/>
              </a:ext>
            </a:extLst>
          </p:cNvPr>
          <p:cNvGrpSpPr/>
          <p:nvPr/>
        </p:nvGrpSpPr>
        <p:grpSpPr>
          <a:xfrm>
            <a:off x="797158" y="1693656"/>
            <a:ext cx="473075" cy="509588"/>
            <a:chOff x="7277212" y="1494463"/>
            <a:chExt cx="473075" cy="509588"/>
          </a:xfrm>
        </p:grpSpPr>
        <p:sp>
          <p:nvSpPr>
            <p:cNvPr id="61" name="Freeform 41">
              <a:extLst>
                <a:ext uri="{FF2B5EF4-FFF2-40B4-BE49-F238E27FC236}">
                  <a16:creationId xmlns:a16="http://schemas.microsoft.com/office/drawing/2014/main" id="{7A51AAB0-9A1B-4A68-84E4-266C19E81FB9}"/>
                </a:ext>
              </a:extLst>
            </p:cNvPr>
            <p:cNvSpPr>
              <a:spLocks/>
            </p:cNvSpPr>
            <p:nvPr/>
          </p:nvSpPr>
          <p:spPr bwMode="auto">
            <a:xfrm>
              <a:off x="7277212" y="1594475"/>
              <a:ext cx="365125" cy="171450"/>
            </a:xfrm>
            <a:custGeom>
              <a:avLst/>
              <a:gdLst>
                <a:gd name="T0" fmla="*/ 9 w 81"/>
                <a:gd name="T1" fmla="*/ 38 h 38"/>
                <a:gd name="T2" fmla="*/ 3 w 81"/>
                <a:gd name="T3" fmla="*/ 36 h 38"/>
                <a:gd name="T4" fmla="*/ 3 w 81"/>
                <a:gd name="T5" fmla="*/ 25 h 38"/>
                <a:gd name="T6" fmla="*/ 16 w 81"/>
                <a:gd name="T7" fmla="*/ 11 h 38"/>
                <a:gd name="T8" fmla="*/ 25 w 81"/>
                <a:gd name="T9" fmla="*/ 10 h 38"/>
                <a:gd name="T10" fmla="*/ 35 w 81"/>
                <a:gd name="T11" fmla="*/ 14 h 38"/>
                <a:gd name="T12" fmla="*/ 45 w 81"/>
                <a:gd name="T13" fmla="*/ 7 h 38"/>
                <a:gd name="T14" fmla="*/ 56 w 81"/>
                <a:gd name="T15" fmla="*/ 9 h 38"/>
                <a:gd name="T16" fmla="*/ 60 w 81"/>
                <a:gd name="T17" fmla="*/ 14 h 38"/>
                <a:gd name="T18" fmla="*/ 65 w 81"/>
                <a:gd name="T19" fmla="*/ 5 h 38"/>
                <a:gd name="T20" fmla="*/ 76 w 81"/>
                <a:gd name="T21" fmla="*/ 2 h 38"/>
                <a:gd name="T22" fmla="*/ 79 w 81"/>
                <a:gd name="T23" fmla="*/ 13 h 38"/>
                <a:gd name="T24" fmla="*/ 67 w 81"/>
                <a:gd name="T25" fmla="*/ 32 h 38"/>
                <a:gd name="T26" fmla="*/ 61 w 81"/>
                <a:gd name="T27" fmla="*/ 35 h 38"/>
                <a:gd name="T28" fmla="*/ 54 w 81"/>
                <a:gd name="T29" fmla="*/ 32 h 38"/>
                <a:gd name="T30" fmla="*/ 48 w 81"/>
                <a:gd name="T31" fmla="*/ 24 h 38"/>
                <a:gd name="T32" fmla="*/ 40 w 81"/>
                <a:gd name="T33" fmla="*/ 29 h 38"/>
                <a:gd name="T34" fmla="*/ 32 w 81"/>
                <a:gd name="T35" fmla="*/ 30 h 38"/>
                <a:gd name="T36" fmla="*/ 24 w 81"/>
                <a:gd name="T37" fmla="*/ 26 h 38"/>
                <a:gd name="T38" fmla="*/ 14 w 81"/>
                <a:gd name="T39" fmla="*/ 36 h 38"/>
                <a:gd name="T40" fmla="*/ 9 w 81"/>
                <a:gd name="T4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38">
                  <a:moveTo>
                    <a:pt x="9" y="38"/>
                  </a:moveTo>
                  <a:cubicBezTo>
                    <a:pt x="6" y="38"/>
                    <a:pt x="4" y="37"/>
                    <a:pt x="3" y="36"/>
                  </a:cubicBezTo>
                  <a:cubicBezTo>
                    <a:pt x="0" y="33"/>
                    <a:pt x="0" y="28"/>
                    <a:pt x="3" y="25"/>
                  </a:cubicBezTo>
                  <a:cubicBezTo>
                    <a:pt x="16" y="11"/>
                    <a:pt x="16" y="11"/>
                    <a:pt x="16" y="11"/>
                  </a:cubicBezTo>
                  <a:cubicBezTo>
                    <a:pt x="19" y="9"/>
                    <a:pt x="22" y="8"/>
                    <a:pt x="25" y="10"/>
                  </a:cubicBezTo>
                  <a:cubicBezTo>
                    <a:pt x="35" y="14"/>
                    <a:pt x="35" y="14"/>
                    <a:pt x="35" y="14"/>
                  </a:cubicBezTo>
                  <a:cubicBezTo>
                    <a:pt x="45" y="7"/>
                    <a:pt x="45" y="7"/>
                    <a:pt x="45" y="7"/>
                  </a:cubicBezTo>
                  <a:cubicBezTo>
                    <a:pt x="48" y="5"/>
                    <a:pt x="53" y="5"/>
                    <a:pt x="56" y="9"/>
                  </a:cubicBezTo>
                  <a:cubicBezTo>
                    <a:pt x="60" y="14"/>
                    <a:pt x="60" y="14"/>
                    <a:pt x="60" y="14"/>
                  </a:cubicBezTo>
                  <a:cubicBezTo>
                    <a:pt x="65" y="5"/>
                    <a:pt x="65" y="5"/>
                    <a:pt x="65" y="5"/>
                  </a:cubicBezTo>
                  <a:cubicBezTo>
                    <a:pt x="68" y="1"/>
                    <a:pt x="72" y="0"/>
                    <a:pt x="76" y="2"/>
                  </a:cubicBezTo>
                  <a:cubicBezTo>
                    <a:pt x="80" y="5"/>
                    <a:pt x="81" y="10"/>
                    <a:pt x="79" y="13"/>
                  </a:cubicBezTo>
                  <a:cubicBezTo>
                    <a:pt x="67" y="32"/>
                    <a:pt x="67" y="32"/>
                    <a:pt x="67" y="32"/>
                  </a:cubicBezTo>
                  <a:cubicBezTo>
                    <a:pt x="66" y="34"/>
                    <a:pt x="64" y="35"/>
                    <a:pt x="61" y="35"/>
                  </a:cubicBezTo>
                  <a:cubicBezTo>
                    <a:pt x="59" y="35"/>
                    <a:pt x="56" y="34"/>
                    <a:pt x="54" y="32"/>
                  </a:cubicBezTo>
                  <a:cubicBezTo>
                    <a:pt x="48" y="24"/>
                    <a:pt x="48" y="24"/>
                    <a:pt x="48" y="24"/>
                  </a:cubicBezTo>
                  <a:cubicBezTo>
                    <a:pt x="40" y="29"/>
                    <a:pt x="40" y="29"/>
                    <a:pt x="40" y="29"/>
                  </a:cubicBezTo>
                  <a:cubicBezTo>
                    <a:pt x="38" y="31"/>
                    <a:pt x="35" y="31"/>
                    <a:pt x="32" y="30"/>
                  </a:cubicBezTo>
                  <a:cubicBezTo>
                    <a:pt x="24" y="26"/>
                    <a:pt x="24" y="26"/>
                    <a:pt x="24" y="26"/>
                  </a:cubicBezTo>
                  <a:cubicBezTo>
                    <a:pt x="14" y="36"/>
                    <a:pt x="14" y="36"/>
                    <a:pt x="14" y="36"/>
                  </a:cubicBezTo>
                  <a:cubicBezTo>
                    <a:pt x="13" y="37"/>
                    <a:pt x="11" y="38"/>
                    <a:pt x="9" y="38"/>
                  </a:cubicBezTo>
                  <a:close/>
                </a:path>
              </a:pathLst>
            </a:custGeom>
            <a:solidFill>
              <a:srgbClr val="40615F"/>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62" name="Group 61">
              <a:extLst>
                <a:ext uri="{FF2B5EF4-FFF2-40B4-BE49-F238E27FC236}">
                  <a16:creationId xmlns:a16="http://schemas.microsoft.com/office/drawing/2014/main" id="{6ADDC5B3-326C-4CF0-99DC-9F8C0B0CEF38}"/>
                </a:ext>
              </a:extLst>
            </p:cNvPr>
            <p:cNvGrpSpPr/>
            <p:nvPr/>
          </p:nvGrpSpPr>
          <p:grpSpPr>
            <a:xfrm>
              <a:off x="7281974" y="1494463"/>
              <a:ext cx="468313" cy="509588"/>
              <a:chOff x="7281974" y="1494463"/>
              <a:chExt cx="468313" cy="509588"/>
            </a:xfrm>
          </p:grpSpPr>
          <p:sp>
            <p:nvSpPr>
              <p:cNvPr id="63" name="Freeform 42">
                <a:extLst>
                  <a:ext uri="{FF2B5EF4-FFF2-40B4-BE49-F238E27FC236}">
                    <a16:creationId xmlns:a16="http://schemas.microsoft.com/office/drawing/2014/main" id="{794AE0EF-2CE6-4F06-82CA-FB9F3810C4BB}"/>
                  </a:ext>
                </a:extLst>
              </p:cNvPr>
              <p:cNvSpPr>
                <a:spLocks/>
              </p:cNvSpPr>
              <p:nvPr/>
            </p:nvSpPr>
            <p:spPr bwMode="auto">
              <a:xfrm>
                <a:off x="7308962" y="1553200"/>
                <a:ext cx="419100" cy="271463"/>
              </a:xfrm>
              <a:custGeom>
                <a:avLst/>
                <a:gdLst>
                  <a:gd name="T0" fmla="*/ 264 w 264"/>
                  <a:gd name="T1" fmla="*/ 0 h 171"/>
                  <a:gd name="T2" fmla="*/ 264 w 264"/>
                  <a:gd name="T3" fmla="*/ 171 h 171"/>
                  <a:gd name="T4" fmla="*/ 0 w 264"/>
                  <a:gd name="T5" fmla="*/ 171 h 171"/>
                  <a:gd name="T6" fmla="*/ 0 w 264"/>
                  <a:gd name="T7" fmla="*/ 0 h 171"/>
                </a:gdLst>
                <a:ahLst/>
                <a:cxnLst>
                  <a:cxn ang="0">
                    <a:pos x="T0" y="T1"/>
                  </a:cxn>
                  <a:cxn ang="0">
                    <a:pos x="T2" y="T3"/>
                  </a:cxn>
                  <a:cxn ang="0">
                    <a:pos x="T4" y="T5"/>
                  </a:cxn>
                  <a:cxn ang="0">
                    <a:pos x="T6" y="T7"/>
                  </a:cxn>
                </a:cxnLst>
                <a:rect l="0" t="0" r="r" b="b"/>
                <a:pathLst>
                  <a:path w="264" h="171">
                    <a:moveTo>
                      <a:pt x="264" y="0"/>
                    </a:moveTo>
                    <a:lnTo>
                      <a:pt x="264" y="171"/>
                    </a:lnTo>
                    <a:lnTo>
                      <a:pt x="0" y="171"/>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64" name="Line 43">
                <a:extLst>
                  <a:ext uri="{FF2B5EF4-FFF2-40B4-BE49-F238E27FC236}">
                    <a16:creationId xmlns:a16="http://schemas.microsoft.com/office/drawing/2014/main" id="{AFDA1151-A902-4711-907B-6D35A013181A}"/>
                  </a:ext>
                </a:extLst>
              </p:cNvPr>
              <p:cNvSpPr>
                <a:spLocks noChangeShapeType="1"/>
              </p:cNvSpPr>
              <p:nvPr/>
            </p:nvSpPr>
            <p:spPr bwMode="auto">
              <a:xfrm>
                <a:off x="7281974" y="1494463"/>
                <a:ext cx="468313"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65" name="Line 44">
                <a:extLst>
                  <a:ext uri="{FF2B5EF4-FFF2-40B4-BE49-F238E27FC236}">
                    <a16:creationId xmlns:a16="http://schemas.microsoft.com/office/drawing/2014/main" id="{47B610CC-A669-4673-A639-1FE0CE4C2F53}"/>
                  </a:ext>
                </a:extLst>
              </p:cNvPr>
              <p:cNvSpPr>
                <a:spLocks noChangeShapeType="1"/>
              </p:cNvSpPr>
              <p:nvPr/>
            </p:nvSpPr>
            <p:spPr bwMode="auto">
              <a:xfrm flipH="1">
                <a:off x="7381987" y="1869113"/>
                <a:ext cx="57150" cy="13493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66" name="Line 45">
                <a:extLst>
                  <a:ext uri="{FF2B5EF4-FFF2-40B4-BE49-F238E27FC236}">
                    <a16:creationId xmlns:a16="http://schemas.microsoft.com/office/drawing/2014/main" id="{2EA1D25B-C56B-4734-81D7-1A5AE61A7E0C}"/>
                  </a:ext>
                </a:extLst>
              </p:cNvPr>
              <p:cNvSpPr>
                <a:spLocks noChangeShapeType="1"/>
              </p:cNvSpPr>
              <p:nvPr/>
            </p:nvSpPr>
            <p:spPr bwMode="auto">
              <a:xfrm flipH="1" flipV="1">
                <a:off x="7597887" y="1869113"/>
                <a:ext cx="58738" cy="13493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67" name="Freeform 46">
                <a:extLst>
                  <a:ext uri="{FF2B5EF4-FFF2-40B4-BE49-F238E27FC236}">
                    <a16:creationId xmlns:a16="http://schemas.microsoft.com/office/drawing/2014/main" id="{882BB3B2-3662-48FB-AC77-D3B7314CEB4C}"/>
                  </a:ext>
                </a:extLst>
              </p:cNvPr>
              <p:cNvSpPr>
                <a:spLocks/>
              </p:cNvSpPr>
              <p:nvPr/>
            </p:nvSpPr>
            <p:spPr bwMode="auto">
              <a:xfrm>
                <a:off x="7377224" y="1634163"/>
                <a:ext cx="282575" cy="95250"/>
              </a:xfrm>
              <a:custGeom>
                <a:avLst/>
                <a:gdLst>
                  <a:gd name="T0" fmla="*/ 0 w 178"/>
                  <a:gd name="T1" fmla="*/ 60 h 60"/>
                  <a:gd name="T2" fmla="*/ 37 w 178"/>
                  <a:gd name="T3" fmla="*/ 23 h 60"/>
                  <a:gd name="T4" fmla="*/ 76 w 178"/>
                  <a:gd name="T5" fmla="*/ 40 h 60"/>
                  <a:gd name="T6" fmla="*/ 116 w 178"/>
                  <a:gd name="T7" fmla="*/ 15 h 60"/>
                  <a:gd name="T8" fmla="*/ 147 w 178"/>
                  <a:gd name="T9" fmla="*/ 51 h 60"/>
                  <a:gd name="T10" fmla="*/ 178 w 178"/>
                  <a:gd name="T11" fmla="*/ 0 h 60"/>
                </a:gdLst>
                <a:ahLst/>
                <a:cxnLst>
                  <a:cxn ang="0">
                    <a:pos x="T0" y="T1"/>
                  </a:cxn>
                  <a:cxn ang="0">
                    <a:pos x="T2" y="T3"/>
                  </a:cxn>
                  <a:cxn ang="0">
                    <a:pos x="T4" y="T5"/>
                  </a:cxn>
                  <a:cxn ang="0">
                    <a:pos x="T6" y="T7"/>
                  </a:cxn>
                  <a:cxn ang="0">
                    <a:pos x="T8" y="T9"/>
                  </a:cxn>
                  <a:cxn ang="0">
                    <a:pos x="T10" y="T11"/>
                  </a:cxn>
                </a:cxnLst>
                <a:rect l="0" t="0" r="r" b="b"/>
                <a:pathLst>
                  <a:path w="178" h="60">
                    <a:moveTo>
                      <a:pt x="0" y="60"/>
                    </a:moveTo>
                    <a:lnTo>
                      <a:pt x="37" y="23"/>
                    </a:lnTo>
                    <a:lnTo>
                      <a:pt x="76" y="40"/>
                    </a:lnTo>
                    <a:lnTo>
                      <a:pt x="116" y="15"/>
                    </a:lnTo>
                    <a:lnTo>
                      <a:pt x="147" y="51"/>
                    </a:lnTo>
                    <a:lnTo>
                      <a:pt x="178"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sp>
        <p:nvSpPr>
          <p:cNvPr id="8" name="Content Placeholder 7">
            <a:extLst>
              <a:ext uri="{FF2B5EF4-FFF2-40B4-BE49-F238E27FC236}">
                <a16:creationId xmlns:a16="http://schemas.microsoft.com/office/drawing/2014/main" id="{420ED4FE-0ACE-4993-9245-4BA62FE768B0}"/>
              </a:ext>
            </a:extLst>
          </p:cNvPr>
          <p:cNvSpPr txBox="1">
            <a:spLocks/>
          </p:cNvSpPr>
          <p:nvPr/>
        </p:nvSpPr>
        <p:spPr>
          <a:xfrm>
            <a:off x="524508" y="4574207"/>
            <a:ext cx="1249428" cy="1468681"/>
          </a:xfrm>
          <a:prstGeom prst="rect">
            <a:avLst/>
          </a:prstGeom>
          <a:solidFill>
            <a:srgbClr val="C3CFCB"/>
          </a:solidFill>
          <a:ln w="635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defRPr lang="en-US"/>
            </a:defPPr>
            <a:lvl1pPr marL="0" indent="0" algn="l" defTabSz="914400" rtl="0" eaLnBrk="1" latinLnBrk="0" hangingPunct="1">
              <a:lnSpc>
                <a:spcPct val="150000"/>
              </a:lnSpc>
              <a:spcBef>
                <a:spcPts val="0"/>
              </a:spcBef>
              <a:buFont typeface="Arial" panose="020B0604020202020204" pitchFamily="34" charset="0"/>
              <a:buNone/>
              <a:defRPr sz="1100" kern="1200">
                <a:solidFill>
                  <a:srgbClr val="2F363B"/>
                </a:solidFill>
                <a:latin typeface="Verdana" panose="020B0604030504040204" pitchFamily="34" charset="0"/>
                <a:ea typeface="Verdana" panose="020B0604030504040204" pitchFamily="34" charset="0"/>
                <a:cs typeface="Verdana" panose="020B0604030504040204" pitchFamily="34" charset="0"/>
              </a:defRPr>
            </a:lvl1pPr>
            <a:lvl2pPr marL="0" lvl="1" indent="0" algn="l" defTabSz="914400" rtl="0" eaLnBrk="1" latinLnBrk="0" hangingPunct="1">
              <a:lnSpc>
                <a:spcPct val="150000"/>
              </a:lnSpc>
              <a:spcBef>
                <a:spcPts val="0"/>
              </a:spcBef>
              <a:buSzPct val="100000"/>
              <a:buFont typeface="Arial" panose="020B0604020202020204" pitchFamily="34" charset="0"/>
              <a:buChar char="​"/>
              <a:defRPr sz="1100" kern="1200">
                <a:solidFill>
                  <a:srgbClr val="2F363B"/>
                </a:solidFill>
                <a:latin typeface="Arial" panose="020B0604020202020204" pitchFamily="34" charset="0"/>
                <a:ea typeface="Verdana" panose="020B0604030504040204" pitchFamily="34" charset="0"/>
                <a:cs typeface="Verdana" panose="020B0604030504040204" pitchFamily="34" charset="0"/>
              </a:defRPr>
            </a:lvl2pPr>
            <a:lvl3pPr marL="1257300" indent="-342900" algn="l" defTabSz="914400" rtl="0" eaLnBrk="1" latinLnBrk="0" hangingPunct="1">
              <a:lnSpc>
                <a:spcPct val="150000"/>
              </a:lnSpc>
              <a:spcBef>
                <a:spcPts val="0"/>
              </a:spcBef>
              <a:buFont typeface="Courier New" panose="02070309020205020404" pitchFamily="49" charset="0"/>
              <a:buChar char="o"/>
              <a:defRPr sz="1400" kern="1200">
                <a:solidFill>
                  <a:schemeClr val="lt1"/>
                </a:solidFill>
                <a:latin typeface="Verdana" panose="020B0604030504040204" pitchFamily="34" charset="0"/>
                <a:ea typeface="Verdana" panose="020B0604030504040204" pitchFamily="34" charset="0"/>
                <a:cs typeface="Verdana" panose="020B0604030504040204" pitchFamily="34" charset="0"/>
              </a:defRPr>
            </a:lvl3pPr>
            <a:lvl4pPr marL="1714500" indent="-342900" algn="l" defTabSz="914400" rtl="0" eaLnBrk="1" latinLnBrk="0" hangingPunct="1">
              <a:lnSpc>
                <a:spcPct val="150000"/>
              </a:lnSpc>
              <a:spcBef>
                <a:spcPts val="0"/>
              </a:spcBef>
              <a:buFont typeface="Wingdings" panose="05000000000000000000" pitchFamily="2" charset="2"/>
              <a:buChar char="§"/>
              <a:defRPr sz="1300" kern="1200">
                <a:solidFill>
                  <a:schemeClr val="lt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150000"/>
              </a:lnSpc>
              <a:spcBef>
                <a:spcPts val="0"/>
              </a:spcBef>
              <a:buFont typeface="Arial" panose="020B0604020202020204" pitchFamily="34" charset="0"/>
              <a:buChar char="•"/>
              <a:defRPr sz="1100" kern="1200">
                <a:solidFill>
                  <a:schemeClr val="lt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92075" lvl="1" indent="-92075">
              <a:lnSpc>
                <a:spcPct val="100000"/>
              </a:lnSpc>
              <a:spcAft>
                <a:spcPts val="300"/>
              </a:spcAft>
              <a:buFont typeface="Arial" panose="020B0604020202020204" pitchFamily="34" charset="0"/>
              <a:buChar char="•"/>
              <a:defRPr/>
            </a:pPr>
            <a:r>
              <a:rPr lang="da-DK" sz="800">
                <a:solidFill>
                  <a:schemeClr val="tx1"/>
                </a:solidFill>
                <a:latin typeface="+mj-lt"/>
                <a:ea typeface="Verdana"/>
              </a:rPr>
              <a:t>Opfølgning på resultat af markedsdialog</a:t>
            </a:r>
          </a:p>
          <a:p>
            <a:pPr marL="92075" lvl="1" indent="-92075">
              <a:lnSpc>
                <a:spcPct val="100000"/>
              </a:lnSpc>
              <a:spcAft>
                <a:spcPts val="300"/>
              </a:spcAft>
              <a:buFont typeface="Arial" panose="020B0604020202020204" pitchFamily="34" charset="0"/>
              <a:buChar char="•"/>
              <a:defRPr/>
            </a:pPr>
            <a:r>
              <a:rPr lang="da-DK" sz="800">
                <a:solidFill>
                  <a:schemeClr val="tx1"/>
                </a:solidFill>
                <a:latin typeface="+mj-lt"/>
                <a:ea typeface="Verdana"/>
              </a:rPr>
              <a:t>Anskaffelses- og udbudsstrategi</a:t>
            </a:r>
          </a:p>
          <a:p>
            <a:pPr marL="92075" lvl="1" indent="-92075">
              <a:lnSpc>
                <a:spcPct val="100000"/>
              </a:lnSpc>
              <a:spcAft>
                <a:spcPts val="300"/>
              </a:spcAft>
              <a:buFont typeface="Arial" panose="020B0604020202020204" pitchFamily="34" charset="0"/>
              <a:buChar char="•"/>
              <a:defRPr/>
            </a:pPr>
            <a:r>
              <a:rPr lang="da-DK" sz="800">
                <a:solidFill>
                  <a:schemeClr val="tx1"/>
                </a:solidFill>
                <a:latin typeface="+mj-lt"/>
                <a:ea typeface="Verdana"/>
              </a:rPr>
              <a:t>Udbudsdesign</a:t>
            </a:r>
          </a:p>
          <a:p>
            <a:pPr marL="92075" lvl="1" indent="-92075">
              <a:lnSpc>
                <a:spcPct val="100000"/>
              </a:lnSpc>
              <a:spcAft>
                <a:spcPts val="300"/>
              </a:spcAft>
              <a:buFont typeface="Arial" panose="020B0604020202020204" pitchFamily="34" charset="0"/>
              <a:buChar char="•"/>
              <a:defRPr/>
            </a:pPr>
            <a:r>
              <a:rPr lang="da-DK" sz="800">
                <a:solidFill>
                  <a:schemeClr val="tx1"/>
                </a:solidFill>
                <a:latin typeface="+mj-lt"/>
                <a:ea typeface="Verdana"/>
              </a:rPr>
              <a:t>Udbudsmateriale</a:t>
            </a:r>
          </a:p>
          <a:p>
            <a:pPr marL="92075" lvl="1" indent="-92075">
              <a:lnSpc>
                <a:spcPct val="100000"/>
              </a:lnSpc>
              <a:spcAft>
                <a:spcPts val="300"/>
              </a:spcAft>
              <a:buFont typeface="Arial" panose="020B0604020202020204" pitchFamily="34" charset="0"/>
              <a:buChar char="•"/>
              <a:defRPr/>
            </a:pPr>
            <a:r>
              <a:rPr lang="da-DK" sz="800">
                <a:solidFill>
                  <a:schemeClr val="tx1"/>
                </a:solidFill>
                <a:latin typeface="+mj-lt"/>
                <a:ea typeface="Verdana"/>
              </a:rPr>
              <a:t>Evt. høring</a:t>
            </a:r>
            <a:endParaRPr lang="da-DK" sz="800">
              <a:solidFill>
                <a:schemeClr val="tx1"/>
              </a:solidFill>
              <a:latin typeface="+mj-lt"/>
            </a:endParaRPr>
          </a:p>
          <a:p>
            <a:pPr lvl="1">
              <a:lnSpc>
                <a:spcPct val="100000"/>
              </a:lnSpc>
              <a:spcAft>
                <a:spcPts val="300"/>
              </a:spcAft>
              <a:buNone/>
              <a:defRPr/>
            </a:pPr>
            <a:endParaRPr lang="da-DK" sz="900">
              <a:solidFill>
                <a:schemeClr val="tx1"/>
              </a:solidFill>
              <a:latin typeface="+mj-lt"/>
            </a:endParaRPr>
          </a:p>
        </p:txBody>
      </p:sp>
      <p:sp>
        <p:nvSpPr>
          <p:cNvPr id="9" name="TextBox 8">
            <a:extLst>
              <a:ext uri="{FF2B5EF4-FFF2-40B4-BE49-F238E27FC236}">
                <a16:creationId xmlns:a16="http://schemas.microsoft.com/office/drawing/2014/main" id="{86BDA296-88B3-4F9E-BEBA-6427120CB106}"/>
              </a:ext>
            </a:extLst>
          </p:cNvPr>
          <p:cNvSpPr txBox="1"/>
          <p:nvPr/>
        </p:nvSpPr>
        <p:spPr>
          <a:xfrm>
            <a:off x="3753487" y="3671552"/>
            <a:ext cx="449978" cy="134204"/>
          </a:xfrm>
          <a:prstGeom prst="rect">
            <a:avLst/>
          </a:prstGeom>
          <a:solidFill>
            <a:schemeClr val="bg1"/>
          </a:solidFill>
          <a:ln w="6350">
            <a:noFill/>
            <a:prstDash val="sysDash"/>
          </a:ln>
        </p:spPr>
        <p:txBody>
          <a:bodyPr wrap="square" lIns="0" tIns="0" rIns="0" bIns="0" rtlCol="0">
            <a:spAutoFit/>
          </a:bodyPr>
          <a:lstStyle/>
          <a:p>
            <a:pPr algn="ctr" defTabSz="685817">
              <a:lnSpc>
                <a:spcPct val="90000"/>
              </a:lnSpc>
              <a:spcAft>
                <a:spcPts val="554"/>
              </a:spcAft>
              <a:defRPr/>
            </a:pPr>
            <a:r>
              <a:rPr lang="nb-NO" sz="969">
                <a:latin typeface="Impact" panose="020B0806030902050204" pitchFamily="34" charset="0"/>
              </a:rPr>
              <a:t>Q4-2021</a:t>
            </a:r>
            <a:endParaRPr lang="nb-NO" sz="969">
              <a:solidFill>
                <a:srgbClr val="1F2023"/>
              </a:solidFill>
              <a:latin typeface="Impact" panose="020B0806030902050204" pitchFamily="34" charset="0"/>
            </a:endParaRPr>
          </a:p>
        </p:txBody>
      </p:sp>
      <p:sp>
        <p:nvSpPr>
          <p:cNvPr id="12" name="Diamond 11">
            <a:extLst>
              <a:ext uri="{FF2B5EF4-FFF2-40B4-BE49-F238E27FC236}">
                <a16:creationId xmlns:a16="http://schemas.microsoft.com/office/drawing/2014/main" id="{F12EB233-E926-43AA-86DA-2A61E474B40A}"/>
              </a:ext>
            </a:extLst>
          </p:cNvPr>
          <p:cNvSpPr/>
          <p:nvPr/>
        </p:nvSpPr>
        <p:spPr>
          <a:xfrm>
            <a:off x="6329949" y="4061609"/>
            <a:ext cx="151145" cy="248211"/>
          </a:xfrm>
          <a:prstGeom prst="diamond">
            <a:avLst/>
          </a:prstGeom>
          <a:solidFill>
            <a:srgbClr val="893E4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algn="l"/>
            <a:endParaRPr lang="nb-NO" sz="923">
              <a:solidFill>
                <a:srgbClr val="2F363B"/>
              </a:solidFill>
            </a:endParaRPr>
          </a:p>
        </p:txBody>
      </p:sp>
      <p:sp>
        <p:nvSpPr>
          <p:cNvPr id="13" name="TextBox 12">
            <a:extLst>
              <a:ext uri="{FF2B5EF4-FFF2-40B4-BE49-F238E27FC236}">
                <a16:creationId xmlns:a16="http://schemas.microsoft.com/office/drawing/2014/main" id="{7490BD22-E158-4485-910D-FDCD764F9176}"/>
              </a:ext>
            </a:extLst>
          </p:cNvPr>
          <p:cNvSpPr txBox="1"/>
          <p:nvPr/>
        </p:nvSpPr>
        <p:spPr>
          <a:xfrm>
            <a:off x="5802499" y="3672517"/>
            <a:ext cx="449978" cy="134204"/>
          </a:xfrm>
          <a:prstGeom prst="rect">
            <a:avLst/>
          </a:prstGeom>
          <a:solidFill>
            <a:schemeClr val="bg1"/>
          </a:solidFill>
          <a:ln w="6350">
            <a:noFill/>
            <a:prstDash val="sysDash"/>
          </a:ln>
        </p:spPr>
        <p:txBody>
          <a:bodyPr wrap="square" lIns="0" tIns="0" rIns="0" bIns="0" rtlCol="0">
            <a:spAutoFit/>
          </a:bodyPr>
          <a:lstStyle/>
          <a:p>
            <a:pPr algn="ctr" defTabSz="685817">
              <a:lnSpc>
                <a:spcPct val="90000"/>
              </a:lnSpc>
              <a:spcAft>
                <a:spcPts val="554"/>
              </a:spcAft>
              <a:defRPr/>
            </a:pPr>
            <a:r>
              <a:rPr lang="nb-NO" sz="969">
                <a:latin typeface="Impact" panose="020B0806030902050204" pitchFamily="34" charset="0"/>
              </a:rPr>
              <a:t>Q3-2022</a:t>
            </a:r>
            <a:endParaRPr lang="nb-NO" sz="969">
              <a:solidFill>
                <a:srgbClr val="1F2023"/>
              </a:solidFill>
              <a:latin typeface="Impact" panose="020B0806030902050204" pitchFamily="34" charset="0"/>
            </a:endParaRPr>
          </a:p>
        </p:txBody>
      </p:sp>
      <p:sp>
        <p:nvSpPr>
          <p:cNvPr id="14" name="Content Placeholder 7">
            <a:extLst>
              <a:ext uri="{FF2B5EF4-FFF2-40B4-BE49-F238E27FC236}">
                <a16:creationId xmlns:a16="http://schemas.microsoft.com/office/drawing/2014/main" id="{E6D02586-AF98-4706-A85E-55872559C24B}"/>
              </a:ext>
            </a:extLst>
          </p:cNvPr>
          <p:cNvSpPr txBox="1">
            <a:spLocks/>
          </p:cNvSpPr>
          <p:nvPr/>
        </p:nvSpPr>
        <p:spPr>
          <a:xfrm>
            <a:off x="6457361" y="1166897"/>
            <a:ext cx="2239157" cy="2256457"/>
          </a:xfrm>
          <a:prstGeom prst="rect">
            <a:avLst/>
          </a:prstGeom>
          <a:solidFill>
            <a:srgbClr val="C3CFCB"/>
          </a:solidFill>
          <a:ln w="635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defPPr>
              <a:defRPr lang="en-US"/>
            </a:defPPr>
            <a:lvl1pPr marL="0" indent="0" algn="l" defTabSz="914400" rtl="0" eaLnBrk="1" latinLnBrk="0" hangingPunct="1">
              <a:lnSpc>
                <a:spcPct val="150000"/>
              </a:lnSpc>
              <a:spcBef>
                <a:spcPts val="0"/>
              </a:spcBef>
              <a:buFont typeface="Arial" panose="020B0604020202020204" pitchFamily="34" charset="0"/>
              <a:buNone/>
              <a:defRPr sz="1100" kern="1200">
                <a:solidFill>
                  <a:srgbClr val="2F363B"/>
                </a:solidFill>
                <a:latin typeface="Verdana" panose="020B0604030504040204" pitchFamily="34" charset="0"/>
                <a:ea typeface="Verdana" panose="020B0604030504040204" pitchFamily="34" charset="0"/>
                <a:cs typeface="Verdana" panose="020B0604030504040204" pitchFamily="34" charset="0"/>
              </a:defRPr>
            </a:lvl1pPr>
            <a:lvl2pPr marL="0" lvl="1" indent="0" algn="l" defTabSz="914400" rtl="0" eaLnBrk="1" latinLnBrk="0" hangingPunct="1">
              <a:lnSpc>
                <a:spcPct val="150000"/>
              </a:lnSpc>
              <a:spcBef>
                <a:spcPts val="0"/>
              </a:spcBef>
              <a:buSzPct val="100000"/>
              <a:buFont typeface="Arial" panose="020B0604020202020204" pitchFamily="34" charset="0"/>
              <a:buChar char="​"/>
              <a:defRPr sz="1100" kern="1200">
                <a:solidFill>
                  <a:srgbClr val="2F363B"/>
                </a:solidFill>
                <a:latin typeface="Arial" panose="020B0604020202020204" pitchFamily="34" charset="0"/>
                <a:ea typeface="Verdana" panose="020B0604030504040204" pitchFamily="34" charset="0"/>
                <a:cs typeface="Verdana" panose="020B0604030504040204" pitchFamily="34" charset="0"/>
              </a:defRPr>
            </a:lvl2pPr>
            <a:lvl3pPr marL="1257300" indent="-342900" algn="l" defTabSz="914400" rtl="0" eaLnBrk="1" latinLnBrk="0" hangingPunct="1">
              <a:lnSpc>
                <a:spcPct val="150000"/>
              </a:lnSpc>
              <a:spcBef>
                <a:spcPts val="0"/>
              </a:spcBef>
              <a:buFont typeface="Courier New" panose="02070309020205020404" pitchFamily="49" charset="0"/>
              <a:buChar char="o"/>
              <a:defRPr sz="1400" kern="1200">
                <a:solidFill>
                  <a:schemeClr val="lt1"/>
                </a:solidFill>
                <a:latin typeface="Verdana" panose="020B0604030504040204" pitchFamily="34" charset="0"/>
                <a:ea typeface="Verdana" panose="020B0604030504040204" pitchFamily="34" charset="0"/>
                <a:cs typeface="Verdana" panose="020B0604030504040204" pitchFamily="34" charset="0"/>
              </a:defRPr>
            </a:lvl3pPr>
            <a:lvl4pPr marL="1714500" indent="-342900" algn="l" defTabSz="914400" rtl="0" eaLnBrk="1" latinLnBrk="0" hangingPunct="1">
              <a:lnSpc>
                <a:spcPct val="150000"/>
              </a:lnSpc>
              <a:spcBef>
                <a:spcPts val="0"/>
              </a:spcBef>
              <a:buFont typeface="Wingdings" panose="05000000000000000000" pitchFamily="2" charset="2"/>
              <a:buChar char="§"/>
              <a:defRPr sz="1300" kern="1200">
                <a:solidFill>
                  <a:schemeClr val="lt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150000"/>
              </a:lnSpc>
              <a:spcBef>
                <a:spcPts val="0"/>
              </a:spcBef>
              <a:buFont typeface="Arial" panose="020B0604020202020204" pitchFamily="34" charset="0"/>
              <a:buChar char="•"/>
              <a:defRPr sz="1100" kern="1200">
                <a:solidFill>
                  <a:schemeClr val="lt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lvl="1">
              <a:lnSpc>
                <a:spcPct val="100000"/>
              </a:lnSpc>
              <a:spcAft>
                <a:spcPts val="300"/>
              </a:spcAft>
              <a:buNone/>
              <a:defRPr/>
            </a:pPr>
            <a:r>
              <a:rPr lang="da-DK" sz="900" b="1" dirty="0">
                <a:solidFill>
                  <a:schemeClr val="tx1"/>
                </a:solidFill>
                <a:latin typeface="+mj-lt"/>
                <a:ea typeface="Verdana"/>
                <a:cs typeface="Verdana"/>
              </a:rPr>
              <a:t>Spørgsmål, som ønskes besvaret af leverandøren: </a:t>
            </a:r>
            <a:endParaRPr lang="da-DK" sz="900" b="1" dirty="0">
              <a:solidFill>
                <a:schemeClr val="tx1"/>
              </a:solidFill>
              <a:latin typeface="+mj-lt"/>
            </a:endParaRPr>
          </a:p>
          <a:p>
            <a:pPr lvl="1">
              <a:lnSpc>
                <a:spcPct val="100000"/>
              </a:lnSpc>
              <a:spcBef>
                <a:spcPts val="600"/>
              </a:spcBef>
              <a:spcAft>
                <a:spcPts val="300"/>
              </a:spcAft>
              <a:buNone/>
              <a:defRPr/>
            </a:pPr>
            <a:r>
              <a:rPr lang="da-DK" sz="900" b="1" dirty="0">
                <a:solidFill>
                  <a:schemeClr val="tx1"/>
                </a:solidFill>
                <a:latin typeface="+mj-lt"/>
                <a:ea typeface="Verdana"/>
                <a:cs typeface="Verdana"/>
              </a:rPr>
              <a:t>4.2.a: Tidsplan</a:t>
            </a:r>
            <a:endParaRPr lang="da-DK" sz="900" dirty="0">
              <a:solidFill>
                <a:schemeClr val="tx1"/>
              </a:solidFill>
              <a:latin typeface="+mj-lt"/>
              <a:ea typeface="Verdana"/>
              <a:cs typeface="Verdana"/>
            </a:endParaRPr>
          </a:p>
          <a:p>
            <a:pPr lvl="1">
              <a:lnSpc>
                <a:spcPct val="100000"/>
              </a:lnSpc>
              <a:spcAft>
                <a:spcPts val="300"/>
              </a:spcAft>
              <a:buNone/>
              <a:defRPr/>
            </a:pPr>
            <a:r>
              <a:rPr lang="da-DK" sz="900" dirty="0">
                <a:solidFill>
                  <a:schemeClr val="tx1"/>
                </a:solidFill>
                <a:latin typeface="+mj-lt"/>
                <a:ea typeface="Verdana"/>
                <a:cs typeface="Arial"/>
              </a:rPr>
              <a:t>Leverandøren bedes kort redegøre for sine overvejelser om tilgang, proces og plan for en kommende anskaffelses- og implementeringsproces, der bedst kan understøtte Økonomistyrelsens og leverandørens fælles opgave med at idriftsætte en god løsning inden 1/9 2022.</a:t>
            </a:r>
          </a:p>
          <a:p>
            <a:pPr lvl="1">
              <a:lnSpc>
                <a:spcPct val="100000"/>
              </a:lnSpc>
              <a:spcAft>
                <a:spcPts val="300"/>
              </a:spcAft>
              <a:buNone/>
              <a:defRPr/>
            </a:pPr>
            <a:endParaRPr lang="da-DK" sz="900">
              <a:solidFill>
                <a:schemeClr val="tx1"/>
              </a:solidFill>
              <a:latin typeface="+mj-lt"/>
              <a:ea typeface="Verdana"/>
              <a:cs typeface="Arial"/>
            </a:endParaRPr>
          </a:p>
          <a:p>
            <a:pPr lvl="1">
              <a:lnSpc>
                <a:spcPct val="100000"/>
              </a:lnSpc>
              <a:spcAft>
                <a:spcPts val="300"/>
              </a:spcAft>
              <a:buNone/>
              <a:defRPr/>
            </a:pPr>
            <a:endParaRPr lang="da-DK" sz="900">
              <a:solidFill>
                <a:schemeClr val="tx1"/>
              </a:solidFill>
              <a:latin typeface="+mj-lt"/>
            </a:endParaRPr>
          </a:p>
        </p:txBody>
      </p:sp>
      <p:sp>
        <p:nvSpPr>
          <p:cNvPr id="15" name="Content Placeholder 7">
            <a:extLst>
              <a:ext uri="{FF2B5EF4-FFF2-40B4-BE49-F238E27FC236}">
                <a16:creationId xmlns:a16="http://schemas.microsoft.com/office/drawing/2014/main" id="{3D918371-C58C-4189-8738-A392BD89BF56}"/>
              </a:ext>
            </a:extLst>
          </p:cNvPr>
          <p:cNvSpPr txBox="1">
            <a:spLocks/>
          </p:cNvSpPr>
          <p:nvPr/>
        </p:nvSpPr>
        <p:spPr>
          <a:xfrm>
            <a:off x="1894257" y="4574207"/>
            <a:ext cx="2257119" cy="1468681"/>
          </a:xfrm>
          <a:prstGeom prst="rect">
            <a:avLst/>
          </a:prstGeom>
          <a:solidFill>
            <a:srgbClr val="C3CFCB"/>
          </a:solidFill>
          <a:ln w="635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defRPr lang="en-US"/>
            </a:defPPr>
            <a:lvl1pPr marL="0" indent="0" algn="l" defTabSz="914400" rtl="0" eaLnBrk="1" latinLnBrk="0" hangingPunct="1">
              <a:lnSpc>
                <a:spcPct val="150000"/>
              </a:lnSpc>
              <a:spcBef>
                <a:spcPts val="0"/>
              </a:spcBef>
              <a:buFont typeface="Arial" panose="020B0604020202020204" pitchFamily="34" charset="0"/>
              <a:buNone/>
              <a:defRPr sz="1100" kern="1200">
                <a:solidFill>
                  <a:srgbClr val="2F363B"/>
                </a:solidFill>
                <a:latin typeface="Verdana" panose="020B0604030504040204" pitchFamily="34" charset="0"/>
                <a:ea typeface="Verdana" panose="020B0604030504040204" pitchFamily="34" charset="0"/>
                <a:cs typeface="Verdana" panose="020B0604030504040204" pitchFamily="34" charset="0"/>
              </a:defRPr>
            </a:lvl1pPr>
            <a:lvl2pPr marL="0" lvl="1" indent="0" algn="l" defTabSz="914400" rtl="0" eaLnBrk="1" latinLnBrk="0" hangingPunct="1">
              <a:lnSpc>
                <a:spcPct val="150000"/>
              </a:lnSpc>
              <a:spcBef>
                <a:spcPts val="0"/>
              </a:spcBef>
              <a:buSzPct val="100000"/>
              <a:buFont typeface="Arial" panose="020B0604020202020204" pitchFamily="34" charset="0"/>
              <a:buChar char="​"/>
              <a:defRPr sz="1100" kern="1200">
                <a:solidFill>
                  <a:srgbClr val="2F363B"/>
                </a:solidFill>
                <a:latin typeface="Arial" panose="020B0604020202020204" pitchFamily="34" charset="0"/>
                <a:ea typeface="Verdana" panose="020B0604030504040204" pitchFamily="34" charset="0"/>
                <a:cs typeface="Verdana" panose="020B0604030504040204" pitchFamily="34" charset="0"/>
              </a:defRPr>
            </a:lvl2pPr>
            <a:lvl3pPr marL="1257300" indent="-342900" algn="l" defTabSz="914400" rtl="0" eaLnBrk="1" latinLnBrk="0" hangingPunct="1">
              <a:lnSpc>
                <a:spcPct val="150000"/>
              </a:lnSpc>
              <a:spcBef>
                <a:spcPts val="0"/>
              </a:spcBef>
              <a:buFont typeface="Courier New" panose="02070309020205020404" pitchFamily="49" charset="0"/>
              <a:buChar char="o"/>
              <a:defRPr sz="1400" kern="1200">
                <a:solidFill>
                  <a:schemeClr val="lt1"/>
                </a:solidFill>
                <a:latin typeface="Verdana" panose="020B0604030504040204" pitchFamily="34" charset="0"/>
                <a:ea typeface="Verdana" panose="020B0604030504040204" pitchFamily="34" charset="0"/>
                <a:cs typeface="Verdana" panose="020B0604030504040204" pitchFamily="34" charset="0"/>
              </a:defRPr>
            </a:lvl3pPr>
            <a:lvl4pPr marL="1714500" indent="-342900" algn="l" defTabSz="914400" rtl="0" eaLnBrk="1" latinLnBrk="0" hangingPunct="1">
              <a:lnSpc>
                <a:spcPct val="150000"/>
              </a:lnSpc>
              <a:spcBef>
                <a:spcPts val="0"/>
              </a:spcBef>
              <a:buFont typeface="Wingdings" panose="05000000000000000000" pitchFamily="2" charset="2"/>
              <a:buChar char="§"/>
              <a:defRPr sz="1300" kern="1200">
                <a:solidFill>
                  <a:schemeClr val="lt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150000"/>
              </a:lnSpc>
              <a:spcBef>
                <a:spcPts val="0"/>
              </a:spcBef>
              <a:buFont typeface="Arial" panose="020B0604020202020204" pitchFamily="34" charset="0"/>
              <a:buChar char="•"/>
              <a:defRPr sz="1100" kern="1200">
                <a:solidFill>
                  <a:schemeClr val="lt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92075" lvl="1" indent="-92075">
              <a:lnSpc>
                <a:spcPct val="100000"/>
              </a:lnSpc>
              <a:spcAft>
                <a:spcPts val="300"/>
              </a:spcAft>
              <a:buFont typeface="Arial" panose="020B0604020202020204" pitchFamily="34" charset="0"/>
              <a:buChar char="•"/>
              <a:defRPr/>
            </a:pPr>
            <a:r>
              <a:rPr lang="da-DK" sz="800">
                <a:solidFill>
                  <a:schemeClr val="tx1"/>
                </a:solidFill>
                <a:latin typeface="+mj-lt"/>
                <a:ea typeface="Verdana"/>
              </a:rPr>
              <a:t>Udvælgelse</a:t>
            </a:r>
          </a:p>
          <a:p>
            <a:pPr marL="92075" lvl="1" indent="-92075">
              <a:lnSpc>
                <a:spcPct val="100000"/>
              </a:lnSpc>
              <a:spcAft>
                <a:spcPts val="300"/>
              </a:spcAft>
              <a:buFont typeface="Arial" panose="020B0604020202020204" pitchFamily="34" charset="0"/>
              <a:buChar char="•"/>
              <a:defRPr/>
            </a:pPr>
            <a:r>
              <a:rPr lang="da-DK" sz="800">
                <a:solidFill>
                  <a:schemeClr val="tx1"/>
                </a:solidFill>
                <a:latin typeface="+mj-lt"/>
                <a:ea typeface="Verdana"/>
              </a:rPr>
              <a:t>Tilbudsgennemgang</a:t>
            </a:r>
          </a:p>
          <a:p>
            <a:pPr marL="92075" lvl="1" indent="-92075">
              <a:lnSpc>
                <a:spcPct val="100000"/>
              </a:lnSpc>
              <a:spcAft>
                <a:spcPts val="300"/>
              </a:spcAft>
              <a:buFont typeface="Arial" panose="020B0604020202020204" pitchFamily="34" charset="0"/>
              <a:buChar char="•"/>
              <a:defRPr/>
            </a:pPr>
            <a:r>
              <a:rPr lang="da-DK" sz="800">
                <a:solidFill>
                  <a:schemeClr val="tx1"/>
                </a:solidFill>
                <a:latin typeface="+mj-lt"/>
                <a:ea typeface="Verdana"/>
              </a:rPr>
              <a:t>Evaluering</a:t>
            </a:r>
          </a:p>
          <a:p>
            <a:pPr marL="92075" lvl="1" indent="-92075">
              <a:lnSpc>
                <a:spcPct val="100000"/>
              </a:lnSpc>
              <a:spcAft>
                <a:spcPts val="300"/>
              </a:spcAft>
              <a:buFont typeface="Arial" panose="020B0604020202020204" pitchFamily="34" charset="0"/>
              <a:buChar char="•"/>
              <a:defRPr/>
            </a:pPr>
            <a:r>
              <a:rPr lang="da-DK" sz="800">
                <a:solidFill>
                  <a:schemeClr val="tx1"/>
                </a:solidFill>
                <a:latin typeface="+mj-lt"/>
                <a:ea typeface="Verdana"/>
              </a:rPr>
              <a:t>Tildeling og stand still</a:t>
            </a:r>
          </a:p>
          <a:p>
            <a:pPr marL="92075" lvl="1" indent="-92075">
              <a:lnSpc>
                <a:spcPct val="100000"/>
              </a:lnSpc>
              <a:spcAft>
                <a:spcPts val="300"/>
              </a:spcAft>
              <a:buFont typeface="Arial" panose="020B0604020202020204" pitchFamily="34" charset="0"/>
              <a:buChar char="•"/>
              <a:defRPr/>
            </a:pPr>
            <a:r>
              <a:rPr lang="da-DK" sz="800">
                <a:solidFill>
                  <a:schemeClr val="tx1"/>
                </a:solidFill>
                <a:latin typeface="+mj-lt"/>
                <a:ea typeface="Verdana"/>
              </a:rPr>
              <a:t>Kontraktindgåelse</a:t>
            </a:r>
          </a:p>
          <a:p>
            <a:pPr marL="92075" lvl="1" indent="-92075">
              <a:lnSpc>
                <a:spcPct val="100000"/>
              </a:lnSpc>
              <a:spcAft>
                <a:spcPts val="300"/>
              </a:spcAft>
              <a:buFont typeface="Arial" panose="020B0604020202020204" pitchFamily="34" charset="0"/>
              <a:buChar char="•"/>
              <a:defRPr/>
            </a:pPr>
            <a:r>
              <a:rPr lang="da-DK" sz="800">
                <a:solidFill>
                  <a:schemeClr val="tx1"/>
                </a:solidFill>
                <a:latin typeface="+mj-lt"/>
                <a:ea typeface="Verdana"/>
              </a:rPr>
              <a:t>Klargøring af implementeringsorganisation og -forudsætninger</a:t>
            </a:r>
          </a:p>
          <a:p>
            <a:pPr lvl="1">
              <a:lnSpc>
                <a:spcPct val="100000"/>
              </a:lnSpc>
              <a:spcAft>
                <a:spcPts val="300"/>
              </a:spcAft>
              <a:buNone/>
              <a:defRPr/>
            </a:pPr>
            <a:endParaRPr lang="da-DK" sz="800">
              <a:solidFill>
                <a:schemeClr val="tx1"/>
              </a:solidFill>
              <a:latin typeface="+mj-lt"/>
            </a:endParaRPr>
          </a:p>
          <a:p>
            <a:pPr lvl="1">
              <a:lnSpc>
                <a:spcPct val="100000"/>
              </a:lnSpc>
              <a:spcAft>
                <a:spcPts val="300"/>
              </a:spcAft>
              <a:buNone/>
              <a:defRPr/>
            </a:pPr>
            <a:endParaRPr lang="da-DK" sz="900">
              <a:solidFill>
                <a:schemeClr val="tx1"/>
              </a:solidFill>
              <a:latin typeface="+mj-lt"/>
            </a:endParaRPr>
          </a:p>
        </p:txBody>
      </p:sp>
      <p:sp>
        <p:nvSpPr>
          <p:cNvPr id="16" name="Content Placeholder 7">
            <a:extLst>
              <a:ext uri="{FF2B5EF4-FFF2-40B4-BE49-F238E27FC236}">
                <a16:creationId xmlns:a16="http://schemas.microsoft.com/office/drawing/2014/main" id="{6752F226-B2B5-4E5D-B1A4-BF42D349CB9E}"/>
              </a:ext>
            </a:extLst>
          </p:cNvPr>
          <p:cNvSpPr txBox="1">
            <a:spLocks/>
          </p:cNvSpPr>
          <p:nvPr/>
        </p:nvSpPr>
        <p:spPr>
          <a:xfrm>
            <a:off x="4271697" y="4574207"/>
            <a:ext cx="2101671" cy="1468681"/>
          </a:xfrm>
          <a:prstGeom prst="rect">
            <a:avLst/>
          </a:prstGeom>
          <a:solidFill>
            <a:srgbClr val="C3CFCB"/>
          </a:solidFill>
          <a:ln w="635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defRPr lang="en-US"/>
            </a:defPPr>
            <a:lvl1pPr marL="0" indent="0" algn="l" defTabSz="914400" rtl="0" eaLnBrk="1" latinLnBrk="0" hangingPunct="1">
              <a:lnSpc>
                <a:spcPct val="150000"/>
              </a:lnSpc>
              <a:spcBef>
                <a:spcPts val="0"/>
              </a:spcBef>
              <a:buFont typeface="Arial" panose="020B0604020202020204" pitchFamily="34" charset="0"/>
              <a:buNone/>
              <a:defRPr sz="1100" kern="1200">
                <a:solidFill>
                  <a:srgbClr val="2F363B"/>
                </a:solidFill>
                <a:latin typeface="Verdana" panose="020B0604030504040204" pitchFamily="34" charset="0"/>
                <a:ea typeface="Verdana" panose="020B0604030504040204" pitchFamily="34" charset="0"/>
                <a:cs typeface="Verdana" panose="020B0604030504040204" pitchFamily="34" charset="0"/>
              </a:defRPr>
            </a:lvl1pPr>
            <a:lvl2pPr marL="0" lvl="1" indent="0" algn="l" defTabSz="914400" rtl="0" eaLnBrk="1" latinLnBrk="0" hangingPunct="1">
              <a:lnSpc>
                <a:spcPct val="150000"/>
              </a:lnSpc>
              <a:spcBef>
                <a:spcPts val="0"/>
              </a:spcBef>
              <a:buSzPct val="100000"/>
              <a:buFont typeface="Arial" panose="020B0604020202020204" pitchFamily="34" charset="0"/>
              <a:buChar char="​"/>
              <a:defRPr sz="1100" kern="1200">
                <a:solidFill>
                  <a:srgbClr val="2F363B"/>
                </a:solidFill>
                <a:latin typeface="Arial" panose="020B0604020202020204" pitchFamily="34" charset="0"/>
                <a:ea typeface="Verdana" panose="020B0604030504040204" pitchFamily="34" charset="0"/>
                <a:cs typeface="Verdana" panose="020B0604030504040204" pitchFamily="34" charset="0"/>
              </a:defRPr>
            </a:lvl2pPr>
            <a:lvl3pPr marL="1257300" indent="-342900" algn="l" defTabSz="914400" rtl="0" eaLnBrk="1" latinLnBrk="0" hangingPunct="1">
              <a:lnSpc>
                <a:spcPct val="150000"/>
              </a:lnSpc>
              <a:spcBef>
                <a:spcPts val="0"/>
              </a:spcBef>
              <a:buFont typeface="Courier New" panose="02070309020205020404" pitchFamily="49" charset="0"/>
              <a:buChar char="o"/>
              <a:defRPr sz="1400" kern="1200">
                <a:solidFill>
                  <a:schemeClr val="lt1"/>
                </a:solidFill>
                <a:latin typeface="Verdana" panose="020B0604030504040204" pitchFamily="34" charset="0"/>
                <a:ea typeface="Verdana" panose="020B0604030504040204" pitchFamily="34" charset="0"/>
                <a:cs typeface="Verdana" panose="020B0604030504040204" pitchFamily="34" charset="0"/>
              </a:defRPr>
            </a:lvl3pPr>
            <a:lvl4pPr marL="1714500" indent="-342900" algn="l" defTabSz="914400" rtl="0" eaLnBrk="1" latinLnBrk="0" hangingPunct="1">
              <a:lnSpc>
                <a:spcPct val="150000"/>
              </a:lnSpc>
              <a:spcBef>
                <a:spcPts val="0"/>
              </a:spcBef>
              <a:buFont typeface="Wingdings" panose="05000000000000000000" pitchFamily="2" charset="2"/>
              <a:buChar char="§"/>
              <a:defRPr sz="1300" kern="1200">
                <a:solidFill>
                  <a:schemeClr val="lt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150000"/>
              </a:lnSpc>
              <a:spcBef>
                <a:spcPts val="0"/>
              </a:spcBef>
              <a:buFont typeface="Arial" panose="020B0604020202020204" pitchFamily="34" charset="0"/>
              <a:buChar char="•"/>
              <a:defRPr sz="1100" kern="1200">
                <a:solidFill>
                  <a:schemeClr val="lt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92075" lvl="1" indent="-92075">
              <a:lnSpc>
                <a:spcPct val="100000"/>
              </a:lnSpc>
              <a:spcAft>
                <a:spcPts val="300"/>
              </a:spcAft>
              <a:buFont typeface="Arial" panose="020B0604020202020204" pitchFamily="34" charset="0"/>
              <a:buChar char="•"/>
              <a:defRPr/>
            </a:pPr>
            <a:r>
              <a:rPr lang="da-DK" sz="800">
                <a:solidFill>
                  <a:schemeClr val="tx1"/>
                </a:solidFill>
                <a:latin typeface="+mj-lt"/>
                <a:ea typeface="Verdana"/>
              </a:rPr>
              <a:t>Afklaring</a:t>
            </a:r>
          </a:p>
          <a:p>
            <a:pPr marL="92075" lvl="1" indent="-92075">
              <a:lnSpc>
                <a:spcPct val="100000"/>
              </a:lnSpc>
              <a:spcAft>
                <a:spcPts val="300"/>
              </a:spcAft>
              <a:buFont typeface="Arial" panose="020B0604020202020204" pitchFamily="34" charset="0"/>
              <a:buChar char="•"/>
              <a:defRPr/>
            </a:pPr>
            <a:r>
              <a:rPr lang="da-DK" sz="800">
                <a:solidFill>
                  <a:schemeClr val="tx1"/>
                </a:solidFill>
                <a:latin typeface="+mj-lt"/>
                <a:ea typeface="Verdana"/>
              </a:rPr>
              <a:t>Design</a:t>
            </a:r>
          </a:p>
          <a:p>
            <a:pPr marL="92075" lvl="1" indent="-92075">
              <a:lnSpc>
                <a:spcPct val="100000"/>
              </a:lnSpc>
              <a:spcAft>
                <a:spcPts val="300"/>
              </a:spcAft>
              <a:buFont typeface="Arial" panose="020B0604020202020204" pitchFamily="34" charset="0"/>
              <a:buChar char="•"/>
              <a:defRPr/>
            </a:pPr>
            <a:r>
              <a:rPr lang="da-DK" sz="800" err="1">
                <a:solidFill>
                  <a:schemeClr val="tx1"/>
                </a:solidFill>
                <a:latin typeface="+mj-lt"/>
                <a:ea typeface="Verdana"/>
              </a:rPr>
              <a:t>Build</a:t>
            </a:r>
            <a:endParaRPr lang="da-DK" sz="800">
              <a:solidFill>
                <a:schemeClr val="tx1"/>
              </a:solidFill>
              <a:latin typeface="+mj-lt"/>
              <a:ea typeface="Verdana"/>
            </a:endParaRPr>
          </a:p>
          <a:p>
            <a:pPr marL="92075" lvl="1" indent="-92075">
              <a:lnSpc>
                <a:spcPct val="100000"/>
              </a:lnSpc>
              <a:spcAft>
                <a:spcPts val="300"/>
              </a:spcAft>
              <a:buFont typeface="Arial" panose="020B0604020202020204" pitchFamily="34" charset="0"/>
              <a:buChar char="•"/>
              <a:defRPr/>
            </a:pPr>
            <a:r>
              <a:rPr lang="da-DK" sz="800">
                <a:solidFill>
                  <a:schemeClr val="tx1"/>
                </a:solidFill>
                <a:latin typeface="+mj-lt"/>
                <a:ea typeface="Verdana"/>
              </a:rPr>
              <a:t>Test</a:t>
            </a:r>
          </a:p>
          <a:p>
            <a:pPr marL="92075" lvl="1" indent="-92075">
              <a:lnSpc>
                <a:spcPct val="100000"/>
              </a:lnSpc>
              <a:spcAft>
                <a:spcPts val="300"/>
              </a:spcAft>
              <a:buFont typeface="Arial" panose="020B0604020202020204" pitchFamily="34" charset="0"/>
              <a:buChar char="•"/>
              <a:defRPr/>
            </a:pPr>
            <a:r>
              <a:rPr lang="da-DK" sz="800">
                <a:solidFill>
                  <a:schemeClr val="tx1"/>
                </a:solidFill>
                <a:latin typeface="+mj-lt"/>
                <a:ea typeface="Verdana"/>
              </a:rPr>
              <a:t>Go-Live</a:t>
            </a:r>
          </a:p>
          <a:p>
            <a:pPr marL="92075" lvl="1" indent="-92075">
              <a:lnSpc>
                <a:spcPct val="100000"/>
              </a:lnSpc>
              <a:spcAft>
                <a:spcPts val="300"/>
              </a:spcAft>
              <a:buFont typeface="Arial" panose="020B0604020202020204" pitchFamily="34" charset="0"/>
              <a:buChar char="•"/>
              <a:defRPr/>
            </a:pPr>
            <a:r>
              <a:rPr lang="da-DK" sz="800">
                <a:solidFill>
                  <a:schemeClr val="tx1"/>
                </a:solidFill>
                <a:latin typeface="+mj-lt"/>
                <a:ea typeface="Verdana"/>
              </a:rPr>
              <a:t>Klargøring af driftsorganisation og -forudsætninger</a:t>
            </a:r>
          </a:p>
          <a:p>
            <a:pPr lvl="1">
              <a:lnSpc>
                <a:spcPct val="100000"/>
              </a:lnSpc>
              <a:spcAft>
                <a:spcPts val="300"/>
              </a:spcAft>
              <a:buNone/>
              <a:defRPr/>
            </a:pPr>
            <a:endParaRPr lang="da-DK" sz="900">
              <a:solidFill>
                <a:schemeClr val="tx1"/>
              </a:solidFill>
              <a:latin typeface="+mj-lt"/>
            </a:endParaRPr>
          </a:p>
        </p:txBody>
      </p:sp>
      <p:sp>
        <p:nvSpPr>
          <p:cNvPr id="17" name="Content Placeholder 7">
            <a:extLst>
              <a:ext uri="{FF2B5EF4-FFF2-40B4-BE49-F238E27FC236}">
                <a16:creationId xmlns:a16="http://schemas.microsoft.com/office/drawing/2014/main" id="{1A14CCAC-D299-4B28-9266-4E46F43E93BB}"/>
              </a:ext>
            </a:extLst>
          </p:cNvPr>
          <p:cNvSpPr txBox="1">
            <a:spLocks/>
          </p:cNvSpPr>
          <p:nvPr/>
        </p:nvSpPr>
        <p:spPr>
          <a:xfrm>
            <a:off x="6457361" y="4579290"/>
            <a:ext cx="1060548" cy="1468681"/>
          </a:xfrm>
          <a:prstGeom prst="rect">
            <a:avLst/>
          </a:prstGeom>
          <a:solidFill>
            <a:srgbClr val="C3CFCB"/>
          </a:solidFill>
          <a:ln w="635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defRPr lang="en-US"/>
            </a:defPPr>
            <a:lvl1pPr marL="0" indent="0" algn="l" defTabSz="914400" rtl="0" eaLnBrk="1" latinLnBrk="0" hangingPunct="1">
              <a:lnSpc>
                <a:spcPct val="150000"/>
              </a:lnSpc>
              <a:spcBef>
                <a:spcPts val="0"/>
              </a:spcBef>
              <a:buFont typeface="Arial" panose="020B0604020202020204" pitchFamily="34" charset="0"/>
              <a:buNone/>
              <a:defRPr sz="1100" kern="1200">
                <a:solidFill>
                  <a:srgbClr val="2F363B"/>
                </a:solidFill>
                <a:latin typeface="Verdana" panose="020B0604030504040204" pitchFamily="34" charset="0"/>
                <a:ea typeface="Verdana" panose="020B0604030504040204" pitchFamily="34" charset="0"/>
                <a:cs typeface="Verdana" panose="020B0604030504040204" pitchFamily="34" charset="0"/>
              </a:defRPr>
            </a:lvl1pPr>
            <a:lvl2pPr marL="0" lvl="1" indent="0" algn="l" defTabSz="914400" rtl="0" eaLnBrk="1" latinLnBrk="0" hangingPunct="1">
              <a:lnSpc>
                <a:spcPct val="150000"/>
              </a:lnSpc>
              <a:spcBef>
                <a:spcPts val="0"/>
              </a:spcBef>
              <a:buSzPct val="100000"/>
              <a:buFont typeface="Arial" panose="020B0604020202020204" pitchFamily="34" charset="0"/>
              <a:buChar char="​"/>
              <a:defRPr sz="1100" kern="1200">
                <a:solidFill>
                  <a:srgbClr val="2F363B"/>
                </a:solidFill>
                <a:latin typeface="Arial" panose="020B0604020202020204" pitchFamily="34" charset="0"/>
                <a:ea typeface="Verdana" panose="020B0604030504040204" pitchFamily="34" charset="0"/>
                <a:cs typeface="Verdana" panose="020B0604030504040204" pitchFamily="34" charset="0"/>
              </a:defRPr>
            </a:lvl2pPr>
            <a:lvl3pPr marL="1257300" indent="-342900" algn="l" defTabSz="914400" rtl="0" eaLnBrk="1" latinLnBrk="0" hangingPunct="1">
              <a:lnSpc>
                <a:spcPct val="150000"/>
              </a:lnSpc>
              <a:spcBef>
                <a:spcPts val="0"/>
              </a:spcBef>
              <a:buFont typeface="Courier New" panose="02070309020205020404" pitchFamily="49" charset="0"/>
              <a:buChar char="o"/>
              <a:defRPr sz="1400" kern="1200">
                <a:solidFill>
                  <a:schemeClr val="lt1"/>
                </a:solidFill>
                <a:latin typeface="Verdana" panose="020B0604030504040204" pitchFamily="34" charset="0"/>
                <a:ea typeface="Verdana" panose="020B0604030504040204" pitchFamily="34" charset="0"/>
                <a:cs typeface="Verdana" panose="020B0604030504040204" pitchFamily="34" charset="0"/>
              </a:defRPr>
            </a:lvl3pPr>
            <a:lvl4pPr marL="1714500" indent="-342900" algn="l" defTabSz="914400" rtl="0" eaLnBrk="1" latinLnBrk="0" hangingPunct="1">
              <a:lnSpc>
                <a:spcPct val="150000"/>
              </a:lnSpc>
              <a:spcBef>
                <a:spcPts val="0"/>
              </a:spcBef>
              <a:buFont typeface="Wingdings" panose="05000000000000000000" pitchFamily="2" charset="2"/>
              <a:buChar char="§"/>
              <a:defRPr sz="1300" kern="1200">
                <a:solidFill>
                  <a:schemeClr val="lt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150000"/>
              </a:lnSpc>
              <a:spcBef>
                <a:spcPts val="0"/>
              </a:spcBef>
              <a:buFont typeface="Arial" panose="020B0604020202020204" pitchFamily="34" charset="0"/>
              <a:buChar char="•"/>
              <a:defRPr sz="1100" kern="1200">
                <a:solidFill>
                  <a:schemeClr val="lt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92075" lvl="1" indent="-92075">
              <a:lnSpc>
                <a:spcPct val="100000"/>
              </a:lnSpc>
              <a:spcAft>
                <a:spcPts val="300"/>
              </a:spcAft>
              <a:buFont typeface="Arial" panose="020B0604020202020204" pitchFamily="34" charset="0"/>
              <a:buChar char="•"/>
              <a:defRPr/>
            </a:pPr>
            <a:r>
              <a:rPr lang="da-DK" sz="800" dirty="0" err="1">
                <a:solidFill>
                  <a:schemeClr val="tx1"/>
                </a:solidFill>
                <a:latin typeface="+mj-lt"/>
                <a:ea typeface="Verdana"/>
                <a:cs typeface="Verdana"/>
              </a:rPr>
              <a:t>Hypercare</a:t>
            </a:r>
          </a:p>
          <a:p>
            <a:pPr marL="92075" lvl="1" indent="-92075">
              <a:lnSpc>
                <a:spcPct val="100000"/>
              </a:lnSpc>
              <a:spcAft>
                <a:spcPts val="300"/>
              </a:spcAft>
              <a:buFont typeface="Arial" panose="020B0604020202020204" pitchFamily="34" charset="0"/>
              <a:buChar char="•"/>
              <a:defRPr/>
            </a:pPr>
            <a:r>
              <a:rPr lang="da-DK" sz="800" dirty="0">
                <a:solidFill>
                  <a:schemeClr val="tx1"/>
                </a:solidFill>
                <a:latin typeface="+mj-lt"/>
                <a:ea typeface="Verdana"/>
                <a:cs typeface="Verdana"/>
              </a:rPr>
              <a:t>Driftsprøve</a:t>
            </a:r>
          </a:p>
          <a:p>
            <a:pPr marL="92075" lvl="1" indent="-92075">
              <a:lnSpc>
                <a:spcPct val="100000"/>
              </a:lnSpc>
              <a:spcAft>
                <a:spcPts val="300"/>
              </a:spcAft>
              <a:buFont typeface="Arial" panose="020B0604020202020204" pitchFamily="34" charset="0"/>
              <a:buChar char="•"/>
              <a:defRPr/>
            </a:pPr>
            <a:r>
              <a:rPr lang="da-DK" sz="800" dirty="0" err="1">
                <a:solidFill>
                  <a:schemeClr val="tx1"/>
                </a:solidFill>
                <a:latin typeface="+mj-lt"/>
                <a:ea typeface="Verdana"/>
                <a:cs typeface="Verdana"/>
              </a:rPr>
              <a:t>Evt</a:t>
            </a:r>
            <a:r>
              <a:rPr lang="da-DK" sz="800" dirty="0">
                <a:solidFill>
                  <a:schemeClr val="tx1"/>
                </a:solidFill>
                <a:latin typeface="+mj-lt"/>
                <a:ea typeface="Verdana"/>
                <a:cs typeface="Verdana"/>
              </a:rPr>
              <a:t> forberedelse af fase 2 implementering</a:t>
            </a:r>
          </a:p>
          <a:p>
            <a:pPr lvl="1">
              <a:lnSpc>
                <a:spcPct val="100000"/>
              </a:lnSpc>
              <a:spcAft>
                <a:spcPts val="300"/>
              </a:spcAft>
              <a:buNone/>
              <a:defRPr/>
            </a:pPr>
            <a:endParaRPr lang="da-DK" sz="900">
              <a:solidFill>
                <a:schemeClr val="tx1"/>
              </a:solidFill>
              <a:latin typeface="+mj-lt"/>
            </a:endParaRPr>
          </a:p>
        </p:txBody>
      </p:sp>
      <p:sp>
        <p:nvSpPr>
          <p:cNvPr id="41" name="TextBox 40">
            <a:extLst>
              <a:ext uri="{FF2B5EF4-FFF2-40B4-BE49-F238E27FC236}">
                <a16:creationId xmlns:a16="http://schemas.microsoft.com/office/drawing/2014/main" id="{A43DB1B5-D65E-46FB-BFE0-A4A9FF010776}"/>
              </a:ext>
            </a:extLst>
          </p:cNvPr>
          <p:cNvSpPr txBox="1"/>
          <p:nvPr/>
        </p:nvSpPr>
        <p:spPr>
          <a:xfrm>
            <a:off x="7079970" y="3680920"/>
            <a:ext cx="449978" cy="134204"/>
          </a:xfrm>
          <a:prstGeom prst="rect">
            <a:avLst/>
          </a:prstGeom>
          <a:solidFill>
            <a:schemeClr val="bg1"/>
          </a:solidFill>
          <a:ln w="6350">
            <a:noFill/>
            <a:prstDash val="sysDash"/>
          </a:ln>
        </p:spPr>
        <p:txBody>
          <a:bodyPr wrap="square" lIns="0" tIns="0" rIns="0" bIns="0" rtlCol="0" anchor="t">
            <a:spAutoFit/>
          </a:bodyPr>
          <a:lstStyle/>
          <a:p>
            <a:pPr algn="ctr" defTabSz="685817">
              <a:lnSpc>
                <a:spcPct val="90000"/>
              </a:lnSpc>
              <a:spcAft>
                <a:spcPts val="554"/>
              </a:spcAft>
              <a:defRPr/>
            </a:pPr>
            <a:r>
              <a:rPr lang="nb-NO" sz="950" dirty="0">
                <a:latin typeface="Impact"/>
              </a:rPr>
              <a:t>Q4-2022</a:t>
            </a:r>
            <a:endParaRPr lang="nb-NO" sz="969" dirty="0">
              <a:solidFill>
                <a:srgbClr val="1F2023"/>
              </a:solidFill>
              <a:latin typeface="Impact" panose="020B0806030902050204" pitchFamily="34" charset="0"/>
            </a:endParaRPr>
          </a:p>
        </p:txBody>
      </p:sp>
      <p:sp>
        <p:nvSpPr>
          <p:cNvPr id="42" name="Pentagon 6">
            <a:extLst>
              <a:ext uri="{FF2B5EF4-FFF2-40B4-BE49-F238E27FC236}">
                <a16:creationId xmlns:a16="http://schemas.microsoft.com/office/drawing/2014/main" id="{12B21BA8-98CD-4ED2-A16F-3DD2A129CEA3}"/>
              </a:ext>
            </a:extLst>
          </p:cNvPr>
          <p:cNvSpPr/>
          <p:nvPr/>
        </p:nvSpPr>
        <p:spPr>
          <a:xfrm>
            <a:off x="6988041" y="3887692"/>
            <a:ext cx="656709" cy="557909"/>
          </a:xfrm>
          <a:prstGeom prst="homePlate">
            <a:avLst>
              <a:gd name="adj" fmla="val 16392"/>
            </a:avLst>
          </a:prstGeom>
          <a:solidFill>
            <a:srgbClr val="8CA09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3231" tIns="33227" rIns="0" bIns="33227" rtlCol="0" anchor="ctr"/>
          <a:lstStyle/>
          <a:p>
            <a:pPr algn="ctr" defTabSz="685817">
              <a:lnSpc>
                <a:spcPct val="90000"/>
              </a:lnSpc>
              <a:spcAft>
                <a:spcPts val="554"/>
              </a:spcAft>
              <a:buFont typeface="Arial" panose="020B0604020202020204" pitchFamily="34" charset="0"/>
              <a:buChar char="​"/>
              <a:defRPr/>
            </a:pPr>
            <a:r>
              <a:rPr lang="nb-NO" sz="800" b="1" dirty="0">
                <a:solidFill>
                  <a:srgbClr val="FFFFFF"/>
                </a:solidFill>
              </a:rPr>
              <a:t>Normal drift</a:t>
            </a:r>
            <a:endParaRPr lang="nb-NO" sz="831" b="1" dirty="0">
              <a:solidFill>
                <a:srgbClr val="FFFFFF"/>
              </a:solidFill>
            </a:endParaRPr>
          </a:p>
        </p:txBody>
      </p:sp>
      <p:sp>
        <p:nvSpPr>
          <p:cNvPr id="155" name="Diamond 154">
            <a:extLst>
              <a:ext uri="{FF2B5EF4-FFF2-40B4-BE49-F238E27FC236}">
                <a16:creationId xmlns:a16="http://schemas.microsoft.com/office/drawing/2014/main" id="{D314CA8C-51EF-4FFB-A4D3-C8D1062217A6}"/>
              </a:ext>
            </a:extLst>
          </p:cNvPr>
          <p:cNvSpPr/>
          <p:nvPr/>
        </p:nvSpPr>
        <p:spPr>
          <a:xfrm>
            <a:off x="6912791" y="4051336"/>
            <a:ext cx="151145" cy="248211"/>
          </a:xfrm>
          <a:prstGeom prst="diamond">
            <a:avLst/>
          </a:prstGeom>
          <a:solidFill>
            <a:srgbClr val="893E4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algn="l"/>
            <a:endParaRPr lang="nb-NO" sz="923">
              <a:solidFill>
                <a:srgbClr val="2F363B"/>
              </a:solidFill>
            </a:endParaRPr>
          </a:p>
        </p:txBody>
      </p:sp>
    </p:spTree>
    <p:custDataLst>
      <p:tags r:id="rId2"/>
    </p:custDataLst>
    <p:extLst>
      <p:ext uri="{BB962C8B-B14F-4D97-AF65-F5344CB8AC3E}">
        <p14:creationId xmlns:p14="http://schemas.microsoft.com/office/powerpoint/2010/main" val="1889583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067CF8-BAAA-4218-A722-A6FC93354844}"/>
              </a:ext>
            </a:extLst>
          </p:cNvPr>
          <p:cNvGraphicFramePr>
            <a:graphicFrameLocks noChangeAspect="1"/>
          </p:cNvGraphicFramePr>
          <p:nvPr>
            <p:custDataLst>
              <p:tags r:id="rId2"/>
            </p:custDataLst>
            <p:extLst>
              <p:ext uri="{D42A27DB-BD31-4B8C-83A1-F6EECF244321}">
                <p14:modId xmlns:p14="http://schemas.microsoft.com/office/powerpoint/2010/main" val="4271627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9"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73067CF8-BAAA-4218-A722-A6FC9335484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57E30D5-DB0A-429C-B7A9-0A7853973CE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1400">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70" name="Rectangle 169">
            <a:extLst>
              <a:ext uri="{FF2B5EF4-FFF2-40B4-BE49-F238E27FC236}">
                <a16:creationId xmlns:a16="http://schemas.microsoft.com/office/drawing/2014/main" id="{4479661E-5F13-4D3D-A14A-4D03821B09AD}"/>
              </a:ext>
            </a:extLst>
          </p:cNvPr>
          <p:cNvSpPr/>
          <p:nvPr/>
        </p:nvSpPr>
        <p:spPr>
          <a:xfrm>
            <a:off x="0" y="1928387"/>
            <a:ext cx="6535971" cy="4929613"/>
          </a:xfrm>
          <a:prstGeom prst="rect">
            <a:avLst/>
          </a:prstGeom>
          <a:solidFill>
            <a:srgbClr val="FBF9F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algn="l"/>
            <a:endParaRPr lang="da-DK" sz="923">
              <a:solidFill>
                <a:srgbClr val="2F363B"/>
              </a:solidFill>
            </a:endParaRPr>
          </a:p>
        </p:txBody>
      </p:sp>
      <p:sp>
        <p:nvSpPr>
          <p:cNvPr id="227" name="Title 1">
            <a:extLst>
              <a:ext uri="{FF2B5EF4-FFF2-40B4-BE49-F238E27FC236}">
                <a16:creationId xmlns:a16="http://schemas.microsoft.com/office/drawing/2014/main" id="{2A12A76B-1855-4455-A808-4E3681E32608}"/>
              </a:ext>
            </a:extLst>
          </p:cNvPr>
          <p:cNvSpPr>
            <a:spLocks noGrp="1"/>
          </p:cNvSpPr>
          <p:nvPr>
            <p:ph type="title"/>
          </p:nvPr>
        </p:nvSpPr>
        <p:spPr>
          <a:xfrm>
            <a:off x="264858" y="237307"/>
            <a:ext cx="7981950" cy="689476"/>
          </a:xfrm>
        </p:spPr>
        <p:txBody>
          <a:bodyPr>
            <a:normAutofit fontScale="90000"/>
          </a:bodyPr>
          <a:lstStyle/>
          <a:p>
            <a:r>
              <a:rPr lang="da-DK" sz="2800" b="0">
                <a:solidFill>
                  <a:schemeClr val="tx1"/>
                </a:solidFill>
                <a:latin typeface="Impact" panose="020B0806030902050204" pitchFamily="34" charset="0"/>
              </a:rPr>
              <a:t>5. Kommercielle forhold  </a:t>
            </a:r>
            <a:r>
              <a:rPr lang="da-DK"/>
              <a:t/>
            </a:r>
            <a:br>
              <a:rPr lang="da-DK"/>
            </a:br>
            <a:r>
              <a:rPr lang="da-DK" sz="2000" b="0">
                <a:solidFill>
                  <a:schemeClr val="tx1"/>
                </a:solidFill>
              </a:rPr>
              <a:t>GRUNDLAG FOR ET EFFEKTIVT SAMARBEJDE</a:t>
            </a:r>
            <a:endParaRPr lang="da-DK" b="0">
              <a:solidFill>
                <a:schemeClr val="tx1"/>
              </a:solidFill>
            </a:endParaRPr>
          </a:p>
        </p:txBody>
      </p:sp>
      <p:sp>
        <p:nvSpPr>
          <p:cNvPr id="80" name="Content Placeholder 7">
            <a:extLst>
              <a:ext uri="{FF2B5EF4-FFF2-40B4-BE49-F238E27FC236}">
                <a16:creationId xmlns:a16="http://schemas.microsoft.com/office/drawing/2014/main" id="{8A04DC18-F88F-453F-A151-4927FA9D9F66}"/>
              </a:ext>
            </a:extLst>
          </p:cNvPr>
          <p:cNvSpPr txBox="1">
            <a:spLocks/>
          </p:cNvSpPr>
          <p:nvPr/>
        </p:nvSpPr>
        <p:spPr>
          <a:xfrm>
            <a:off x="6185705" y="1233488"/>
            <a:ext cx="2239157" cy="5416868"/>
          </a:xfrm>
          <a:prstGeom prst="rect">
            <a:avLst/>
          </a:prstGeom>
          <a:solidFill>
            <a:srgbClr val="C3CFCB"/>
          </a:solidFill>
          <a:ln w="635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137160" numCol="1" spcCol="0" rtlCol="0" fromWordArt="0" anchor="t" anchorCtr="0" forceAA="0" compatLnSpc="1">
            <a:prstTxWarp prst="textNoShape">
              <a:avLst/>
            </a:prstTxWarp>
            <a:spAutoFit/>
          </a:bodyPr>
          <a:lstStyle>
            <a:defPPr>
              <a:defRPr lang="en-US"/>
            </a:defPPr>
            <a:lvl1pPr marL="0" indent="0" algn="l" defTabSz="914400" rtl="0" eaLnBrk="1" latinLnBrk="0" hangingPunct="1">
              <a:lnSpc>
                <a:spcPct val="150000"/>
              </a:lnSpc>
              <a:spcBef>
                <a:spcPts val="0"/>
              </a:spcBef>
              <a:buFont typeface="Arial" panose="020B0604020202020204" pitchFamily="34" charset="0"/>
              <a:buNone/>
              <a:defRPr sz="1100" kern="1200">
                <a:solidFill>
                  <a:srgbClr val="2F363B"/>
                </a:solidFill>
                <a:latin typeface="Verdana" panose="020B0604030504040204" pitchFamily="34" charset="0"/>
                <a:ea typeface="Verdana" panose="020B0604030504040204" pitchFamily="34" charset="0"/>
                <a:cs typeface="Verdana" panose="020B0604030504040204" pitchFamily="34" charset="0"/>
              </a:defRPr>
            </a:lvl1pPr>
            <a:lvl2pPr marL="0" lvl="1" indent="0" algn="l" defTabSz="914400" rtl="0" eaLnBrk="1" latinLnBrk="0" hangingPunct="1">
              <a:lnSpc>
                <a:spcPct val="150000"/>
              </a:lnSpc>
              <a:spcBef>
                <a:spcPts val="0"/>
              </a:spcBef>
              <a:buSzPct val="100000"/>
              <a:buFont typeface="Arial" panose="020B0604020202020204" pitchFamily="34" charset="0"/>
              <a:buChar char="​"/>
              <a:defRPr sz="1100" kern="1200">
                <a:solidFill>
                  <a:srgbClr val="2F363B"/>
                </a:solidFill>
                <a:latin typeface="Arial" panose="020B0604020202020204" pitchFamily="34" charset="0"/>
                <a:ea typeface="Verdana" panose="020B0604030504040204" pitchFamily="34" charset="0"/>
                <a:cs typeface="Verdana" panose="020B0604030504040204" pitchFamily="34" charset="0"/>
              </a:defRPr>
            </a:lvl2pPr>
            <a:lvl3pPr marL="1257300" indent="-342900" algn="l" defTabSz="914400" rtl="0" eaLnBrk="1" latinLnBrk="0" hangingPunct="1">
              <a:lnSpc>
                <a:spcPct val="150000"/>
              </a:lnSpc>
              <a:spcBef>
                <a:spcPts val="0"/>
              </a:spcBef>
              <a:buFont typeface="Courier New" panose="02070309020205020404" pitchFamily="49" charset="0"/>
              <a:buChar char="o"/>
              <a:defRPr sz="1400" kern="1200">
                <a:solidFill>
                  <a:schemeClr val="lt1"/>
                </a:solidFill>
                <a:latin typeface="Verdana" panose="020B0604030504040204" pitchFamily="34" charset="0"/>
                <a:ea typeface="Verdana" panose="020B0604030504040204" pitchFamily="34" charset="0"/>
                <a:cs typeface="Verdana" panose="020B0604030504040204" pitchFamily="34" charset="0"/>
              </a:defRPr>
            </a:lvl3pPr>
            <a:lvl4pPr marL="1714500" indent="-342900" algn="l" defTabSz="914400" rtl="0" eaLnBrk="1" latinLnBrk="0" hangingPunct="1">
              <a:lnSpc>
                <a:spcPct val="150000"/>
              </a:lnSpc>
              <a:spcBef>
                <a:spcPts val="0"/>
              </a:spcBef>
              <a:buFont typeface="Wingdings" panose="05000000000000000000" pitchFamily="2" charset="2"/>
              <a:buChar char="§"/>
              <a:defRPr sz="1300" kern="1200">
                <a:solidFill>
                  <a:schemeClr val="lt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150000"/>
              </a:lnSpc>
              <a:spcBef>
                <a:spcPts val="0"/>
              </a:spcBef>
              <a:buFont typeface="Arial" panose="020B0604020202020204" pitchFamily="34" charset="0"/>
              <a:buChar char="•"/>
              <a:defRPr sz="1100" kern="1200">
                <a:solidFill>
                  <a:schemeClr val="lt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lvl="1">
              <a:lnSpc>
                <a:spcPct val="100000"/>
              </a:lnSpc>
              <a:buFont typeface="Arial" panose="020B0604020202020204" pitchFamily="34" charset="0"/>
              <a:buNone/>
            </a:pPr>
            <a:r>
              <a:rPr lang="da-DK" sz="900" b="1">
                <a:solidFill>
                  <a:schemeClr val="tx1"/>
                </a:solidFill>
                <a:latin typeface="+mj-lt"/>
              </a:rPr>
              <a:t>Spørgsmål, som ønskes besvaret af leverandøren:</a:t>
            </a:r>
          </a:p>
          <a:p>
            <a:pPr lvl="1">
              <a:lnSpc>
                <a:spcPct val="100000"/>
              </a:lnSpc>
              <a:spcBef>
                <a:spcPts val="600"/>
              </a:spcBef>
              <a:spcAft>
                <a:spcPts val="300"/>
              </a:spcAft>
              <a:buNone/>
            </a:pPr>
            <a:r>
              <a:rPr lang="da-DK" sz="700" b="1">
                <a:solidFill>
                  <a:schemeClr val="tx1"/>
                </a:solidFill>
                <a:latin typeface="+mj-lt"/>
              </a:rPr>
              <a:t>5.a: Samlet TCO</a:t>
            </a:r>
          </a:p>
          <a:p>
            <a:pPr lvl="1">
              <a:lnSpc>
                <a:spcPct val="100000"/>
              </a:lnSpc>
              <a:spcAft>
                <a:spcPts val="300"/>
              </a:spcAft>
              <a:buNone/>
            </a:pPr>
            <a:r>
              <a:rPr lang="da-DK" sz="700">
                <a:solidFill>
                  <a:schemeClr val="tx1"/>
                </a:solidFill>
                <a:latin typeface="+mj-lt"/>
              </a:rPr>
              <a:t>Økonomistyrelsen har behov for en vurdering af de forventede samlede betalinger til leverandøren for implementering, vedligeholdelse og drift af en ny IndFak løsning og skal derfor bede leverandøren anslå disse ud fra en 6-årig aftale fra tildeling, dvs. inkl. et </a:t>
            </a:r>
            <a:r>
              <a:rPr lang="da-DK" sz="700" err="1">
                <a:solidFill>
                  <a:schemeClr val="tx1"/>
                </a:solidFill>
                <a:latin typeface="+mj-lt"/>
              </a:rPr>
              <a:t>implemen-teringsforløb</a:t>
            </a:r>
            <a:r>
              <a:rPr lang="da-DK" sz="700">
                <a:solidFill>
                  <a:schemeClr val="tx1"/>
                </a:solidFill>
                <a:latin typeface="+mj-lt"/>
              </a:rPr>
              <a:t> på anslået 8 - 12 mdr.</a:t>
            </a:r>
          </a:p>
          <a:p>
            <a:pPr lvl="1">
              <a:lnSpc>
                <a:spcPct val="100000"/>
              </a:lnSpc>
              <a:spcBef>
                <a:spcPts val="600"/>
              </a:spcBef>
              <a:spcAft>
                <a:spcPts val="300"/>
              </a:spcAft>
              <a:buFont typeface="Arial" panose="020B0604020202020204" pitchFamily="34" charset="0"/>
              <a:buNone/>
            </a:pPr>
            <a:r>
              <a:rPr lang="da-DK" sz="700" b="1">
                <a:solidFill>
                  <a:schemeClr val="tx1"/>
                </a:solidFill>
                <a:latin typeface="+mj-lt"/>
              </a:rPr>
              <a:t>5.b: Omkostningseffektivitet </a:t>
            </a:r>
          </a:p>
          <a:p>
            <a:pPr lvl="1">
              <a:lnSpc>
                <a:spcPct val="100000"/>
              </a:lnSpc>
              <a:spcAft>
                <a:spcPts val="300"/>
              </a:spcAft>
              <a:buFont typeface="Arial" panose="020B0604020202020204" pitchFamily="34" charset="0"/>
              <a:buNone/>
            </a:pPr>
            <a:r>
              <a:rPr lang="da-DK" sz="700">
                <a:solidFill>
                  <a:schemeClr val="tx1"/>
                </a:solidFill>
                <a:latin typeface="+mj-lt"/>
              </a:rPr>
              <a:t>Leverandøren bedes kort redegøre for, hvilke forhold der er af særlig betydning for at opnå en omkostningseffektiv opfyldelse af behov, herunder f.eks. forhold som licenser, driftsplatform, support, kommunikation m.v.</a:t>
            </a:r>
          </a:p>
          <a:p>
            <a:pPr lvl="1">
              <a:lnSpc>
                <a:spcPct val="100000"/>
              </a:lnSpc>
              <a:spcBef>
                <a:spcPts val="600"/>
              </a:spcBef>
              <a:spcAft>
                <a:spcPts val="300"/>
              </a:spcAft>
              <a:buNone/>
            </a:pPr>
            <a:r>
              <a:rPr lang="da-DK" sz="700" b="1">
                <a:solidFill>
                  <a:schemeClr val="tx1"/>
                </a:solidFill>
                <a:latin typeface="+mj-lt"/>
              </a:rPr>
              <a:t>5.c: Prissætning </a:t>
            </a:r>
          </a:p>
          <a:p>
            <a:pPr lvl="1">
              <a:lnSpc>
                <a:spcPct val="100000"/>
              </a:lnSpc>
              <a:spcAft>
                <a:spcPts val="300"/>
              </a:spcAft>
              <a:buFont typeface="Arial" panose="020B0604020202020204" pitchFamily="34" charset="0"/>
              <a:buNone/>
            </a:pPr>
            <a:r>
              <a:rPr lang="da-DK" sz="700">
                <a:solidFill>
                  <a:schemeClr val="tx1"/>
                </a:solidFill>
                <a:latin typeface="+mj-lt"/>
              </a:rPr>
              <a:t>Leverandøren bedes kort redegøre for sine standard prismodeller – dvs. hvordan prissætter (metrikker, enheder mv.)  leverandøren normalt sine ydelser og leverancer som fx licenser, implementeringsservices, vedligeholdelse og drift</a:t>
            </a:r>
          </a:p>
          <a:p>
            <a:pPr lvl="1">
              <a:lnSpc>
                <a:spcPct val="100000"/>
              </a:lnSpc>
              <a:spcBef>
                <a:spcPts val="600"/>
              </a:spcBef>
              <a:spcAft>
                <a:spcPts val="300"/>
              </a:spcAft>
              <a:buNone/>
            </a:pPr>
            <a:r>
              <a:rPr lang="da-DK" sz="700" b="1">
                <a:solidFill>
                  <a:schemeClr val="tx1"/>
                </a:solidFill>
                <a:latin typeface="+mj-lt"/>
              </a:rPr>
              <a:t>5.d: Kontrakttype og vilkår</a:t>
            </a:r>
          </a:p>
          <a:p>
            <a:pPr lvl="1">
              <a:lnSpc>
                <a:spcPct val="100000"/>
              </a:lnSpc>
              <a:spcAft>
                <a:spcPts val="300"/>
              </a:spcAft>
              <a:buFont typeface="Arial" panose="020B0604020202020204" pitchFamily="34" charset="0"/>
              <a:buNone/>
            </a:pPr>
            <a:r>
              <a:rPr lang="da-DK" sz="700">
                <a:solidFill>
                  <a:schemeClr val="tx1"/>
                </a:solidFill>
                <a:latin typeface="+mj-lt"/>
              </a:rPr>
              <a:t>Leverandøren bedes kort redegøre for sine erfaringer og anbefalinger vedrørende kontrakttype (fx egnede standard-kontrakter), særlige fordyrende vilkår og forhold vedrørende ejerskab og rettigheder mv. til de levererede løsninger</a:t>
            </a:r>
          </a:p>
          <a:p>
            <a:pPr lvl="1">
              <a:lnSpc>
                <a:spcPct val="100000"/>
              </a:lnSpc>
              <a:spcBef>
                <a:spcPts val="600"/>
              </a:spcBef>
              <a:spcAft>
                <a:spcPts val="300"/>
              </a:spcAft>
              <a:buNone/>
            </a:pPr>
            <a:r>
              <a:rPr lang="da-DK" sz="700" b="1">
                <a:solidFill>
                  <a:schemeClr val="tx1"/>
                </a:solidFill>
                <a:latin typeface="+mj-lt"/>
              </a:rPr>
              <a:t>5.e: Øvrige forhold</a:t>
            </a:r>
          </a:p>
          <a:p>
            <a:pPr lvl="1">
              <a:lnSpc>
                <a:spcPct val="100000"/>
              </a:lnSpc>
              <a:spcAft>
                <a:spcPts val="300"/>
              </a:spcAft>
              <a:buFont typeface="Arial" panose="020B0604020202020204" pitchFamily="34" charset="0"/>
              <a:buNone/>
            </a:pPr>
            <a:r>
              <a:rPr lang="da-DK" sz="700">
                <a:solidFill>
                  <a:schemeClr val="tx1"/>
                </a:solidFill>
                <a:latin typeface="+mj-lt"/>
              </a:rPr>
              <a:t>Leverandøren bedes kort dele sine overvejelser om, hvilke oplysninger og vilkår som er kritiske for leverandørens muligheder for at afgive et konkurrencedygtigt tilbud. </a:t>
            </a:r>
          </a:p>
          <a:p>
            <a:pPr lvl="1">
              <a:lnSpc>
                <a:spcPct val="100000"/>
              </a:lnSpc>
              <a:spcAft>
                <a:spcPts val="300"/>
              </a:spcAft>
              <a:buFont typeface="Arial" panose="020B0604020202020204" pitchFamily="34" charset="0"/>
              <a:buNone/>
            </a:pPr>
            <a:endParaRPr lang="da-DK" sz="700" b="1">
              <a:solidFill>
                <a:schemeClr val="tx1"/>
              </a:solidFill>
              <a:highlight>
                <a:srgbClr val="FFFF00"/>
              </a:highlight>
              <a:latin typeface="+mj-lt"/>
            </a:endParaRPr>
          </a:p>
        </p:txBody>
      </p:sp>
      <p:sp>
        <p:nvSpPr>
          <p:cNvPr id="48" name="Pladsholder til diasnummer 5">
            <a:extLst>
              <a:ext uri="{FF2B5EF4-FFF2-40B4-BE49-F238E27FC236}">
                <a16:creationId xmlns:a16="http://schemas.microsoft.com/office/drawing/2014/main" id="{2B5170AB-A90B-48DA-96A5-C88FC91AA649}"/>
              </a:ext>
            </a:extLst>
          </p:cNvPr>
          <p:cNvSpPr txBox="1">
            <a:spLocks/>
          </p:cNvSpPr>
          <p:nvPr/>
        </p:nvSpPr>
        <p:spPr>
          <a:xfrm>
            <a:off x="4124325" y="6421930"/>
            <a:ext cx="990600" cy="297265"/>
          </a:xfrm>
          <a:prstGeom prst="rect">
            <a:avLst/>
          </a:prstGeom>
        </p:spPr>
        <p:txBody>
          <a:bodyPr/>
          <a:lstStyle>
            <a:defPPr>
              <a:defRPr lang="da-DK"/>
            </a:defPPr>
            <a:lvl1pPr marL="0" algn="r" defTabSz="914400" rtl="0" eaLnBrk="1" latinLnBrk="0" hangingPunct="1">
              <a:defRPr sz="1400" kern="1200">
                <a:solidFill>
                  <a:schemeClr val="accent6"/>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900" b="0">
                <a:solidFill>
                  <a:schemeClr val="tx1"/>
                </a:solidFill>
                <a:latin typeface="Verdana" panose="020B0604030504040204" pitchFamily="34" charset="0"/>
                <a:ea typeface="Verdana" panose="020B0604030504040204" pitchFamily="34" charset="0"/>
                <a:cs typeface="Verdana" panose="020B0604030504040204" pitchFamily="34" charset="0"/>
              </a:rPr>
              <a:t>Side </a:t>
            </a:r>
            <a:fld id="{C7AC859A-AE19-4543-AC75-3D2F5ABF6574}" type="slidenum">
              <a:rPr lang="da-DK" sz="900" b="0" smtClean="0">
                <a:solidFill>
                  <a:schemeClr val="tx1"/>
                </a:solidFill>
                <a:latin typeface="Verdana" panose="020B0604030504040204" pitchFamily="34" charset="0"/>
                <a:ea typeface="Verdana" panose="020B0604030504040204" pitchFamily="34" charset="0"/>
                <a:cs typeface="Verdana" panose="020B0604030504040204" pitchFamily="34" charset="0"/>
              </a:rPr>
              <a:pPr algn="ctr"/>
              <a:t>23</a:t>
            </a:fld>
            <a:endParaRPr lang="da-DK" sz="900" b="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extBox 6">
            <a:extLst>
              <a:ext uri="{FF2B5EF4-FFF2-40B4-BE49-F238E27FC236}">
                <a16:creationId xmlns:a16="http://schemas.microsoft.com/office/drawing/2014/main" id="{47C34D65-C647-4D1F-99D3-605F4D539725}"/>
              </a:ext>
            </a:extLst>
          </p:cNvPr>
          <p:cNvSpPr txBox="1"/>
          <p:nvPr/>
        </p:nvSpPr>
        <p:spPr>
          <a:xfrm>
            <a:off x="385489" y="2168029"/>
            <a:ext cx="5517661" cy="4154984"/>
          </a:xfrm>
          <a:prstGeom prst="rect">
            <a:avLst/>
          </a:prstGeom>
          <a:noFill/>
          <a:ln w="6350">
            <a:noFill/>
            <a:prstDash val="sysDash"/>
          </a:ln>
        </p:spPr>
        <p:txBody>
          <a:bodyPr wrap="square" lIns="0" tIns="0" rIns="0" bIns="0" rtlCol="0" anchor="t">
            <a:spAutoFit/>
          </a:bodyPr>
          <a:lstStyle/>
          <a:p>
            <a:pPr algn="just"/>
            <a:r>
              <a:rPr lang="da-DK" sz="1000" dirty="0"/>
              <a:t>Som led i markedsdialogen ønsker Økonomistyrelsen at modtage oplysninger af betydning for den kontrakttype, der med fordel kan udbydes, herunder særligt de kommercielle forhold, der kommer til at udgøre et væsentligt grundlag for samarbejdet og den samlede pris.</a:t>
            </a:r>
          </a:p>
          <a:p>
            <a:pPr algn="just"/>
            <a:endParaRPr lang="da-DK" sz="1000" dirty="0"/>
          </a:p>
          <a:p>
            <a:pPr algn="just"/>
            <a:r>
              <a:rPr lang="da-DK" sz="1000" dirty="0"/>
              <a:t>Af stor interesse er, hvilke elementer leverandøren vurderer er af særlig betydning for at opnå en omkostningseffektiv opfyldelse af de udtrykte behov, herunder f.eks. forhold som licenser, driftsplatform, support, kommunikation m.v.</a:t>
            </a:r>
          </a:p>
          <a:p>
            <a:pPr algn="just"/>
            <a:endParaRPr lang="da-DK" sz="1000" dirty="0"/>
          </a:p>
          <a:p>
            <a:pPr algn="just"/>
            <a:r>
              <a:rPr lang="da-DK" sz="1000" dirty="0"/>
              <a:t>Der kunne endvidere være tale om følgende forhold:</a:t>
            </a:r>
          </a:p>
          <a:p>
            <a:pPr algn="just"/>
            <a:endParaRPr lang="da-DK" sz="1000" dirty="0"/>
          </a:p>
          <a:p>
            <a:pPr marL="171450" indent="-171450" algn="just">
              <a:buFont typeface="Arial" panose="020B0604020202020204" pitchFamily="34" charset="0"/>
              <a:buChar char="•"/>
            </a:pPr>
            <a:r>
              <a:rPr lang="da-DK" sz="1000" dirty="0"/>
              <a:t>Samarbejdsformen mellem kunden og leverandøren</a:t>
            </a:r>
          </a:p>
          <a:p>
            <a:pPr marL="171450" indent="-171450" algn="just">
              <a:buFont typeface="Arial" panose="020B0604020202020204" pitchFamily="34" charset="0"/>
              <a:buChar char="•"/>
            </a:pPr>
            <a:endParaRPr lang="da-DK" sz="1000" dirty="0"/>
          </a:p>
          <a:p>
            <a:pPr marL="171450" indent="-171450" algn="just">
              <a:buFont typeface="Arial" panose="020B0604020202020204" pitchFamily="34" charset="0"/>
              <a:buChar char="•"/>
            </a:pPr>
            <a:r>
              <a:rPr lang="da-DK" sz="1000" dirty="0"/>
              <a:t>Krav til beredskab, SLA-niveauer, dokumentation, rapportering og øvrige kontraktfastsatte opgaver</a:t>
            </a:r>
          </a:p>
          <a:p>
            <a:pPr algn="just"/>
            <a:endParaRPr lang="da-DK" sz="1000" dirty="0"/>
          </a:p>
          <a:p>
            <a:pPr marL="171450" indent="-171450" algn="just">
              <a:buFont typeface="Arial" panose="020B0604020202020204" pitchFamily="34" charset="0"/>
              <a:buChar char="•"/>
            </a:pPr>
            <a:r>
              <a:rPr lang="da-DK" sz="1000" dirty="0"/>
              <a:t>Leverancens og kontraktens varighed (perioden fra indgåelse af kontrakt og indtil idriftsættelse, samt fra idriftsættelse indtil ordinært ophør)</a:t>
            </a:r>
          </a:p>
          <a:p>
            <a:pPr marL="171450" indent="-171450" algn="just">
              <a:buFont typeface="Arial" panose="020B0604020202020204" pitchFamily="34" charset="0"/>
              <a:buChar char="•"/>
            </a:pPr>
            <a:endParaRPr lang="da-DK" sz="1000" dirty="0"/>
          </a:p>
          <a:p>
            <a:pPr marL="171450" indent="-171450">
              <a:buFont typeface="Arial" panose="020B0604020202020204" pitchFamily="34" charset="0"/>
              <a:buChar char="•"/>
            </a:pPr>
            <a:r>
              <a:rPr lang="da-DK" sz="1000" dirty="0"/>
              <a:t>Prismodeller og økonomiske elementer i en leveranceaftale, fx fast pris, T&amp;M, </a:t>
            </a:r>
            <a:r>
              <a:rPr lang="da-DK" sz="1000" dirty="0" err="1"/>
              <a:t>capacity</a:t>
            </a:r>
            <a:r>
              <a:rPr lang="da-DK" sz="1000" dirty="0"/>
              <a:t>-on-demand vs. fast pris</a:t>
            </a:r>
            <a:br>
              <a:rPr lang="da-DK" sz="1000" dirty="0"/>
            </a:br>
            <a:r>
              <a:rPr lang="da-DK" sz="1000" dirty="0"/>
              <a:t> </a:t>
            </a:r>
          </a:p>
          <a:p>
            <a:pPr marL="171450" indent="-171450" algn="just">
              <a:buFont typeface="Arial" panose="020B0604020202020204" pitchFamily="34" charset="0"/>
              <a:buChar char="•"/>
            </a:pPr>
            <a:r>
              <a:rPr lang="da-DK" sz="1000" dirty="0"/>
              <a:t>Performancerelateret betaling og øvrige incitamenter</a:t>
            </a:r>
          </a:p>
          <a:p>
            <a:pPr algn="just"/>
            <a:endParaRPr lang="da-DK" sz="1000" dirty="0"/>
          </a:p>
          <a:p>
            <a:pPr marL="171450" indent="-171450" algn="just">
              <a:buFont typeface="Arial" panose="020B0604020202020204" pitchFamily="34" charset="0"/>
              <a:buChar char="•"/>
            </a:pPr>
            <a:r>
              <a:rPr lang="da-DK" sz="1000" dirty="0"/>
              <a:t>Fleksibilitet og ændringer i kontraktens løbetid</a:t>
            </a:r>
          </a:p>
          <a:p>
            <a:pPr marL="171450" indent="-171450" algn="just">
              <a:buFont typeface="Arial" panose="020B0604020202020204" pitchFamily="34" charset="0"/>
              <a:buChar char="•"/>
            </a:pPr>
            <a:endParaRPr lang="da-DK" sz="1000" dirty="0"/>
          </a:p>
          <a:p>
            <a:pPr marL="171450" indent="-171450" algn="just">
              <a:buFont typeface="Arial" panose="020B0604020202020204" pitchFamily="34" charset="0"/>
              <a:buChar char="•"/>
            </a:pPr>
            <a:r>
              <a:rPr lang="da-DK" sz="1000" dirty="0"/>
              <a:t>Risici i form af fx erstatning og bod, udsættelser, ændringer, opsigelsesvarsler mv.</a:t>
            </a:r>
          </a:p>
        </p:txBody>
      </p:sp>
    </p:spTree>
    <p:extLst>
      <p:ext uri="{BB962C8B-B14F-4D97-AF65-F5344CB8AC3E}">
        <p14:creationId xmlns:p14="http://schemas.microsoft.com/office/powerpoint/2010/main" val="6506092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Content Placeholder 7">
            <a:extLst>
              <a:ext uri="{FF2B5EF4-FFF2-40B4-BE49-F238E27FC236}">
                <a16:creationId xmlns:a16="http://schemas.microsoft.com/office/drawing/2014/main" id="{849E585D-220F-4782-BA52-5A88A55A8127}"/>
              </a:ext>
            </a:extLst>
          </p:cNvPr>
          <p:cNvSpPr txBox="1">
            <a:spLocks/>
          </p:cNvSpPr>
          <p:nvPr/>
        </p:nvSpPr>
        <p:spPr>
          <a:xfrm>
            <a:off x="3662137" y="4616509"/>
            <a:ext cx="4832902" cy="553998"/>
          </a:xfrm>
          <a:prstGeom prst="rect">
            <a:avLst/>
          </a:prstGeom>
          <a:noFill/>
        </p:spPr>
        <p:txBody>
          <a:bodyPr vert="horz" wrap="square" lIns="0" tIns="0" rIns="0" bIns="0" rtlCol="0" anchor="t">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da-DK" sz="900">
                <a:latin typeface="+mj-lt"/>
                <a:cs typeface="Arial"/>
              </a:rPr>
              <a:t>Økonomistyrelsen ønsker, at markedsdialogen skal bære præg af en inspirationsproces frem for en specifikationsproces, idet Økonomistyrelsen ikke ønsker at sætte unødige begrænsninger eller rammer for en eventuel senere løsning. </a:t>
            </a:r>
            <a:endParaRPr lang="da-DK" sz="900">
              <a:latin typeface="+mj-lt"/>
            </a:endParaRPr>
          </a:p>
        </p:txBody>
      </p:sp>
      <p:sp>
        <p:nvSpPr>
          <p:cNvPr id="87" name="Content Placeholder 7">
            <a:extLst>
              <a:ext uri="{FF2B5EF4-FFF2-40B4-BE49-F238E27FC236}">
                <a16:creationId xmlns:a16="http://schemas.microsoft.com/office/drawing/2014/main" id="{5C7FF968-145A-4C99-92C0-F18504AE5E13}"/>
              </a:ext>
            </a:extLst>
          </p:cNvPr>
          <p:cNvSpPr txBox="1">
            <a:spLocks/>
          </p:cNvSpPr>
          <p:nvPr/>
        </p:nvSpPr>
        <p:spPr>
          <a:xfrm>
            <a:off x="3662137" y="2033742"/>
            <a:ext cx="4832902" cy="415498"/>
          </a:xfrm>
          <a:prstGeom prst="rect">
            <a:avLst/>
          </a:prstGeom>
          <a:noFill/>
        </p:spPr>
        <p:txBody>
          <a:bodyPr vert="horz" wrap="square" lIns="0" tIns="0" rIns="0" bIns="0" rtlCol="0" anchor="t">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da-DK" sz="900">
                <a:latin typeface="+mj-lt"/>
                <a:cs typeface="Arial"/>
              </a:rPr>
              <a:t>Det er Økonomistyrelsens ønske med markedsdialogen at få belyst væsentlige forhold og muligheder for et eventuelt udbud af IndFak3, hvilket der træffes beslutning om ved afslutningen af analysefasen.</a:t>
            </a:r>
            <a:endParaRPr lang="da-DK" sz="900">
              <a:solidFill>
                <a:srgbClr val="FF0000"/>
              </a:solidFill>
              <a:latin typeface="+mj-lt"/>
              <a:cs typeface="Arial"/>
            </a:endParaRPr>
          </a:p>
        </p:txBody>
      </p:sp>
      <p:sp>
        <p:nvSpPr>
          <p:cNvPr id="88" name="Content Placeholder 7">
            <a:extLst>
              <a:ext uri="{FF2B5EF4-FFF2-40B4-BE49-F238E27FC236}">
                <a16:creationId xmlns:a16="http://schemas.microsoft.com/office/drawing/2014/main" id="{DF65B43B-8F65-49C0-977A-B1A2BAE7A0F0}"/>
              </a:ext>
            </a:extLst>
          </p:cNvPr>
          <p:cNvSpPr txBox="1">
            <a:spLocks/>
          </p:cNvSpPr>
          <p:nvPr/>
        </p:nvSpPr>
        <p:spPr>
          <a:xfrm>
            <a:off x="3662137" y="3255875"/>
            <a:ext cx="4832902" cy="830997"/>
          </a:xfrm>
          <a:prstGeom prst="rect">
            <a:avLst/>
          </a:prstGeom>
          <a:noFill/>
        </p:spPr>
        <p:txBody>
          <a:bodyPr vert="horz" wrap="square" lIns="0" tIns="0" rIns="0" bIns="0" rtlCol="0" anchor="t">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da-DK" sz="900">
                <a:latin typeface="+mj-lt"/>
                <a:cs typeface="Arial"/>
              </a:rPr>
              <a:t>Dette dokument giver potentielle leverandører en indledende overordnet beskrivelse af de ønsker og behov, som analysefasen på nuværende tidspunkt har identificeret. Det er desuden intentionen at give potentielle leverandører et dækkende udgangspunkt for en skriftlig beskrivelse af væsentlige forhold vedrørende leverandøren selv og den foreslåede løsning forud for en markedsdialog. </a:t>
            </a:r>
          </a:p>
        </p:txBody>
      </p:sp>
      <p:grpSp>
        <p:nvGrpSpPr>
          <p:cNvPr id="3" name="Group 2">
            <a:extLst>
              <a:ext uri="{FF2B5EF4-FFF2-40B4-BE49-F238E27FC236}">
                <a16:creationId xmlns:a16="http://schemas.microsoft.com/office/drawing/2014/main" id="{8457D30F-2ED5-44A2-9E2A-860F4D44CA44}"/>
              </a:ext>
            </a:extLst>
          </p:cNvPr>
          <p:cNvGrpSpPr/>
          <p:nvPr/>
        </p:nvGrpSpPr>
        <p:grpSpPr>
          <a:xfrm>
            <a:off x="3667826" y="2891565"/>
            <a:ext cx="4747507" cy="1421115"/>
            <a:chOff x="3677356" y="2076280"/>
            <a:chExt cx="4981218" cy="1222134"/>
          </a:xfrm>
        </p:grpSpPr>
        <p:cxnSp>
          <p:nvCxnSpPr>
            <p:cNvPr id="90" name="Straight Connector 89">
              <a:extLst>
                <a:ext uri="{FF2B5EF4-FFF2-40B4-BE49-F238E27FC236}">
                  <a16:creationId xmlns:a16="http://schemas.microsoft.com/office/drawing/2014/main" id="{E030059B-DD05-413C-B22C-FEF001FC4627}"/>
                </a:ext>
              </a:extLst>
            </p:cNvPr>
            <p:cNvCxnSpPr>
              <a:cxnSpLocks/>
            </p:cNvCxnSpPr>
            <p:nvPr/>
          </p:nvCxnSpPr>
          <p:spPr>
            <a:xfrm flipH="1">
              <a:off x="3677356" y="2076280"/>
              <a:ext cx="4981218" cy="1"/>
            </a:xfrm>
            <a:prstGeom prst="line">
              <a:avLst/>
            </a:prstGeom>
            <a:ln w="6350">
              <a:solidFill>
                <a:srgbClr val="8AA299"/>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BD0FE978-6E49-4146-9BF9-315D15E2B142}"/>
                </a:ext>
              </a:extLst>
            </p:cNvPr>
            <p:cNvCxnSpPr>
              <a:cxnSpLocks/>
            </p:cNvCxnSpPr>
            <p:nvPr/>
          </p:nvCxnSpPr>
          <p:spPr>
            <a:xfrm flipH="1">
              <a:off x="3677356" y="3298413"/>
              <a:ext cx="4981218" cy="1"/>
            </a:xfrm>
            <a:prstGeom prst="line">
              <a:avLst/>
            </a:prstGeom>
            <a:ln w="6350">
              <a:solidFill>
                <a:srgbClr val="8AA299"/>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7AEBA045-B118-4478-BB63-B59E5814C9F2}"/>
              </a:ext>
            </a:extLst>
          </p:cNvPr>
          <p:cNvSpPr>
            <a:spLocks noGrp="1"/>
          </p:cNvSpPr>
          <p:nvPr>
            <p:ph type="title"/>
          </p:nvPr>
        </p:nvSpPr>
        <p:spPr>
          <a:xfrm>
            <a:off x="252568" y="372501"/>
            <a:ext cx="7981950" cy="689476"/>
          </a:xfrm>
        </p:spPr>
        <p:txBody>
          <a:bodyPr>
            <a:noAutofit/>
          </a:bodyPr>
          <a:lstStyle/>
          <a:p>
            <a:r>
              <a:rPr lang="da-DK" sz="2490" b="0">
                <a:solidFill>
                  <a:schemeClr val="tx1"/>
                </a:solidFill>
                <a:latin typeface="Impact" panose="020B0806030902050204" pitchFamily="34" charset="0"/>
              </a:rPr>
              <a:t>Formål med dokumentet</a:t>
            </a:r>
            <a:br>
              <a:rPr lang="da-DK" sz="2490" b="0">
                <a:solidFill>
                  <a:schemeClr val="tx1"/>
                </a:solidFill>
                <a:latin typeface="Impact" panose="020B0806030902050204" pitchFamily="34" charset="0"/>
              </a:rPr>
            </a:br>
            <a:r>
              <a:rPr lang="da-DK" sz="2490" b="0">
                <a:solidFill>
                  <a:schemeClr val="tx1"/>
                </a:solidFill>
                <a:latin typeface="Impact" panose="020B0806030902050204" pitchFamily="34" charset="0"/>
              </a:rPr>
              <a:t>  </a:t>
            </a:r>
          </a:p>
        </p:txBody>
      </p:sp>
      <p:sp>
        <p:nvSpPr>
          <p:cNvPr id="14" name="Rectangle 13">
            <a:extLst>
              <a:ext uri="{FF2B5EF4-FFF2-40B4-BE49-F238E27FC236}">
                <a16:creationId xmlns:a16="http://schemas.microsoft.com/office/drawing/2014/main" id="{3C036C29-5DB9-4998-8739-250B4B754EB8}"/>
              </a:ext>
            </a:extLst>
          </p:cNvPr>
          <p:cNvSpPr/>
          <p:nvPr/>
        </p:nvSpPr>
        <p:spPr>
          <a:xfrm>
            <a:off x="1" y="1628775"/>
            <a:ext cx="3474720" cy="5229225"/>
          </a:xfrm>
          <a:prstGeom prst="rect">
            <a:avLst/>
          </a:prstGeom>
          <a:solidFill>
            <a:srgbClr val="FBF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5" name="Group 14">
            <a:extLst>
              <a:ext uri="{FF2B5EF4-FFF2-40B4-BE49-F238E27FC236}">
                <a16:creationId xmlns:a16="http://schemas.microsoft.com/office/drawing/2014/main" id="{128E3E24-48AB-4FD9-A054-9292B287A33D}"/>
              </a:ext>
            </a:extLst>
          </p:cNvPr>
          <p:cNvGrpSpPr/>
          <p:nvPr/>
        </p:nvGrpSpPr>
        <p:grpSpPr>
          <a:xfrm>
            <a:off x="892433" y="3532905"/>
            <a:ext cx="2408992" cy="1754099"/>
            <a:chOff x="290235" y="2502626"/>
            <a:chExt cx="4521662" cy="3292432"/>
          </a:xfrm>
        </p:grpSpPr>
        <p:grpSp>
          <p:nvGrpSpPr>
            <p:cNvPr id="16" name="Group 15">
              <a:extLst>
                <a:ext uri="{FF2B5EF4-FFF2-40B4-BE49-F238E27FC236}">
                  <a16:creationId xmlns:a16="http://schemas.microsoft.com/office/drawing/2014/main" id="{52473F3F-0314-4022-90C4-FD17BC6D8BAB}"/>
                </a:ext>
              </a:extLst>
            </p:cNvPr>
            <p:cNvGrpSpPr/>
            <p:nvPr/>
          </p:nvGrpSpPr>
          <p:grpSpPr>
            <a:xfrm>
              <a:off x="1082725" y="2780125"/>
              <a:ext cx="3215692" cy="2269845"/>
              <a:chOff x="1082725" y="2780125"/>
              <a:chExt cx="3215692" cy="2269845"/>
            </a:xfrm>
            <a:solidFill>
              <a:schemeClr val="accent2"/>
            </a:solidFill>
          </p:grpSpPr>
          <p:sp>
            <p:nvSpPr>
              <p:cNvPr id="83" name="Freeform: Shape 82">
                <a:extLst>
                  <a:ext uri="{FF2B5EF4-FFF2-40B4-BE49-F238E27FC236}">
                    <a16:creationId xmlns:a16="http://schemas.microsoft.com/office/drawing/2014/main" id="{E2FA1068-D15F-41B3-98F1-138B5C08D139}"/>
                  </a:ext>
                </a:extLst>
              </p:cNvPr>
              <p:cNvSpPr/>
              <p:nvPr/>
            </p:nvSpPr>
            <p:spPr>
              <a:xfrm>
                <a:off x="3618850" y="4732377"/>
                <a:ext cx="679567" cy="221899"/>
              </a:xfrm>
              <a:custGeom>
                <a:avLst/>
                <a:gdLst>
                  <a:gd name="connsiteX0" fmla="*/ 1680 w 679566"/>
                  <a:gd name="connsiteY0" fmla="*/ 1680 h 221899"/>
                  <a:gd name="connsiteX1" fmla="*/ 567986 w 679566"/>
                  <a:gd name="connsiteY1" fmla="*/ 1680 h 221899"/>
                  <a:gd name="connsiteX2" fmla="*/ 682172 w 679566"/>
                  <a:gd name="connsiteY2" fmla="*/ 115866 h 221899"/>
                  <a:gd name="connsiteX3" fmla="*/ 565213 w 679566"/>
                  <a:gd name="connsiteY3" fmla="*/ 224042 h 221899"/>
                  <a:gd name="connsiteX4" fmla="*/ 5379 w 679566"/>
                  <a:gd name="connsiteY4" fmla="*/ 224042 h 221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66" h="221899">
                    <a:moveTo>
                      <a:pt x="1680" y="1680"/>
                    </a:moveTo>
                    <a:lnTo>
                      <a:pt x="567986" y="1680"/>
                    </a:lnTo>
                    <a:lnTo>
                      <a:pt x="682172" y="115866"/>
                    </a:lnTo>
                    <a:lnTo>
                      <a:pt x="565213" y="224042"/>
                    </a:lnTo>
                    <a:lnTo>
                      <a:pt x="5379" y="224042"/>
                    </a:lnTo>
                    <a:close/>
                  </a:path>
                </a:pathLst>
              </a:custGeom>
              <a:solidFill>
                <a:srgbClr val="8AA299"/>
              </a:solidFill>
              <a:ln w="4616" cap="flat">
                <a:noFill/>
                <a:prstDash val="solid"/>
                <a:miter/>
              </a:ln>
            </p:spPr>
            <p:txBody>
              <a:bodyPr rtlCol="0" anchor="ctr"/>
              <a:lstStyle/>
              <a:p>
                <a:endParaRPr lang="da-DK"/>
              </a:p>
            </p:txBody>
          </p:sp>
          <p:sp>
            <p:nvSpPr>
              <p:cNvPr id="84" name="Freeform: Shape 83">
                <a:extLst>
                  <a:ext uri="{FF2B5EF4-FFF2-40B4-BE49-F238E27FC236}">
                    <a16:creationId xmlns:a16="http://schemas.microsoft.com/office/drawing/2014/main" id="{1594D3BE-3879-4D78-BC2D-5DDA5FF9531F}"/>
                  </a:ext>
                </a:extLst>
              </p:cNvPr>
              <p:cNvSpPr/>
              <p:nvPr/>
            </p:nvSpPr>
            <p:spPr>
              <a:xfrm>
                <a:off x="1082725" y="4495222"/>
                <a:ext cx="1886145" cy="554748"/>
              </a:xfrm>
              <a:custGeom>
                <a:avLst/>
                <a:gdLst>
                  <a:gd name="connsiteX0" fmla="*/ 1884589 w 1886144"/>
                  <a:gd name="connsiteY0" fmla="*/ 1680 h 554748"/>
                  <a:gd name="connsiteX1" fmla="*/ 278130 w 1886144"/>
                  <a:gd name="connsiteY1" fmla="*/ 1680 h 554748"/>
                  <a:gd name="connsiteX2" fmla="*/ 1680 w 1886144"/>
                  <a:gd name="connsiteY2" fmla="*/ 278130 h 554748"/>
                  <a:gd name="connsiteX3" fmla="*/ 1680 w 1886144"/>
                  <a:gd name="connsiteY3" fmla="*/ 278130 h 554748"/>
                  <a:gd name="connsiteX4" fmla="*/ 278130 w 1886144"/>
                  <a:gd name="connsiteY4" fmla="*/ 554580 h 554748"/>
                  <a:gd name="connsiteX5" fmla="*/ 1888288 w 1886144"/>
                  <a:gd name="connsiteY5" fmla="*/ 554580 h 554748"/>
                  <a:gd name="connsiteX6" fmla="*/ 1776413 w 1886144"/>
                  <a:gd name="connsiteY6" fmla="*/ 261488 h 554748"/>
                  <a:gd name="connsiteX7" fmla="*/ 1884589 w 1886144"/>
                  <a:gd name="connsiteY7" fmla="*/ 1680 h 554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6144" h="554748">
                    <a:moveTo>
                      <a:pt x="1884589" y="1680"/>
                    </a:moveTo>
                    <a:lnTo>
                      <a:pt x="278130" y="1680"/>
                    </a:lnTo>
                    <a:cubicBezTo>
                      <a:pt x="125574" y="1680"/>
                      <a:pt x="1680" y="125574"/>
                      <a:pt x="1680" y="278130"/>
                    </a:cubicBezTo>
                    <a:lnTo>
                      <a:pt x="1680" y="278130"/>
                    </a:lnTo>
                    <a:cubicBezTo>
                      <a:pt x="1680" y="430686"/>
                      <a:pt x="125574" y="554580"/>
                      <a:pt x="278130" y="554580"/>
                    </a:cubicBezTo>
                    <a:lnTo>
                      <a:pt x="1888288" y="554580"/>
                    </a:lnTo>
                    <a:cubicBezTo>
                      <a:pt x="1888288" y="554580"/>
                      <a:pt x="1776413" y="485698"/>
                      <a:pt x="1776413" y="261488"/>
                    </a:cubicBezTo>
                    <a:cubicBezTo>
                      <a:pt x="1776413" y="80732"/>
                      <a:pt x="1884589" y="1680"/>
                      <a:pt x="1884589" y="1680"/>
                    </a:cubicBezTo>
                    <a:close/>
                  </a:path>
                </a:pathLst>
              </a:custGeom>
              <a:solidFill>
                <a:srgbClr val="8AA299"/>
              </a:solidFill>
              <a:ln w="4616" cap="flat">
                <a:noFill/>
                <a:prstDash val="solid"/>
                <a:miter/>
              </a:ln>
            </p:spPr>
            <p:txBody>
              <a:bodyPr rtlCol="0" anchor="ctr"/>
              <a:lstStyle/>
              <a:p>
                <a:endParaRPr lang="da-DK"/>
              </a:p>
            </p:txBody>
          </p:sp>
          <p:sp>
            <p:nvSpPr>
              <p:cNvPr id="85" name="Freeform: Shape 84">
                <a:extLst>
                  <a:ext uri="{FF2B5EF4-FFF2-40B4-BE49-F238E27FC236}">
                    <a16:creationId xmlns:a16="http://schemas.microsoft.com/office/drawing/2014/main" id="{C2B5EBE3-8698-4AFB-90BD-9C0020A88DA9}"/>
                  </a:ext>
                </a:extLst>
              </p:cNvPr>
              <p:cNvSpPr/>
              <p:nvPr/>
            </p:nvSpPr>
            <p:spPr>
              <a:xfrm>
                <a:off x="2687193" y="2780125"/>
                <a:ext cx="249637" cy="822877"/>
              </a:xfrm>
              <a:custGeom>
                <a:avLst/>
                <a:gdLst>
                  <a:gd name="connsiteX0" fmla="*/ 250073 w 249636"/>
                  <a:gd name="connsiteY0" fmla="*/ 106158 h 822876"/>
                  <a:gd name="connsiteX1" fmla="*/ 222336 w 249636"/>
                  <a:gd name="connsiteY1" fmla="*/ 82581 h 822876"/>
                  <a:gd name="connsiteX2" fmla="*/ 189975 w 249636"/>
                  <a:gd name="connsiteY2" fmla="*/ 109856 h 822876"/>
                  <a:gd name="connsiteX3" fmla="*/ 188588 w 249636"/>
                  <a:gd name="connsiteY3" fmla="*/ 117715 h 822876"/>
                  <a:gd name="connsiteX4" fmla="*/ 178418 w 249636"/>
                  <a:gd name="connsiteY4" fmla="*/ 117715 h 822876"/>
                  <a:gd name="connsiteX5" fmla="*/ 183503 w 249636"/>
                  <a:gd name="connsiteY5" fmla="*/ 90902 h 822876"/>
                  <a:gd name="connsiteX6" fmla="*/ 164549 w 249636"/>
                  <a:gd name="connsiteY6" fmla="*/ 22021 h 822876"/>
                  <a:gd name="connsiteX7" fmla="*/ 115084 w 249636"/>
                  <a:gd name="connsiteY7" fmla="*/ 1680 h 822876"/>
                  <a:gd name="connsiteX8" fmla="*/ 65619 w 249636"/>
                  <a:gd name="connsiteY8" fmla="*/ 22021 h 822876"/>
                  <a:gd name="connsiteX9" fmla="*/ 46665 w 249636"/>
                  <a:gd name="connsiteY9" fmla="*/ 90902 h 822876"/>
                  <a:gd name="connsiteX10" fmla="*/ 81799 w 249636"/>
                  <a:gd name="connsiteY10" fmla="*/ 165331 h 822876"/>
                  <a:gd name="connsiteX11" fmla="*/ 1823 w 249636"/>
                  <a:gd name="connsiteY11" fmla="*/ 234212 h 822876"/>
                  <a:gd name="connsiteX12" fmla="*/ 25862 w 249636"/>
                  <a:gd name="connsiteY12" fmla="*/ 275819 h 822876"/>
                  <a:gd name="connsiteX13" fmla="*/ 20777 w 249636"/>
                  <a:gd name="connsiteY13" fmla="*/ 402486 h 822876"/>
                  <a:gd name="connsiteX14" fmla="*/ 48052 w 249636"/>
                  <a:gd name="connsiteY14" fmla="*/ 797744 h 822876"/>
                  <a:gd name="connsiteX15" fmla="*/ 75327 w 249636"/>
                  <a:gd name="connsiteY15" fmla="*/ 823170 h 822876"/>
                  <a:gd name="connsiteX16" fmla="*/ 154379 w 249636"/>
                  <a:gd name="connsiteY16" fmla="*/ 823170 h 822876"/>
                  <a:gd name="connsiteX17" fmla="*/ 181654 w 249636"/>
                  <a:gd name="connsiteY17" fmla="*/ 797744 h 822876"/>
                  <a:gd name="connsiteX18" fmla="*/ 200608 w 249636"/>
                  <a:gd name="connsiteY18" fmla="*/ 524531 h 822876"/>
                  <a:gd name="connsiteX19" fmla="*/ 202919 w 249636"/>
                  <a:gd name="connsiteY19" fmla="*/ 524993 h 822876"/>
                  <a:gd name="connsiteX20" fmla="*/ 228808 w 249636"/>
                  <a:gd name="connsiteY20" fmla="*/ 494944 h 822876"/>
                  <a:gd name="connsiteX21" fmla="*/ 228808 w 249636"/>
                  <a:gd name="connsiteY21" fmla="*/ 208324 h 822876"/>
                  <a:gd name="connsiteX22" fmla="*/ 240827 w 249636"/>
                  <a:gd name="connsiteY22" fmla="*/ 184285 h 822876"/>
                  <a:gd name="connsiteX23" fmla="*/ 250073 w 249636"/>
                  <a:gd name="connsiteY23" fmla="*/ 106158 h 822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9636" h="822876">
                    <a:moveTo>
                      <a:pt x="250073" y="106158"/>
                    </a:moveTo>
                    <a:cubicBezTo>
                      <a:pt x="248686" y="97837"/>
                      <a:pt x="236666" y="81657"/>
                      <a:pt x="222336" y="82581"/>
                    </a:cubicBezTo>
                    <a:cubicBezTo>
                      <a:pt x="222336" y="82581"/>
                      <a:pt x="193673" y="85817"/>
                      <a:pt x="189975" y="109856"/>
                    </a:cubicBezTo>
                    <a:cubicBezTo>
                      <a:pt x="189513" y="112630"/>
                      <a:pt x="189051" y="114942"/>
                      <a:pt x="188588" y="117715"/>
                    </a:cubicBezTo>
                    <a:lnTo>
                      <a:pt x="178418" y="117715"/>
                    </a:lnTo>
                    <a:cubicBezTo>
                      <a:pt x="181192" y="109394"/>
                      <a:pt x="182579" y="100148"/>
                      <a:pt x="183503" y="90902"/>
                    </a:cubicBezTo>
                    <a:cubicBezTo>
                      <a:pt x="185815" y="62703"/>
                      <a:pt x="179343" y="38201"/>
                      <a:pt x="164549" y="22021"/>
                    </a:cubicBezTo>
                    <a:cubicBezTo>
                      <a:pt x="152530" y="8615"/>
                      <a:pt x="134963" y="1680"/>
                      <a:pt x="115084" y="1680"/>
                    </a:cubicBezTo>
                    <a:cubicBezTo>
                      <a:pt x="95206" y="1680"/>
                      <a:pt x="77639" y="8615"/>
                      <a:pt x="65619" y="22021"/>
                    </a:cubicBezTo>
                    <a:cubicBezTo>
                      <a:pt x="50826" y="38201"/>
                      <a:pt x="43892" y="62703"/>
                      <a:pt x="46665" y="90902"/>
                    </a:cubicBezTo>
                    <a:cubicBezTo>
                      <a:pt x="49901" y="125112"/>
                      <a:pt x="63770" y="150538"/>
                      <a:pt x="81799" y="165331"/>
                    </a:cubicBezTo>
                    <a:cubicBezTo>
                      <a:pt x="49901" y="172728"/>
                      <a:pt x="5984" y="190757"/>
                      <a:pt x="1823" y="234212"/>
                    </a:cubicBezTo>
                    <a:cubicBezTo>
                      <a:pt x="436" y="250393"/>
                      <a:pt x="9220" y="265186"/>
                      <a:pt x="25862" y="275819"/>
                    </a:cubicBezTo>
                    <a:lnTo>
                      <a:pt x="20777" y="402486"/>
                    </a:lnTo>
                    <a:lnTo>
                      <a:pt x="48052" y="797744"/>
                    </a:lnTo>
                    <a:cubicBezTo>
                      <a:pt x="48977" y="812075"/>
                      <a:pt x="60996" y="823170"/>
                      <a:pt x="75327" y="823170"/>
                    </a:cubicBezTo>
                    <a:lnTo>
                      <a:pt x="154379" y="823170"/>
                    </a:lnTo>
                    <a:cubicBezTo>
                      <a:pt x="168710" y="823170"/>
                      <a:pt x="180729" y="812075"/>
                      <a:pt x="181654" y="797744"/>
                    </a:cubicBezTo>
                    <a:lnTo>
                      <a:pt x="200608" y="524531"/>
                    </a:lnTo>
                    <a:cubicBezTo>
                      <a:pt x="201532" y="524531"/>
                      <a:pt x="201995" y="524993"/>
                      <a:pt x="202919" y="524993"/>
                    </a:cubicBezTo>
                    <a:cubicBezTo>
                      <a:pt x="215401" y="526380"/>
                      <a:pt x="225109" y="506964"/>
                      <a:pt x="228808" y="494944"/>
                    </a:cubicBezTo>
                    <a:cubicBezTo>
                      <a:pt x="232506" y="483387"/>
                      <a:pt x="242214" y="255478"/>
                      <a:pt x="228808" y="208324"/>
                    </a:cubicBezTo>
                    <a:cubicBezTo>
                      <a:pt x="237591" y="193993"/>
                      <a:pt x="240827" y="184285"/>
                      <a:pt x="240827" y="184285"/>
                    </a:cubicBezTo>
                    <a:cubicBezTo>
                      <a:pt x="247299" y="160246"/>
                      <a:pt x="255621" y="134820"/>
                      <a:pt x="250073" y="106158"/>
                    </a:cubicBezTo>
                    <a:close/>
                  </a:path>
                </a:pathLst>
              </a:custGeom>
              <a:solidFill>
                <a:srgbClr val="8AA299"/>
              </a:solidFill>
              <a:ln w="4616" cap="flat">
                <a:noFill/>
                <a:prstDash val="solid"/>
                <a:miter/>
              </a:ln>
            </p:spPr>
            <p:txBody>
              <a:bodyPr rtlCol="0" anchor="ctr"/>
              <a:lstStyle/>
              <a:p>
                <a:endParaRPr lang="da-DK"/>
              </a:p>
            </p:txBody>
          </p:sp>
        </p:grpSp>
        <p:grpSp>
          <p:nvGrpSpPr>
            <p:cNvPr id="17" name="Group 16">
              <a:extLst>
                <a:ext uri="{FF2B5EF4-FFF2-40B4-BE49-F238E27FC236}">
                  <a16:creationId xmlns:a16="http://schemas.microsoft.com/office/drawing/2014/main" id="{3040474B-C991-4EDC-BDF7-5C5E227111B6}"/>
                </a:ext>
              </a:extLst>
            </p:cNvPr>
            <p:cNvGrpSpPr/>
            <p:nvPr/>
          </p:nvGrpSpPr>
          <p:grpSpPr>
            <a:xfrm>
              <a:off x="290235" y="2502626"/>
              <a:ext cx="4521662" cy="3292432"/>
              <a:chOff x="290235" y="2502626"/>
              <a:chExt cx="4521662" cy="3292432"/>
            </a:xfrm>
          </p:grpSpPr>
          <p:sp>
            <p:nvSpPr>
              <p:cNvPr id="18" name="Freeform: Shape 17">
                <a:extLst>
                  <a:ext uri="{FF2B5EF4-FFF2-40B4-BE49-F238E27FC236}">
                    <a16:creationId xmlns:a16="http://schemas.microsoft.com/office/drawing/2014/main" id="{3AE1F536-CC73-499E-8186-ECAA3DC8D37B}"/>
                  </a:ext>
                </a:extLst>
              </p:cNvPr>
              <p:cNvSpPr/>
              <p:nvPr/>
            </p:nvSpPr>
            <p:spPr>
              <a:xfrm>
                <a:off x="737732" y="3156767"/>
                <a:ext cx="129441" cy="129441"/>
              </a:xfrm>
              <a:custGeom>
                <a:avLst/>
                <a:gdLst>
                  <a:gd name="connsiteX0" fmla="*/ 5041 w 129441"/>
                  <a:gd name="connsiteY0" fmla="*/ 126624 h 129441"/>
                  <a:gd name="connsiteX1" fmla="*/ 126624 w 129441"/>
                  <a:gd name="connsiteY1" fmla="*/ 5041 h 129441"/>
                </a:gdLst>
                <a:ahLst/>
                <a:cxnLst>
                  <a:cxn ang="0">
                    <a:pos x="connsiteX0" y="connsiteY0"/>
                  </a:cxn>
                  <a:cxn ang="0">
                    <a:pos x="connsiteX1" y="connsiteY1"/>
                  </a:cxn>
                </a:cxnLst>
                <a:rect l="l" t="t" r="r" b="b"/>
                <a:pathLst>
                  <a:path w="129441" h="129441">
                    <a:moveTo>
                      <a:pt x="5041" y="126624"/>
                    </a:moveTo>
                    <a:lnTo>
                      <a:pt x="126624" y="5041"/>
                    </a:lnTo>
                  </a:path>
                </a:pathLst>
              </a:custGeom>
              <a:ln w="19050" cap="rnd">
                <a:solidFill>
                  <a:srgbClr val="30373B"/>
                </a:solidFill>
                <a:prstDash val="solid"/>
                <a:round/>
              </a:ln>
            </p:spPr>
            <p:txBody>
              <a:bodyPr rtlCol="0" anchor="ctr"/>
              <a:lstStyle/>
              <a:p>
                <a:endParaRPr lang="da-DK"/>
              </a:p>
            </p:txBody>
          </p:sp>
          <p:sp>
            <p:nvSpPr>
              <p:cNvPr id="19" name="Freeform: Shape 18">
                <a:extLst>
                  <a:ext uri="{FF2B5EF4-FFF2-40B4-BE49-F238E27FC236}">
                    <a16:creationId xmlns:a16="http://schemas.microsoft.com/office/drawing/2014/main" id="{C4519198-7CA3-44FC-99F3-7ABB771BAC9D}"/>
                  </a:ext>
                </a:extLst>
              </p:cNvPr>
              <p:cNvSpPr/>
              <p:nvPr/>
            </p:nvSpPr>
            <p:spPr>
              <a:xfrm>
                <a:off x="737732" y="3156767"/>
                <a:ext cx="129441" cy="129441"/>
              </a:xfrm>
              <a:custGeom>
                <a:avLst/>
                <a:gdLst>
                  <a:gd name="connsiteX0" fmla="*/ 126624 w 129441"/>
                  <a:gd name="connsiteY0" fmla="*/ 126624 h 129441"/>
                  <a:gd name="connsiteX1" fmla="*/ 5041 w 129441"/>
                  <a:gd name="connsiteY1" fmla="*/ 5041 h 129441"/>
                </a:gdLst>
                <a:ahLst/>
                <a:cxnLst>
                  <a:cxn ang="0">
                    <a:pos x="connsiteX0" y="connsiteY0"/>
                  </a:cxn>
                  <a:cxn ang="0">
                    <a:pos x="connsiteX1" y="connsiteY1"/>
                  </a:cxn>
                </a:cxnLst>
                <a:rect l="l" t="t" r="r" b="b"/>
                <a:pathLst>
                  <a:path w="129441" h="129441">
                    <a:moveTo>
                      <a:pt x="126624" y="126624"/>
                    </a:moveTo>
                    <a:lnTo>
                      <a:pt x="5041" y="5041"/>
                    </a:lnTo>
                  </a:path>
                </a:pathLst>
              </a:custGeom>
              <a:ln w="19050" cap="rnd">
                <a:solidFill>
                  <a:srgbClr val="30373B"/>
                </a:solidFill>
                <a:prstDash val="solid"/>
                <a:round/>
              </a:ln>
            </p:spPr>
            <p:txBody>
              <a:bodyPr rtlCol="0" anchor="ctr"/>
              <a:lstStyle/>
              <a:p>
                <a:endParaRPr lang="da-DK"/>
              </a:p>
            </p:txBody>
          </p:sp>
          <p:sp>
            <p:nvSpPr>
              <p:cNvPr id="20" name="Freeform: Shape 19">
                <a:extLst>
                  <a:ext uri="{FF2B5EF4-FFF2-40B4-BE49-F238E27FC236}">
                    <a16:creationId xmlns:a16="http://schemas.microsoft.com/office/drawing/2014/main" id="{2DDA1025-B57D-4DC1-AE36-A02F1865C2FD}"/>
                  </a:ext>
                </a:extLst>
              </p:cNvPr>
              <p:cNvSpPr/>
              <p:nvPr/>
            </p:nvSpPr>
            <p:spPr>
              <a:xfrm>
                <a:off x="572232" y="4975417"/>
                <a:ext cx="129441" cy="129441"/>
              </a:xfrm>
              <a:custGeom>
                <a:avLst/>
                <a:gdLst>
                  <a:gd name="connsiteX0" fmla="*/ 5041 w 129441"/>
                  <a:gd name="connsiteY0" fmla="*/ 126624 h 129441"/>
                  <a:gd name="connsiteX1" fmla="*/ 126624 w 129441"/>
                  <a:gd name="connsiteY1" fmla="*/ 5041 h 129441"/>
                </a:gdLst>
                <a:ahLst/>
                <a:cxnLst>
                  <a:cxn ang="0">
                    <a:pos x="connsiteX0" y="connsiteY0"/>
                  </a:cxn>
                  <a:cxn ang="0">
                    <a:pos x="connsiteX1" y="connsiteY1"/>
                  </a:cxn>
                </a:cxnLst>
                <a:rect l="l" t="t" r="r" b="b"/>
                <a:pathLst>
                  <a:path w="129441" h="129441">
                    <a:moveTo>
                      <a:pt x="5041" y="126624"/>
                    </a:moveTo>
                    <a:lnTo>
                      <a:pt x="126624" y="5041"/>
                    </a:lnTo>
                  </a:path>
                </a:pathLst>
              </a:custGeom>
              <a:ln w="19050" cap="rnd">
                <a:solidFill>
                  <a:srgbClr val="30373B"/>
                </a:solidFill>
                <a:prstDash val="solid"/>
                <a:round/>
              </a:ln>
            </p:spPr>
            <p:txBody>
              <a:bodyPr rtlCol="0" anchor="ctr"/>
              <a:lstStyle/>
              <a:p>
                <a:endParaRPr lang="da-DK"/>
              </a:p>
            </p:txBody>
          </p:sp>
          <p:sp>
            <p:nvSpPr>
              <p:cNvPr id="21" name="Freeform: Shape 20">
                <a:extLst>
                  <a:ext uri="{FF2B5EF4-FFF2-40B4-BE49-F238E27FC236}">
                    <a16:creationId xmlns:a16="http://schemas.microsoft.com/office/drawing/2014/main" id="{7E71D316-8C90-4ED1-9181-FFB23E089E73}"/>
                  </a:ext>
                </a:extLst>
              </p:cNvPr>
              <p:cNvSpPr/>
              <p:nvPr/>
            </p:nvSpPr>
            <p:spPr>
              <a:xfrm>
                <a:off x="572232" y="4975417"/>
                <a:ext cx="129441" cy="129441"/>
              </a:xfrm>
              <a:custGeom>
                <a:avLst/>
                <a:gdLst>
                  <a:gd name="connsiteX0" fmla="*/ 126624 w 129441"/>
                  <a:gd name="connsiteY0" fmla="*/ 126624 h 129441"/>
                  <a:gd name="connsiteX1" fmla="*/ 5041 w 129441"/>
                  <a:gd name="connsiteY1" fmla="*/ 5041 h 129441"/>
                </a:gdLst>
                <a:ahLst/>
                <a:cxnLst>
                  <a:cxn ang="0">
                    <a:pos x="connsiteX0" y="connsiteY0"/>
                  </a:cxn>
                  <a:cxn ang="0">
                    <a:pos x="connsiteX1" y="connsiteY1"/>
                  </a:cxn>
                </a:cxnLst>
                <a:rect l="l" t="t" r="r" b="b"/>
                <a:pathLst>
                  <a:path w="129441" h="129441">
                    <a:moveTo>
                      <a:pt x="126624" y="126624"/>
                    </a:moveTo>
                    <a:lnTo>
                      <a:pt x="5041" y="5041"/>
                    </a:lnTo>
                  </a:path>
                </a:pathLst>
              </a:custGeom>
              <a:ln w="19050" cap="rnd">
                <a:solidFill>
                  <a:srgbClr val="30373B"/>
                </a:solidFill>
                <a:prstDash val="solid"/>
                <a:round/>
              </a:ln>
            </p:spPr>
            <p:txBody>
              <a:bodyPr rtlCol="0" anchor="ctr"/>
              <a:lstStyle/>
              <a:p>
                <a:endParaRPr lang="da-DK"/>
              </a:p>
            </p:txBody>
          </p:sp>
          <p:sp>
            <p:nvSpPr>
              <p:cNvPr id="22" name="Freeform: Shape 21">
                <a:extLst>
                  <a:ext uri="{FF2B5EF4-FFF2-40B4-BE49-F238E27FC236}">
                    <a16:creationId xmlns:a16="http://schemas.microsoft.com/office/drawing/2014/main" id="{79899EEC-79DB-47D3-B56F-AB3A1AFF318F}"/>
                  </a:ext>
                </a:extLst>
              </p:cNvPr>
              <p:cNvSpPr/>
              <p:nvPr/>
            </p:nvSpPr>
            <p:spPr>
              <a:xfrm>
                <a:off x="3584978" y="4079036"/>
                <a:ext cx="129441" cy="129441"/>
              </a:xfrm>
              <a:custGeom>
                <a:avLst/>
                <a:gdLst>
                  <a:gd name="connsiteX0" fmla="*/ 5041 w 129441"/>
                  <a:gd name="connsiteY0" fmla="*/ 126624 h 129441"/>
                  <a:gd name="connsiteX1" fmla="*/ 126624 w 129441"/>
                  <a:gd name="connsiteY1" fmla="*/ 5041 h 129441"/>
                </a:gdLst>
                <a:ahLst/>
                <a:cxnLst>
                  <a:cxn ang="0">
                    <a:pos x="connsiteX0" y="connsiteY0"/>
                  </a:cxn>
                  <a:cxn ang="0">
                    <a:pos x="connsiteX1" y="connsiteY1"/>
                  </a:cxn>
                </a:cxnLst>
                <a:rect l="l" t="t" r="r" b="b"/>
                <a:pathLst>
                  <a:path w="129441" h="129441">
                    <a:moveTo>
                      <a:pt x="5041" y="126624"/>
                    </a:moveTo>
                    <a:lnTo>
                      <a:pt x="126624" y="5041"/>
                    </a:lnTo>
                  </a:path>
                </a:pathLst>
              </a:custGeom>
              <a:ln w="19050" cap="rnd">
                <a:solidFill>
                  <a:srgbClr val="30373B"/>
                </a:solidFill>
                <a:prstDash val="solid"/>
                <a:round/>
              </a:ln>
            </p:spPr>
            <p:txBody>
              <a:bodyPr rtlCol="0" anchor="ctr"/>
              <a:lstStyle/>
              <a:p>
                <a:endParaRPr lang="da-DK"/>
              </a:p>
            </p:txBody>
          </p:sp>
          <p:sp>
            <p:nvSpPr>
              <p:cNvPr id="23" name="Freeform: Shape 22">
                <a:extLst>
                  <a:ext uri="{FF2B5EF4-FFF2-40B4-BE49-F238E27FC236}">
                    <a16:creationId xmlns:a16="http://schemas.microsoft.com/office/drawing/2014/main" id="{F2B14272-A800-4B18-9D05-AEFA40F2F42F}"/>
                  </a:ext>
                </a:extLst>
              </p:cNvPr>
              <p:cNvSpPr/>
              <p:nvPr/>
            </p:nvSpPr>
            <p:spPr>
              <a:xfrm>
                <a:off x="3584978" y="4079036"/>
                <a:ext cx="129441" cy="129441"/>
              </a:xfrm>
              <a:custGeom>
                <a:avLst/>
                <a:gdLst>
                  <a:gd name="connsiteX0" fmla="*/ 126624 w 129441"/>
                  <a:gd name="connsiteY0" fmla="*/ 126624 h 129441"/>
                  <a:gd name="connsiteX1" fmla="*/ 5041 w 129441"/>
                  <a:gd name="connsiteY1" fmla="*/ 5041 h 129441"/>
                </a:gdLst>
                <a:ahLst/>
                <a:cxnLst>
                  <a:cxn ang="0">
                    <a:pos x="connsiteX0" y="connsiteY0"/>
                  </a:cxn>
                  <a:cxn ang="0">
                    <a:pos x="connsiteX1" y="connsiteY1"/>
                  </a:cxn>
                </a:cxnLst>
                <a:rect l="l" t="t" r="r" b="b"/>
                <a:pathLst>
                  <a:path w="129441" h="129441">
                    <a:moveTo>
                      <a:pt x="126624" y="126624"/>
                    </a:moveTo>
                    <a:lnTo>
                      <a:pt x="5041" y="5041"/>
                    </a:lnTo>
                  </a:path>
                </a:pathLst>
              </a:custGeom>
              <a:ln w="19050" cap="rnd">
                <a:solidFill>
                  <a:srgbClr val="30373B"/>
                </a:solidFill>
                <a:prstDash val="solid"/>
                <a:round/>
              </a:ln>
            </p:spPr>
            <p:txBody>
              <a:bodyPr rtlCol="0" anchor="ctr"/>
              <a:lstStyle/>
              <a:p>
                <a:endParaRPr lang="da-DK"/>
              </a:p>
            </p:txBody>
          </p:sp>
          <p:sp>
            <p:nvSpPr>
              <p:cNvPr id="24" name="Freeform: Shape 23">
                <a:extLst>
                  <a:ext uri="{FF2B5EF4-FFF2-40B4-BE49-F238E27FC236}">
                    <a16:creationId xmlns:a16="http://schemas.microsoft.com/office/drawing/2014/main" id="{E9E03043-A717-45C8-B204-71C413053572}"/>
                  </a:ext>
                </a:extLst>
              </p:cNvPr>
              <p:cNvSpPr/>
              <p:nvPr/>
            </p:nvSpPr>
            <p:spPr>
              <a:xfrm>
                <a:off x="4682456" y="3193750"/>
                <a:ext cx="129441" cy="129441"/>
              </a:xfrm>
              <a:custGeom>
                <a:avLst/>
                <a:gdLst>
                  <a:gd name="connsiteX0" fmla="*/ 5041 w 129441"/>
                  <a:gd name="connsiteY0" fmla="*/ 126624 h 129441"/>
                  <a:gd name="connsiteX1" fmla="*/ 126624 w 129441"/>
                  <a:gd name="connsiteY1" fmla="*/ 5041 h 129441"/>
                </a:gdLst>
                <a:ahLst/>
                <a:cxnLst>
                  <a:cxn ang="0">
                    <a:pos x="connsiteX0" y="connsiteY0"/>
                  </a:cxn>
                  <a:cxn ang="0">
                    <a:pos x="connsiteX1" y="connsiteY1"/>
                  </a:cxn>
                </a:cxnLst>
                <a:rect l="l" t="t" r="r" b="b"/>
                <a:pathLst>
                  <a:path w="129441" h="129441">
                    <a:moveTo>
                      <a:pt x="5041" y="126624"/>
                    </a:moveTo>
                    <a:lnTo>
                      <a:pt x="126624" y="5041"/>
                    </a:lnTo>
                  </a:path>
                </a:pathLst>
              </a:custGeom>
              <a:ln w="19050" cap="rnd">
                <a:solidFill>
                  <a:srgbClr val="30373B"/>
                </a:solidFill>
                <a:prstDash val="solid"/>
                <a:round/>
              </a:ln>
            </p:spPr>
            <p:txBody>
              <a:bodyPr rtlCol="0" anchor="ctr"/>
              <a:lstStyle/>
              <a:p>
                <a:endParaRPr lang="da-DK"/>
              </a:p>
            </p:txBody>
          </p:sp>
          <p:sp>
            <p:nvSpPr>
              <p:cNvPr id="25" name="Freeform: Shape 24">
                <a:extLst>
                  <a:ext uri="{FF2B5EF4-FFF2-40B4-BE49-F238E27FC236}">
                    <a16:creationId xmlns:a16="http://schemas.microsoft.com/office/drawing/2014/main" id="{8FB2B25A-21AD-46DF-8DBB-EC52A2E6B57F}"/>
                  </a:ext>
                </a:extLst>
              </p:cNvPr>
              <p:cNvSpPr/>
              <p:nvPr/>
            </p:nvSpPr>
            <p:spPr>
              <a:xfrm>
                <a:off x="4682456" y="3193750"/>
                <a:ext cx="129441" cy="129441"/>
              </a:xfrm>
              <a:custGeom>
                <a:avLst/>
                <a:gdLst>
                  <a:gd name="connsiteX0" fmla="*/ 126624 w 129441"/>
                  <a:gd name="connsiteY0" fmla="*/ 126624 h 129441"/>
                  <a:gd name="connsiteX1" fmla="*/ 5041 w 129441"/>
                  <a:gd name="connsiteY1" fmla="*/ 5041 h 129441"/>
                </a:gdLst>
                <a:ahLst/>
                <a:cxnLst>
                  <a:cxn ang="0">
                    <a:pos x="connsiteX0" y="connsiteY0"/>
                  </a:cxn>
                  <a:cxn ang="0">
                    <a:pos x="connsiteX1" y="connsiteY1"/>
                  </a:cxn>
                </a:cxnLst>
                <a:rect l="l" t="t" r="r" b="b"/>
                <a:pathLst>
                  <a:path w="129441" h="129441">
                    <a:moveTo>
                      <a:pt x="126624" y="126624"/>
                    </a:moveTo>
                    <a:lnTo>
                      <a:pt x="5041" y="5041"/>
                    </a:lnTo>
                  </a:path>
                </a:pathLst>
              </a:custGeom>
              <a:ln w="19050" cap="rnd">
                <a:solidFill>
                  <a:srgbClr val="30373B"/>
                </a:solidFill>
                <a:prstDash val="solid"/>
                <a:round/>
              </a:ln>
            </p:spPr>
            <p:txBody>
              <a:bodyPr rtlCol="0" anchor="ctr"/>
              <a:lstStyle/>
              <a:p>
                <a:endParaRPr lang="da-DK"/>
              </a:p>
            </p:txBody>
          </p:sp>
          <p:sp>
            <p:nvSpPr>
              <p:cNvPr id="26" name="Freeform: Shape 25">
                <a:extLst>
                  <a:ext uri="{FF2B5EF4-FFF2-40B4-BE49-F238E27FC236}">
                    <a16:creationId xmlns:a16="http://schemas.microsoft.com/office/drawing/2014/main" id="{5A0521C1-ABFF-48E9-BA1F-B76177DFCB7E}"/>
                  </a:ext>
                </a:extLst>
              </p:cNvPr>
              <p:cNvSpPr/>
              <p:nvPr/>
            </p:nvSpPr>
            <p:spPr>
              <a:xfrm>
                <a:off x="3441668" y="2509560"/>
                <a:ext cx="129441" cy="129441"/>
              </a:xfrm>
              <a:custGeom>
                <a:avLst/>
                <a:gdLst>
                  <a:gd name="connsiteX0" fmla="*/ 5041 w 129441"/>
                  <a:gd name="connsiteY0" fmla="*/ 126624 h 129441"/>
                  <a:gd name="connsiteX1" fmla="*/ 126624 w 129441"/>
                  <a:gd name="connsiteY1" fmla="*/ 5041 h 129441"/>
                </a:gdLst>
                <a:ahLst/>
                <a:cxnLst>
                  <a:cxn ang="0">
                    <a:pos x="connsiteX0" y="connsiteY0"/>
                  </a:cxn>
                  <a:cxn ang="0">
                    <a:pos x="connsiteX1" y="connsiteY1"/>
                  </a:cxn>
                </a:cxnLst>
                <a:rect l="l" t="t" r="r" b="b"/>
                <a:pathLst>
                  <a:path w="129441" h="129441">
                    <a:moveTo>
                      <a:pt x="5041" y="126624"/>
                    </a:moveTo>
                    <a:lnTo>
                      <a:pt x="126624" y="5041"/>
                    </a:lnTo>
                  </a:path>
                </a:pathLst>
              </a:custGeom>
              <a:ln w="19050" cap="rnd">
                <a:solidFill>
                  <a:srgbClr val="30373B"/>
                </a:solidFill>
                <a:prstDash val="solid"/>
                <a:round/>
              </a:ln>
            </p:spPr>
            <p:txBody>
              <a:bodyPr rtlCol="0" anchor="ctr"/>
              <a:lstStyle/>
              <a:p>
                <a:endParaRPr lang="da-DK"/>
              </a:p>
            </p:txBody>
          </p:sp>
          <p:sp>
            <p:nvSpPr>
              <p:cNvPr id="27" name="Freeform: Shape 26">
                <a:extLst>
                  <a:ext uri="{FF2B5EF4-FFF2-40B4-BE49-F238E27FC236}">
                    <a16:creationId xmlns:a16="http://schemas.microsoft.com/office/drawing/2014/main" id="{EEB557FA-4D65-4A66-9607-94608864CADE}"/>
                  </a:ext>
                </a:extLst>
              </p:cNvPr>
              <p:cNvSpPr/>
              <p:nvPr/>
            </p:nvSpPr>
            <p:spPr>
              <a:xfrm>
                <a:off x="3441668" y="2509560"/>
                <a:ext cx="129441" cy="129441"/>
              </a:xfrm>
              <a:custGeom>
                <a:avLst/>
                <a:gdLst>
                  <a:gd name="connsiteX0" fmla="*/ 126624 w 129441"/>
                  <a:gd name="connsiteY0" fmla="*/ 126624 h 129441"/>
                  <a:gd name="connsiteX1" fmla="*/ 5041 w 129441"/>
                  <a:gd name="connsiteY1" fmla="*/ 5041 h 129441"/>
                </a:gdLst>
                <a:ahLst/>
                <a:cxnLst>
                  <a:cxn ang="0">
                    <a:pos x="connsiteX0" y="connsiteY0"/>
                  </a:cxn>
                  <a:cxn ang="0">
                    <a:pos x="connsiteX1" y="connsiteY1"/>
                  </a:cxn>
                </a:cxnLst>
                <a:rect l="l" t="t" r="r" b="b"/>
                <a:pathLst>
                  <a:path w="129441" h="129441">
                    <a:moveTo>
                      <a:pt x="126624" y="126624"/>
                    </a:moveTo>
                    <a:lnTo>
                      <a:pt x="5041" y="5041"/>
                    </a:lnTo>
                  </a:path>
                </a:pathLst>
              </a:custGeom>
              <a:ln w="19050" cap="rnd">
                <a:solidFill>
                  <a:srgbClr val="30373B"/>
                </a:solidFill>
                <a:prstDash val="solid"/>
                <a:round/>
              </a:ln>
            </p:spPr>
            <p:txBody>
              <a:bodyPr rtlCol="0" anchor="ctr"/>
              <a:lstStyle/>
              <a:p>
                <a:endParaRPr lang="da-DK"/>
              </a:p>
            </p:txBody>
          </p:sp>
          <p:sp>
            <p:nvSpPr>
              <p:cNvPr id="28" name="Freeform: Shape 27">
                <a:extLst>
                  <a:ext uri="{FF2B5EF4-FFF2-40B4-BE49-F238E27FC236}">
                    <a16:creationId xmlns:a16="http://schemas.microsoft.com/office/drawing/2014/main" id="{E251253E-684B-425D-B7D9-41B358448283}"/>
                  </a:ext>
                </a:extLst>
              </p:cNvPr>
              <p:cNvSpPr/>
              <p:nvPr/>
            </p:nvSpPr>
            <p:spPr>
              <a:xfrm>
                <a:off x="4102744" y="5553742"/>
                <a:ext cx="587109" cy="9246"/>
              </a:xfrm>
              <a:custGeom>
                <a:avLst/>
                <a:gdLst>
                  <a:gd name="connsiteX0" fmla="*/ 5041 w 587108"/>
                  <a:gd name="connsiteY0" fmla="*/ 5041 h 9245"/>
                  <a:gd name="connsiteX1" fmla="*/ 584753 w 587108"/>
                  <a:gd name="connsiteY1" fmla="*/ 5041 h 9245"/>
                </a:gdLst>
                <a:ahLst/>
                <a:cxnLst>
                  <a:cxn ang="0">
                    <a:pos x="connsiteX0" y="connsiteY0"/>
                  </a:cxn>
                  <a:cxn ang="0">
                    <a:pos x="connsiteX1" y="connsiteY1"/>
                  </a:cxn>
                </a:cxnLst>
                <a:rect l="l" t="t" r="r" b="b"/>
                <a:pathLst>
                  <a:path w="587108" h="9245">
                    <a:moveTo>
                      <a:pt x="5041" y="5041"/>
                    </a:moveTo>
                    <a:lnTo>
                      <a:pt x="584753" y="5041"/>
                    </a:lnTo>
                  </a:path>
                </a:pathLst>
              </a:custGeom>
              <a:ln w="19050" cap="rnd">
                <a:solidFill>
                  <a:srgbClr val="30373B"/>
                </a:solidFill>
                <a:prstDash val="solid"/>
                <a:round/>
              </a:ln>
            </p:spPr>
            <p:txBody>
              <a:bodyPr rtlCol="0" anchor="ctr"/>
              <a:lstStyle/>
              <a:p>
                <a:endParaRPr lang="da-DK"/>
              </a:p>
            </p:txBody>
          </p:sp>
          <p:sp>
            <p:nvSpPr>
              <p:cNvPr id="29" name="Freeform: Shape 28">
                <a:extLst>
                  <a:ext uri="{FF2B5EF4-FFF2-40B4-BE49-F238E27FC236}">
                    <a16:creationId xmlns:a16="http://schemas.microsoft.com/office/drawing/2014/main" id="{BEBCDF2A-697E-4940-BF1E-B417106BE54E}"/>
                  </a:ext>
                </a:extLst>
              </p:cNvPr>
              <p:cNvSpPr/>
              <p:nvPr/>
            </p:nvSpPr>
            <p:spPr>
              <a:xfrm>
                <a:off x="2390420" y="5210260"/>
                <a:ext cx="850614" cy="480782"/>
              </a:xfrm>
              <a:custGeom>
                <a:avLst/>
                <a:gdLst>
                  <a:gd name="connsiteX0" fmla="*/ 5041 w 850614"/>
                  <a:gd name="connsiteY0" fmla="*/ 476115 h 480781"/>
                  <a:gd name="connsiteX1" fmla="*/ 845948 w 850614"/>
                  <a:gd name="connsiteY1" fmla="*/ 476115 h 480781"/>
                  <a:gd name="connsiteX2" fmla="*/ 747942 w 850614"/>
                  <a:gd name="connsiteY2" fmla="*/ 5041 h 480781"/>
                </a:gdLst>
                <a:ahLst/>
                <a:cxnLst>
                  <a:cxn ang="0">
                    <a:pos x="connsiteX0" y="connsiteY0"/>
                  </a:cxn>
                  <a:cxn ang="0">
                    <a:pos x="connsiteX1" y="connsiteY1"/>
                  </a:cxn>
                  <a:cxn ang="0">
                    <a:pos x="connsiteX2" y="connsiteY2"/>
                  </a:cxn>
                </a:cxnLst>
                <a:rect l="l" t="t" r="r" b="b"/>
                <a:pathLst>
                  <a:path w="850614" h="480781">
                    <a:moveTo>
                      <a:pt x="5041" y="476115"/>
                    </a:moveTo>
                    <a:lnTo>
                      <a:pt x="845948" y="476115"/>
                    </a:lnTo>
                    <a:cubicBezTo>
                      <a:pt x="754876" y="476115"/>
                      <a:pt x="604170" y="221855"/>
                      <a:pt x="747942" y="5041"/>
                    </a:cubicBezTo>
                  </a:path>
                </a:pathLst>
              </a:custGeom>
              <a:noFill/>
              <a:ln w="19050" cap="rnd">
                <a:solidFill>
                  <a:srgbClr val="30373B"/>
                </a:solidFill>
                <a:prstDash val="solid"/>
                <a:round/>
              </a:ln>
            </p:spPr>
            <p:txBody>
              <a:bodyPr rtlCol="0" anchor="ctr"/>
              <a:lstStyle/>
              <a:p>
                <a:endParaRPr lang="da-DK"/>
              </a:p>
            </p:txBody>
          </p:sp>
          <p:sp>
            <p:nvSpPr>
              <p:cNvPr id="30" name="Freeform: Shape 29">
                <a:extLst>
                  <a:ext uri="{FF2B5EF4-FFF2-40B4-BE49-F238E27FC236}">
                    <a16:creationId xmlns:a16="http://schemas.microsoft.com/office/drawing/2014/main" id="{334D9CAC-C5F6-4D0C-B109-FF6154E35177}"/>
                  </a:ext>
                </a:extLst>
              </p:cNvPr>
              <p:cNvSpPr/>
              <p:nvPr/>
            </p:nvSpPr>
            <p:spPr>
              <a:xfrm>
                <a:off x="1118926" y="5090065"/>
                <a:ext cx="2260600" cy="596354"/>
              </a:xfrm>
              <a:custGeom>
                <a:avLst/>
                <a:gdLst>
                  <a:gd name="connsiteX0" fmla="*/ 2259827 w 2260600"/>
                  <a:gd name="connsiteY0" fmla="*/ 5041 h 596354"/>
                  <a:gd name="connsiteX1" fmla="*/ 2232552 w 2260600"/>
                  <a:gd name="connsiteY1" fmla="*/ 12438 h 596354"/>
                  <a:gd name="connsiteX2" fmla="*/ 336237 w 2260600"/>
                  <a:gd name="connsiteY2" fmla="*/ 12438 h 596354"/>
                  <a:gd name="connsiteX3" fmla="*/ 296942 w 2260600"/>
                  <a:gd name="connsiteY3" fmla="*/ 12438 h 596354"/>
                  <a:gd name="connsiteX4" fmla="*/ 5237 w 2260600"/>
                  <a:gd name="connsiteY4" fmla="*/ 314776 h 596354"/>
                  <a:gd name="connsiteX5" fmla="*/ 303877 w 2260600"/>
                  <a:gd name="connsiteY5" fmla="*/ 595848 h 596354"/>
                  <a:gd name="connsiteX6" fmla="*/ 343171 w 2260600"/>
                  <a:gd name="connsiteY6" fmla="*/ 595848 h 596354"/>
                  <a:gd name="connsiteX7" fmla="*/ 926582 w 2260600"/>
                  <a:gd name="connsiteY7" fmla="*/ 595848 h 59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0600" h="596354">
                    <a:moveTo>
                      <a:pt x="2259827" y="5041"/>
                    </a:moveTo>
                    <a:cubicBezTo>
                      <a:pt x="2251968" y="9664"/>
                      <a:pt x="2242260" y="12438"/>
                      <a:pt x="2232552" y="12438"/>
                    </a:cubicBezTo>
                    <a:lnTo>
                      <a:pt x="336237" y="12438"/>
                    </a:lnTo>
                    <a:lnTo>
                      <a:pt x="296942" y="12438"/>
                    </a:lnTo>
                    <a:cubicBezTo>
                      <a:pt x="132367" y="12438"/>
                      <a:pt x="-773" y="148813"/>
                      <a:pt x="5237" y="314776"/>
                    </a:cubicBezTo>
                    <a:cubicBezTo>
                      <a:pt x="10784" y="472879"/>
                      <a:pt x="145773" y="595848"/>
                      <a:pt x="303877" y="595848"/>
                    </a:cubicBezTo>
                    <a:lnTo>
                      <a:pt x="343171" y="595848"/>
                    </a:lnTo>
                    <a:lnTo>
                      <a:pt x="926582" y="595848"/>
                    </a:lnTo>
                  </a:path>
                </a:pathLst>
              </a:custGeom>
              <a:noFill/>
              <a:ln w="19050" cap="rnd">
                <a:solidFill>
                  <a:srgbClr val="30373B"/>
                </a:solidFill>
                <a:prstDash val="solid"/>
                <a:round/>
              </a:ln>
            </p:spPr>
            <p:txBody>
              <a:bodyPr rtlCol="0" anchor="ctr"/>
              <a:lstStyle/>
              <a:p>
                <a:endParaRPr lang="da-DK"/>
              </a:p>
            </p:txBody>
          </p:sp>
          <p:sp>
            <p:nvSpPr>
              <p:cNvPr id="31" name="Freeform: Shape 30">
                <a:extLst>
                  <a:ext uri="{FF2B5EF4-FFF2-40B4-BE49-F238E27FC236}">
                    <a16:creationId xmlns:a16="http://schemas.microsoft.com/office/drawing/2014/main" id="{27F9FA8C-6AD2-4EA5-9AEB-9E1B31ACD25B}"/>
                  </a:ext>
                </a:extLst>
              </p:cNvPr>
              <p:cNvSpPr/>
              <p:nvPr/>
            </p:nvSpPr>
            <p:spPr>
              <a:xfrm>
                <a:off x="3307604" y="4991597"/>
                <a:ext cx="101704" cy="106327"/>
              </a:xfrm>
              <a:custGeom>
                <a:avLst/>
                <a:gdLst>
                  <a:gd name="connsiteX0" fmla="*/ 5041 w 101703"/>
                  <a:gd name="connsiteY0" fmla="*/ 5041 h 106326"/>
                  <a:gd name="connsiteX1" fmla="*/ 43873 w 101703"/>
                  <a:gd name="connsiteY1" fmla="*/ 5041 h 106326"/>
                  <a:gd name="connsiteX2" fmla="*/ 97037 w 101703"/>
                  <a:gd name="connsiteY2" fmla="*/ 58205 h 106326"/>
                  <a:gd name="connsiteX3" fmla="*/ 97037 w 101703"/>
                  <a:gd name="connsiteY3" fmla="*/ 58205 h 106326"/>
                  <a:gd name="connsiteX4" fmla="*/ 71149 w 101703"/>
                  <a:gd name="connsiteY4" fmla="*/ 103509 h 1063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03" h="106326">
                    <a:moveTo>
                      <a:pt x="5041" y="5041"/>
                    </a:moveTo>
                    <a:lnTo>
                      <a:pt x="43873" y="5041"/>
                    </a:lnTo>
                    <a:cubicBezTo>
                      <a:pt x="72998" y="5041"/>
                      <a:pt x="97037" y="28618"/>
                      <a:pt x="97037" y="58205"/>
                    </a:cubicBezTo>
                    <a:lnTo>
                      <a:pt x="97037" y="58205"/>
                    </a:lnTo>
                    <a:cubicBezTo>
                      <a:pt x="97037" y="77621"/>
                      <a:pt x="86867" y="94263"/>
                      <a:pt x="71149" y="103509"/>
                    </a:cubicBezTo>
                  </a:path>
                </a:pathLst>
              </a:custGeom>
              <a:noFill/>
              <a:ln w="19050" cap="rnd">
                <a:solidFill>
                  <a:srgbClr val="30373B"/>
                </a:solidFill>
                <a:prstDash val="solid"/>
                <a:round/>
              </a:ln>
            </p:spPr>
            <p:txBody>
              <a:bodyPr rtlCol="0" anchor="ctr"/>
              <a:lstStyle/>
              <a:p>
                <a:endParaRPr lang="da-DK"/>
              </a:p>
            </p:txBody>
          </p:sp>
          <p:sp>
            <p:nvSpPr>
              <p:cNvPr id="32" name="Freeform: Shape 31">
                <a:extLst>
                  <a:ext uri="{FF2B5EF4-FFF2-40B4-BE49-F238E27FC236}">
                    <a16:creationId xmlns:a16="http://schemas.microsoft.com/office/drawing/2014/main" id="{BD0599A1-42F6-4A87-9135-0B88B82A9E9F}"/>
                  </a:ext>
                </a:extLst>
              </p:cNvPr>
              <p:cNvSpPr/>
              <p:nvPr/>
            </p:nvSpPr>
            <p:spPr>
              <a:xfrm>
                <a:off x="2472245" y="5777953"/>
                <a:ext cx="910712" cy="13869"/>
              </a:xfrm>
              <a:custGeom>
                <a:avLst/>
                <a:gdLst>
                  <a:gd name="connsiteX0" fmla="*/ 906508 w 910712"/>
                  <a:gd name="connsiteY0" fmla="*/ 5041 h 13868"/>
                  <a:gd name="connsiteX1" fmla="*/ 879232 w 910712"/>
                  <a:gd name="connsiteY1" fmla="*/ 12438 h 13868"/>
                  <a:gd name="connsiteX2" fmla="*/ 5041 w 910712"/>
                  <a:gd name="connsiteY2" fmla="*/ 12438 h 13868"/>
                </a:gdLst>
                <a:ahLst/>
                <a:cxnLst>
                  <a:cxn ang="0">
                    <a:pos x="connsiteX0" y="connsiteY0"/>
                  </a:cxn>
                  <a:cxn ang="0">
                    <a:pos x="connsiteX1" y="connsiteY1"/>
                  </a:cxn>
                  <a:cxn ang="0">
                    <a:pos x="connsiteX2" y="connsiteY2"/>
                  </a:cxn>
                </a:cxnLst>
                <a:rect l="l" t="t" r="r" b="b"/>
                <a:pathLst>
                  <a:path w="910712" h="13868">
                    <a:moveTo>
                      <a:pt x="906508" y="5041"/>
                    </a:moveTo>
                    <a:cubicBezTo>
                      <a:pt x="898649" y="9664"/>
                      <a:pt x="888941" y="12438"/>
                      <a:pt x="879232" y="12438"/>
                    </a:cubicBezTo>
                    <a:lnTo>
                      <a:pt x="5041" y="12438"/>
                    </a:lnTo>
                  </a:path>
                </a:pathLst>
              </a:custGeom>
              <a:noFill/>
              <a:ln w="19050" cap="rnd">
                <a:solidFill>
                  <a:srgbClr val="30373B"/>
                </a:solidFill>
                <a:prstDash val="solid"/>
                <a:round/>
              </a:ln>
            </p:spPr>
            <p:txBody>
              <a:bodyPr rtlCol="0" anchor="ctr"/>
              <a:lstStyle/>
              <a:p>
                <a:endParaRPr lang="da-DK"/>
              </a:p>
            </p:txBody>
          </p:sp>
          <p:sp>
            <p:nvSpPr>
              <p:cNvPr id="33" name="Freeform: Shape 32">
                <a:extLst>
                  <a:ext uri="{FF2B5EF4-FFF2-40B4-BE49-F238E27FC236}">
                    <a16:creationId xmlns:a16="http://schemas.microsoft.com/office/drawing/2014/main" id="{4F259DD8-F5E5-418C-A0BE-3C4969765F1F}"/>
                  </a:ext>
                </a:extLst>
              </p:cNvPr>
              <p:cNvSpPr/>
              <p:nvPr/>
            </p:nvSpPr>
            <p:spPr>
              <a:xfrm>
                <a:off x="3307604" y="5679485"/>
                <a:ext cx="101704" cy="106327"/>
              </a:xfrm>
              <a:custGeom>
                <a:avLst/>
                <a:gdLst>
                  <a:gd name="connsiteX0" fmla="*/ 5041 w 101703"/>
                  <a:gd name="connsiteY0" fmla="*/ 5041 h 106326"/>
                  <a:gd name="connsiteX1" fmla="*/ 43873 w 101703"/>
                  <a:gd name="connsiteY1" fmla="*/ 5041 h 106326"/>
                  <a:gd name="connsiteX2" fmla="*/ 97037 w 101703"/>
                  <a:gd name="connsiteY2" fmla="*/ 58205 h 106326"/>
                  <a:gd name="connsiteX3" fmla="*/ 97037 w 101703"/>
                  <a:gd name="connsiteY3" fmla="*/ 58205 h 106326"/>
                  <a:gd name="connsiteX4" fmla="*/ 71149 w 101703"/>
                  <a:gd name="connsiteY4" fmla="*/ 103509 h 1063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03" h="106326">
                    <a:moveTo>
                      <a:pt x="5041" y="5041"/>
                    </a:moveTo>
                    <a:lnTo>
                      <a:pt x="43873" y="5041"/>
                    </a:lnTo>
                    <a:cubicBezTo>
                      <a:pt x="72998" y="5041"/>
                      <a:pt x="97037" y="28618"/>
                      <a:pt x="97037" y="58205"/>
                    </a:cubicBezTo>
                    <a:lnTo>
                      <a:pt x="97037" y="58205"/>
                    </a:lnTo>
                    <a:cubicBezTo>
                      <a:pt x="97037" y="77621"/>
                      <a:pt x="86867" y="94263"/>
                      <a:pt x="71149" y="103509"/>
                    </a:cubicBezTo>
                  </a:path>
                </a:pathLst>
              </a:custGeom>
              <a:noFill/>
              <a:ln w="19050" cap="rnd">
                <a:solidFill>
                  <a:srgbClr val="30373B"/>
                </a:solidFill>
                <a:prstDash val="solid"/>
                <a:round/>
              </a:ln>
            </p:spPr>
            <p:txBody>
              <a:bodyPr rtlCol="0" anchor="ctr"/>
              <a:lstStyle/>
              <a:p>
                <a:endParaRPr lang="da-DK"/>
              </a:p>
            </p:txBody>
          </p:sp>
          <p:sp>
            <p:nvSpPr>
              <p:cNvPr id="34" name="Freeform: Shape 33">
                <a:extLst>
                  <a:ext uri="{FF2B5EF4-FFF2-40B4-BE49-F238E27FC236}">
                    <a16:creationId xmlns:a16="http://schemas.microsoft.com/office/drawing/2014/main" id="{058E074B-0E86-470C-BCA9-EADAC436E115}"/>
                  </a:ext>
                </a:extLst>
              </p:cNvPr>
              <p:cNvSpPr/>
              <p:nvPr/>
            </p:nvSpPr>
            <p:spPr>
              <a:xfrm>
                <a:off x="1352116" y="5785812"/>
                <a:ext cx="619469" cy="9246"/>
              </a:xfrm>
              <a:custGeom>
                <a:avLst/>
                <a:gdLst>
                  <a:gd name="connsiteX0" fmla="*/ 617576 w 619469"/>
                  <a:gd name="connsiteY0" fmla="*/ 5041 h 9245"/>
                  <a:gd name="connsiteX1" fmla="*/ 5041 w 619469"/>
                  <a:gd name="connsiteY1" fmla="*/ 5041 h 9245"/>
                </a:gdLst>
                <a:ahLst/>
                <a:cxnLst>
                  <a:cxn ang="0">
                    <a:pos x="connsiteX0" y="connsiteY0"/>
                  </a:cxn>
                  <a:cxn ang="0">
                    <a:pos x="connsiteX1" y="connsiteY1"/>
                  </a:cxn>
                </a:cxnLst>
                <a:rect l="l" t="t" r="r" b="b"/>
                <a:pathLst>
                  <a:path w="619469" h="9245">
                    <a:moveTo>
                      <a:pt x="617576" y="5041"/>
                    </a:moveTo>
                    <a:lnTo>
                      <a:pt x="5041" y="5041"/>
                    </a:lnTo>
                  </a:path>
                </a:pathLst>
              </a:custGeom>
              <a:ln w="19050" cap="rnd">
                <a:solidFill>
                  <a:srgbClr val="30373B"/>
                </a:solidFill>
                <a:prstDash val="solid"/>
                <a:round/>
              </a:ln>
            </p:spPr>
            <p:txBody>
              <a:bodyPr rtlCol="0" anchor="ctr"/>
              <a:lstStyle/>
              <a:p>
                <a:endParaRPr lang="da-DK"/>
              </a:p>
            </p:txBody>
          </p:sp>
          <p:sp>
            <p:nvSpPr>
              <p:cNvPr id="35" name="Freeform: Shape 34">
                <a:extLst>
                  <a:ext uri="{FF2B5EF4-FFF2-40B4-BE49-F238E27FC236}">
                    <a16:creationId xmlns:a16="http://schemas.microsoft.com/office/drawing/2014/main" id="{E8A54191-777B-4E57-B990-D03B1AA5B975}"/>
                  </a:ext>
                </a:extLst>
              </p:cNvPr>
              <p:cNvSpPr/>
              <p:nvPr/>
            </p:nvSpPr>
            <p:spPr>
              <a:xfrm>
                <a:off x="297169" y="5113179"/>
                <a:ext cx="836746" cy="448422"/>
              </a:xfrm>
              <a:custGeom>
                <a:avLst/>
                <a:gdLst>
                  <a:gd name="connsiteX0" fmla="*/ 5041 w 836745"/>
                  <a:gd name="connsiteY0" fmla="*/ 445604 h 448421"/>
                  <a:gd name="connsiteX1" fmla="*/ 643002 w 836745"/>
                  <a:gd name="connsiteY1" fmla="*/ 445604 h 448421"/>
                  <a:gd name="connsiteX2" fmla="*/ 760886 w 836745"/>
                  <a:gd name="connsiteY2" fmla="*/ 445604 h 448421"/>
                  <a:gd name="connsiteX3" fmla="*/ 724827 w 836745"/>
                  <a:gd name="connsiteY3" fmla="*/ 294897 h 448421"/>
                  <a:gd name="connsiteX4" fmla="*/ 835777 w 836745"/>
                  <a:gd name="connsiteY4" fmla="*/ 5041 h 44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45" h="448421">
                    <a:moveTo>
                      <a:pt x="5041" y="445604"/>
                    </a:moveTo>
                    <a:lnTo>
                      <a:pt x="643002" y="445604"/>
                    </a:lnTo>
                    <a:lnTo>
                      <a:pt x="760886" y="445604"/>
                    </a:lnTo>
                    <a:cubicBezTo>
                      <a:pt x="739158" y="398913"/>
                      <a:pt x="726677" y="347598"/>
                      <a:pt x="724827" y="294897"/>
                    </a:cubicBezTo>
                    <a:cubicBezTo>
                      <a:pt x="721129" y="186259"/>
                      <a:pt x="760424" y="83168"/>
                      <a:pt x="835777" y="5041"/>
                    </a:cubicBezTo>
                  </a:path>
                </a:pathLst>
              </a:custGeom>
              <a:noFill/>
              <a:ln w="19050" cap="rnd">
                <a:solidFill>
                  <a:srgbClr val="30373B"/>
                </a:solidFill>
                <a:prstDash val="solid"/>
                <a:round/>
              </a:ln>
            </p:spPr>
            <p:txBody>
              <a:bodyPr rtlCol="0" anchor="ctr"/>
              <a:lstStyle/>
              <a:p>
                <a:endParaRPr lang="da-DK"/>
              </a:p>
            </p:txBody>
          </p:sp>
          <p:sp>
            <p:nvSpPr>
              <p:cNvPr id="36" name="Freeform: Shape 35">
                <a:extLst>
                  <a:ext uri="{FF2B5EF4-FFF2-40B4-BE49-F238E27FC236}">
                    <a16:creationId xmlns:a16="http://schemas.microsoft.com/office/drawing/2014/main" id="{0FCDF3CD-FE23-4595-AB33-77335D09B326}"/>
                  </a:ext>
                </a:extLst>
              </p:cNvPr>
              <p:cNvSpPr/>
              <p:nvPr/>
            </p:nvSpPr>
            <p:spPr>
              <a:xfrm>
                <a:off x="1016716" y="3611660"/>
                <a:ext cx="508519" cy="744287"/>
              </a:xfrm>
              <a:custGeom>
                <a:avLst/>
                <a:gdLst>
                  <a:gd name="connsiteX0" fmla="*/ 202678 w 508519"/>
                  <a:gd name="connsiteY0" fmla="*/ 742857 h 744287"/>
                  <a:gd name="connsiteX1" fmla="*/ 130561 w 508519"/>
                  <a:gd name="connsiteY1" fmla="*/ 689231 h 744287"/>
                  <a:gd name="connsiteX2" fmla="*/ 5280 w 508519"/>
                  <a:gd name="connsiteY2" fmla="*/ 416017 h 744287"/>
                  <a:gd name="connsiteX3" fmla="*/ 116230 w 508519"/>
                  <a:gd name="connsiteY3" fmla="*/ 126161 h 744287"/>
                  <a:gd name="connsiteX4" fmla="*/ 401926 w 508519"/>
                  <a:gd name="connsiteY4" fmla="*/ 5041 h 744287"/>
                  <a:gd name="connsiteX5" fmla="*/ 504092 w 508519"/>
                  <a:gd name="connsiteY5" fmla="*/ 5041 h 74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519" h="744287">
                    <a:moveTo>
                      <a:pt x="202678" y="742857"/>
                    </a:moveTo>
                    <a:cubicBezTo>
                      <a:pt x="176790" y="727601"/>
                      <a:pt x="152751" y="710034"/>
                      <a:pt x="130561" y="689231"/>
                    </a:cubicBezTo>
                    <a:cubicBezTo>
                      <a:pt x="53359" y="617114"/>
                      <a:pt x="8979" y="520495"/>
                      <a:pt x="5280" y="416017"/>
                    </a:cubicBezTo>
                    <a:cubicBezTo>
                      <a:pt x="1582" y="307379"/>
                      <a:pt x="40877" y="204288"/>
                      <a:pt x="116230" y="126161"/>
                    </a:cubicBezTo>
                    <a:cubicBezTo>
                      <a:pt x="191583" y="48034"/>
                      <a:pt x="293287" y="5041"/>
                      <a:pt x="401926" y="5041"/>
                    </a:cubicBezTo>
                    <a:lnTo>
                      <a:pt x="504092" y="5041"/>
                    </a:lnTo>
                  </a:path>
                </a:pathLst>
              </a:custGeom>
              <a:noFill/>
              <a:ln w="19050" cap="rnd">
                <a:solidFill>
                  <a:srgbClr val="30373B"/>
                </a:solidFill>
                <a:prstDash val="solid"/>
                <a:round/>
              </a:ln>
            </p:spPr>
            <p:txBody>
              <a:bodyPr rtlCol="0" anchor="ctr"/>
              <a:lstStyle/>
              <a:p>
                <a:endParaRPr lang="da-DK"/>
              </a:p>
            </p:txBody>
          </p:sp>
          <p:sp>
            <p:nvSpPr>
              <p:cNvPr id="37" name="Freeform: Shape 36">
                <a:extLst>
                  <a:ext uri="{FF2B5EF4-FFF2-40B4-BE49-F238E27FC236}">
                    <a16:creationId xmlns:a16="http://schemas.microsoft.com/office/drawing/2014/main" id="{625EDB5B-4EE1-48C2-ADC9-7FB09E465CF2}"/>
                  </a:ext>
                </a:extLst>
              </p:cNvPr>
              <p:cNvSpPr/>
              <p:nvPr/>
            </p:nvSpPr>
            <p:spPr>
              <a:xfrm>
                <a:off x="2902638" y="4520523"/>
                <a:ext cx="337472" cy="480782"/>
              </a:xfrm>
              <a:custGeom>
                <a:avLst/>
                <a:gdLst>
                  <a:gd name="connsiteX0" fmla="*/ 5041 w 337471"/>
                  <a:gd name="connsiteY0" fmla="*/ 476115 h 480781"/>
                  <a:gd name="connsiteX1" fmla="*/ 333730 w 337471"/>
                  <a:gd name="connsiteY1" fmla="*/ 476115 h 480781"/>
                  <a:gd name="connsiteX2" fmla="*/ 235724 w 337471"/>
                  <a:gd name="connsiteY2" fmla="*/ 5041 h 480781"/>
                </a:gdLst>
                <a:ahLst/>
                <a:cxnLst>
                  <a:cxn ang="0">
                    <a:pos x="connsiteX0" y="connsiteY0"/>
                  </a:cxn>
                  <a:cxn ang="0">
                    <a:pos x="connsiteX1" y="connsiteY1"/>
                  </a:cxn>
                  <a:cxn ang="0">
                    <a:pos x="connsiteX2" y="connsiteY2"/>
                  </a:cxn>
                </a:cxnLst>
                <a:rect l="l" t="t" r="r" b="b"/>
                <a:pathLst>
                  <a:path w="337471" h="480781">
                    <a:moveTo>
                      <a:pt x="5041" y="476115"/>
                    </a:moveTo>
                    <a:lnTo>
                      <a:pt x="333730" y="476115"/>
                    </a:lnTo>
                    <a:cubicBezTo>
                      <a:pt x="242659" y="476115"/>
                      <a:pt x="91952" y="221855"/>
                      <a:pt x="235724" y="5041"/>
                    </a:cubicBezTo>
                  </a:path>
                </a:pathLst>
              </a:custGeom>
              <a:noFill/>
              <a:ln w="19050" cap="rnd">
                <a:solidFill>
                  <a:srgbClr val="30373B"/>
                </a:solidFill>
                <a:prstDash val="solid"/>
                <a:round/>
              </a:ln>
            </p:spPr>
            <p:txBody>
              <a:bodyPr rtlCol="0" anchor="ctr"/>
              <a:lstStyle/>
              <a:p>
                <a:endParaRPr lang="da-DK"/>
              </a:p>
            </p:txBody>
          </p:sp>
          <p:sp>
            <p:nvSpPr>
              <p:cNvPr id="38" name="Freeform: Shape 37">
                <a:extLst>
                  <a:ext uri="{FF2B5EF4-FFF2-40B4-BE49-F238E27FC236}">
                    <a16:creationId xmlns:a16="http://schemas.microsoft.com/office/drawing/2014/main" id="{1FAD1EA4-629D-4971-BB64-41C99654CBA8}"/>
                  </a:ext>
                </a:extLst>
              </p:cNvPr>
              <p:cNvSpPr/>
              <p:nvPr/>
            </p:nvSpPr>
            <p:spPr>
              <a:xfrm>
                <a:off x="1118926" y="4408186"/>
                <a:ext cx="1442346" cy="591732"/>
              </a:xfrm>
              <a:custGeom>
                <a:avLst/>
                <a:gdLst>
                  <a:gd name="connsiteX0" fmla="*/ 1350964 w 1442346"/>
                  <a:gd name="connsiteY0" fmla="*/ 5041 h 591731"/>
                  <a:gd name="connsiteX1" fmla="*/ 336237 w 1442346"/>
                  <a:gd name="connsiteY1" fmla="*/ 5041 h 591731"/>
                  <a:gd name="connsiteX2" fmla="*/ 296942 w 1442346"/>
                  <a:gd name="connsiteY2" fmla="*/ 5041 h 591731"/>
                  <a:gd name="connsiteX3" fmla="*/ 5237 w 1442346"/>
                  <a:gd name="connsiteY3" fmla="*/ 307379 h 591731"/>
                  <a:gd name="connsiteX4" fmla="*/ 303877 w 1442346"/>
                  <a:gd name="connsiteY4" fmla="*/ 588452 h 591731"/>
                  <a:gd name="connsiteX5" fmla="*/ 343171 w 1442346"/>
                  <a:gd name="connsiteY5" fmla="*/ 588452 h 591731"/>
                  <a:gd name="connsiteX6" fmla="*/ 1437875 w 1442346"/>
                  <a:gd name="connsiteY6" fmla="*/ 588452 h 59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2346" h="591731">
                    <a:moveTo>
                      <a:pt x="1350964" y="5041"/>
                    </a:moveTo>
                    <a:lnTo>
                      <a:pt x="336237" y="5041"/>
                    </a:lnTo>
                    <a:lnTo>
                      <a:pt x="296942" y="5041"/>
                    </a:lnTo>
                    <a:cubicBezTo>
                      <a:pt x="132367" y="5041"/>
                      <a:pt x="-773" y="141417"/>
                      <a:pt x="5237" y="307379"/>
                    </a:cubicBezTo>
                    <a:cubicBezTo>
                      <a:pt x="10784" y="465482"/>
                      <a:pt x="145773" y="588452"/>
                      <a:pt x="303877" y="588452"/>
                    </a:cubicBezTo>
                    <a:lnTo>
                      <a:pt x="343171" y="588452"/>
                    </a:lnTo>
                    <a:lnTo>
                      <a:pt x="1437875" y="588452"/>
                    </a:lnTo>
                  </a:path>
                </a:pathLst>
              </a:custGeom>
              <a:noFill/>
              <a:ln w="19050" cap="rnd">
                <a:solidFill>
                  <a:srgbClr val="30373B"/>
                </a:solidFill>
                <a:prstDash val="solid"/>
                <a:round/>
              </a:ln>
            </p:spPr>
            <p:txBody>
              <a:bodyPr rtlCol="0" anchor="ctr"/>
              <a:lstStyle/>
              <a:p>
                <a:endParaRPr lang="da-DK"/>
              </a:p>
            </p:txBody>
          </p:sp>
          <p:sp>
            <p:nvSpPr>
              <p:cNvPr id="39" name="Freeform: Shape 38">
                <a:extLst>
                  <a:ext uri="{FF2B5EF4-FFF2-40B4-BE49-F238E27FC236}">
                    <a16:creationId xmlns:a16="http://schemas.microsoft.com/office/drawing/2014/main" id="{26B9068B-D975-48AE-A7F9-7BAF61E8144C}"/>
                  </a:ext>
                </a:extLst>
              </p:cNvPr>
              <p:cNvSpPr/>
              <p:nvPr/>
            </p:nvSpPr>
            <p:spPr>
              <a:xfrm>
                <a:off x="2802321" y="4408186"/>
                <a:ext cx="536257" cy="9246"/>
              </a:xfrm>
              <a:custGeom>
                <a:avLst/>
                <a:gdLst>
                  <a:gd name="connsiteX0" fmla="*/ 531590 w 536256"/>
                  <a:gd name="connsiteY0" fmla="*/ 5041 h 9245"/>
                  <a:gd name="connsiteX1" fmla="*/ 5041 w 536256"/>
                  <a:gd name="connsiteY1" fmla="*/ 5041 h 9245"/>
                </a:gdLst>
                <a:ahLst/>
                <a:cxnLst>
                  <a:cxn ang="0">
                    <a:pos x="connsiteX0" y="connsiteY0"/>
                  </a:cxn>
                  <a:cxn ang="0">
                    <a:pos x="connsiteX1" y="connsiteY1"/>
                  </a:cxn>
                </a:cxnLst>
                <a:rect l="l" t="t" r="r" b="b"/>
                <a:pathLst>
                  <a:path w="536256" h="9245">
                    <a:moveTo>
                      <a:pt x="531590" y="5041"/>
                    </a:moveTo>
                    <a:lnTo>
                      <a:pt x="5041" y="5041"/>
                    </a:lnTo>
                  </a:path>
                </a:pathLst>
              </a:custGeom>
              <a:ln w="19050" cap="rnd">
                <a:solidFill>
                  <a:srgbClr val="30373B"/>
                </a:solidFill>
                <a:prstDash val="solid"/>
                <a:round/>
              </a:ln>
            </p:spPr>
            <p:txBody>
              <a:bodyPr rtlCol="0" anchor="ctr"/>
              <a:lstStyle/>
              <a:p>
                <a:endParaRPr lang="da-DK"/>
              </a:p>
            </p:txBody>
          </p:sp>
          <p:sp>
            <p:nvSpPr>
              <p:cNvPr id="40" name="Freeform: Shape 39">
                <a:extLst>
                  <a:ext uri="{FF2B5EF4-FFF2-40B4-BE49-F238E27FC236}">
                    <a16:creationId xmlns:a16="http://schemas.microsoft.com/office/drawing/2014/main" id="{3D040E6B-020D-46A2-8223-9437C3D9B562}"/>
                  </a:ext>
                </a:extLst>
              </p:cNvPr>
              <p:cNvSpPr/>
              <p:nvPr/>
            </p:nvSpPr>
            <p:spPr>
              <a:xfrm>
                <a:off x="2390420" y="3830786"/>
                <a:ext cx="850614" cy="480782"/>
              </a:xfrm>
              <a:custGeom>
                <a:avLst/>
                <a:gdLst>
                  <a:gd name="connsiteX0" fmla="*/ 5041 w 850614"/>
                  <a:gd name="connsiteY0" fmla="*/ 476115 h 480781"/>
                  <a:gd name="connsiteX1" fmla="*/ 845948 w 850614"/>
                  <a:gd name="connsiteY1" fmla="*/ 476115 h 480781"/>
                  <a:gd name="connsiteX2" fmla="*/ 747942 w 850614"/>
                  <a:gd name="connsiteY2" fmla="*/ 5041 h 480781"/>
                </a:gdLst>
                <a:ahLst/>
                <a:cxnLst>
                  <a:cxn ang="0">
                    <a:pos x="connsiteX0" y="connsiteY0"/>
                  </a:cxn>
                  <a:cxn ang="0">
                    <a:pos x="connsiteX1" y="connsiteY1"/>
                  </a:cxn>
                  <a:cxn ang="0">
                    <a:pos x="connsiteX2" y="connsiteY2"/>
                  </a:cxn>
                </a:cxnLst>
                <a:rect l="l" t="t" r="r" b="b"/>
                <a:pathLst>
                  <a:path w="850614" h="480781">
                    <a:moveTo>
                      <a:pt x="5041" y="476115"/>
                    </a:moveTo>
                    <a:lnTo>
                      <a:pt x="845948" y="476115"/>
                    </a:lnTo>
                    <a:cubicBezTo>
                      <a:pt x="754876" y="476115"/>
                      <a:pt x="604170" y="221856"/>
                      <a:pt x="747942" y="5041"/>
                    </a:cubicBezTo>
                  </a:path>
                </a:pathLst>
              </a:custGeom>
              <a:noFill/>
              <a:ln w="19050" cap="rnd">
                <a:solidFill>
                  <a:srgbClr val="30373B"/>
                </a:solidFill>
                <a:prstDash val="solid"/>
                <a:round/>
              </a:ln>
            </p:spPr>
            <p:txBody>
              <a:bodyPr rtlCol="0" anchor="ctr"/>
              <a:lstStyle/>
              <a:p>
                <a:endParaRPr lang="da-DK"/>
              </a:p>
            </p:txBody>
          </p:sp>
          <p:sp>
            <p:nvSpPr>
              <p:cNvPr id="41" name="Freeform: Shape 40">
                <a:extLst>
                  <a:ext uri="{FF2B5EF4-FFF2-40B4-BE49-F238E27FC236}">
                    <a16:creationId xmlns:a16="http://schemas.microsoft.com/office/drawing/2014/main" id="{A8515F7C-3992-4D36-AC42-17BF81A6D14F}"/>
                  </a:ext>
                </a:extLst>
              </p:cNvPr>
              <p:cNvSpPr/>
              <p:nvPr/>
            </p:nvSpPr>
            <p:spPr>
              <a:xfrm>
                <a:off x="1118926" y="3717987"/>
                <a:ext cx="929204" cy="591732"/>
              </a:xfrm>
              <a:custGeom>
                <a:avLst/>
                <a:gdLst>
                  <a:gd name="connsiteX0" fmla="*/ 336237 w 929203"/>
                  <a:gd name="connsiteY0" fmla="*/ 5041 h 591731"/>
                  <a:gd name="connsiteX1" fmla="*/ 296942 w 929203"/>
                  <a:gd name="connsiteY1" fmla="*/ 5041 h 591731"/>
                  <a:gd name="connsiteX2" fmla="*/ 5237 w 929203"/>
                  <a:gd name="connsiteY2" fmla="*/ 307379 h 591731"/>
                  <a:gd name="connsiteX3" fmla="*/ 303877 w 929203"/>
                  <a:gd name="connsiteY3" fmla="*/ 588452 h 591731"/>
                  <a:gd name="connsiteX4" fmla="*/ 343171 w 929203"/>
                  <a:gd name="connsiteY4" fmla="*/ 588452 h 591731"/>
                  <a:gd name="connsiteX5" fmla="*/ 926582 w 929203"/>
                  <a:gd name="connsiteY5" fmla="*/ 588452 h 59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9203" h="591731">
                    <a:moveTo>
                      <a:pt x="336237" y="5041"/>
                    </a:moveTo>
                    <a:lnTo>
                      <a:pt x="296942" y="5041"/>
                    </a:lnTo>
                    <a:cubicBezTo>
                      <a:pt x="132367" y="5041"/>
                      <a:pt x="-773" y="141417"/>
                      <a:pt x="5237" y="307379"/>
                    </a:cubicBezTo>
                    <a:cubicBezTo>
                      <a:pt x="10784" y="465482"/>
                      <a:pt x="145773" y="588452"/>
                      <a:pt x="303877" y="588452"/>
                    </a:cubicBezTo>
                    <a:lnTo>
                      <a:pt x="343171" y="588452"/>
                    </a:lnTo>
                    <a:lnTo>
                      <a:pt x="926582" y="588452"/>
                    </a:lnTo>
                  </a:path>
                </a:pathLst>
              </a:custGeom>
              <a:noFill/>
              <a:ln w="19050" cap="rnd">
                <a:solidFill>
                  <a:srgbClr val="30373B"/>
                </a:solidFill>
                <a:prstDash val="solid"/>
                <a:round/>
              </a:ln>
            </p:spPr>
            <p:txBody>
              <a:bodyPr rtlCol="0" anchor="ctr"/>
              <a:lstStyle/>
              <a:p>
                <a:endParaRPr lang="da-DK"/>
              </a:p>
            </p:txBody>
          </p:sp>
          <p:sp>
            <p:nvSpPr>
              <p:cNvPr id="42" name="Freeform: Shape 41">
                <a:extLst>
                  <a:ext uri="{FF2B5EF4-FFF2-40B4-BE49-F238E27FC236}">
                    <a16:creationId xmlns:a16="http://schemas.microsoft.com/office/drawing/2014/main" id="{2E98945D-EFCC-46F1-94DE-37F77249C5BB}"/>
                  </a:ext>
                </a:extLst>
              </p:cNvPr>
              <p:cNvSpPr/>
              <p:nvPr/>
            </p:nvSpPr>
            <p:spPr>
              <a:xfrm>
                <a:off x="2355748" y="3710590"/>
                <a:ext cx="1026285" cy="13869"/>
              </a:xfrm>
              <a:custGeom>
                <a:avLst/>
                <a:gdLst>
                  <a:gd name="connsiteX0" fmla="*/ 1023005 w 1026284"/>
                  <a:gd name="connsiteY0" fmla="*/ 5041 h 13868"/>
                  <a:gd name="connsiteX1" fmla="*/ 995730 w 1026284"/>
                  <a:gd name="connsiteY1" fmla="*/ 12438 h 13868"/>
                  <a:gd name="connsiteX2" fmla="*/ 5041 w 1026284"/>
                  <a:gd name="connsiteY2" fmla="*/ 12438 h 13868"/>
                </a:gdLst>
                <a:ahLst/>
                <a:cxnLst>
                  <a:cxn ang="0">
                    <a:pos x="connsiteX0" y="connsiteY0"/>
                  </a:cxn>
                  <a:cxn ang="0">
                    <a:pos x="connsiteX1" y="connsiteY1"/>
                  </a:cxn>
                  <a:cxn ang="0">
                    <a:pos x="connsiteX2" y="connsiteY2"/>
                  </a:cxn>
                </a:cxnLst>
                <a:rect l="l" t="t" r="r" b="b"/>
                <a:pathLst>
                  <a:path w="1026284" h="13868">
                    <a:moveTo>
                      <a:pt x="1023005" y="5041"/>
                    </a:moveTo>
                    <a:cubicBezTo>
                      <a:pt x="1015146" y="9664"/>
                      <a:pt x="1005438" y="12438"/>
                      <a:pt x="995730" y="12438"/>
                    </a:cubicBezTo>
                    <a:lnTo>
                      <a:pt x="5041" y="12438"/>
                    </a:lnTo>
                  </a:path>
                </a:pathLst>
              </a:custGeom>
              <a:noFill/>
              <a:ln w="19050" cap="rnd">
                <a:solidFill>
                  <a:srgbClr val="30373B"/>
                </a:solidFill>
                <a:prstDash val="solid"/>
                <a:round/>
              </a:ln>
            </p:spPr>
            <p:txBody>
              <a:bodyPr rtlCol="0" anchor="ctr"/>
              <a:lstStyle/>
              <a:p>
                <a:endParaRPr lang="da-DK"/>
              </a:p>
            </p:txBody>
          </p:sp>
          <p:sp>
            <p:nvSpPr>
              <p:cNvPr id="43" name="Freeform: Shape 42">
                <a:extLst>
                  <a:ext uri="{FF2B5EF4-FFF2-40B4-BE49-F238E27FC236}">
                    <a16:creationId xmlns:a16="http://schemas.microsoft.com/office/drawing/2014/main" id="{A5B71BCD-1231-4867-B93C-8B94CF34C8EF}"/>
                  </a:ext>
                </a:extLst>
              </p:cNvPr>
              <p:cNvSpPr/>
              <p:nvPr/>
            </p:nvSpPr>
            <p:spPr>
              <a:xfrm>
                <a:off x="1430705" y="3612123"/>
                <a:ext cx="1978603" cy="106327"/>
              </a:xfrm>
              <a:custGeom>
                <a:avLst/>
                <a:gdLst>
                  <a:gd name="connsiteX0" fmla="*/ 1948048 w 1978602"/>
                  <a:gd name="connsiteY0" fmla="*/ 103509 h 106326"/>
                  <a:gd name="connsiteX1" fmla="*/ 1973936 w 1978602"/>
                  <a:gd name="connsiteY1" fmla="*/ 58205 h 106326"/>
                  <a:gd name="connsiteX2" fmla="*/ 1973936 w 1978602"/>
                  <a:gd name="connsiteY2" fmla="*/ 58205 h 106326"/>
                  <a:gd name="connsiteX3" fmla="*/ 1920773 w 1978602"/>
                  <a:gd name="connsiteY3" fmla="*/ 5041 h 106326"/>
                  <a:gd name="connsiteX4" fmla="*/ 1881940 w 1978602"/>
                  <a:gd name="connsiteY4" fmla="*/ 5041 h 106326"/>
                  <a:gd name="connsiteX5" fmla="*/ 5041 w 1978602"/>
                  <a:gd name="connsiteY5" fmla="*/ 5041 h 10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8602" h="106326">
                    <a:moveTo>
                      <a:pt x="1948048" y="103509"/>
                    </a:moveTo>
                    <a:cubicBezTo>
                      <a:pt x="1963303" y="94263"/>
                      <a:pt x="1973936" y="77159"/>
                      <a:pt x="1973936" y="58205"/>
                    </a:cubicBezTo>
                    <a:lnTo>
                      <a:pt x="1973936" y="58205"/>
                    </a:lnTo>
                    <a:cubicBezTo>
                      <a:pt x="1973936" y="29080"/>
                      <a:pt x="1950359" y="5041"/>
                      <a:pt x="1920773" y="5041"/>
                    </a:cubicBezTo>
                    <a:lnTo>
                      <a:pt x="1881940" y="5041"/>
                    </a:lnTo>
                    <a:lnTo>
                      <a:pt x="5041" y="5041"/>
                    </a:lnTo>
                  </a:path>
                </a:pathLst>
              </a:custGeom>
              <a:noFill/>
              <a:ln w="19050" cap="rnd">
                <a:solidFill>
                  <a:srgbClr val="30373B"/>
                </a:solidFill>
                <a:prstDash val="solid"/>
                <a:round/>
              </a:ln>
            </p:spPr>
            <p:txBody>
              <a:bodyPr rtlCol="0" anchor="ctr"/>
              <a:lstStyle/>
              <a:p>
                <a:endParaRPr lang="da-DK"/>
              </a:p>
            </p:txBody>
          </p:sp>
          <p:sp>
            <p:nvSpPr>
              <p:cNvPr id="44" name="Freeform: Shape 43">
                <a:extLst>
                  <a:ext uri="{FF2B5EF4-FFF2-40B4-BE49-F238E27FC236}">
                    <a16:creationId xmlns:a16="http://schemas.microsoft.com/office/drawing/2014/main" id="{3415D2E1-1B4B-4BC5-908E-80B051DC4AC7}"/>
                  </a:ext>
                </a:extLst>
              </p:cNvPr>
              <p:cNvSpPr/>
              <p:nvPr/>
            </p:nvSpPr>
            <p:spPr>
              <a:xfrm>
                <a:off x="2048325" y="3717062"/>
                <a:ext cx="101704" cy="610223"/>
              </a:xfrm>
              <a:custGeom>
                <a:avLst/>
                <a:gdLst>
                  <a:gd name="connsiteX0" fmla="*/ 5041 w 101703"/>
                  <a:gd name="connsiteY0" fmla="*/ 5041 h 610223"/>
                  <a:gd name="connsiteX1" fmla="*/ 98886 w 101703"/>
                  <a:gd name="connsiteY1" fmla="*/ 607868 h 610223"/>
                </a:gdLst>
                <a:ahLst/>
                <a:cxnLst>
                  <a:cxn ang="0">
                    <a:pos x="connsiteX0" y="connsiteY0"/>
                  </a:cxn>
                  <a:cxn ang="0">
                    <a:pos x="connsiteX1" y="connsiteY1"/>
                  </a:cxn>
                </a:cxnLst>
                <a:rect l="l" t="t" r="r" b="b"/>
                <a:pathLst>
                  <a:path w="101703" h="610223">
                    <a:moveTo>
                      <a:pt x="5041" y="5041"/>
                    </a:moveTo>
                    <a:lnTo>
                      <a:pt x="98886" y="607868"/>
                    </a:lnTo>
                  </a:path>
                </a:pathLst>
              </a:custGeom>
              <a:ln w="19050" cap="rnd">
                <a:solidFill>
                  <a:srgbClr val="30373B"/>
                </a:solidFill>
                <a:prstDash val="solid"/>
                <a:round/>
              </a:ln>
            </p:spPr>
            <p:txBody>
              <a:bodyPr rtlCol="0" anchor="ctr"/>
              <a:lstStyle/>
              <a:p>
                <a:endParaRPr lang="da-DK"/>
              </a:p>
            </p:txBody>
          </p:sp>
          <p:sp>
            <p:nvSpPr>
              <p:cNvPr id="45" name="Freeform: Shape 44">
                <a:extLst>
                  <a:ext uri="{FF2B5EF4-FFF2-40B4-BE49-F238E27FC236}">
                    <a16:creationId xmlns:a16="http://schemas.microsoft.com/office/drawing/2014/main" id="{DBF90BCC-5173-4200-8B76-E0FF424599C3}"/>
                  </a:ext>
                </a:extLst>
              </p:cNvPr>
              <p:cNvSpPr/>
              <p:nvPr/>
            </p:nvSpPr>
            <p:spPr>
              <a:xfrm>
                <a:off x="2212900" y="3717062"/>
                <a:ext cx="101704" cy="610223"/>
              </a:xfrm>
              <a:custGeom>
                <a:avLst/>
                <a:gdLst>
                  <a:gd name="connsiteX0" fmla="*/ 5041 w 101703"/>
                  <a:gd name="connsiteY0" fmla="*/ 5041 h 610223"/>
                  <a:gd name="connsiteX1" fmla="*/ 99348 w 101703"/>
                  <a:gd name="connsiteY1" fmla="*/ 607868 h 610223"/>
                </a:gdLst>
                <a:ahLst/>
                <a:cxnLst>
                  <a:cxn ang="0">
                    <a:pos x="connsiteX0" y="connsiteY0"/>
                  </a:cxn>
                  <a:cxn ang="0">
                    <a:pos x="connsiteX1" y="connsiteY1"/>
                  </a:cxn>
                </a:cxnLst>
                <a:rect l="l" t="t" r="r" b="b"/>
                <a:pathLst>
                  <a:path w="101703" h="610223">
                    <a:moveTo>
                      <a:pt x="5041" y="5041"/>
                    </a:moveTo>
                    <a:lnTo>
                      <a:pt x="99348" y="607868"/>
                    </a:lnTo>
                  </a:path>
                </a:pathLst>
              </a:custGeom>
              <a:ln w="19050" cap="rnd">
                <a:solidFill>
                  <a:srgbClr val="30373B"/>
                </a:solidFill>
                <a:prstDash val="solid"/>
                <a:round/>
              </a:ln>
            </p:spPr>
            <p:txBody>
              <a:bodyPr rtlCol="0" anchor="ctr"/>
              <a:lstStyle/>
              <a:p>
                <a:endParaRPr lang="da-DK"/>
              </a:p>
            </p:txBody>
          </p:sp>
          <p:sp>
            <p:nvSpPr>
              <p:cNvPr id="46" name="Freeform: Shape 45">
                <a:extLst>
                  <a:ext uri="{FF2B5EF4-FFF2-40B4-BE49-F238E27FC236}">
                    <a16:creationId xmlns:a16="http://schemas.microsoft.com/office/drawing/2014/main" id="{8D209B22-D276-4F87-9178-E9A67B053F20}"/>
                  </a:ext>
                </a:extLst>
              </p:cNvPr>
              <p:cNvSpPr/>
              <p:nvPr/>
            </p:nvSpPr>
            <p:spPr>
              <a:xfrm>
                <a:off x="2061732" y="3804898"/>
                <a:ext cx="171047" cy="9246"/>
              </a:xfrm>
              <a:custGeom>
                <a:avLst/>
                <a:gdLst>
                  <a:gd name="connsiteX0" fmla="*/ 5041 w 171047"/>
                  <a:gd name="connsiteY0" fmla="*/ 5041 h 9245"/>
                  <a:gd name="connsiteX1" fmla="*/ 170079 w 171047"/>
                  <a:gd name="connsiteY1" fmla="*/ 5041 h 9245"/>
                </a:gdLst>
                <a:ahLst/>
                <a:cxnLst>
                  <a:cxn ang="0">
                    <a:pos x="connsiteX0" y="connsiteY0"/>
                  </a:cxn>
                  <a:cxn ang="0">
                    <a:pos x="connsiteX1" y="connsiteY1"/>
                  </a:cxn>
                </a:cxnLst>
                <a:rect l="l" t="t" r="r" b="b"/>
                <a:pathLst>
                  <a:path w="171047" h="9245">
                    <a:moveTo>
                      <a:pt x="5041" y="5041"/>
                    </a:moveTo>
                    <a:lnTo>
                      <a:pt x="170079" y="5041"/>
                    </a:lnTo>
                  </a:path>
                </a:pathLst>
              </a:custGeom>
              <a:ln w="19050" cap="rnd">
                <a:solidFill>
                  <a:srgbClr val="30373B"/>
                </a:solidFill>
                <a:prstDash val="solid"/>
                <a:round/>
              </a:ln>
            </p:spPr>
            <p:txBody>
              <a:bodyPr rtlCol="0" anchor="ctr"/>
              <a:lstStyle/>
              <a:p>
                <a:endParaRPr lang="da-DK"/>
              </a:p>
            </p:txBody>
          </p:sp>
          <p:sp>
            <p:nvSpPr>
              <p:cNvPr id="47" name="Freeform: Shape 46">
                <a:extLst>
                  <a:ext uri="{FF2B5EF4-FFF2-40B4-BE49-F238E27FC236}">
                    <a16:creationId xmlns:a16="http://schemas.microsoft.com/office/drawing/2014/main" id="{6DC9B6F1-0A23-450F-86B0-ADA911C272E7}"/>
                  </a:ext>
                </a:extLst>
              </p:cNvPr>
              <p:cNvSpPr/>
              <p:nvPr/>
            </p:nvSpPr>
            <p:spPr>
              <a:xfrm>
                <a:off x="2078374" y="3909837"/>
                <a:ext cx="171047" cy="9246"/>
              </a:xfrm>
              <a:custGeom>
                <a:avLst/>
                <a:gdLst>
                  <a:gd name="connsiteX0" fmla="*/ 5041 w 171047"/>
                  <a:gd name="connsiteY0" fmla="*/ 5041 h 9245"/>
                  <a:gd name="connsiteX1" fmla="*/ 170079 w 171047"/>
                  <a:gd name="connsiteY1" fmla="*/ 5041 h 9245"/>
                </a:gdLst>
                <a:ahLst/>
                <a:cxnLst>
                  <a:cxn ang="0">
                    <a:pos x="connsiteX0" y="connsiteY0"/>
                  </a:cxn>
                  <a:cxn ang="0">
                    <a:pos x="connsiteX1" y="connsiteY1"/>
                  </a:cxn>
                </a:cxnLst>
                <a:rect l="l" t="t" r="r" b="b"/>
                <a:pathLst>
                  <a:path w="171047" h="9245">
                    <a:moveTo>
                      <a:pt x="5041" y="5041"/>
                    </a:moveTo>
                    <a:lnTo>
                      <a:pt x="170079" y="5041"/>
                    </a:lnTo>
                  </a:path>
                </a:pathLst>
              </a:custGeom>
              <a:ln w="19050" cap="rnd">
                <a:solidFill>
                  <a:srgbClr val="30373B"/>
                </a:solidFill>
                <a:prstDash val="solid"/>
                <a:round/>
              </a:ln>
            </p:spPr>
            <p:txBody>
              <a:bodyPr rtlCol="0" anchor="ctr"/>
              <a:lstStyle/>
              <a:p>
                <a:endParaRPr lang="da-DK"/>
              </a:p>
            </p:txBody>
          </p:sp>
          <p:sp>
            <p:nvSpPr>
              <p:cNvPr id="48" name="Freeform: Shape 47">
                <a:extLst>
                  <a:ext uri="{FF2B5EF4-FFF2-40B4-BE49-F238E27FC236}">
                    <a16:creationId xmlns:a16="http://schemas.microsoft.com/office/drawing/2014/main" id="{373C0AB3-8D10-4045-8CA4-D9286E6745E1}"/>
                  </a:ext>
                </a:extLst>
              </p:cNvPr>
              <p:cNvSpPr/>
              <p:nvPr/>
            </p:nvSpPr>
            <p:spPr>
              <a:xfrm>
                <a:off x="2094554" y="4014777"/>
                <a:ext cx="171047" cy="9246"/>
              </a:xfrm>
              <a:custGeom>
                <a:avLst/>
                <a:gdLst>
                  <a:gd name="connsiteX0" fmla="*/ 5041 w 171047"/>
                  <a:gd name="connsiteY0" fmla="*/ 5041 h 9245"/>
                  <a:gd name="connsiteX1" fmla="*/ 170079 w 171047"/>
                  <a:gd name="connsiteY1" fmla="*/ 5041 h 9245"/>
                </a:gdLst>
                <a:ahLst/>
                <a:cxnLst>
                  <a:cxn ang="0">
                    <a:pos x="connsiteX0" y="connsiteY0"/>
                  </a:cxn>
                  <a:cxn ang="0">
                    <a:pos x="connsiteX1" y="connsiteY1"/>
                  </a:cxn>
                </a:cxnLst>
                <a:rect l="l" t="t" r="r" b="b"/>
                <a:pathLst>
                  <a:path w="171047" h="9245">
                    <a:moveTo>
                      <a:pt x="5041" y="5041"/>
                    </a:moveTo>
                    <a:lnTo>
                      <a:pt x="170079" y="5041"/>
                    </a:lnTo>
                  </a:path>
                </a:pathLst>
              </a:custGeom>
              <a:ln w="19050" cap="rnd">
                <a:solidFill>
                  <a:srgbClr val="30373B"/>
                </a:solidFill>
                <a:prstDash val="solid"/>
                <a:round/>
              </a:ln>
            </p:spPr>
            <p:txBody>
              <a:bodyPr rtlCol="0" anchor="ctr"/>
              <a:lstStyle/>
              <a:p>
                <a:endParaRPr lang="da-DK"/>
              </a:p>
            </p:txBody>
          </p:sp>
          <p:sp>
            <p:nvSpPr>
              <p:cNvPr id="49" name="Freeform: Shape 48">
                <a:extLst>
                  <a:ext uri="{FF2B5EF4-FFF2-40B4-BE49-F238E27FC236}">
                    <a16:creationId xmlns:a16="http://schemas.microsoft.com/office/drawing/2014/main" id="{A7FA1202-F1C2-48EE-9AC1-FFE82ED6A20F}"/>
                  </a:ext>
                </a:extLst>
              </p:cNvPr>
              <p:cNvSpPr/>
              <p:nvPr/>
            </p:nvSpPr>
            <p:spPr>
              <a:xfrm>
                <a:off x="2110734" y="4119717"/>
                <a:ext cx="171047" cy="9246"/>
              </a:xfrm>
              <a:custGeom>
                <a:avLst/>
                <a:gdLst>
                  <a:gd name="connsiteX0" fmla="*/ 5041 w 171047"/>
                  <a:gd name="connsiteY0" fmla="*/ 5041 h 9245"/>
                  <a:gd name="connsiteX1" fmla="*/ 170541 w 171047"/>
                  <a:gd name="connsiteY1" fmla="*/ 5041 h 9245"/>
                </a:gdLst>
                <a:ahLst/>
                <a:cxnLst>
                  <a:cxn ang="0">
                    <a:pos x="connsiteX0" y="connsiteY0"/>
                  </a:cxn>
                  <a:cxn ang="0">
                    <a:pos x="connsiteX1" y="connsiteY1"/>
                  </a:cxn>
                </a:cxnLst>
                <a:rect l="l" t="t" r="r" b="b"/>
                <a:pathLst>
                  <a:path w="171047" h="9245">
                    <a:moveTo>
                      <a:pt x="5041" y="5041"/>
                    </a:moveTo>
                    <a:lnTo>
                      <a:pt x="170541" y="5041"/>
                    </a:lnTo>
                  </a:path>
                </a:pathLst>
              </a:custGeom>
              <a:ln w="19050" cap="rnd">
                <a:solidFill>
                  <a:srgbClr val="30373B"/>
                </a:solidFill>
                <a:prstDash val="solid"/>
                <a:round/>
              </a:ln>
            </p:spPr>
            <p:txBody>
              <a:bodyPr rtlCol="0" anchor="ctr"/>
              <a:lstStyle/>
              <a:p>
                <a:endParaRPr lang="da-DK"/>
              </a:p>
            </p:txBody>
          </p:sp>
          <p:sp>
            <p:nvSpPr>
              <p:cNvPr id="50" name="Freeform: Shape 49">
                <a:extLst>
                  <a:ext uri="{FF2B5EF4-FFF2-40B4-BE49-F238E27FC236}">
                    <a16:creationId xmlns:a16="http://schemas.microsoft.com/office/drawing/2014/main" id="{11AFC4AE-93EF-4FEB-8788-E3F45E6011FC}"/>
                  </a:ext>
                </a:extLst>
              </p:cNvPr>
              <p:cNvSpPr/>
              <p:nvPr/>
            </p:nvSpPr>
            <p:spPr>
              <a:xfrm>
                <a:off x="2127377" y="4224657"/>
                <a:ext cx="171047" cy="9246"/>
              </a:xfrm>
              <a:custGeom>
                <a:avLst/>
                <a:gdLst>
                  <a:gd name="connsiteX0" fmla="*/ 5041 w 171047"/>
                  <a:gd name="connsiteY0" fmla="*/ 5041 h 9245"/>
                  <a:gd name="connsiteX1" fmla="*/ 170079 w 171047"/>
                  <a:gd name="connsiteY1" fmla="*/ 5041 h 9245"/>
                </a:gdLst>
                <a:ahLst/>
                <a:cxnLst>
                  <a:cxn ang="0">
                    <a:pos x="connsiteX0" y="connsiteY0"/>
                  </a:cxn>
                  <a:cxn ang="0">
                    <a:pos x="connsiteX1" y="connsiteY1"/>
                  </a:cxn>
                </a:cxnLst>
                <a:rect l="l" t="t" r="r" b="b"/>
                <a:pathLst>
                  <a:path w="171047" h="9245">
                    <a:moveTo>
                      <a:pt x="5041" y="5041"/>
                    </a:moveTo>
                    <a:lnTo>
                      <a:pt x="170079" y="5041"/>
                    </a:lnTo>
                  </a:path>
                </a:pathLst>
              </a:custGeom>
              <a:ln w="19050" cap="rnd">
                <a:solidFill>
                  <a:srgbClr val="30373B"/>
                </a:solidFill>
                <a:prstDash val="solid"/>
                <a:round/>
              </a:ln>
            </p:spPr>
            <p:txBody>
              <a:bodyPr rtlCol="0" anchor="ctr"/>
              <a:lstStyle/>
              <a:p>
                <a:endParaRPr lang="da-DK"/>
              </a:p>
            </p:txBody>
          </p:sp>
          <p:sp>
            <p:nvSpPr>
              <p:cNvPr id="51" name="Freeform: Shape 50">
                <a:extLst>
                  <a:ext uri="{FF2B5EF4-FFF2-40B4-BE49-F238E27FC236}">
                    <a16:creationId xmlns:a16="http://schemas.microsoft.com/office/drawing/2014/main" id="{03EA7A51-2BE3-47BA-8A8F-3123F5EB20C4}"/>
                  </a:ext>
                </a:extLst>
              </p:cNvPr>
              <p:cNvSpPr/>
              <p:nvPr/>
            </p:nvSpPr>
            <p:spPr>
              <a:xfrm>
                <a:off x="3207287" y="5553742"/>
                <a:ext cx="665698" cy="9246"/>
              </a:xfrm>
              <a:custGeom>
                <a:avLst/>
                <a:gdLst>
                  <a:gd name="connsiteX0" fmla="*/ 5041 w 665698"/>
                  <a:gd name="connsiteY0" fmla="*/ 5041 h 9245"/>
                  <a:gd name="connsiteX1" fmla="*/ 661031 w 665698"/>
                  <a:gd name="connsiteY1" fmla="*/ 5041 h 9245"/>
                </a:gdLst>
                <a:ahLst/>
                <a:cxnLst>
                  <a:cxn ang="0">
                    <a:pos x="connsiteX0" y="connsiteY0"/>
                  </a:cxn>
                  <a:cxn ang="0">
                    <a:pos x="connsiteX1" y="connsiteY1"/>
                  </a:cxn>
                </a:cxnLst>
                <a:rect l="l" t="t" r="r" b="b"/>
                <a:pathLst>
                  <a:path w="665698" h="9245">
                    <a:moveTo>
                      <a:pt x="5041" y="5041"/>
                    </a:moveTo>
                    <a:lnTo>
                      <a:pt x="661031" y="5041"/>
                    </a:lnTo>
                  </a:path>
                </a:pathLst>
              </a:custGeom>
              <a:ln w="19050" cap="rnd">
                <a:solidFill>
                  <a:srgbClr val="30373B"/>
                </a:solidFill>
                <a:prstDash val="solid"/>
                <a:round/>
              </a:ln>
            </p:spPr>
            <p:txBody>
              <a:bodyPr rtlCol="0" anchor="ctr"/>
              <a:lstStyle/>
              <a:p>
                <a:endParaRPr lang="da-DK"/>
              </a:p>
            </p:txBody>
          </p:sp>
          <p:sp>
            <p:nvSpPr>
              <p:cNvPr id="52" name="Freeform: Shape 51">
                <a:extLst>
                  <a:ext uri="{FF2B5EF4-FFF2-40B4-BE49-F238E27FC236}">
                    <a16:creationId xmlns:a16="http://schemas.microsoft.com/office/drawing/2014/main" id="{8792A732-E22B-4C6A-B1E0-0F1B62DBBB94}"/>
                  </a:ext>
                </a:extLst>
              </p:cNvPr>
              <p:cNvSpPr/>
              <p:nvPr/>
            </p:nvSpPr>
            <p:spPr>
              <a:xfrm>
                <a:off x="3654784" y="4689721"/>
                <a:ext cx="688813" cy="231145"/>
              </a:xfrm>
              <a:custGeom>
                <a:avLst/>
                <a:gdLst>
                  <a:gd name="connsiteX0" fmla="*/ 5041 w 688812"/>
                  <a:gd name="connsiteY0" fmla="*/ 5041 h 231145"/>
                  <a:gd name="connsiteX1" fmla="*/ 571809 w 688812"/>
                  <a:gd name="connsiteY1" fmla="*/ 5041 h 231145"/>
                  <a:gd name="connsiteX2" fmla="*/ 685995 w 688812"/>
                  <a:gd name="connsiteY2" fmla="*/ 119227 h 231145"/>
                  <a:gd name="connsiteX3" fmla="*/ 569036 w 688812"/>
                  <a:gd name="connsiteY3" fmla="*/ 227403 h 231145"/>
                  <a:gd name="connsiteX4" fmla="*/ 11976 w 688812"/>
                  <a:gd name="connsiteY4" fmla="*/ 227403 h 231145"/>
                  <a:gd name="connsiteX5" fmla="*/ 52657 w 688812"/>
                  <a:gd name="connsiteY5" fmla="*/ 127086 h 231145"/>
                  <a:gd name="connsiteX6" fmla="*/ 83631 w 688812"/>
                  <a:gd name="connsiteY6" fmla="*/ 95188 h 231145"/>
                  <a:gd name="connsiteX7" fmla="*/ 137719 w 688812"/>
                  <a:gd name="connsiteY7" fmla="*/ 98886 h 231145"/>
                  <a:gd name="connsiteX8" fmla="*/ 148814 w 688812"/>
                  <a:gd name="connsiteY8" fmla="*/ 125699 h 231145"/>
                  <a:gd name="connsiteX9" fmla="*/ 140030 w 688812"/>
                  <a:gd name="connsiteY9" fmla="*/ 149738 h 231145"/>
                  <a:gd name="connsiteX10" fmla="*/ 88716 w 688812"/>
                  <a:gd name="connsiteY10" fmla="*/ 154361 h 231145"/>
                  <a:gd name="connsiteX11" fmla="*/ 32779 w 688812"/>
                  <a:gd name="connsiteY11" fmla="*/ 66063 h 23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8812" h="231145">
                    <a:moveTo>
                      <a:pt x="5041" y="5041"/>
                    </a:moveTo>
                    <a:lnTo>
                      <a:pt x="571809" y="5041"/>
                    </a:lnTo>
                    <a:lnTo>
                      <a:pt x="685995" y="119227"/>
                    </a:lnTo>
                    <a:lnTo>
                      <a:pt x="569036" y="227403"/>
                    </a:lnTo>
                    <a:lnTo>
                      <a:pt x="11976" y="227403"/>
                    </a:lnTo>
                    <a:cubicBezTo>
                      <a:pt x="11976" y="227403"/>
                      <a:pt x="23533" y="169154"/>
                      <a:pt x="52657" y="127086"/>
                    </a:cubicBezTo>
                    <a:cubicBezTo>
                      <a:pt x="63752" y="111368"/>
                      <a:pt x="74385" y="101198"/>
                      <a:pt x="83631" y="95188"/>
                    </a:cubicBezTo>
                    <a:cubicBezTo>
                      <a:pt x="100273" y="84093"/>
                      <a:pt x="122925" y="84555"/>
                      <a:pt x="137719" y="98886"/>
                    </a:cubicBezTo>
                    <a:cubicBezTo>
                      <a:pt x="144191" y="104896"/>
                      <a:pt x="148814" y="113679"/>
                      <a:pt x="148814" y="125699"/>
                    </a:cubicBezTo>
                    <a:cubicBezTo>
                      <a:pt x="148814" y="136332"/>
                      <a:pt x="145115" y="144191"/>
                      <a:pt x="140030" y="149738"/>
                    </a:cubicBezTo>
                    <a:cubicBezTo>
                      <a:pt x="127086" y="164069"/>
                      <a:pt x="104434" y="165456"/>
                      <a:pt x="88716" y="154361"/>
                    </a:cubicBezTo>
                    <a:cubicBezTo>
                      <a:pt x="66526" y="138181"/>
                      <a:pt x="32779" y="98886"/>
                      <a:pt x="32779" y="66063"/>
                    </a:cubicBezTo>
                  </a:path>
                </a:pathLst>
              </a:custGeom>
              <a:solidFill>
                <a:srgbClr val="8AA299"/>
              </a:solidFill>
              <a:ln w="19050" cap="rnd">
                <a:solidFill>
                  <a:srgbClr val="30373B"/>
                </a:solidFill>
                <a:prstDash val="solid"/>
                <a:round/>
              </a:ln>
            </p:spPr>
            <p:txBody>
              <a:bodyPr rtlCol="0" anchor="ctr"/>
              <a:lstStyle/>
              <a:p>
                <a:endParaRPr lang="da-DK"/>
              </a:p>
            </p:txBody>
          </p:sp>
          <p:sp>
            <p:nvSpPr>
              <p:cNvPr id="53" name="Freeform: Shape 52">
                <a:extLst>
                  <a:ext uri="{FF2B5EF4-FFF2-40B4-BE49-F238E27FC236}">
                    <a16:creationId xmlns:a16="http://schemas.microsoft.com/office/drawing/2014/main" id="{DB1E86E9-C5F8-429C-9A48-B7432C9207C7}"/>
                  </a:ext>
                </a:extLst>
              </p:cNvPr>
              <p:cNvSpPr/>
              <p:nvPr/>
            </p:nvSpPr>
            <p:spPr>
              <a:xfrm>
                <a:off x="3965443" y="5154323"/>
                <a:ext cx="9246" cy="582486"/>
              </a:xfrm>
              <a:custGeom>
                <a:avLst/>
                <a:gdLst>
                  <a:gd name="connsiteX0" fmla="*/ 5041 w 9245"/>
                  <a:gd name="connsiteY0" fmla="*/ 581980 h 582485"/>
                  <a:gd name="connsiteX1" fmla="*/ 5041 w 9245"/>
                  <a:gd name="connsiteY1" fmla="*/ 5041 h 582485"/>
                </a:gdLst>
                <a:ahLst/>
                <a:cxnLst>
                  <a:cxn ang="0">
                    <a:pos x="connsiteX0" y="connsiteY0"/>
                  </a:cxn>
                  <a:cxn ang="0">
                    <a:pos x="connsiteX1" y="connsiteY1"/>
                  </a:cxn>
                </a:cxnLst>
                <a:rect l="l" t="t" r="r" b="b"/>
                <a:pathLst>
                  <a:path w="9245" h="582485">
                    <a:moveTo>
                      <a:pt x="5041" y="581980"/>
                    </a:moveTo>
                    <a:lnTo>
                      <a:pt x="5041" y="5041"/>
                    </a:lnTo>
                  </a:path>
                </a:pathLst>
              </a:custGeom>
              <a:ln w="19050" cap="rnd">
                <a:solidFill>
                  <a:srgbClr val="30373B"/>
                </a:solidFill>
                <a:prstDash val="solid"/>
                <a:round/>
              </a:ln>
            </p:spPr>
            <p:txBody>
              <a:bodyPr rtlCol="0" anchor="ctr"/>
              <a:lstStyle/>
              <a:p>
                <a:endParaRPr lang="da-DK"/>
              </a:p>
            </p:txBody>
          </p:sp>
          <p:sp>
            <p:nvSpPr>
              <p:cNvPr id="54" name="Freeform: Shape 53">
                <a:extLst>
                  <a:ext uri="{FF2B5EF4-FFF2-40B4-BE49-F238E27FC236}">
                    <a16:creationId xmlns:a16="http://schemas.microsoft.com/office/drawing/2014/main" id="{A1246C5E-7442-41C4-BC63-0548790FEE27}"/>
                  </a:ext>
                </a:extLst>
              </p:cNvPr>
              <p:cNvSpPr/>
              <p:nvPr/>
            </p:nvSpPr>
            <p:spPr>
              <a:xfrm>
                <a:off x="3967293" y="4912083"/>
                <a:ext cx="9246" cy="106327"/>
              </a:xfrm>
              <a:custGeom>
                <a:avLst/>
                <a:gdLst>
                  <a:gd name="connsiteX0" fmla="*/ 5041 w 9245"/>
                  <a:gd name="connsiteY0" fmla="*/ 5041 h 106326"/>
                  <a:gd name="connsiteX1" fmla="*/ 5041 w 9245"/>
                  <a:gd name="connsiteY1" fmla="*/ 101660 h 106326"/>
                </a:gdLst>
                <a:ahLst/>
                <a:cxnLst>
                  <a:cxn ang="0">
                    <a:pos x="connsiteX0" y="connsiteY0"/>
                  </a:cxn>
                  <a:cxn ang="0">
                    <a:pos x="connsiteX1" y="connsiteY1"/>
                  </a:cxn>
                </a:cxnLst>
                <a:rect l="l" t="t" r="r" b="b"/>
                <a:pathLst>
                  <a:path w="9245" h="106326">
                    <a:moveTo>
                      <a:pt x="5041" y="5041"/>
                    </a:moveTo>
                    <a:lnTo>
                      <a:pt x="5041" y="101660"/>
                    </a:lnTo>
                  </a:path>
                </a:pathLst>
              </a:custGeom>
              <a:ln w="19050" cap="rnd">
                <a:solidFill>
                  <a:srgbClr val="30373B"/>
                </a:solidFill>
                <a:prstDash val="solid"/>
                <a:round/>
              </a:ln>
            </p:spPr>
            <p:txBody>
              <a:bodyPr rtlCol="0" anchor="ctr"/>
              <a:lstStyle/>
              <a:p>
                <a:endParaRPr lang="da-DK"/>
              </a:p>
            </p:txBody>
          </p:sp>
          <p:sp>
            <p:nvSpPr>
              <p:cNvPr id="55" name="Freeform: Shape 54">
                <a:extLst>
                  <a:ext uri="{FF2B5EF4-FFF2-40B4-BE49-F238E27FC236}">
                    <a16:creationId xmlns:a16="http://schemas.microsoft.com/office/drawing/2014/main" id="{DE340686-202F-427D-858C-A671C376CDF7}"/>
                  </a:ext>
                </a:extLst>
              </p:cNvPr>
              <p:cNvSpPr/>
              <p:nvPr/>
            </p:nvSpPr>
            <p:spPr>
              <a:xfrm>
                <a:off x="3719505" y="5008701"/>
                <a:ext cx="439176" cy="152556"/>
              </a:xfrm>
              <a:custGeom>
                <a:avLst/>
                <a:gdLst>
                  <a:gd name="connsiteX0" fmla="*/ 435434 w 439175"/>
                  <a:gd name="connsiteY0" fmla="*/ 5041 h 152555"/>
                  <a:gd name="connsiteX1" fmla="*/ 435434 w 439175"/>
                  <a:gd name="connsiteY1" fmla="*/ 150663 h 152555"/>
                  <a:gd name="connsiteX2" fmla="*/ 90565 w 439175"/>
                  <a:gd name="connsiteY2" fmla="*/ 150663 h 152555"/>
                  <a:gd name="connsiteX3" fmla="*/ 5041 w 439175"/>
                  <a:gd name="connsiteY3" fmla="*/ 83168 h 152555"/>
                  <a:gd name="connsiteX4" fmla="*/ 88254 w 439175"/>
                  <a:gd name="connsiteY4" fmla="*/ 5041 h 152555"/>
                  <a:gd name="connsiteX5" fmla="*/ 435434 w 439175"/>
                  <a:gd name="connsiteY5" fmla="*/ 5041 h 152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175" h="152555">
                    <a:moveTo>
                      <a:pt x="435434" y="5041"/>
                    </a:moveTo>
                    <a:lnTo>
                      <a:pt x="435434" y="150663"/>
                    </a:lnTo>
                    <a:lnTo>
                      <a:pt x="90565" y="150663"/>
                    </a:lnTo>
                    <a:lnTo>
                      <a:pt x="5041" y="83168"/>
                    </a:lnTo>
                    <a:lnTo>
                      <a:pt x="88254" y="5041"/>
                    </a:lnTo>
                    <a:cubicBezTo>
                      <a:pt x="88254" y="5041"/>
                      <a:pt x="434509" y="5966"/>
                      <a:pt x="435434" y="5041"/>
                    </a:cubicBezTo>
                    <a:close/>
                  </a:path>
                </a:pathLst>
              </a:custGeom>
              <a:noFill/>
              <a:ln w="19050" cap="rnd">
                <a:solidFill>
                  <a:srgbClr val="30373B"/>
                </a:solidFill>
                <a:prstDash val="solid"/>
                <a:round/>
              </a:ln>
            </p:spPr>
            <p:txBody>
              <a:bodyPr rtlCol="0" anchor="ctr"/>
              <a:lstStyle/>
              <a:p>
                <a:endParaRPr lang="da-DK"/>
              </a:p>
            </p:txBody>
          </p:sp>
          <p:sp>
            <p:nvSpPr>
              <p:cNvPr id="56" name="Freeform: Shape 55">
                <a:extLst>
                  <a:ext uri="{FF2B5EF4-FFF2-40B4-BE49-F238E27FC236}">
                    <a16:creationId xmlns:a16="http://schemas.microsoft.com/office/drawing/2014/main" id="{D6BBC672-764F-4561-81F9-1DF2EC55EFE2}"/>
                  </a:ext>
                </a:extLst>
              </p:cNvPr>
              <p:cNvSpPr/>
              <p:nvPr/>
            </p:nvSpPr>
            <p:spPr>
              <a:xfrm>
                <a:off x="3928460" y="5731261"/>
                <a:ext cx="78589" cy="9246"/>
              </a:xfrm>
              <a:custGeom>
                <a:avLst/>
                <a:gdLst>
                  <a:gd name="connsiteX0" fmla="*/ 5041 w 78589"/>
                  <a:gd name="connsiteY0" fmla="*/ 5041 h 9245"/>
                  <a:gd name="connsiteX1" fmla="*/ 77158 w 78589"/>
                  <a:gd name="connsiteY1" fmla="*/ 5041 h 9245"/>
                </a:gdLst>
                <a:ahLst/>
                <a:cxnLst>
                  <a:cxn ang="0">
                    <a:pos x="connsiteX0" y="connsiteY0"/>
                  </a:cxn>
                  <a:cxn ang="0">
                    <a:pos x="connsiteX1" y="connsiteY1"/>
                  </a:cxn>
                </a:cxnLst>
                <a:rect l="l" t="t" r="r" b="b"/>
                <a:pathLst>
                  <a:path w="78589" h="9245">
                    <a:moveTo>
                      <a:pt x="5041" y="5041"/>
                    </a:moveTo>
                    <a:lnTo>
                      <a:pt x="77158" y="5041"/>
                    </a:lnTo>
                  </a:path>
                </a:pathLst>
              </a:custGeom>
              <a:ln w="19050" cap="rnd">
                <a:solidFill>
                  <a:srgbClr val="30373B"/>
                </a:solidFill>
                <a:prstDash val="solid"/>
                <a:round/>
              </a:ln>
            </p:spPr>
            <p:txBody>
              <a:bodyPr rtlCol="0" anchor="ctr"/>
              <a:lstStyle/>
              <a:p>
                <a:endParaRPr lang="da-DK"/>
              </a:p>
            </p:txBody>
          </p:sp>
          <p:sp>
            <p:nvSpPr>
              <p:cNvPr id="57" name="Freeform: Shape 56">
                <a:extLst>
                  <a:ext uri="{FF2B5EF4-FFF2-40B4-BE49-F238E27FC236}">
                    <a16:creationId xmlns:a16="http://schemas.microsoft.com/office/drawing/2014/main" id="{BE52DCA0-9DB3-41EA-81ED-F74F468A6396}"/>
                  </a:ext>
                </a:extLst>
              </p:cNvPr>
              <p:cNvSpPr/>
              <p:nvPr/>
            </p:nvSpPr>
            <p:spPr>
              <a:xfrm>
                <a:off x="1414063" y="2545156"/>
                <a:ext cx="554748" cy="397570"/>
              </a:xfrm>
              <a:custGeom>
                <a:avLst/>
                <a:gdLst>
                  <a:gd name="connsiteX0" fmla="*/ 305068 w 554748"/>
                  <a:gd name="connsiteY0" fmla="*/ 394290 h 397569"/>
                  <a:gd name="connsiteX1" fmla="*/ 109057 w 554748"/>
                  <a:gd name="connsiteY1" fmla="*/ 394290 h 397569"/>
                  <a:gd name="connsiteX2" fmla="*/ 5041 w 554748"/>
                  <a:gd name="connsiteY2" fmla="*/ 290274 h 397569"/>
                  <a:gd name="connsiteX3" fmla="*/ 106283 w 554748"/>
                  <a:gd name="connsiteY3" fmla="*/ 186721 h 397569"/>
                  <a:gd name="connsiteX4" fmla="*/ 323097 w 554748"/>
                  <a:gd name="connsiteY4" fmla="*/ 5041 h 397569"/>
                  <a:gd name="connsiteX5" fmla="*/ 323097 w 554748"/>
                  <a:gd name="connsiteY5" fmla="*/ 5041 h 397569"/>
                  <a:gd name="connsiteX6" fmla="*/ 550082 w 554748"/>
                  <a:gd name="connsiteY6" fmla="*/ 262999 h 397569"/>
                  <a:gd name="connsiteX7" fmla="*/ 550082 w 554748"/>
                  <a:gd name="connsiteY7" fmla="*/ 264386 h 397569"/>
                  <a:gd name="connsiteX8" fmla="*/ 420178 w 554748"/>
                  <a:gd name="connsiteY8" fmla="*/ 394290 h 397569"/>
                  <a:gd name="connsiteX9" fmla="*/ 420178 w 554748"/>
                  <a:gd name="connsiteY9" fmla="*/ 394290 h 39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4748" h="397569">
                    <a:moveTo>
                      <a:pt x="305068" y="394290"/>
                    </a:moveTo>
                    <a:lnTo>
                      <a:pt x="109057" y="394290"/>
                    </a:lnTo>
                    <a:cubicBezTo>
                      <a:pt x="51733" y="394290"/>
                      <a:pt x="5041" y="347598"/>
                      <a:pt x="5041" y="290274"/>
                    </a:cubicBezTo>
                    <a:cubicBezTo>
                      <a:pt x="5041" y="233875"/>
                      <a:pt x="50346" y="188108"/>
                      <a:pt x="106283" y="186721"/>
                    </a:cubicBezTo>
                    <a:cubicBezTo>
                      <a:pt x="135407" y="81319"/>
                      <a:pt x="221393" y="5041"/>
                      <a:pt x="323097" y="5041"/>
                    </a:cubicBezTo>
                    <a:moveTo>
                      <a:pt x="323097" y="5041"/>
                    </a:moveTo>
                    <a:cubicBezTo>
                      <a:pt x="447915" y="5041"/>
                      <a:pt x="549619" y="120614"/>
                      <a:pt x="550082" y="262999"/>
                    </a:cubicBezTo>
                    <a:cubicBezTo>
                      <a:pt x="550082" y="263462"/>
                      <a:pt x="550082" y="263924"/>
                      <a:pt x="550082" y="264386"/>
                    </a:cubicBezTo>
                    <a:cubicBezTo>
                      <a:pt x="550082" y="336041"/>
                      <a:pt x="491833" y="394290"/>
                      <a:pt x="420178" y="394290"/>
                    </a:cubicBezTo>
                    <a:lnTo>
                      <a:pt x="420178" y="394290"/>
                    </a:lnTo>
                  </a:path>
                </a:pathLst>
              </a:custGeom>
              <a:noFill/>
              <a:ln w="19050" cap="rnd">
                <a:solidFill>
                  <a:srgbClr val="30373B"/>
                </a:solidFill>
                <a:prstDash val="solid"/>
                <a:round/>
              </a:ln>
            </p:spPr>
            <p:txBody>
              <a:bodyPr rtlCol="0" anchor="ctr"/>
              <a:lstStyle/>
              <a:p>
                <a:endParaRPr lang="da-DK"/>
              </a:p>
            </p:txBody>
          </p:sp>
          <p:sp>
            <p:nvSpPr>
              <p:cNvPr id="58" name="Freeform: Shape 57">
                <a:extLst>
                  <a:ext uri="{FF2B5EF4-FFF2-40B4-BE49-F238E27FC236}">
                    <a16:creationId xmlns:a16="http://schemas.microsoft.com/office/drawing/2014/main" id="{DBB2B135-A293-4E61-B136-EEF8443120E3}"/>
                  </a:ext>
                </a:extLst>
              </p:cNvPr>
              <p:cNvSpPr/>
              <p:nvPr/>
            </p:nvSpPr>
            <p:spPr>
              <a:xfrm>
                <a:off x="1522239" y="2748102"/>
                <a:ext cx="78589" cy="69344"/>
              </a:xfrm>
              <a:custGeom>
                <a:avLst/>
                <a:gdLst>
                  <a:gd name="connsiteX0" fmla="*/ 65601 w 78589"/>
                  <a:gd name="connsiteY0" fmla="*/ 5041 h 69343"/>
                  <a:gd name="connsiteX1" fmla="*/ 74385 w 78589"/>
                  <a:gd name="connsiteY1" fmla="*/ 21221 h 69343"/>
                  <a:gd name="connsiteX2" fmla="*/ 47110 w 78589"/>
                  <a:gd name="connsiteY2" fmla="*/ 65601 h 69343"/>
                  <a:gd name="connsiteX3" fmla="*/ 5041 w 78589"/>
                  <a:gd name="connsiteY3" fmla="*/ 45260 h 69343"/>
                </a:gdLst>
                <a:ahLst/>
                <a:cxnLst>
                  <a:cxn ang="0">
                    <a:pos x="connsiteX0" y="connsiteY0"/>
                  </a:cxn>
                  <a:cxn ang="0">
                    <a:pos x="connsiteX1" y="connsiteY1"/>
                  </a:cxn>
                  <a:cxn ang="0">
                    <a:pos x="connsiteX2" y="connsiteY2"/>
                  </a:cxn>
                  <a:cxn ang="0">
                    <a:pos x="connsiteX3" y="connsiteY3"/>
                  </a:cxn>
                </a:cxnLst>
                <a:rect l="l" t="t" r="r" b="b"/>
                <a:pathLst>
                  <a:path w="78589" h="69343">
                    <a:moveTo>
                      <a:pt x="65601" y="5041"/>
                    </a:moveTo>
                    <a:cubicBezTo>
                      <a:pt x="69762" y="9664"/>
                      <a:pt x="72998" y="15212"/>
                      <a:pt x="74385" y="21221"/>
                    </a:cubicBezTo>
                    <a:cubicBezTo>
                      <a:pt x="79008" y="41100"/>
                      <a:pt x="66988" y="60978"/>
                      <a:pt x="47110" y="65601"/>
                    </a:cubicBezTo>
                    <a:cubicBezTo>
                      <a:pt x="30005" y="69762"/>
                      <a:pt x="12438" y="60978"/>
                      <a:pt x="5041" y="45260"/>
                    </a:cubicBezTo>
                  </a:path>
                </a:pathLst>
              </a:custGeom>
              <a:noFill/>
              <a:ln w="19050" cap="rnd">
                <a:solidFill>
                  <a:srgbClr val="30373B"/>
                </a:solidFill>
                <a:prstDash val="solid"/>
                <a:round/>
              </a:ln>
            </p:spPr>
            <p:txBody>
              <a:bodyPr rtlCol="0" anchor="ctr"/>
              <a:lstStyle/>
              <a:p>
                <a:endParaRPr lang="da-DK"/>
              </a:p>
            </p:txBody>
          </p:sp>
          <p:sp>
            <p:nvSpPr>
              <p:cNvPr id="59" name="Freeform: Shape 58">
                <a:extLst>
                  <a:ext uri="{FF2B5EF4-FFF2-40B4-BE49-F238E27FC236}">
                    <a16:creationId xmlns:a16="http://schemas.microsoft.com/office/drawing/2014/main" id="{FBC436F8-CF4D-46E6-9C48-892C5DDF348F}"/>
                  </a:ext>
                </a:extLst>
              </p:cNvPr>
              <p:cNvSpPr/>
              <p:nvPr/>
            </p:nvSpPr>
            <p:spPr>
              <a:xfrm>
                <a:off x="1514380" y="2724921"/>
                <a:ext cx="73966" cy="27737"/>
              </a:xfrm>
              <a:custGeom>
                <a:avLst/>
                <a:gdLst>
                  <a:gd name="connsiteX0" fmla="*/ 5041 w 73966"/>
                  <a:gd name="connsiteY0" fmla="*/ 5108 h 27737"/>
                  <a:gd name="connsiteX1" fmla="*/ 70224 w 73966"/>
                  <a:gd name="connsiteY1" fmla="*/ 25448 h 27737"/>
                </a:gdLst>
                <a:ahLst/>
                <a:cxnLst>
                  <a:cxn ang="0">
                    <a:pos x="connsiteX0" y="connsiteY0"/>
                  </a:cxn>
                  <a:cxn ang="0">
                    <a:pos x="connsiteX1" y="connsiteY1"/>
                  </a:cxn>
                </a:cxnLst>
                <a:rect l="l" t="t" r="r" b="b"/>
                <a:pathLst>
                  <a:path w="73966" h="27737">
                    <a:moveTo>
                      <a:pt x="5041" y="5108"/>
                    </a:moveTo>
                    <a:cubicBezTo>
                      <a:pt x="5041" y="5108"/>
                      <a:pt x="43874" y="2796"/>
                      <a:pt x="70224" y="25448"/>
                    </a:cubicBezTo>
                  </a:path>
                </a:pathLst>
              </a:custGeom>
              <a:noFill/>
              <a:ln w="19050" cap="rnd">
                <a:solidFill>
                  <a:srgbClr val="30373B"/>
                </a:solidFill>
                <a:prstDash val="solid"/>
                <a:round/>
              </a:ln>
            </p:spPr>
            <p:txBody>
              <a:bodyPr rtlCol="0" anchor="ctr"/>
              <a:lstStyle/>
              <a:p>
                <a:endParaRPr lang="da-DK"/>
              </a:p>
            </p:txBody>
          </p:sp>
          <p:sp>
            <p:nvSpPr>
              <p:cNvPr id="60" name="Freeform: Shape 59">
                <a:extLst>
                  <a:ext uri="{FF2B5EF4-FFF2-40B4-BE49-F238E27FC236}">
                    <a16:creationId xmlns:a16="http://schemas.microsoft.com/office/drawing/2014/main" id="{C720D005-9F86-4F5B-AFEA-EA836C7ABDED}"/>
                  </a:ext>
                </a:extLst>
              </p:cNvPr>
              <p:cNvSpPr/>
              <p:nvPr/>
            </p:nvSpPr>
            <p:spPr>
              <a:xfrm>
                <a:off x="1512820" y="2712506"/>
                <a:ext cx="13869" cy="78589"/>
              </a:xfrm>
              <a:custGeom>
                <a:avLst/>
                <a:gdLst>
                  <a:gd name="connsiteX0" fmla="*/ 11224 w 13868"/>
                  <a:gd name="connsiteY0" fmla="*/ 5041 h 78589"/>
                  <a:gd name="connsiteX1" fmla="*/ 12610 w 13868"/>
                  <a:gd name="connsiteY1" fmla="*/ 77621 h 78589"/>
                </a:gdLst>
                <a:ahLst/>
                <a:cxnLst>
                  <a:cxn ang="0">
                    <a:pos x="connsiteX0" y="connsiteY0"/>
                  </a:cxn>
                  <a:cxn ang="0">
                    <a:pos x="connsiteX1" y="connsiteY1"/>
                  </a:cxn>
                </a:cxnLst>
                <a:rect l="l" t="t" r="r" b="b"/>
                <a:pathLst>
                  <a:path w="13868" h="78589">
                    <a:moveTo>
                      <a:pt x="11224" y="5041"/>
                    </a:moveTo>
                    <a:cubicBezTo>
                      <a:pt x="11224" y="5041"/>
                      <a:pt x="-3570" y="45723"/>
                      <a:pt x="12610" y="77621"/>
                    </a:cubicBezTo>
                  </a:path>
                </a:pathLst>
              </a:custGeom>
              <a:noFill/>
              <a:ln w="19050" cap="rnd">
                <a:solidFill>
                  <a:srgbClr val="30373B"/>
                </a:solidFill>
                <a:prstDash val="solid"/>
                <a:round/>
              </a:ln>
            </p:spPr>
            <p:txBody>
              <a:bodyPr rtlCol="0" anchor="ctr"/>
              <a:lstStyle/>
              <a:p>
                <a:endParaRPr lang="da-DK"/>
              </a:p>
            </p:txBody>
          </p:sp>
          <p:sp>
            <p:nvSpPr>
              <p:cNvPr id="61" name="Freeform: Shape 60">
                <a:extLst>
                  <a:ext uri="{FF2B5EF4-FFF2-40B4-BE49-F238E27FC236}">
                    <a16:creationId xmlns:a16="http://schemas.microsoft.com/office/drawing/2014/main" id="{53650B3D-FB78-4CEA-AFE1-40E72D79F05B}"/>
                  </a:ext>
                </a:extLst>
              </p:cNvPr>
              <p:cNvSpPr/>
              <p:nvPr/>
            </p:nvSpPr>
            <p:spPr>
              <a:xfrm>
                <a:off x="2958575" y="2807737"/>
                <a:ext cx="134064" cy="50852"/>
              </a:xfrm>
              <a:custGeom>
                <a:avLst/>
                <a:gdLst>
                  <a:gd name="connsiteX0" fmla="*/ 131246 w 134064"/>
                  <a:gd name="connsiteY0" fmla="*/ 46647 h 50851"/>
                  <a:gd name="connsiteX1" fmla="*/ 5041 w 134064"/>
                  <a:gd name="connsiteY1" fmla="*/ 46647 h 50851"/>
                  <a:gd name="connsiteX2" fmla="*/ 5041 w 134064"/>
                  <a:gd name="connsiteY2" fmla="*/ 5041 h 50851"/>
                  <a:gd name="connsiteX3" fmla="*/ 131246 w 134064"/>
                  <a:gd name="connsiteY3" fmla="*/ 5041 h 50851"/>
                  <a:gd name="connsiteX4" fmla="*/ 123387 w 134064"/>
                  <a:gd name="connsiteY4" fmla="*/ 20297 h 5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064" h="50851">
                    <a:moveTo>
                      <a:pt x="131246" y="46647"/>
                    </a:moveTo>
                    <a:lnTo>
                      <a:pt x="5041" y="46647"/>
                    </a:lnTo>
                    <a:lnTo>
                      <a:pt x="5041" y="5041"/>
                    </a:lnTo>
                    <a:lnTo>
                      <a:pt x="131246" y="5041"/>
                    </a:lnTo>
                    <a:cubicBezTo>
                      <a:pt x="131246" y="5041"/>
                      <a:pt x="125237" y="11051"/>
                      <a:pt x="123387" y="20297"/>
                    </a:cubicBezTo>
                  </a:path>
                </a:pathLst>
              </a:custGeom>
              <a:noFill/>
              <a:ln w="19050" cap="rnd">
                <a:solidFill>
                  <a:srgbClr val="30373B"/>
                </a:solidFill>
                <a:prstDash val="solid"/>
                <a:round/>
              </a:ln>
            </p:spPr>
            <p:txBody>
              <a:bodyPr rtlCol="0" anchor="ctr"/>
              <a:lstStyle/>
              <a:p>
                <a:endParaRPr lang="da-DK"/>
              </a:p>
            </p:txBody>
          </p:sp>
          <p:sp>
            <p:nvSpPr>
              <p:cNvPr id="62" name="Freeform: Shape 61">
                <a:extLst>
                  <a:ext uri="{FF2B5EF4-FFF2-40B4-BE49-F238E27FC236}">
                    <a16:creationId xmlns:a16="http://schemas.microsoft.com/office/drawing/2014/main" id="{7937FA27-5F9B-4F32-B38E-3B7A2340E587}"/>
                  </a:ext>
                </a:extLst>
              </p:cNvPr>
              <p:cNvSpPr/>
              <p:nvPr/>
            </p:nvSpPr>
            <p:spPr>
              <a:xfrm>
                <a:off x="2866117" y="2828540"/>
                <a:ext cx="101704" cy="9246"/>
              </a:xfrm>
              <a:custGeom>
                <a:avLst/>
                <a:gdLst>
                  <a:gd name="connsiteX0" fmla="*/ 5041 w 101703"/>
                  <a:gd name="connsiteY0" fmla="*/ 5041 h 9245"/>
                  <a:gd name="connsiteX1" fmla="*/ 97962 w 101703"/>
                  <a:gd name="connsiteY1" fmla="*/ 5041 h 9245"/>
                </a:gdLst>
                <a:ahLst/>
                <a:cxnLst>
                  <a:cxn ang="0">
                    <a:pos x="connsiteX0" y="connsiteY0"/>
                  </a:cxn>
                  <a:cxn ang="0">
                    <a:pos x="connsiteX1" y="connsiteY1"/>
                  </a:cxn>
                </a:cxnLst>
                <a:rect l="l" t="t" r="r" b="b"/>
                <a:pathLst>
                  <a:path w="101703" h="9245">
                    <a:moveTo>
                      <a:pt x="5041" y="5041"/>
                    </a:moveTo>
                    <a:lnTo>
                      <a:pt x="97962" y="5041"/>
                    </a:lnTo>
                  </a:path>
                </a:pathLst>
              </a:custGeom>
              <a:ln w="19050" cap="rnd">
                <a:solidFill>
                  <a:srgbClr val="30373B"/>
                </a:solidFill>
                <a:prstDash val="solid"/>
                <a:round/>
              </a:ln>
            </p:spPr>
            <p:txBody>
              <a:bodyPr rtlCol="0" anchor="ctr"/>
              <a:lstStyle/>
              <a:p>
                <a:endParaRPr lang="da-DK"/>
              </a:p>
            </p:txBody>
          </p:sp>
          <p:sp>
            <p:nvSpPr>
              <p:cNvPr id="63" name="Freeform: Shape 62">
                <a:extLst>
                  <a:ext uri="{FF2B5EF4-FFF2-40B4-BE49-F238E27FC236}">
                    <a16:creationId xmlns:a16="http://schemas.microsoft.com/office/drawing/2014/main" id="{1BD6826E-C4F8-415B-880F-BB60081F1AE4}"/>
                  </a:ext>
                </a:extLst>
              </p:cNvPr>
              <p:cNvSpPr/>
              <p:nvPr/>
            </p:nvSpPr>
            <p:spPr>
              <a:xfrm>
                <a:off x="2720958" y="3068931"/>
                <a:ext cx="36983" cy="508519"/>
              </a:xfrm>
              <a:custGeom>
                <a:avLst/>
                <a:gdLst>
                  <a:gd name="connsiteX0" fmla="*/ 33241 w 36983"/>
                  <a:gd name="connsiteY0" fmla="*/ 505239 h 508519"/>
                  <a:gd name="connsiteX1" fmla="*/ 5041 w 36983"/>
                  <a:gd name="connsiteY1" fmla="*/ 93801 h 508519"/>
                  <a:gd name="connsiteX2" fmla="*/ 8740 w 36983"/>
                  <a:gd name="connsiteY2" fmla="*/ 5041 h 508519"/>
                </a:gdLst>
                <a:ahLst/>
                <a:cxnLst>
                  <a:cxn ang="0">
                    <a:pos x="connsiteX0" y="connsiteY0"/>
                  </a:cxn>
                  <a:cxn ang="0">
                    <a:pos x="connsiteX1" y="connsiteY1"/>
                  </a:cxn>
                  <a:cxn ang="0">
                    <a:pos x="connsiteX2" y="connsiteY2"/>
                  </a:cxn>
                </a:cxnLst>
                <a:rect l="l" t="t" r="r" b="b"/>
                <a:pathLst>
                  <a:path w="36983" h="508519">
                    <a:moveTo>
                      <a:pt x="33241" y="505239"/>
                    </a:moveTo>
                    <a:lnTo>
                      <a:pt x="5041" y="93801"/>
                    </a:lnTo>
                    <a:lnTo>
                      <a:pt x="8740" y="5041"/>
                    </a:lnTo>
                  </a:path>
                </a:pathLst>
              </a:custGeom>
              <a:solidFill>
                <a:srgbClr val="8AA299"/>
              </a:solidFill>
              <a:ln w="19050" cap="rnd">
                <a:solidFill>
                  <a:srgbClr val="30373B"/>
                </a:solidFill>
                <a:prstDash val="solid"/>
                <a:round/>
              </a:ln>
            </p:spPr>
            <p:txBody>
              <a:bodyPr rtlCol="0" anchor="ctr"/>
              <a:lstStyle/>
              <a:p>
                <a:endParaRPr lang="da-DK"/>
              </a:p>
            </p:txBody>
          </p:sp>
          <p:sp>
            <p:nvSpPr>
              <p:cNvPr id="64" name="Freeform: Shape 63">
                <a:extLst>
                  <a:ext uri="{FF2B5EF4-FFF2-40B4-BE49-F238E27FC236}">
                    <a16:creationId xmlns:a16="http://schemas.microsoft.com/office/drawing/2014/main" id="{163B785F-A14F-450A-9129-2CCD3DAF66BD}"/>
                  </a:ext>
                </a:extLst>
              </p:cNvPr>
              <p:cNvSpPr/>
              <p:nvPr/>
            </p:nvSpPr>
            <p:spPr>
              <a:xfrm>
                <a:off x="2861956" y="3049977"/>
                <a:ext cx="36983" cy="527011"/>
              </a:xfrm>
              <a:custGeom>
                <a:avLst/>
                <a:gdLst>
                  <a:gd name="connsiteX0" fmla="*/ 28618 w 36983"/>
                  <a:gd name="connsiteY0" fmla="*/ 5041 h 527010"/>
                  <a:gd name="connsiteX1" fmla="*/ 33241 w 36983"/>
                  <a:gd name="connsiteY1" fmla="*/ 112755 h 527010"/>
                  <a:gd name="connsiteX2" fmla="*/ 5041 w 36983"/>
                  <a:gd name="connsiteY2" fmla="*/ 524193 h 527010"/>
                </a:gdLst>
                <a:ahLst/>
                <a:cxnLst>
                  <a:cxn ang="0">
                    <a:pos x="connsiteX0" y="connsiteY0"/>
                  </a:cxn>
                  <a:cxn ang="0">
                    <a:pos x="connsiteX1" y="connsiteY1"/>
                  </a:cxn>
                  <a:cxn ang="0">
                    <a:pos x="connsiteX2" y="connsiteY2"/>
                  </a:cxn>
                </a:cxnLst>
                <a:rect l="l" t="t" r="r" b="b"/>
                <a:pathLst>
                  <a:path w="36983" h="527010">
                    <a:moveTo>
                      <a:pt x="28618" y="5041"/>
                    </a:moveTo>
                    <a:lnTo>
                      <a:pt x="33241" y="112755"/>
                    </a:lnTo>
                    <a:lnTo>
                      <a:pt x="5041" y="524193"/>
                    </a:lnTo>
                  </a:path>
                </a:pathLst>
              </a:custGeom>
              <a:noFill/>
              <a:ln w="19050" cap="rnd">
                <a:solidFill>
                  <a:srgbClr val="30373B"/>
                </a:solidFill>
                <a:prstDash val="solid"/>
                <a:round/>
              </a:ln>
            </p:spPr>
            <p:txBody>
              <a:bodyPr rtlCol="0" anchor="ctr"/>
              <a:lstStyle/>
              <a:p>
                <a:endParaRPr lang="da-DK"/>
              </a:p>
            </p:txBody>
          </p:sp>
          <p:sp>
            <p:nvSpPr>
              <p:cNvPr id="65" name="Freeform: Shape 64">
                <a:extLst>
                  <a:ext uri="{FF2B5EF4-FFF2-40B4-BE49-F238E27FC236}">
                    <a16:creationId xmlns:a16="http://schemas.microsoft.com/office/drawing/2014/main" id="{305295A2-C6A4-4F06-96EE-AFDCDE99E0FA}"/>
                  </a:ext>
                </a:extLst>
              </p:cNvPr>
              <p:cNvSpPr/>
              <p:nvPr/>
            </p:nvSpPr>
            <p:spPr>
              <a:xfrm>
                <a:off x="2805557" y="3233969"/>
                <a:ext cx="9246" cy="342095"/>
              </a:xfrm>
              <a:custGeom>
                <a:avLst/>
                <a:gdLst>
                  <a:gd name="connsiteX0" fmla="*/ 5041 w 9245"/>
                  <a:gd name="connsiteY0" fmla="*/ 5041 h 342094"/>
                  <a:gd name="connsiteX1" fmla="*/ 5041 w 9245"/>
                  <a:gd name="connsiteY1" fmla="*/ 340202 h 342094"/>
                </a:gdLst>
                <a:ahLst/>
                <a:cxnLst>
                  <a:cxn ang="0">
                    <a:pos x="connsiteX0" y="connsiteY0"/>
                  </a:cxn>
                  <a:cxn ang="0">
                    <a:pos x="connsiteX1" y="connsiteY1"/>
                  </a:cxn>
                </a:cxnLst>
                <a:rect l="l" t="t" r="r" b="b"/>
                <a:pathLst>
                  <a:path w="9245" h="342094">
                    <a:moveTo>
                      <a:pt x="5041" y="5041"/>
                    </a:moveTo>
                    <a:lnTo>
                      <a:pt x="5041" y="340202"/>
                    </a:lnTo>
                  </a:path>
                </a:pathLst>
              </a:custGeom>
              <a:ln w="19050" cap="rnd">
                <a:solidFill>
                  <a:srgbClr val="30373B"/>
                </a:solidFill>
                <a:prstDash val="solid"/>
                <a:round/>
              </a:ln>
            </p:spPr>
            <p:txBody>
              <a:bodyPr rtlCol="0" anchor="ctr"/>
              <a:lstStyle/>
              <a:p>
                <a:endParaRPr lang="da-DK"/>
              </a:p>
            </p:txBody>
          </p:sp>
          <p:sp>
            <p:nvSpPr>
              <p:cNvPr id="66" name="Freeform: Shape 65">
                <a:extLst>
                  <a:ext uri="{FF2B5EF4-FFF2-40B4-BE49-F238E27FC236}">
                    <a16:creationId xmlns:a16="http://schemas.microsoft.com/office/drawing/2014/main" id="{673FB626-F1F8-4C7A-B745-2D4B10783121}"/>
                  </a:ext>
                </a:extLst>
              </p:cNvPr>
              <p:cNvSpPr/>
              <p:nvPr/>
            </p:nvSpPr>
            <p:spPr>
              <a:xfrm>
                <a:off x="290235" y="2502626"/>
                <a:ext cx="9246" cy="9246"/>
              </a:xfrm>
              <a:custGeom>
                <a:avLst/>
                <a:gdLst/>
                <a:ahLst/>
                <a:cxnLst/>
                <a:rect l="l" t="t" r="r" b="b"/>
                <a:pathLst>
                  <a:path w="9245" h="9245"/>
                </a:pathLst>
              </a:custGeom>
              <a:noFill/>
              <a:ln w="19050" cap="rnd">
                <a:solidFill>
                  <a:srgbClr val="30373B"/>
                </a:solidFill>
                <a:prstDash val="solid"/>
                <a:round/>
              </a:ln>
            </p:spPr>
            <p:txBody>
              <a:bodyPr rtlCol="0" anchor="ctr"/>
              <a:lstStyle/>
              <a:p>
                <a:endParaRPr lang="da-DK"/>
              </a:p>
            </p:txBody>
          </p:sp>
          <p:sp>
            <p:nvSpPr>
              <p:cNvPr id="67" name="Freeform: Shape 66">
                <a:extLst>
                  <a:ext uri="{FF2B5EF4-FFF2-40B4-BE49-F238E27FC236}">
                    <a16:creationId xmlns:a16="http://schemas.microsoft.com/office/drawing/2014/main" id="{05B477D8-06E2-4ABC-B135-AE2195177D50}"/>
                  </a:ext>
                </a:extLst>
              </p:cNvPr>
              <p:cNvSpPr/>
              <p:nvPr/>
            </p:nvSpPr>
            <p:spPr>
              <a:xfrm>
                <a:off x="2701428" y="2766131"/>
                <a:ext cx="231145" cy="277374"/>
              </a:xfrm>
              <a:custGeom>
                <a:avLst/>
                <a:gdLst>
                  <a:gd name="connsiteX0" fmla="*/ 160022 w 231145"/>
                  <a:gd name="connsiteY0" fmla="*/ 122001 h 277374"/>
                  <a:gd name="connsiteX1" fmla="*/ 169267 w 231145"/>
                  <a:gd name="connsiteY1" fmla="*/ 84555 h 277374"/>
                  <a:gd name="connsiteX2" fmla="*/ 109632 w 231145"/>
                  <a:gd name="connsiteY2" fmla="*/ 5041 h 277374"/>
                  <a:gd name="connsiteX3" fmla="*/ 49996 w 231145"/>
                  <a:gd name="connsiteY3" fmla="*/ 84555 h 277374"/>
                  <a:gd name="connsiteX4" fmla="*/ 109632 w 231145"/>
                  <a:gd name="connsiteY4" fmla="*/ 164069 h 277374"/>
                  <a:gd name="connsiteX5" fmla="*/ 5154 w 231145"/>
                  <a:gd name="connsiteY5" fmla="*/ 229714 h 277374"/>
                  <a:gd name="connsiteX6" fmla="*/ 227516 w 231145"/>
                  <a:gd name="connsiteY6" fmla="*/ 103509 h 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145" h="277374">
                    <a:moveTo>
                      <a:pt x="160022" y="122001"/>
                    </a:moveTo>
                    <a:cubicBezTo>
                      <a:pt x="164644" y="111368"/>
                      <a:pt x="168343" y="98886"/>
                      <a:pt x="169267" y="84555"/>
                    </a:cubicBezTo>
                    <a:cubicBezTo>
                      <a:pt x="172966" y="41100"/>
                      <a:pt x="153087" y="5041"/>
                      <a:pt x="109632" y="5041"/>
                    </a:cubicBezTo>
                    <a:cubicBezTo>
                      <a:pt x="66177" y="5041"/>
                      <a:pt x="46298" y="40638"/>
                      <a:pt x="49996" y="84555"/>
                    </a:cubicBezTo>
                    <a:cubicBezTo>
                      <a:pt x="54157" y="134020"/>
                      <a:pt x="84668" y="164069"/>
                      <a:pt x="109632" y="164069"/>
                    </a:cubicBezTo>
                    <a:cubicBezTo>
                      <a:pt x="109632" y="164069"/>
                      <a:pt x="10702" y="169154"/>
                      <a:pt x="5154" y="229714"/>
                    </a:cubicBezTo>
                    <a:cubicBezTo>
                      <a:pt x="-856" y="299520"/>
                      <a:pt x="234913" y="316625"/>
                      <a:pt x="227516" y="103509"/>
                    </a:cubicBezTo>
                  </a:path>
                </a:pathLst>
              </a:custGeom>
              <a:solidFill>
                <a:srgbClr val="8AA299"/>
              </a:solidFill>
              <a:ln w="19050" cap="rnd">
                <a:solidFill>
                  <a:srgbClr val="30373B"/>
                </a:solidFill>
                <a:prstDash val="solid"/>
                <a:round/>
              </a:ln>
            </p:spPr>
            <p:txBody>
              <a:bodyPr rtlCol="0" anchor="ctr"/>
              <a:lstStyle/>
              <a:p>
                <a:endParaRPr lang="da-DK"/>
              </a:p>
            </p:txBody>
          </p:sp>
          <p:sp>
            <p:nvSpPr>
              <p:cNvPr id="68" name="Freeform: Shape 67">
                <a:extLst>
                  <a:ext uri="{FF2B5EF4-FFF2-40B4-BE49-F238E27FC236}">
                    <a16:creationId xmlns:a16="http://schemas.microsoft.com/office/drawing/2014/main" id="{0703DE59-51CF-46DE-A7F6-9A8CD38F191C}"/>
                  </a:ext>
                </a:extLst>
              </p:cNvPr>
              <p:cNvSpPr/>
              <p:nvPr/>
            </p:nvSpPr>
            <p:spPr>
              <a:xfrm>
                <a:off x="290235" y="2502626"/>
                <a:ext cx="9246" cy="9246"/>
              </a:xfrm>
              <a:custGeom>
                <a:avLst/>
                <a:gdLst/>
                <a:ahLst/>
                <a:cxnLst/>
                <a:rect l="l" t="t" r="r" b="b"/>
                <a:pathLst>
                  <a:path w="9245" h="9245"/>
                </a:pathLst>
              </a:custGeom>
              <a:noFill/>
              <a:ln w="19050" cap="rnd">
                <a:solidFill>
                  <a:srgbClr val="30373B"/>
                </a:solidFill>
                <a:prstDash val="solid"/>
                <a:round/>
              </a:ln>
            </p:spPr>
            <p:txBody>
              <a:bodyPr rtlCol="0" anchor="ctr"/>
              <a:lstStyle/>
              <a:p>
                <a:endParaRPr lang="da-DK"/>
              </a:p>
            </p:txBody>
          </p:sp>
          <p:sp>
            <p:nvSpPr>
              <p:cNvPr id="69" name="Freeform: Shape 68">
                <a:extLst>
                  <a:ext uri="{FF2B5EF4-FFF2-40B4-BE49-F238E27FC236}">
                    <a16:creationId xmlns:a16="http://schemas.microsoft.com/office/drawing/2014/main" id="{553AFC61-0DAA-44BD-8087-7F6E7ACDBD56}"/>
                  </a:ext>
                </a:extLst>
              </p:cNvPr>
              <p:cNvSpPr/>
              <p:nvPr/>
            </p:nvSpPr>
            <p:spPr>
              <a:xfrm>
                <a:off x="2559618" y="4414658"/>
                <a:ext cx="101704" cy="610223"/>
              </a:xfrm>
              <a:custGeom>
                <a:avLst/>
                <a:gdLst>
                  <a:gd name="connsiteX0" fmla="*/ 5041 w 101703"/>
                  <a:gd name="connsiteY0" fmla="*/ 5041 h 610223"/>
                  <a:gd name="connsiteX1" fmla="*/ 98886 w 101703"/>
                  <a:gd name="connsiteY1" fmla="*/ 607868 h 610223"/>
                </a:gdLst>
                <a:ahLst/>
                <a:cxnLst>
                  <a:cxn ang="0">
                    <a:pos x="connsiteX0" y="connsiteY0"/>
                  </a:cxn>
                  <a:cxn ang="0">
                    <a:pos x="connsiteX1" y="connsiteY1"/>
                  </a:cxn>
                </a:cxnLst>
                <a:rect l="l" t="t" r="r" b="b"/>
                <a:pathLst>
                  <a:path w="101703" h="610223">
                    <a:moveTo>
                      <a:pt x="5041" y="5041"/>
                    </a:moveTo>
                    <a:lnTo>
                      <a:pt x="98886" y="607868"/>
                    </a:lnTo>
                  </a:path>
                </a:pathLst>
              </a:custGeom>
              <a:ln w="19050" cap="rnd">
                <a:solidFill>
                  <a:srgbClr val="30373B"/>
                </a:solidFill>
                <a:prstDash val="solid"/>
                <a:round/>
              </a:ln>
            </p:spPr>
            <p:txBody>
              <a:bodyPr rtlCol="0" anchor="ctr"/>
              <a:lstStyle/>
              <a:p>
                <a:endParaRPr lang="da-DK"/>
              </a:p>
            </p:txBody>
          </p:sp>
          <p:sp>
            <p:nvSpPr>
              <p:cNvPr id="70" name="Freeform: Shape 69">
                <a:extLst>
                  <a:ext uri="{FF2B5EF4-FFF2-40B4-BE49-F238E27FC236}">
                    <a16:creationId xmlns:a16="http://schemas.microsoft.com/office/drawing/2014/main" id="{D1B4BFD1-C6CE-4A7E-B353-3BB437E5790F}"/>
                  </a:ext>
                </a:extLst>
              </p:cNvPr>
              <p:cNvSpPr/>
              <p:nvPr/>
            </p:nvSpPr>
            <p:spPr>
              <a:xfrm>
                <a:off x="2724656" y="4414658"/>
                <a:ext cx="101704" cy="610223"/>
              </a:xfrm>
              <a:custGeom>
                <a:avLst/>
                <a:gdLst>
                  <a:gd name="connsiteX0" fmla="*/ 5041 w 101703"/>
                  <a:gd name="connsiteY0" fmla="*/ 5041 h 610223"/>
                  <a:gd name="connsiteX1" fmla="*/ 98886 w 101703"/>
                  <a:gd name="connsiteY1" fmla="*/ 607868 h 610223"/>
                </a:gdLst>
                <a:ahLst/>
                <a:cxnLst>
                  <a:cxn ang="0">
                    <a:pos x="connsiteX0" y="connsiteY0"/>
                  </a:cxn>
                  <a:cxn ang="0">
                    <a:pos x="connsiteX1" y="connsiteY1"/>
                  </a:cxn>
                </a:cxnLst>
                <a:rect l="l" t="t" r="r" b="b"/>
                <a:pathLst>
                  <a:path w="101703" h="610223">
                    <a:moveTo>
                      <a:pt x="5041" y="5041"/>
                    </a:moveTo>
                    <a:lnTo>
                      <a:pt x="98886" y="607868"/>
                    </a:lnTo>
                  </a:path>
                </a:pathLst>
              </a:custGeom>
              <a:ln w="19050" cap="rnd">
                <a:solidFill>
                  <a:srgbClr val="30373B"/>
                </a:solidFill>
                <a:prstDash val="solid"/>
                <a:round/>
              </a:ln>
            </p:spPr>
            <p:txBody>
              <a:bodyPr rtlCol="0" anchor="ctr"/>
              <a:lstStyle/>
              <a:p>
                <a:endParaRPr lang="da-DK"/>
              </a:p>
            </p:txBody>
          </p:sp>
          <p:sp>
            <p:nvSpPr>
              <p:cNvPr id="71" name="Freeform: Shape 70">
                <a:extLst>
                  <a:ext uri="{FF2B5EF4-FFF2-40B4-BE49-F238E27FC236}">
                    <a16:creationId xmlns:a16="http://schemas.microsoft.com/office/drawing/2014/main" id="{BF648684-63BE-4159-B906-D95B06EE1F39}"/>
                  </a:ext>
                </a:extLst>
              </p:cNvPr>
              <p:cNvSpPr/>
              <p:nvPr/>
            </p:nvSpPr>
            <p:spPr>
              <a:xfrm>
                <a:off x="2573025" y="4502494"/>
                <a:ext cx="171047" cy="9246"/>
              </a:xfrm>
              <a:custGeom>
                <a:avLst/>
                <a:gdLst>
                  <a:gd name="connsiteX0" fmla="*/ 5041 w 171047"/>
                  <a:gd name="connsiteY0" fmla="*/ 5041 h 9245"/>
                  <a:gd name="connsiteX1" fmla="*/ 170079 w 171047"/>
                  <a:gd name="connsiteY1" fmla="*/ 5041 h 9245"/>
                </a:gdLst>
                <a:ahLst/>
                <a:cxnLst>
                  <a:cxn ang="0">
                    <a:pos x="connsiteX0" y="connsiteY0"/>
                  </a:cxn>
                  <a:cxn ang="0">
                    <a:pos x="connsiteX1" y="connsiteY1"/>
                  </a:cxn>
                </a:cxnLst>
                <a:rect l="l" t="t" r="r" b="b"/>
                <a:pathLst>
                  <a:path w="171047" h="9245">
                    <a:moveTo>
                      <a:pt x="5041" y="5041"/>
                    </a:moveTo>
                    <a:lnTo>
                      <a:pt x="170079" y="5041"/>
                    </a:lnTo>
                  </a:path>
                </a:pathLst>
              </a:custGeom>
              <a:ln w="19050" cap="rnd">
                <a:solidFill>
                  <a:srgbClr val="30373B"/>
                </a:solidFill>
                <a:prstDash val="solid"/>
                <a:round/>
              </a:ln>
            </p:spPr>
            <p:txBody>
              <a:bodyPr rtlCol="0" anchor="ctr"/>
              <a:lstStyle/>
              <a:p>
                <a:endParaRPr lang="da-DK"/>
              </a:p>
            </p:txBody>
          </p:sp>
          <p:sp>
            <p:nvSpPr>
              <p:cNvPr id="72" name="Freeform: Shape 71">
                <a:extLst>
                  <a:ext uri="{FF2B5EF4-FFF2-40B4-BE49-F238E27FC236}">
                    <a16:creationId xmlns:a16="http://schemas.microsoft.com/office/drawing/2014/main" id="{C38B8ABF-72AF-4C26-A99A-21A01CC3DB42}"/>
                  </a:ext>
                </a:extLst>
              </p:cNvPr>
              <p:cNvSpPr/>
              <p:nvPr/>
            </p:nvSpPr>
            <p:spPr>
              <a:xfrm>
                <a:off x="2589667" y="4607434"/>
                <a:ext cx="171047" cy="9246"/>
              </a:xfrm>
              <a:custGeom>
                <a:avLst/>
                <a:gdLst>
                  <a:gd name="connsiteX0" fmla="*/ 5041 w 171047"/>
                  <a:gd name="connsiteY0" fmla="*/ 5041 h 9245"/>
                  <a:gd name="connsiteX1" fmla="*/ 170079 w 171047"/>
                  <a:gd name="connsiteY1" fmla="*/ 5041 h 9245"/>
                </a:gdLst>
                <a:ahLst/>
                <a:cxnLst>
                  <a:cxn ang="0">
                    <a:pos x="connsiteX0" y="connsiteY0"/>
                  </a:cxn>
                  <a:cxn ang="0">
                    <a:pos x="connsiteX1" y="connsiteY1"/>
                  </a:cxn>
                </a:cxnLst>
                <a:rect l="l" t="t" r="r" b="b"/>
                <a:pathLst>
                  <a:path w="171047" h="9245">
                    <a:moveTo>
                      <a:pt x="5041" y="5041"/>
                    </a:moveTo>
                    <a:lnTo>
                      <a:pt x="170079" y="5041"/>
                    </a:lnTo>
                  </a:path>
                </a:pathLst>
              </a:custGeom>
              <a:ln w="19050" cap="rnd">
                <a:solidFill>
                  <a:srgbClr val="30373B"/>
                </a:solidFill>
                <a:prstDash val="solid"/>
                <a:round/>
              </a:ln>
            </p:spPr>
            <p:txBody>
              <a:bodyPr rtlCol="0" anchor="ctr"/>
              <a:lstStyle/>
              <a:p>
                <a:endParaRPr lang="da-DK"/>
              </a:p>
            </p:txBody>
          </p:sp>
          <p:sp>
            <p:nvSpPr>
              <p:cNvPr id="73" name="Freeform: Shape 72">
                <a:extLst>
                  <a:ext uri="{FF2B5EF4-FFF2-40B4-BE49-F238E27FC236}">
                    <a16:creationId xmlns:a16="http://schemas.microsoft.com/office/drawing/2014/main" id="{96C40AEB-9881-4148-B35B-A203292EE73F}"/>
                  </a:ext>
                </a:extLst>
              </p:cNvPr>
              <p:cNvSpPr/>
              <p:nvPr/>
            </p:nvSpPr>
            <p:spPr>
              <a:xfrm>
                <a:off x="2605847" y="4712373"/>
                <a:ext cx="171047" cy="9246"/>
              </a:xfrm>
              <a:custGeom>
                <a:avLst/>
                <a:gdLst>
                  <a:gd name="connsiteX0" fmla="*/ 5041 w 171047"/>
                  <a:gd name="connsiteY0" fmla="*/ 5041 h 9245"/>
                  <a:gd name="connsiteX1" fmla="*/ 170079 w 171047"/>
                  <a:gd name="connsiteY1" fmla="*/ 5041 h 9245"/>
                </a:gdLst>
                <a:ahLst/>
                <a:cxnLst>
                  <a:cxn ang="0">
                    <a:pos x="connsiteX0" y="connsiteY0"/>
                  </a:cxn>
                  <a:cxn ang="0">
                    <a:pos x="connsiteX1" y="connsiteY1"/>
                  </a:cxn>
                </a:cxnLst>
                <a:rect l="l" t="t" r="r" b="b"/>
                <a:pathLst>
                  <a:path w="171047" h="9245">
                    <a:moveTo>
                      <a:pt x="5041" y="5041"/>
                    </a:moveTo>
                    <a:lnTo>
                      <a:pt x="170079" y="5041"/>
                    </a:lnTo>
                  </a:path>
                </a:pathLst>
              </a:custGeom>
              <a:ln w="19050" cap="rnd">
                <a:solidFill>
                  <a:srgbClr val="30373B"/>
                </a:solidFill>
                <a:prstDash val="solid"/>
                <a:round/>
              </a:ln>
            </p:spPr>
            <p:txBody>
              <a:bodyPr rtlCol="0" anchor="ctr"/>
              <a:lstStyle/>
              <a:p>
                <a:endParaRPr lang="da-DK"/>
              </a:p>
            </p:txBody>
          </p:sp>
          <p:sp>
            <p:nvSpPr>
              <p:cNvPr id="74" name="Freeform: Shape 73">
                <a:extLst>
                  <a:ext uri="{FF2B5EF4-FFF2-40B4-BE49-F238E27FC236}">
                    <a16:creationId xmlns:a16="http://schemas.microsoft.com/office/drawing/2014/main" id="{08120A39-F234-40CA-BBA3-858975D60CDB}"/>
                  </a:ext>
                </a:extLst>
              </p:cNvPr>
              <p:cNvSpPr/>
              <p:nvPr/>
            </p:nvSpPr>
            <p:spPr>
              <a:xfrm>
                <a:off x="2622027" y="4817776"/>
                <a:ext cx="171047" cy="9246"/>
              </a:xfrm>
              <a:custGeom>
                <a:avLst/>
                <a:gdLst>
                  <a:gd name="connsiteX0" fmla="*/ 5041 w 171047"/>
                  <a:gd name="connsiteY0" fmla="*/ 5041 h 9245"/>
                  <a:gd name="connsiteX1" fmla="*/ 170541 w 171047"/>
                  <a:gd name="connsiteY1" fmla="*/ 5041 h 9245"/>
                </a:gdLst>
                <a:ahLst/>
                <a:cxnLst>
                  <a:cxn ang="0">
                    <a:pos x="connsiteX0" y="connsiteY0"/>
                  </a:cxn>
                  <a:cxn ang="0">
                    <a:pos x="connsiteX1" y="connsiteY1"/>
                  </a:cxn>
                </a:cxnLst>
                <a:rect l="l" t="t" r="r" b="b"/>
                <a:pathLst>
                  <a:path w="171047" h="9245">
                    <a:moveTo>
                      <a:pt x="5041" y="5041"/>
                    </a:moveTo>
                    <a:lnTo>
                      <a:pt x="170541" y="5041"/>
                    </a:lnTo>
                  </a:path>
                </a:pathLst>
              </a:custGeom>
              <a:ln w="19050" cap="rnd">
                <a:solidFill>
                  <a:srgbClr val="30373B"/>
                </a:solidFill>
                <a:prstDash val="solid"/>
                <a:round/>
              </a:ln>
            </p:spPr>
            <p:txBody>
              <a:bodyPr rtlCol="0" anchor="ctr"/>
              <a:lstStyle/>
              <a:p>
                <a:endParaRPr lang="da-DK"/>
              </a:p>
            </p:txBody>
          </p:sp>
          <p:sp>
            <p:nvSpPr>
              <p:cNvPr id="75" name="Freeform: Shape 74">
                <a:extLst>
                  <a:ext uri="{FF2B5EF4-FFF2-40B4-BE49-F238E27FC236}">
                    <a16:creationId xmlns:a16="http://schemas.microsoft.com/office/drawing/2014/main" id="{63EC3457-F4F1-4603-875B-654A0293A638}"/>
                  </a:ext>
                </a:extLst>
              </p:cNvPr>
              <p:cNvSpPr/>
              <p:nvPr/>
            </p:nvSpPr>
            <p:spPr>
              <a:xfrm>
                <a:off x="2638670" y="4922716"/>
                <a:ext cx="171047" cy="9246"/>
              </a:xfrm>
              <a:custGeom>
                <a:avLst/>
                <a:gdLst>
                  <a:gd name="connsiteX0" fmla="*/ 5041 w 171047"/>
                  <a:gd name="connsiteY0" fmla="*/ 5041 h 9245"/>
                  <a:gd name="connsiteX1" fmla="*/ 170079 w 171047"/>
                  <a:gd name="connsiteY1" fmla="*/ 5041 h 9245"/>
                </a:gdLst>
                <a:ahLst/>
                <a:cxnLst>
                  <a:cxn ang="0">
                    <a:pos x="connsiteX0" y="connsiteY0"/>
                  </a:cxn>
                  <a:cxn ang="0">
                    <a:pos x="connsiteX1" y="connsiteY1"/>
                  </a:cxn>
                </a:cxnLst>
                <a:rect l="l" t="t" r="r" b="b"/>
                <a:pathLst>
                  <a:path w="171047" h="9245">
                    <a:moveTo>
                      <a:pt x="5041" y="5041"/>
                    </a:moveTo>
                    <a:lnTo>
                      <a:pt x="170079" y="5041"/>
                    </a:lnTo>
                  </a:path>
                </a:pathLst>
              </a:custGeom>
              <a:ln w="19050" cap="rnd">
                <a:solidFill>
                  <a:srgbClr val="30373B"/>
                </a:solidFill>
                <a:prstDash val="solid"/>
                <a:round/>
              </a:ln>
            </p:spPr>
            <p:txBody>
              <a:bodyPr rtlCol="0" anchor="ctr"/>
              <a:lstStyle/>
              <a:p>
                <a:endParaRPr lang="da-DK"/>
              </a:p>
            </p:txBody>
          </p:sp>
          <p:sp>
            <p:nvSpPr>
              <p:cNvPr id="76" name="Freeform: Shape 75">
                <a:extLst>
                  <a:ext uri="{FF2B5EF4-FFF2-40B4-BE49-F238E27FC236}">
                    <a16:creationId xmlns:a16="http://schemas.microsoft.com/office/drawing/2014/main" id="{5554574B-64BC-4CBB-8CCC-EB66D67FB832}"/>
                  </a:ext>
                </a:extLst>
              </p:cNvPr>
              <p:cNvSpPr/>
              <p:nvPr/>
            </p:nvSpPr>
            <p:spPr>
              <a:xfrm>
                <a:off x="2146331" y="5173739"/>
                <a:ext cx="101704" cy="610223"/>
              </a:xfrm>
              <a:custGeom>
                <a:avLst/>
                <a:gdLst>
                  <a:gd name="connsiteX0" fmla="*/ 5041 w 101703"/>
                  <a:gd name="connsiteY0" fmla="*/ 5041 h 610223"/>
                  <a:gd name="connsiteX1" fmla="*/ 99348 w 101703"/>
                  <a:gd name="connsiteY1" fmla="*/ 607868 h 610223"/>
                </a:gdLst>
                <a:ahLst/>
                <a:cxnLst>
                  <a:cxn ang="0">
                    <a:pos x="connsiteX0" y="connsiteY0"/>
                  </a:cxn>
                  <a:cxn ang="0">
                    <a:pos x="connsiteX1" y="connsiteY1"/>
                  </a:cxn>
                </a:cxnLst>
                <a:rect l="l" t="t" r="r" b="b"/>
                <a:pathLst>
                  <a:path w="101703" h="610223">
                    <a:moveTo>
                      <a:pt x="5041" y="5041"/>
                    </a:moveTo>
                    <a:lnTo>
                      <a:pt x="99348" y="607868"/>
                    </a:lnTo>
                  </a:path>
                </a:pathLst>
              </a:custGeom>
              <a:ln w="19050" cap="rnd">
                <a:solidFill>
                  <a:srgbClr val="30373B"/>
                </a:solidFill>
                <a:prstDash val="solid"/>
                <a:round/>
              </a:ln>
            </p:spPr>
            <p:txBody>
              <a:bodyPr rtlCol="0" anchor="ctr"/>
              <a:lstStyle/>
              <a:p>
                <a:endParaRPr lang="da-DK"/>
              </a:p>
            </p:txBody>
          </p:sp>
          <p:sp>
            <p:nvSpPr>
              <p:cNvPr id="77" name="Freeform: Shape 76">
                <a:extLst>
                  <a:ext uri="{FF2B5EF4-FFF2-40B4-BE49-F238E27FC236}">
                    <a16:creationId xmlns:a16="http://schemas.microsoft.com/office/drawing/2014/main" id="{6BD87E90-05A3-4A32-A6D3-8713D38B242A}"/>
                  </a:ext>
                </a:extLst>
              </p:cNvPr>
              <p:cNvSpPr/>
              <p:nvPr/>
            </p:nvSpPr>
            <p:spPr>
              <a:xfrm>
                <a:off x="2311368" y="5173739"/>
                <a:ext cx="101704" cy="610223"/>
              </a:xfrm>
              <a:custGeom>
                <a:avLst/>
                <a:gdLst>
                  <a:gd name="connsiteX0" fmla="*/ 5041 w 101703"/>
                  <a:gd name="connsiteY0" fmla="*/ 5041 h 610223"/>
                  <a:gd name="connsiteX1" fmla="*/ 98886 w 101703"/>
                  <a:gd name="connsiteY1" fmla="*/ 607868 h 610223"/>
                </a:gdLst>
                <a:ahLst/>
                <a:cxnLst>
                  <a:cxn ang="0">
                    <a:pos x="connsiteX0" y="connsiteY0"/>
                  </a:cxn>
                  <a:cxn ang="0">
                    <a:pos x="connsiteX1" y="connsiteY1"/>
                  </a:cxn>
                </a:cxnLst>
                <a:rect l="l" t="t" r="r" b="b"/>
                <a:pathLst>
                  <a:path w="101703" h="610223">
                    <a:moveTo>
                      <a:pt x="5041" y="5041"/>
                    </a:moveTo>
                    <a:lnTo>
                      <a:pt x="98886" y="607868"/>
                    </a:lnTo>
                  </a:path>
                </a:pathLst>
              </a:custGeom>
              <a:ln w="19050" cap="rnd">
                <a:solidFill>
                  <a:srgbClr val="30373B"/>
                </a:solidFill>
                <a:prstDash val="solid"/>
                <a:round/>
              </a:ln>
            </p:spPr>
            <p:txBody>
              <a:bodyPr rtlCol="0" anchor="ctr"/>
              <a:lstStyle/>
              <a:p>
                <a:endParaRPr lang="da-DK"/>
              </a:p>
            </p:txBody>
          </p:sp>
          <p:sp>
            <p:nvSpPr>
              <p:cNvPr id="78" name="Freeform: Shape 77">
                <a:extLst>
                  <a:ext uri="{FF2B5EF4-FFF2-40B4-BE49-F238E27FC236}">
                    <a16:creationId xmlns:a16="http://schemas.microsoft.com/office/drawing/2014/main" id="{53FCEE45-B815-4429-871B-8E31216815A2}"/>
                  </a:ext>
                </a:extLst>
              </p:cNvPr>
              <p:cNvSpPr/>
              <p:nvPr/>
            </p:nvSpPr>
            <p:spPr>
              <a:xfrm>
                <a:off x="2160199" y="5261574"/>
                <a:ext cx="171047" cy="9246"/>
              </a:xfrm>
              <a:custGeom>
                <a:avLst/>
                <a:gdLst>
                  <a:gd name="connsiteX0" fmla="*/ 5041 w 171047"/>
                  <a:gd name="connsiteY0" fmla="*/ 5041 h 9245"/>
                  <a:gd name="connsiteX1" fmla="*/ 169617 w 171047"/>
                  <a:gd name="connsiteY1" fmla="*/ 5041 h 9245"/>
                </a:gdLst>
                <a:ahLst/>
                <a:cxnLst>
                  <a:cxn ang="0">
                    <a:pos x="connsiteX0" y="connsiteY0"/>
                  </a:cxn>
                  <a:cxn ang="0">
                    <a:pos x="connsiteX1" y="connsiteY1"/>
                  </a:cxn>
                </a:cxnLst>
                <a:rect l="l" t="t" r="r" b="b"/>
                <a:pathLst>
                  <a:path w="171047" h="9245">
                    <a:moveTo>
                      <a:pt x="5041" y="5041"/>
                    </a:moveTo>
                    <a:lnTo>
                      <a:pt x="169617" y="5041"/>
                    </a:lnTo>
                  </a:path>
                </a:pathLst>
              </a:custGeom>
              <a:ln w="19050" cap="rnd">
                <a:solidFill>
                  <a:srgbClr val="30373B"/>
                </a:solidFill>
                <a:prstDash val="solid"/>
                <a:round/>
              </a:ln>
            </p:spPr>
            <p:txBody>
              <a:bodyPr rtlCol="0" anchor="ctr"/>
              <a:lstStyle/>
              <a:p>
                <a:endParaRPr lang="da-DK"/>
              </a:p>
            </p:txBody>
          </p:sp>
          <p:sp>
            <p:nvSpPr>
              <p:cNvPr id="79" name="Freeform: Shape 78">
                <a:extLst>
                  <a:ext uri="{FF2B5EF4-FFF2-40B4-BE49-F238E27FC236}">
                    <a16:creationId xmlns:a16="http://schemas.microsoft.com/office/drawing/2014/main" id="{25C9BB4D-8853-4C13-A8C7-6ADE92429C97}"/>
                  </a:ext>
                </a:extLst>
              </p:cNvPr>
              <p:cNvSpPr/>
              <p:nvPr/>
            </p:nvSpPr>
            <p:spPr>
              <a:xfrm>
                <a:off x="2176380" y="5366514"/>
                <a:ext cx="171047" cy="9246"/>
              </a:xfrm>
              <a:custGeom>
                <a:avLst/>
                <a:gdLst>
                  <a:gd name="connsiteX0" fmla="*/ 5041 w 171047"/>
                  <a:gd name="connsiteY0" fmla="*/ 5041 h 9245"/>
                  <a:gd name="connsiteX1" fmla="*/ 170079 w 171047"/>
                  <a:gd name="connsiteY1" fmla="*/ 5041 h 9245"/>
                </a:gdLst>
                <a:ahLst/>
                <a:cxnLst>
                  <a:cxn ang="0">
                    <a:pos x="connsiteX0" y="connsiteY0"/>
                  </a:cxn>
                  <a:cxn ang="0">
                    <a:pos x="connsiteX1" y="connsiteY1"/>
                  </a:cxn>
                </a:cxnLst>
                <a:rect l="l" t="t" r="r" b="b"/>
                <a:pathLst>
                  <a:path w="171047" h="9245">
                    <a:moveTo>
                      <a:pt x="5041" y="5041"/>
                    </a:moveTo>
                    <a:lnTo>
                      <a:pt x="170079" y="5041"/>
                    </a:lnTo>
                  </a:path>
                </a:pathLst>
              </a:custGeom>
              <a:ln w="19050" cap="rnd">
                <a:solidFill>
                  <a:srgbClr val="30373B"/>
                </a:solidFill>
                <a:prstDash val="solid"/>
                <a:round/>
              </a:ln>
            </p:spPr>
            <p:txBody>
              <a:bodyPr rtlCol="0" anchor="ctr"/>
              <a:lstStyle/>
              <a:p>
                <a:endParaRPr lang="da-DK"/>
              </a:p>
            </p:txBody>
          </p:sp>
          <p:sp>
            <p:nvSpPr>
              <p:cNvPr id="80" name="Freeform: Shape 79">
                <a:extLst>
                  <a:ext uri="{FF2B5EF4-FFF2-40B4-BE49-F238E27FC236}">
                    <a16:creationId xmlns:a16="http://schemas.microsoft.com/office/drawing/2014/main" id="{FAE87A1B-3406-45B3-ABF3-BE867076A598}"/>
                  </a:ext>
                </a:extLst>
              </p:cNvPr>
              <p:cNvSpPr/>
              <p:nvPr/>
            </p:nvSpPr>
            <p:spPr>
              <a:xfrm>
                <a:off x="2193022" y="5471454"/>
                <a:ext cx="171047" cy="9246"/>
              </a:xfrm>
              <a:custGeom>
                <a:avLst/>
                <a:gdLst>
                  <a:gd name="connsiteX0" fmla="*/ 5041 w 171047"/>
                  <a:gd name="connsiteY0" fmla="*/ 5041 h 9245"/>
                  <a:gd name="connsiteX1" fmla="*/ 169617 w 171047"/>
                  <a:gd name="connsiteY1" fmla="*/ 5041 h 9245"/>
                </a:gdLst>
                <a:ahLst/>
                <a:cxnLst>
                  <a:cxn ang="0">
                    <a:pos x="connsiteX0" y="connsiteY0"/>
                  </a:cxn>
                  <a:cxn ang="0">
                    <a:pos x="connsiteX1" y="connsiteY1"/>
                  </a:cxn>
                </a:cxnLst>
                <a:rect l="l" t="t" r="r" b="b"/>
                <a:pathLst>
                  <a:path w="171047" h="9245">
                    <a:moveTo>
                      <a:pt x="5041" y="5041"/>
                    </a:moveTo>
                    <a:lnTo>
                      <a:pt x="169617" y="5041"/>
                    </a:lnTo>
                  </a:path>
                </a:pathLst>
              </a:custGeom>
              <a:ln w="19050" cap="rnd">
                <a:solidFill>
                  <a:srgbClr val="30373B"/>
                </a:solidFill>
                <a:prstDash val="solid"/>
                <a:round/>
              </a:ln>
            </p:spPr>
            <p:txBody>
              <a:bodyPr rtlCol="0" anchor="ctr"/>
              <a:lstStyle/>
              <a:p>
                <a:endParaRPr lang="da-DK"/>
              </a:p>
            </p:txBody>
          </p:sp>
          <p:sp>
            <p:nvSpPr>
              <p:cNvPr id="81" name="Freeform: Shape 80">
                <a:extLst>
                  <a:ext uri="{FF2B5EF4-FFF2-40B4-BE49-F238E27FC236}">
                    <a16:creationId xmlns:a16="http://schemas.microsoft.com/office/drawing/2014/main" id="{EA092C1F-896B-43FD-AD0A-1D22DA80C3BD}"/>
                  </a:ext>
                </a:extLst>
              </p:cNvPr>
              <p:cNvSpPr/>
              <p:nvPr/>
            </p:nvSpPr>
            <p:spPr>
              <a:xfrm>
                <a:off x="2209202" y="5576394"/>
                <a:ext cx="171047" cy="9246"/>
              </a:xfrm>
              <a:custGeom>
                <a:avLst/>
                <a:gdLst>
                  <a:gd name="connsiteX0" fmla="*/ 5041 w 171047"/>
                  <a:gd name="connsiteY0" fmla="*/ 5041 h 9245"/>
                  <a:gd name="connsiteX1" fmla="*/ 170079 w 171047"/>
                  <a:gd name="connsiteY1" fmla="*/ 5041 h 9245"/>
                </a:gdLst>
                <a:ahLst/>
                <a:cxnLst>
                  <a:cxn ang="0">
                    <a:pos x="connsiteX0" y="connsiteY0"/>
                  </a:cxn>
                  <a:cxn ang="0">
                    <a:pos x="connsiteX1" y="connsiteY1"/>
                  </a:cxn>
                </a:cxnLst>
                <a:rect l="l" t="t" r="r" b="b"/>
                <a:pathLst>
                  <a:path w="171047" h="9245">
                    <a:moveTo>
                      <a:pt x="5041" y="5041"/>
                    </a:moveTo>
                    <a:lnTo>
                      <a:pt x="170079" y="5041"/>
                    </a:lnTo>
                  </a:path>
                </a:pathLst>
              </a:custGeom>
              <a:ln w="19050" cap="rnd">
                <a:solidFill>
                  <a:srgbClr val="30373B"/>
                </a:solidFill>
                <a:prstDash val="solid"/>
                <a:round/>
              </a:ln>
            </p:spPr>
            <p:txBody>
              <a:bodyPr rtlCol="0" anchor="ctr"/>
              <a:lstStyle/>
              <a:p>
                <a:endParaRPr lang="da-DK"/>
              </a:p>
            </p:txBody>
          </p:sp>
          <p:sp>
            <p:nvSpPr>
              <p:cNvPr id="82" name="Freeform: Shape 81">
                <a:extLst>
                  <a:ext uri="{FF2B5EF4-FFF2-40B4-BE49-F238E27FC236}">
                    <a16:creationId xmlns:a16="http://schemas.microsoft.com/office/drawing/2014/main" id="{29E80627-41DC-4A40-81C0-D89EFFAAFD1B}"/>
                  </a:ext>
                </a:extLst>
              </p:cNvPr>
              <p:cNvSpPr/>
              <p:nvPr/>
            </p:nvSpPr>
            <p:spPr>
              <a:xfrm>
                <a:off x="2225845" y="5681334"/>
                <a:ext cx="171047" cy="9246"/>
              </a:xfrm>
              <a:custGeom>
                <a:avLst/>
                <a:gdLst>
                  <a:gd name="connsiteX0" fmla="*/ 5041 w 171047"/>
                  <a:gd name="connsiteY0" fmla="*/ 5041 h 9245"/>
                  <a:gd name="connsiteX1" fmla="*/ 169617 w 171047"/>
                  <a:gd name="connsiteY1" fmla="*/ 5041 h 9245"/>
                </a:gdLst>
                <a:ahLst/>
                <a:cxnLst>
                  <a:cxn ang="0">
                    <a:pos x="connsiteX0" y="connsiteY0"/>
                  </a:cxn>
                  <a:cxn ang="0">
                    <a:pos x="connsiteX1" y="connsiteY1"/>
                  </a:cxn>
                </a:cxnLst>
                <a:rect l="l" t="t" r="r" b="b"/>
                <a:pathLst>
                  <a:path w="171047" h="9245">
                    <a:moveTo>
                      <a:pt x="5041" y="5041"/>
                    </a:moveTo>
                    <a:lnTo>
                      <a:pt x="169617" y="5041"/>
                    </a:lnTo>
                  </a:path>
                </a:pathLst>
              </a:custGeom>
              <a:ln w="19050" cap="rnd">
                <a:solidFill>
                  <a:srgbClr val="30373B"/>
                </a:solidFill>
                <a:prstDash val="solid"/>
                <a:round/>
              </a:ln>
            </p:spPr>
            <p:txBody>
              <a:bodyPr rtlCol="0" anchor="ctr"/>
              <a:lstStyle/>
              <a:p>
                <a:endParaRPr lang="da-DK"/>
              </a:p>
            </p:txBody>
          </p:sp>
        </p:grpSp>
      </p:grpSp>
      <p:sp>
        <p:nvSpPr>
          <p:cNvPr id="4" name="Rectangle 3">
            <a:extLst>
              <a:ext uri="{FF2B5EF4-FFF2-40B4-BE49-F238E27FC236}">
                <a16:creationId xmlns:a16="http://schemas.microsoft.com/office/drawing/2014/main" id="{88DE4977-5443-455D-A92D-1680C40194C5}"/>
              </a:ext>
            </a:extLst>
          </p:cNvPr>
          <p:cNvSpPr/>
          <p:nvPr/>
        </p:nvSpPr>
        <p:spPr>
          <a:xfrm>
            <a:off x="7044856" y="6066845"/>
            <a:ext cx="2099143" cy="791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1543296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FA3B0FFC-7400-4A22-9684-C684277D5DCB}"/>
              </a:ext>
            </a:extLst>
          </p:cNvPr>
          <p:cNvSpPr/>
          <p:nvPr/>
        </p:nvSpPr>
        <p:spPr>
          <a:xfrm>
            <a:off x="7044856" y="6066845"/>
            <a:ext cx="2099143" cy="791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 name="Object 1" hidden="1">
            <a:extLst>
              <a:ext uri="{FF2B5EF4-FFF2-40B4-BE49-F238E27FC236}">
                <a16:creationId xmlns:a16="http://schemas.microsoft.com/office/drawing/2014/main" id="{D404E921-F1C9-4602-81E1-CE367ABD79F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7"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D404E921-F1C9-4602-81E1-CE367ABD79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43F47CF-29FE-4EFF-8DA5-2915AC78F0D7}"/>
              </a:ext>
            </a:extLst>
          </p:cNvPr>
          <p:cNvSpPr>
            <a:spLocks noGrp="1"/>
          </p:cNvSpPr>
          <p:nvPr>
            <p:ph type="title"/>
          </p:nvPr>
        </p:nvSpPr>
        <p:spPr>
          <a:xfrm>
            <a:off x="245192" y="372501"/>
            <a:ext cx="7981950" cy="689476"/>
          </a:xfrm>
        </p:spPr>
        <p:txBody>
          <a:bodyPr>
            <a:noAutofit/>
          </a:bodyPr>
          <a:lstStyle/>
          <a:p>
            <a:r>
              <a:rPr lang="da-DK" sz="2490" b="0">
                <a:solidFill>
                  <a:schemeClr val="tx1"/>
                </a:solidFill>
                <a:latin typeface="Impact" panose="020B0806030902050204" pitchFamily="34" charset="0"/>
              </a:rPr>
              <a:t>Formål med hovedelementerne i RFI’EN</a:t>
            </a:r>
            <a:br>
              <a:rPr lang="da-DK" sz="2490" b="0">
                <a:solidFill>
                  <a:schemeClr val="tx1"/>
                </a:solidFill>
                <a:latin typeface="Impact" panose="020B0806030902050204" pitchFamily="34" charset="0"/>
              </a:rPr>
            </a:br>
            <a:r>
              <a:rPr lang="da-DK" sz="2490" b="0">
                <a:solidFill>
                  <a:schemeClr val="tx1"/>
                </a:solidFill>
                <a:latin typeface="Impact" panose="020B0806030902050204" pitchFamily="34" charset="0"/>
              </a:rPr>
              <a:t> </a:t>
            </a:r>
          </a:p>
        </p:txBody>
      </p:sp>
      <p:sp>
        <p:nvSpPr>
          <p:cNvPr id="79" name="Rectangle 78">
            <a:extLst>
              <a:ext uri="{FF2B5EF4-FFF2-40B4-BE49-F238E27FC236}">
                <a16:creationId xmlns:a16="http://schemas.microsoft.com/office/drawing/2014/main" id="{276EC14B-519B-40A4-A476-45CEEC257FF1}"/>
              </a:ext>
            </a:extLst>
          </p:cNvPr>
          <p:cNvSpPr/>
          <p:nvPr/>
        </p:nvSpPr>
        <p:spPr>
          <a:xfrm>
            <a:off x="5607987" y="3428999"/>
            <a:ext cx="1367695" cy="1572738"/>
          </a:xfrm>
          <a:prstGeom prst="rect">
            <a:avLst/>
          </a:prstGeom>
          <a:noFill/>
          <a:ln w="9525" cap="flat" cmpd="sng" algn="ctr">
            <a:noFill/>
            <a:prstDash val="solid"/>
            <a:miter lim="800000"/>
          </a:ln>
          <a:effectLst/>
        </p:spPr>
        <p:txBody>
          <a:bodyPr wrap="square" lIns="0" tIns="0" rIns="0" bIns="0" rtlCol="0" anchor="t">
            <a:spAutoFit/>
          </a:bodyPr>
          <a:lstStyle/>
          <a:p>
            <a:pPr defTabSz="742950">
              <a:lnSpc>
                <a:spcPct val="90000"/>
              </a:lnSpc>
              <a:spcAft>
                <a:spcPts val="600"/>
              </a:spcAft>
              <a:defRPr/>
            </a:pPr>
            <a:r>
              <a:rPr lang="da-DK" sz="900" kern="0">
                <a:solidFill>
                  <a:srgbClr val="000000"/>
                </a:solidFill>
              </a:rPr>
              <a:t>Formålet er at skitsere Økonomistyrelsens overordnede tidsplan for en eventuel fælles anskaffelses-, gennemførelses- og realiseringsfase.</a:t>
            </a:r>
          </a:p>
          <a:p>
            <a:pPr defTabSz="742950">
              <a:lnSpc>
                <a:spcPct val="90000"/>
              </a:lnSpc>
              <a:spcAft>
                <a:spcPts val="600"/>
              </a:spcAft>
              <a:defRPr/>
            </a:pPr>
            <a:r>
              <a:rPr lang="da-DK" sz="900" kern="0">
                <a:solidFill>
                  <a:srgbClr val="000000"/>
                </a:solidFill>
              </a:rPr>
              <a:t>Hensigten hermed er at modtage input og inspiration fra leverandørerne til den skitserede proces. </a:t>
            </a:r>
            <a:endParaRPr lang="da-DK" sz="900" kern="0">
              <a:solidFill>
                <a:srgbClr val="000000"/>
              </a:solidFill>
              <a:ea typeface="Verdana"/>
              <a:cs typeface="Verdana"/>
            </a:endParaRPr>
          </a:p>
        </p:txBody>
      </p:sp>
      <p:sp>
        <p:nvSpPr>
          <p:cNvPr id="80" name="Rectangle 79">
            <a:extLst>
              <a:ext uri="{FF2B5EF4-FFF2-40B4-BE49-F238E27FC236}">
                <a16:creationId xmlns:a16="http://schemas.microsoft.com/office/drawing/2014/main" id="{6A0F487A-3189-4A06-BCBC-D83643957827}"/>
              </a:ext>
            </a:extLst>
          </p:cNvPr>
          <p:cNvSpPr/>
          <p:nvPr/>
        </p:nvSpPr>
        <p:spPr>
          <a:xfrm>
            <a:off x="3984386" y="3428999"/>
            <a:ext cx="1351215" cy="1949765"/>
          </a:xfrm>
          <a:prstGeom prst="rect">
            <a:avLst/>
          </a:prstGeom>
          <a:noFill/>
          <a:ln w="9525" cap="flat" cmpd="sng" algn="ctr">
            <a:noFill/>
            <a:prstDash val="solid"/>
            <a:miter lim="800000"/>
          </a:ln>
          <a:effectLst/>
        </p:spPr>
        <p:txBody>
          <a:bodyPr lIns="0" tIns="0" rIns="0" bIns="0" rtlCol="0" anchor="t">
            <a:spAutoFit/>
          </a:bodyPr>
          <a:lstStyle/>
          <a:p>
            <a:pPr defTabSz="742950">
              <a:lnSpc>
                <a:spcPct val="90000"/>
              </a:lnSpc>
              <a:spcAft>
                <a:spcPts val="600"/>
              </a:spcAft>
              <a:buFont typeface="Arial" panose="020B0604020202020204" pitchFamily="34" charset="0"/>
              <a:defRPr/>
            </a:pPr>
            <a:r>
              <a:rPr kumimoji="0" lang="da-DK" sz="900" b="0" i="0" u="none" strike="noStrike" kern="0" cap="none" spc="0" normalizeH="0" baseline="0" noProof="0">
                <a:ln>
                  <a:noFill/>
                </a:ln>
                <a:solidFill>
                  <a:srgbClr val="000000"/>
                </a:solidFill>
                <a:effectLst/>
                <a:uLnTx/>
                <a:uFillTx/>
                <a:ea typeface="+mn-ea"/>
                <a:cs typeface="+mn-cs"/>
              </a:rPr>
              <a:t>Formålet er at give leverandøren indsigt i </a:t>
            </a:r>
            <a:r>
              <a:rPr kumimoji="0" lang="da-DK" sz="900" b="0" i="0" u="none" strike="noStrike" kern="0" cap="none" spc="0" normalizeH="0" baseline="0" noProof="0">
                <a:ln>
                  <a:noFill/>
                </a:ln>
                <a:effectLst/>
                <a:uLnTx/>
                <a:uFillTx/>
                <a:ea typeface="+mn-ea"/>
                <a:cs typeface="+mn-cs"/>
              </a:rPr>
              <a:t>identificerede behov </a:t>
            </a:r>
            <a:r>
              <a:rPr lang="da-DK" sz="900" kern="0"/>
              <a:t>i en eventuel</a:t>
            </a:r>
            <a:r>
              <a:rPr kumimoji="0" lang="da-DK" sz="900" b="0" i="0" u="none" strike="noStrike" kern="0" cap="none" spc="0" normalizeH="0" baseline="0" noProof="0">
                <a:ln>
                  <a:noFill/>
                </a:ln>
                <a:effectLst/>
                <a:uLnTx/>
                <a:uFillTx/>
                <a:ea typeface="+mn-ea"/>
                <a:cs typeface="+mn-cs"/>
              </a:rPr>
              <a:t> kommende løsning</a:t>
            </a:r>
            <a:r>
              <a:rPr lang="da-DK" sz="900" kern="0">
                <a:solidFill>
                  <a:srgbClr val="000000"/>
                </a:solidFill>
              </a:rPr>
              <a:t>.</a:t>
            </a:r>
            <a:endParaRPr lang="da-DK" sz="900" kern="0">
              <a:ea typeface="Verdana"/>
              <a:cs typeface="Verdana"/>
            </a:endParaRPr>
          </a:p>
          <a:p>
            <a:pPr marL="0" marR="0" lvl="0" indent="0" defTabSz="74295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da-DK" sz="900" b="0" i="0" u="none" strike="noStrike" kern="0" cap="none" spc="0" normalizeH="0" baseline="0" noProof="0">
                <a:ln>
                  <a:noFill/>
                </a:ln>
                <a:solidFill>
                  <a:srgbClr val="000000"/>
                </a:solidFill>
                <a:effectLst/>
                <a:uLnTx/>
                <a:uFillTx/>
                <a:ea typeface="+mn-ea"/>
                <a:cs typeface="+mn-cs"/>
              </a:rPr>
              <a:t>Afsnittet indeholder fire temaer:</a:t>
            </a:r>
            <a:endParaRPr lang="da-DK" sz="900" b="0" i="0" u="none" strike="noStrike" kern="0" cap="none" spc="0" normalizeH="0" baseline="0" noProof="0">
              <a:ln>
                <a:noFill/>
              </a:ln>
              <a:solidFill>
                <a:srgbClr val="000000"/>
              </a:solidFill>
              <a:effectLst/>
              <a:uLnTx/>
              <a:uFillTx/>
              <a:ea typeface="Verdana"/>
              <a:cs typeface="Verdana"/>
            </a:endParaRPr>
          </a:p>
          <a:p>
            <a:pPr marL="107950" marR="0" lvl="0" indent="-107950" defTabSz="742950" eaLnBrk="1" fontAlgn="auto" latinLnBrk="0" hangingPunct="1">
              <a:spcBef>
                <a:spcPts val="0"/>
              </a:spcBef>
              <a:spcAft>
                <a:spcPts val="600"/>
              </a:spcAft>
              <a:buClrTx/>
              <a:buSzTx/>
              <a:buFont typeface="Arial" panose="020B0604020202020204" pitchFamily="34" charset="0"/>
              <a:buChar char="•"/>
              <a:tabLst/>
              <a:defRPr/>
            </a:pPr>
            <a:r>
              <a:rPr kumimoji="0" lang="da-DK" sz="900" b="0" i="0" u="none" strike="noStrike" kern="0" cap="none" spc="0" normalizeH="0" baseline="0" noProof="0">
                <a:ln>
                  <a:noFill/>
                </a:ln>
                <a:solidFill>
                  <a:srgbClr val="000000"/>
                </a:solidFill>
                <a:effectLst/>
                <a:uLnTx/>
                <a:uFillTx/>
                <a:ea typeface="+mn-ea"/>
                <a:cs typeface="+mn-cs"/>
              </a:rPr>
              <a:t>Anvendelse af IndFak</a:t>
            </a:r>
            <a:endParaRPr lang="da-DK" sz="900" b="0" i="0" u="none" strike="noStrike" kern="0" cap="none" spc="0" normalizeH="0" baseline="0" noProof="0">
              <a:ln>
                <a:noFill/>
              </a:ln>
              <a:solidFill>
                <a:srgbClr val="000000"/>
              </a:solidFill>
              <a:effectLst/>
              <a:uLnTx/>
              <a:uFillTx/>
              <a:ea typeface="Verdana"/>
              <a:cs typeface="Verdana"/>
            </a:endParaRPr>
          </a:p>
          <a:p>
            <a:pPr marL="107950" marR="0" lvl="0" indent="-107950" defTabSz="742950" eaLnBrk="1" fontAlgn="auto" latinLnBrk="0" hangingPunct="1">
              <a:spcBef>
                <a:spcPts val="0"/>
              </a:spcBef>
              <a:spcAft>
                <a:spcPts val="600"/>
              </a:spcAft>
              <a:buClrTx/>
              <a:buSzTx/>
              <a:buFont typeface="Arial" panose="020B0604020202020204" pitchFamily="34" charset="0"/>
              <a:buChar char="•"/>
              <a:tabLst/>
              <a:defRPr/>
            </a:pPr>
            <a:r>
              <a:rPr kumimoji="0" lang="da-DK" sz="900" b="0" i="0" u="none" strike="noStrike" kern="0" cap="none" spc="0" normalizeH="0" baseline="0" noProof="0">
                <a:ln>
                  <a:noFill/>
                </a:ln>
                <a:solidFill>
                  <a:srgbClr val="000000"/>
                </a:solidFill>
                <a:effectLst/>
                <a:uLnTx/>
                <a:uFillTx/>
                <a:ea typeface="+mn-ea"/>
                <a:cs typeface="+mn-cs"/>
              </a:rPr>
              <a:t>Arkitektur</a:t>
            </a:r>
            <a:endParaRPr lang="da-DK" sz="900" b="0" i="0" u="none" strike="noStrike" kern="0" cap="none" spc="0" normalizeH="0" baseline="0" noProof="0">
              <a:ln>
                <a:noFill/>
              </a:ln>
              <a:solidFill>
                <a:srgbClr val="000000"/>
              </a:solidFill>
              <a:effectLst/>
              <a:uLnTx/>
              <a:uFillTx/>
              <a:ea typeface="Verdana"/>
              <a:cs typeface="Verdana"/>
            </a:endParaRPr>
          </a:p>
          <a:p>
            <a:pPr marL="107950" marR="0" lvl="0" indent="-107950" defTabSz="742950" eaLnBrk="1" fontAlgn="auto" latinLnBrk="0" hangingPunct="1">
              <a:spcBef>
                <a:spcPts val="0"/>
              </a:spcBef>
              <a:spcAft>
                <a:spcPts val="600"/>
              </a:spcAft>
              <a:buClrTx/>
              <a:buSzTx/>
              <a:buFont typeface="Arial" panose="020B0604020202020204" pitchFamily="34" charset="0"/>
              <a:buChar char="•"/>
              <a:tabLst/>
              <a:defRPr/>
            </a:pPr>
            <a:r>
              <a:rPr kumimoji="0" lang="da-DK" sz="900" b="0" i="0" u="none" strike="noStrike" kern="0" cap="none" spc="0" normalizeH="0" baseline="0" noProof="0">
                <a:ln>
                  <a:noFill/>
                </a:ln>
                <a:solidFill>
                  <a:srgbClr val="000000"/>
                </a:solidFill>
                <a:effectLst/>
                <a:uLnTx/>
                <a:uFillTx/>
                <a:ea typeface="+mn-ea"/>
                <a:cs typeface="+mn-cs"/>
              </a:rPr>
              <a:t>Udvikling og implementering</a:t>
            </a:r>
          </a:p>
          <a:p>
            <a:pPr marL="107950" marR="0" lvl="0" indent="-107950" defTabSz="742950" eaLnBrk="1" fontAlgn="auto" latinLnBrk="0" hangingPunct="1">
              <a:spcBef>
                <a:spcPts val="0"/>
              </a:spcBef>
              <a:spcAft>
                <a:spcPts val="600"/>
              </a:spcAft>
              <a:buClrTx/>
              <a:buSzTx/>
              <a:buFont typeface="Arial" panose="020B0604020202020204" pitchFamily="34" charset="0"/>
              <a:buChar char="•"/>
              <a:tabLst/>
              <a:defRPr/>
            </a:pPr>
            <a:r>
              <a:rPr lang="da-DK" sz="900" b="0" i="0" u="none" strike="noStrike" kern="0" cap="none" spc="0" normalizeH="0" baseline="0" noProof="0">
                <a:ln>
                  <a:noFill/>
                </a:ln>
                <a:solidFill>
                  <a:srgbClr val="000000"/>
                </a:solidFill>
                <a:effectLst/>
                <a:uLnTx/>
                <a:uFillTx/>
                <a:ea typeface="Verdana"/>
                <a:cs typeface="Verdana"/>
              </a:rPr>
              <a:t>Drift</a:t>
            </a:r>
          </a:p>
        </p:txBody>
      </p:sp>
      <p:sp>
        <p:nvSpPr>
          <p:cNvPr id="81" name="Rectangle 80">
            <a:extLst>
              <a:ext uri="{FF2B5EF4-FFF2-40B4-BE49-F238E27FC236}">
                <a16:creationId xmlns:a16="http://schemas.microsoft.com/office/drawing/2014/main" id="{DF16B833-23AD-4156-BC19-4F73DE5628B2}"/>
              </a:ext>
            </a:extLst>
          </p:cNvPr>
          <p:cNvSpPr/>
          <p:nvPr/>
        </p:nvSpPr>
        <p:spPr>
          <a:xfrm>
            <a:off x="2354937" y="3428999"/>
            <a:ext cx="1357063" cy="2148280"/>
          </a:xfrm>
          <a:prstGeom prst="rect">
            <a:avLst/>
          </a:prstGeom>
          <a:noFill/>
          <a:ln w="9525" cap="flat" cmpd="sng" algn="ctr">
            <a:noFill/>
            <a:prstDash val="solid"/>
            <a:miter lim="800000"/>
          </a:ln>
          <a:effectLst/>
        </p:spPr>
        <p:txBody>
          <a:bodyPr lIns="0" tIns="0" rIns="0" bIns="0" rtlCol="0" anchor="t">
            <a:spAutoFit/>
          </a:bodyPr>
          <a:lstStyle/>
          <a:p>
            <a:pPr defTabSz="742950">
              <a:lnSpc>
                <a:spcPct val="90000"/>
              </a:lnSpc>
              <a:spcAft>
                <a:spcPts val="600"/>
              </a:spcAft>
              <a:defRPr/>
            </a:pPr>
            <a:r>
              <a:rPr lang="da-DK" sz="900" kern="0">
                <a:solidFill>
                  <a:srgbClr val="000000"/>
                </a:solidFill>
              </a:rPr>
              <a:t>Formålet med dette afsnit er at give Økonomistyrelsen kendskab til leverandøren, herunder tilbudte ydelser samt kompetencer og erfaringer.</a:t>
            </a:r>
          </a:p>
          <a:p>
            <a:pPr defTabSz="742950">
              <a:lnSpc>
                <a:spcPct val="90000"/>
              </a:lnSpc>
              <a:spcAft>
                <a:spcPts val="600"/>
              </a:spcAft>
              <a:defRPr/>
            </a:pPr>
            <a:r>
              <a:rPr lang="da-DK" sz="900" kern="0">
                <a:solidFill>
                  <a:srgbClr val="000000"/>
                </a:solidFill>
              </a:rPr>
              <a:t>Dette skal bidrage til, at Økonomistyrelsen får et indblik i markedets </a:t>
            </a:r>
            <a:br>
              <a:rPr lang="da-DK" sz="900" kern="0">
                <a:solidFill>
                  <a:srgbClr val="000000"/>
                </a:solidFill>
              </a:rPr>
            </a:br>
            <a:r>
              <a:rPr lang="da-DK" sz="900" kern="0">
                <a:solidFill>
                  <a:srgbClr val="000000"/>
                </a:solidFill>
              </a:rPr>
              <a:t>karakteristika, vilkår og mangfoldighed.</a:t>
            </a:r>
            <a:endParaRPr lang="da-DK" sz="900" kern="0">
              <a:solidFill>
                <a:srgbClr val="000000"/>
              </a:solidFill>
              <a:ea typeface="Verdana"/>
              <a:cs typeface="Verdana"/>
            </a:endParaRPr>
          </a:p>
          <a:p>
            <a:pPr defTabSz="742950">
              <a:lnSpc>
                <a:spcPct val="90000"/>
              </a:lnSpc>
              <a:spcAft>
                <a:spcPts val="300"/>
              </a:spcAft>
              <a:defRPr/>
            </a:pPr>
            <a:endParaRPr lang="da-DK" sz="900" kern="0">
              <a:solidFill>
                <a:srgbClr val="000000"/>
              </a:solidFill>
              <a:ea typeface="Verdana"/>
              <a:cs typeface="Verdana"/>
            </a:endParaRPr>
          </a:p>
        </p:txBody>
      </p:sp>
      <p:sp>
        <p:nvSpPr>
          <p:cNvPr id="83" name="Rectangle 82">
            <a:extLst>
              <a:ext uri="{FF2B5EF4-FFF2-40B4-BE49-F238E27FC236}">
                <a16:creationId xmlns:a16="http://schemas.microsoft.com/office/drawing/2014/main" id="{79142602-6DB6-40E1-B5A7-7A179ED44537}"/>
              </a:ext>
            </a:extLst>
          </p:cNvPr>
          <p:cNvSpPr/>
          <p:nvPr/>
        </p:nvSpPr>
        <p:spPr>
          <a:xfrm>
            <a:off x="725488" y="3428999"/>
            <a:ext cx="1357063" cy="1946687"/>
          </a:xfrm>
          <a:prstGeom prst="rect">
            <a:avLst/>
          </a:prstGeom>
          <a:noFill/>
        </p:spPr>
        <p:txBody>
          <a:bodyPr lIns="0" tIns="0" rIns="0" bIns="0" rtlCol="0" anchor="t">
            <a:spAutoFit/>
          </a:bodyPr>
          <a:lstStyle/>
          <a:p>
            <a:pPr defTabSz="742950">
              <a:lnSpc>
                <a:spcPct val="90000"/>
              </a:lnSpc>
              <a:spcAft>
                <a:spcPts val="600"/>
              </a:spcAft>
              <a:defRPr/>
            </a:pPr>
            <a:r>
              <a:rPr lang="da-DK" sz="900" kern="0">
                <a:solidFill>
                  <a:srgbClr val="000000"/>
                </a:solidFill>
              </a:rPr>
              <a:t>Formålet er at give leverandøren et overordnet billede af den si</a:t>
            </a:r>
            <a:r>
              <a:rPr lang="da-DK" sz="900" kern="0"/>
              <a:t>tuation, der danner baggrunden for, at Økonomi-styrelsen overvejer anskaffelse og videreudvikling af IndFak.</a:t>
            </a:r>
            <a:endParaRPr lang="da-DK" sz="900" kern="0">
              <a:ea typeface="Verdana"/>
              <a:cs typeface="Verdana"/>
            </a:endParaRPr>
          </a:p>
          <a:p>
            <a:pPr defTabSz="742950">
              <a:lnSpc>
                <a:spcPct val="90000"/>
              </a:lnSpc>
              <a:spcAft>
                <a:spcPts val="600"/>
              </a:spcAft>
            </a:pPr>
            <a:r>
              <a:rPr lang="da-DK" sz="900" kern="0">
                <a:solidFill>
                  <a:srgbClr val="000000"/>
                </a:solidFill>
              </a:rPr>
              <a:t>De eksisterende</a:t>
            </a:r>
            <a:r>
              <a:rPr lang="da-DK" sz="900" kern="0"/>
              <a:t/>
            </a:r>
            <a:br>
              <a:rPr lang="da-DK" sz="900" kern="0"/>
            </a:br>
            <a:r>
              <a:rPr lang="da-DK" sz="900" kern="0">
                <a:solidFill>
                  <a:srgbClr val="000000"/>
                </a:solidFill>
              </a:rPr>
              <a:t>rammer, som den eventuelle nye løsning skal understøtte, </a:t>
            </a:r>
            <a:r>
              <a:rPr lang="da-DK" sz="900" kern="0"/>
              <a:t/>
            </a:r>
            <a:br>
              <a:rPr lang="da-DK" sz="900" kern="0"/>
            </a:br>
            <a:r>
              <a:rPr lang="da-DK" sz="900" kern="0">
                <a:solidFill>
                  <a:srgbClr val="000000"/>
                </a:solidFill>
              </a:rPr>
              <a:t>beskrives kort. </a:t>
            </a:r>
            <a:endParaRPr lang="da-DK" sz="900" kern="0">
              <a:solidFill>
                <a:srgbClr val="FF0000"/>
              </a:solidFill>
              <a:ea typeface="Verdana"/>
              <a:cs typeface="Verdana"/>
            </a:endParaRPr>
          </a:p>
        </p:txBody>
      </p:sp>
      <p:sp>
        <p:nvSpPr>
          <p:cNvPr id="82" name="Rectangle 81">
            <a:extLst>
              <a:ext uri="{FF2B5EF4-FFF2-40B4-BE49-F238E27FC236}">
                <a16:creationId xmlns:a16="http://schemas.microsoft.com/office/drawing/2014/main" id="{09ECA659-ACD3-4D87-934F-FBBC04DF919C}"/>
              </a:ext>
            </a:extLst>
          </p:cNvPr>
          <p:cNvSpPr/>
          <p:nvPr/>
        </p:nvSpPr>
        <p:spPr>
          <a:xfrm>
            <a:off x="7237437" y="3428999"/>
            <a:ext cx="1367691" cy="1886670"/>
          </a:xfrm>
          <a:prstGeom prst="rect">
            <a:avLst/>
          </a:prstGeom>
          <a:noFill/>
          <a:ln w="9525" cap="flat" cmpd="sng" algn="ctr">
            <a:noFill/>
            <a:prstDash val="solid"/>
            <a:miter lim="800000"/>
          </a:ln>
          <a:effectLst/>
        </p:spPr>
        <p:txBody>
          <a:bodyPr wrap="square" lIns="0" tIns="0" rIns="0" bIns="0" rtlCol="0" anchor="t">
            <a:spAutoFit/>
          </a:bodyPr>
          <a:lstStyle/>
          <a:p>
            <a:pPr defTabSz="742950">
              <a:lnSpc>
                <a:spcPct val="90000"/>
              </a:lnSpc>
              <a:spcAft>
                <a:spcPts val="600"/>
              </a:spcAft>
              <a:defRPr/>
            </a:pPr>
            <a:r>
              <a:rPr kumimoji="0" lang="da-DK" sz="900" b="0" i="0" u="none" strike="noStrike" kern="0" cap="none" spc="0" normalizeH="0" baseline="0" noProof="0">
                <a:ln>
                  <a:noFill/>
                </a:ln>
                <a:solidFill>
                  <a:srgbClr val="000000"/>
                </a:solidFill>
                <a:effectLst/>
                <a:uLnTx/>
                <a:uFillTx/>
                <a:ea typeface="+mn-ea"/>
                <a:cs typeface="+mn-cs"/>
              </a:rPr>
              <a:t>Formålet er, at </a:t>
            </a:r>
            <a:r>
              <a:rPr lang="da-DK" sz="900" kern="0">
                <a:ea typeface="+mn-lt"/>
                <a:cs typeface="+mn-lt"/>
              </a:rPr>
              <a:t>Økonomistyrelsen får indblik i leverandørens </a:t>
            </a:r>
            <a:br>
              <a:rPr lang="da-DK" sz="900" kern="0">
                <a:ea typeface="+mn-lt"/>
                <a:cs typeface="+mn-lt"/>
              </a:rPr>
            </a:br>
            <a:r>
              <a:rPr lang="da-DK" sz="900" kern="0">
                <a:ea typeface="+mn-lt"/>
                <a:cs typeface="+mn-lt"/>
              </a:rPr>
              <a:t>synspunkter på udvalgte kommercielle emner, herunder:</a:t>
            </a:r>
            <a:endParaRPr lang="da-DK" sz="900">
              <a:ea typeface="+mn-ea"/>
              <a:cs typeface="+mn-cs"/>
            </a:endParaRPr>
          </a:p>
          <a:p>
            <a:pPr marL="107950" indent="-107950" defTabSz="742950">
              <a:spcAft>
                <a:spcPts val="600"/>
              </a:spcAft>
              <a:buFont typeface="Arial" panose="020B0604020202020204" pitchFamily="34" charset="0"/>
              <a:buChar char="•"/>
              <a:defRPr/>
            </a:pPr>
            <a:r>
              <a:rPr lang="da-DK" sz="900" kern="0">
                <a:solidFill>
                  <a:srgbClr val="000000"/>
                </a:solidFill>
              </a:rPr>
              <a:t>Samlet TCO</a:t>
            </a:r>
          </a:p>
          <a:p>
            <a:pPr marL="107950" indent="-107950" defTabSz="742950">
              <a:spcAft>
                <a:spcPts val="600"/>
              </a:spcAft>
              <a:buFont typeface="Arial" panose="020B0604020202020204" pitchFamily="34" charset="0"/>
              <a:buChar char="•"/>
              <a:defRPr/>
            </a:pPr>
            <a:r>
              <a:rPr lang="da-DK" sz="900" kern="0">
                <a:solidFill>
                  <a:srgbClr val="000000"/>
                </a:solidFill>
                <a:ea typeface="Verdana"/>
                <a:cs typeface="Verdana"/>
              </a:rPr>
              <a:t>Omkostnings-effektivitet</a:t>
            </a:r>
          </a:p>
          <a:p>
            <a:pPr marL="107950" indent="-107950" defTabSz="742950">
              <a:spcAft>
                <a:spcPts val="600"/>
              </a:spcAft>
              <a:buFont typeface="Arial" panose="020B0604020202020204" pitchFamily="34" charset="0"/>
              <a:buChar char="•"/>
              <a:defRPr/>
            </a:pPr>
            <a:r>
              <a:rPr lang="da-DK" sz="900" kern="0">
                <a:solidFill>
                  <a:srgbClr val="000000"/>
                </a:solidFill>
                <a:ea typeface="Verdana"/>
                <a:cs typeface="Verdana"/>
              </a:rPr>
              <a:t>Prissætning</a:t>
            </a:r>
          </a:p>
          <a:p>
            <a:pPr marL="107950" indent="-107950" defTabSz="742950">
              <a:spcAft>
                <a:spcPts val="600"/>
              </a:spcAft>
              <a:buFont typeface="Arial" panose="020B0604020202020204" pitchFamily="34" charset="0"/>
              <a:buChar char="•"/>
              <a:defRPr/>
            </a:pPr>
            <a:r>
              <a:rPr lang="da-DK" sz="900" kern="0">
                <a:solidFill>
                  <a:srgbClr val="000000"/>
                </a:solidFill>
                <a:ea typeface="Verdana"/>
                <a:cs typeface="Verdana"/>
              </a:rPr>
              <a:t>Kontrakttype og vilkår</a:t>
            </a:r>
          </a:p>
        </p:txBody>
      </p:sp>
      <p:sp>
        <p:nvSpPr>
          <p:cNvPr id="27" name="Rectangle 26">
            <a:extLst>
              <a:ext uri="{FF2B5EF4-FFF2-40B4-BE49-F238E27FC236}">
                <a16:creationId xmlns:a16="http://schemas.microsoft.com/office/drawing/2014/main" id="{4F2B95E2-95E0-40CD-A7EA-2CEED22EAE2A}"/>
              </a:ext>
            </a:extLst>
          </p:cNvPr>
          <p:cNvSpPr/>
          <p:nvPr/>
        </p:nvSpPr>
        <p:spPr>
          <a:xfrm>
            <a:off x="0" y="1178872"/>
            <a:ext cx="9144000" cy="474274"/>
          </a:xfrm>
          <a:prstGeom prst="rect">
            <a:avLst/>
          </a:prstGeom>
          <a:solidFill>
            <a:srgbClr val="FBF9F1"/>
          </a:solidFill>
        </p:spPr>
        <p:txBody>
          <a:bodyPr wrap="square" lIns="0" rIns="0" anchor="ctr">
            <a:noAutofit/>
          </a:bodyPr>
          <a:lstStyle/>
          <a:p>
            <a:pPr algn="ctr">
              <a:lnSpc>
                <a:spcPct val="100000"/>
              </a:lnSpc>
              <a:spcAft>
                <a:spcPts val="600"/>
              </a:spcAft>
            </a:pPr>
            <a:r>
              <a:rPr lang="da-DK" sz="900" b="1"/>
              <a:t>Denne side beskriver formålet med hver af de fem afsnit i dette bilag 2 til RFI vejledningen. </a:t>
            </a:r>
          </a:p>
        </p:txBody>
      </p:sp>
      <p:grpSp>
        <p:nvGrpSpPr>
          <p:cNvPr id="23" name="Group 22">
            <a:extLst>
              <a:ext uri="{FF2B5EF4-FFF2-40B4-BE49-F238E27FC236}">
                <a16:creationId xmlns:a16="http://schemas.microsoft.com/office/drawing/2014/main" id="{F2FEE1A9-6AB6-4205-8B28-02C6C0047767}"/>
              </a:ext>
            </a:extLst>
          </p:cNvPr>
          <p:cNvGrpSpPr/>
          <p:nvPr/>
        </p:nvGrpSpPr>
        <p:grpSpPr>
          <a:xfrm>
            <a:off x="725488" y="2163027"/>
            <a:ext cx="7607613" cy="1023184"/>
            <a:chOff x="725488" y="2207895"/>
            <a:chExt cx="7607613" cy="1023184"/>
          </a:xfrm>
        </p:grpSpPr>
        <p:grpSp>
          <p:nvGrpSpPr>
            <p:cNvPr id="18" name="Group 17">
              <a:extLst>
                <a:ext uri="{FF2B5EF4-FFF2-40B4-BE49-F238E27FC236}">
                  <a16:creationId xmlns:a16="http://schemas.microsoft.com/office/drawing/2014/main" id="{8C2E108A-1C1A-4200-BB3A-760FE4760A80}"/>
                </a:ext>
              </a:extLst>
            </p:cNvPr>
            <p:cNvGrpSpPr/>
            <p:nvPr/>
          </p:nvGrpSpPr>
          <p:grpSpPr>
            <a:xfrm>
              <a:off x="2354937" y="2207895"/>
              <a:ext cx="1095664" cy="1023184"/>
              <a:chOff x="2168585" y="2195439"/>
              <a:chExt cx="1212156" cy="1131970"/>
            </a:xfrm>
          </p:grpSpPr>
          <p:sp>
            <p:nvSpPr>
              <p:cNvPr id="85" name="Freeform: Shape 84">
                <a:extLst>
                  <a:ext uri="{FF2B5EF4-FFF2-40B4-BE49-F238E27FC236}">
                    <a16:creationId xmlns:a16="http://schemas.microsoft.com/office/drawing/2014/main" id="{3CC45BD9-C2C3-4B8C-9E6B-0EB38614B1DC}"/>
                  </a:ext>
                </a:extLst>
              </p:cNvPr>
              <p:cNvSpPr/>
              <p:nvPr/>
            </p:nvSpPr>
            <p:spPr>
              <a:xfrm>
                <a:off x="2168585" y="2205869"/>
                <a:ext cx="1147210" cy="1121540"/>
              </a:xfrm>
              <a:custGeom>
                <a:avLst/>
                <a:gdLst>
                  <a:gd name="connsiteX0" fmla="*/ 1415724 w 1418150"/>
                  <a:gd name="connsiteY0" fmla="*/ 709884 h 1418150"/>
                  <a:gd name="connsiteX1" fmla="*/ 709884 w 1418150"/>
                  <a:gd name="connsiteY1" fmla="*/ 1415724 h 1418150"/>
                  <a:gd name="connsiteX2" fmla="*/ 4044 w 1418150"/>
                  <a:gd name="connsiteY2" fmla="*/ 709884 h 1418150"/>
                  <a:gd name="connsiteX3" fmla="*/ 709884 w 1418150"/>
                  <a:gd name="connsiteY3" fmla="*/ 4044 h 1418150"/>
                  <a:gd name="connsiteX4" fmla="*/ 1415724 w 1418150"/>
                  <a:gd name="connsiteY4" fmla="*/ 709884 h 141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150" h="1418150">
                    <a:moveTo>
                      <a:pt x="1415724" y="709884"/>
                    </a:moveTo>
                    <a:cubicBezTo>
                      <a:pt x="1415724" y="1099709"/>
                      <a:pt x="1099709" y="1415724"/>
                      <a:pt x="709884" y="1415724"/>
                    </a:cubicBezTo>
                    <a:cubicBezTo>
                      <a:pt x="320060" y="1415724"/>
                      <a:pt x="4044" y="1099709"/>
                      <a:pt x="4044" y="709884"/>
                    </a:cubicBezTo>
                    <a:cubicBezTo>
                      <a:pt x="4044" y="320060"/>
                      <a:pt x="320060" y="4044"/>
                      <a:pt x="709884" y="4044"/>
                    </a:cubicBezTo>
                    <a:cubicBezTo>
                      <a:pt x="1099709" y="4044"/>
                      <a:pt x="1415724" y="320060"/>
                      <a:pt x="1415724" y="709884"/>
                    </a:cubicBezTo>
                    <a:close/>
                  </a:path>
                </a:pathLst>
              </a:custGeom>
              <a:solidFill>
                <a:schemeClr val="bg1">
                  <a:lumMod val="85000"/>
                </a:schemeClr>
              </a:solidFill>
              <a:ln w="9525" cap="flat">
                <a:noFill/>
                <a:prstDash val="solid"/>
                <a:miter/>
              </a:ln>
            </p:spPr>
            <p:txBody>
              <a:bodyPr lIns="144000" tIns="180000" rIns="72000" rtlCol="0" anchor="t"/>
              <a:lstStyle/>
              <a:p>
                <a:pPr marL="0" lvl="1" algn="ctr" defTabSz="742950">
                  <a:lnSpc>
                    <a:spcPct val="90000"/>
                  </a:lnSpc>
                  <a:spcAft>
                    <a:spcPts val="600"/>
                  </a:spcAft>
                  <a:buSzPct val="100000"/>
                  <a:defRPr/>
                </a:pPr>
                <a:r>
                  <a:rPr lang="da-DK" sz="900" b="1" kern="0">
                    <a:sym typeface="Arial" panose="020B0604020202020204" pitchFamily="34" charset="0"/>
                  </a:rPr>
                  <a:t>2. </a:t>
                </a:r>
              </a:p>
              <a:p>
                <a:pPr marL="0" lvl="1" algn="ctr" defTabSz="742950">
                  <a:lnSpc>
                    <a:spcPct val="90000"/>
                  </a:lnSpc>
                  <a:spcAft>
                    <a:spcPts val="600"/>
                  </a:spcAft>
                  <a:buSzPct val="100000"/>
                  <a:defRPr/>
                </a:pPr>
                <a:r>
                  <a:rPr lang="da-DK" sz="900" b="1" kern="0" err="1">
                    <a:sym typeface="Arial" panose="020B0604020202020204" pitchFamily="34" charset="0"/>
                  </a:rPr>
                  <a:t>Leveran-døren</a:t>
                </a:r>
                <a:endParaRPr lang="da-DK" sz="900" b="1" kern="0">
                  <a:sym typeface="Arial" panose="020B0604020202020204" pitchFamily="34" charset="0"/>
                </a:endParaRPr>
              </a:p>
            </p:txBody>
          </p:sp>
          <p:sp>
            <p:nvSpPr>
              <p:cNvPr id="89" name="Freeform: Shape 88">
                <a:extLst>
                  <a:ext uri="{FF2B5EF4-FFF2-40B4-BE49-F238E27FC236}">
                    <a16:creationId xmlns:a16="http://schemas.microsoft.com/office/drawing/2014/main" id="{3FB28B66-7E48-406F-A39D-3B81A3CD348A}"/>
                  </a:ext>
                </a:extLst>
              </p:cNvPr>
              <p:cNvSpPr/>
              <p:nvPr/>
            </p:nvSpPr>
            <p:spPr>
              <a:xfrm>
                <a:off x="2239233" y="2195439"/>
                <a:ext cx="1141508" cy="1116351"/>
              </a:xfrm>
              <a:custGeom>
                <a:avLst/>
                <a:gdLst>
                  <a:gd name="connsiteX0" fmla="*/ 1368833 w 1757860"/>
                  <a:gd name="connsiteY0" fmla="*/ 975429 h 1423543"/>
                  <a:gd name="connsiteX1" fmla="*/ 1250744 w 1757860"/>
                  <a:gd name="connsiteY1" fmla="*/ 256108 h 1423543"/>
                  <a:gd name="connsiteX2" fmla="*/ 256421 w 1757860"/>
                  <a:gd name="connsiteY2" fmla="*/ 176304 h 1423543"/>
                  <a:gd name="connsiteX3" fmla="*/ 176077 w 1757860"/>
                  <a:gd name="connsiteY3" fmla="*/ 1171166 h 1423543"/>
                  <a:gd name="connsiteX4" fmla="*/ 1170939 w 1757860"/>
                  <a:gd name="connsiteY4" fmla="*/ 1251510 h 1423543"/>
                  <a:gd name="connsiteX5" fmla="*/ 1754915 w 1757860"/>
                  <a:gd name="connsiteY5" fmla="*/ 762437 h 1423543"/>
                  <a:gd name="connsiteX0" fmla="*/ 1360745 w 1411103"/>
                  <a:gd name="connsiteY0" fmla="*/ 967341 h 1411588"/>
                  <a:gd name="connsiteX1" fmla="*/ 1242656 w 1411103"/>
                  <a:gd name="connsiteY1" fmla="*/ 248020 h 1411588"/>
                  <a:gd name="connsiteX2" fmla="*/ 248333 w 1411103"/>
                  <a:gd name="connsiteY2" fmla="*/ 168216 h 1411588"/>
                  <a:gd name="connsiteX3" fmla="*/ 167989 w 1411103"/>
                  <a:gd name="connsiteY3" fmla="*/ 1163078 h 1411588"/>
                  <a:gd name="connsiteX4" fmla="*/ 1162851 w 1411103"/>
                  <a:gd name="connsiteY4" fmla="*/ 1243422 h 1411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103" h="1411588">
                    <a:moveTo>
                      <a:pt x="1360745" y="967341"/>
                    </a:moveTo>
                    <a:cubicBezTo>
                      <a:pt x="1454570" y="732241"/>
                      <a:pt x="1418442" y="454542"/>
                      <a:pt x="1242656" y="248020"/>
                    </a:cubicBezTo>
                    <a:cubicBezTo>
                      <a:pt x="990300" y="-48551"/>
                      <a:pt x="544904" y="-84140"/>
                      <a:pt x="248333" y="168216"/>
                    </a:cubicBezTo>
                    <a:cubicBezTo>
                      <a:pt x="-48239" y="420571"/>
                      <a:pt x="-84367" y="865968"/>
                      <a:pt x="167989" y="1163078"/>
                    </a:cubicBezTo>
                    <a:cubicBezTo>
                      <a:pt x="420344" y="1460189"/>
                      <a:pt x="865740" y="1495778"/>
                      <a:pt x="1162851" y="1243422"/>
                    </a:cubicBezTo>
                  </a:path>
                </a:pathLst>
              </a:custGeom>
              <a:noFill/>
              <a:ln w="12700" cap="rnd">
                <a:solidFill>
                  <a:srgbClr val="30373B"/>
                </a:solidFill>
                <a:prstDash val="solid"/>
                <a:round/>
              </a:ln>
            </p:spPr>
            <p:txBody>
              <a:bodyPr rtlCol="0" anchor="ctr"/>
              <a:lstStyle/>
              <a:p>
                <a:pPr defTabSz="742950">
                  <a:lnSpc>
                    <a:spcPct val="90000"/>
                  </a:lnSpc>
                  <a:spcAft>
                    <a:spcPts val="600"/>
                  </a:spcAft>
                  <a:buFont typeface="Arial" panose="020B0604020202020204" pitchFamily="34" charset="0"/>
                  <a:buChar char="​"/>
                </a:pPr>
                <a:endParaRPr lang="da-DK" sz="900">
                  <a:solidFill>
                    <a:srgbClr val="1F2023"/>
                  </a:solidFill>
                  <a:latin typeface="+mj-lt"/>
                </a:endParaRPr>
              </a:p>
            </p:txBody>
          </p:sp>
        </p:grpSp>
        <p:grpSp>
          <p:nvGrpSpPr>
            <p:cNvPr id="17" name="Group 16">
              <a:extLst>
                <a:ext uri="{FF2B5EF4-FFF2-40B4-BE49-F238E27FC236}">
                  <a16:creationId xmlns:a16="http://schemas.microsoft.com/office/drawing/2014/main" id="{59B164A6-AA82-429C-A112-A2928F5F0247}"/>
                </a:ext>
              </a:extLst>
            </p:cNvPr>
            <p:cNvGrpSpPr/>
            <p:nvPr/>
          </p:nvGrpSpPr>
          <p:grpSpPr>
            <a:xfrm>
              <a:off x="725488" y="2217323"/>
              <a:ext cx="1092332" cy="1013756"/>
              <a:chOff x="628650" y="2205869"/>
              <a:chExt cx="1208470" cy="1121540"/>
            </a:xfrm>
          </p:grpSpPr>
          <p:sp>
            <p:nvSpPr>
              <p:cNvPr id="84" name="Freeform: Shape 83">
                <a:extLst>
                  <a:ext uri="{FF2B5EF4-FFF2-40B4-BE49-F238E27FC236}">
                    <a16:creationId xmlns:a16="http://schemas.microsoft.com/office/drawing/2014/main" id="{53FAE287-E3A0-4263-8788-B5D91151B49B}"/>
                  </a:ext>
                </a:extLst>
              </p:cNvPr>
              <p:cNvSpPr/>
              <p:nvPr/>
            </p:nvSpPr>
            <p:spPr>
              <a:xfrm>
                <a:off x="628650" y="2205869"/>
                <a:ext cx="1147210" cy="1121540"/>
              </a:xfrm>
              <a:custGeom>
                <a:avLst/>
                <a:gdLst>
                  <a:gd name="connsiteX0" fmla="*/ 1415724 w 1418150"/>
                  <a:gd name="connsiteY0" fmla="*/ 709884 h 1418150"/>
                  <a:gd name="connsiteX1" fmla="*/ 709884 w 1418150"/>
                  <a:gd name="connsiteY1" fmla="*/ 1415724 h 1418150"/>
                  <a:gd name="connsiteX2" fmla="*/ 4044 w 1418150"/>
                  <a:gd name="connsiteY2" fmla="*/ 709884 h 1418150"/>
                  <a:gd name="connsiteX3" fmla="*/ 709884 w 1418150"/>
                  <a:gd name="connsiteY3" fmla="*/ 4044 h 1418150"/>
                  <a:gd name="connsiteX4" fmla="*/ 1415724 w 1418150"/>
                  <a:gd name="connsiteY4" fmla="*/ 709884 h 141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150" h="1418150">
                    <a:moveTo>
                      <a:pt x="1415724" y="709884"/>
                    </a:moveTo>
                    <a:cubicBezTo>
                      <a:pt x="1415724" y="1099709"/>
                      <a:pt x="1099709" y="1415724"/>
                      <a:pt x="709884" y="1415724"/>
                    </a:cubicBezTo>
                    <a:cubicBezTo>
                      <a:pt x="320060" y="1415724"/>
                      <a:pt x="4044" y="1099709"/>
                      <a:pt x="4044" y="709884"/>
                    </a:cubicBezTo>
                    <a:cubicBezTo>
                      <a:pt x="4044" y="320060"/>
                      <a:pt x="320060" y="4044"/>
                      <a:pt x="709884" y="4044"/>
                    </a:cubicBezTo>
                    <a:cubicBezTo>
                      <a:pt x="1099709" y="4044"/>
                      <a:pt x="1415724" y="320060"/>
                      <a:pt x="1415724" y="709884"/>
                    </a:cubicBezTo>
                    <a:close/>
                  </a:path>
                </a:pathLst>
              </a:custGeom>
              <a:solidFill>
                <a:srgbClr val="EEEBE8"/>
              </a:solidFill>
              <a:ln w="9525" cap="flat">
                <a:noFill/>
                <a:prstDash val="solid"/>
                <a:miter/>
              </a:ln>
            </p:spPr>
            <p:txBody>
              <a:bodyPr lIns="144000" tIns="180000" rIns="72000" bIns="45720" rtlCol="0" anchor="t"/>
              <a:lstStyle/>
              <a:p>
                <a:pPr marL="0" lvl="1" algn="ctr" defTabSz="742950">
                  <a:lnSpc>
                    <a:spcPct val="90000"/>
                  </a:lnSpc>
                  <a:spcAft>
                    <a:spcPts val="600"/>
                  </a:spcAft>
                  <a:buSzPct val="100000"/>
                  <a:defRPr/>
                </a:pPr>
                <a:r>
                  <a:rPr lang="da-DK" sz="900" b="1" kern="0">
                    <a:sym typeface="Arial" panose="020B0604020202020204" pitchFamily="34" charset="0"/>
                  </a:rPr>
                  <a:t>1.</a:t>
                </a:r>
              </a:p>
              <a:p>
                <a:pPr marL="0" lvl="1" algn="ctr" defTabSz="742950">
                  <a:lnSpc>
                    <a:spcPct val="90000"/>
                  </a:lnSpc>
                  <a:spcAft>
                    <a:spcPts val="600"/>
                  </a:spcAft>
                  <a:buSzPct val="100000"/>
                  <a:defRPr/>
                </a:pPr>
                <a:r>
                  <a:rPr lang="da-DK" sz="900" b="1" kern="0">
                    <a:sym typeface="Arial" panose="020B0604020202020204" pitchFamily="34" charset="0"/>
                  </a:rPr>
                  <a:t>Baggrund og  formål</a:t>
                </a:r>
                <a:endParaRPr lang="da-DK" sz="900" b="1" kern="0">
                  <a:ea typeface="Verdana"/>
                  <a:cs typeface="Verdana"/>
                </a:endParaRPr>
              </a:p>
            </p:txBody>
          </p:sp>
          <p:sp>
            <p:nvSpPr>
              <p:cNvPr id="95" name="Freeform: Shape 94">
                <a:extLst>
                  <a:ext uri="{FF2B5EF4-FFF2-40B4-BE49-F238E27FC236}">
                    <a16:creationId xmlns:a16="http://schemas.microsoft.com/office/drawing/2014/main" id="{A058E6CD-60B4-4225-8D3A-5E484FB2DA5B}"/>
                  </a:ext>
                </a:extLst>
              </p:cNvPr>
              <p:cNvSpPr/>
              <p:nvPr/>
            </p:nvSpPr>
            <p:spPr>
              <a:xfrm>
                <a:off x="695612" y="2208249"/>
                <a:ext cx="1141508" cy="1116351"/>
              </a:xfrm>
              <a:custGeom>
                <a:avLst/>
                <a:gdLst>
                  <a:gd name="connsiteX0" fmla="*/ 1368833 w 1757860"/>
                  <a:gd name="connsiteY0" fmla="*/ 975429 h 1423543"/>
                  <a:gd name="connsiteX1" fmla="*/ 1250744 w 1757860"/>
                  <a:gd name="connsiteY1" fmla="*/ 256108 h 1423543"/>
                  <a:gd name="connsiteX2" fmla="*/ 256421 w 1757860"/>
                  <a:gd name="connsiteY2" fmla="*/ 176304 h 1423543"/>
                  <a:gd name="connsiteX3" fmla="*/ 176077 w 1757860"/>
                  <a:gd name="connsiteY3" fmla="*/ 1171166 h 1423543"/>
                  <a:gd name="connsiteX4" fmla="*/ 1170939 w 1757860"/>
                  <a:gd name="connsiteY4" fmla="*/ 1251510 h 1423543"/>
                  <a:gd name="connsiteX5" fmla="*/ 1754915 w 1757860"/>
                  <a:gd name="connsiteY5" fmla="*/ 762437 h 1423543"/>
                  <a:gd name="connsiteX0" fmla="*/ 1360745 w 1411103"/>
                  <a:gd name="connsiteY0" fmla="*/ 967341 h 1411588"/>
                  <a:gd name="connsiteX1" fmla="*/ 1242656 w 1411103"/>
                  <a:gd name="connsiteY1" fmla="*/ 248020 h 1411588"/>
                  <a:gd name="connsiteX2" fmla="*/ 248333 w 1411103"/>
                  <a:gd name="connsiteY2" fmla="*/ 168216 h 1411588"/>
                  <a:gd name="connsiteX3" fmla="*/ 167989 w 1411103"/>
                  <a:gd name="connsiteY3" fmla="*/ 1163078 h 1411588"/>
                  <a:gd name="connsiteX4" fmla="*/ 1162851 w 1411103"/>
                  <a:gd name="connsiteY4" fmla="*/ 1243422 h 1411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103" h="1411588">
                    <a:moveTo>
                      <a:pt x="1360745" y="967341"/>
                    </a:moveTo>
                    <a:cubicBezTo>
                      <a:pt x="1454570" y="732241"/>
                      <a:pt x="1418442" y="454542"/>
                      <a:pt x="1242656" y="248020"/>
                    </a:cubicBezTo>
                    <a:cubicBezTo>
                      <a:pt x="990300" y="-48551"/>
                      <a:pt x="544904" y="-84140"/>
                      <a:pt x="248333" y="168216"/>
                    </a:cubicBezTo>
                    <a:cubicBezTo>
                      <a:pt x="-48239" y="420571"/>
                      <a:pt x="-84367" y="865968"/>
                      <a:pt x="167989" y="1163078"/>
                    </a:cubicBezTo>
                    <a:cubicBezTo>
                      <a:pt x="420344" y="1460189"/>
                      <a:pt x="865740" y="1495778"/>
                      <a:pt x="1162851" y="1243422"/>
                    </a:cubicBezTo>
                  </a:path>
                </a:pathLst>
              </a:custGeom>
              <a:noFill/>
              <a:ln w="12700" cap="rnd">
                <a:solidFill>
                  <a:srgbClr val="30373B"/>
                </a:solidFill>
                <a:prstDash val="solid"/>
                <a:round/>
              </a:ln>
            </p:spPr>
            <p:txBody>
              <a:bodyPr rtlCol="0" anchor="ctr"/>
              <a:lstStyle/>
              <a:p>
                <a:pPr defTabSz="742950">
                  <a:lnSpc>
                    <a:spcPct val="90000"/>
                  </a:lnSpc>
                  <a:spcAft>
                    <a:spcPts val="600"/>
                  </a:spcAft>
                  <a:buFont typeface="Arial" panose="020B0604020202020204" pitchFamily="34" charset="0"/>
                  <a:buChar char="​"/>
                </a:pPr>
                <a:endParaRPr lang="da-DK" sz="900">
                  <a:solidFill>
                    <a:srgbClr val="1F2023"/>
                  </a:solidFill>
                  <a:latin typeface="+mj-lt"/>
                </a:endParaRPr>
              </a:p>
            </p:txBody>
          </p:sp>
        </p:grpSp>
        <p:grpSp>
          <p:nvGrpSpPr>
            <p:cNvPr id="19" name="Group 18">
              <a:extLst>
                <a:ext uri="{FF2B5EF4-FFF2-40B4-BE49-F238E27FC236}">
                  <a16:creationId xmlns:a16="http://schemas.microsoft.com/office/drawing/2014/main" id="{8C93B00E-184E-476B-B06C-4576449C1ED1}"/>
                </a:ext>
              </a:extLst>
            </p:cNvPr>
            <p:cNvGrpSpPr/>
            <p:nvPr/>
          </p:nvGrpSpPr>
          <p:grpSpPr>
            <a:xfrm>
              <a:off x="3984386" y="2207895"/>
              <a:ext cx="1095664" cy="1023184"/>
              <a:chOff x="3643427" y="2195439"/>
              <a:chExt cx="1212156" cy="1131970"/>
            </a:xfrm>
          </p:grpSpPr>
          <p:sp>
            <p:nvSpPr>
              <p:cNvPr id="36" name="Freeform: Shape 35">
                <a:extLst>
                  <a:ext uri="{FF2B5EF4-FFF2-40B4-BE49-F238E27FC236}">
                    <a16:creationId xmlns:a16="http://schemas.microsoft.com/office/drawing/2014/main" id="{5EBC9C3F-9CB1-4CA8-B695-5A67AC73243F}"/>
                  </a:ext>
                </a:extLst>
              </p:cNvPr>
              <p:cNvSpPr/>
              <p:nvPr/>
            </p:nvSpPr>
            <p:spPr>
              <a:xfrm>
                <a:off x="3643427" y="2205869"/>
                <a:ext cx="1147210" cy="1121540"/>
              </a:xfrm>
              <a:custGeom>
                <a:avLst/>
                <a:gdLst>
                  <a:gd name="connsiteX0" fmla="*/ 1415724 w 1418150"/>
                  <a:gd name="connsiteY0" fmla="*/ 709884 h 1418150"/>
                  <a:gd name="connsiteX1" fmla="*/ 709884 w 1418150"/>
                  <a:gd name="connsiteY1" fmla="*/ 1415724 h 1418150"/>
                  <a:gd name="connsiteX2" fmla="*/ 4044 w 1418150"/>
                  <a:gd name="connsiteY2" fmla="*/ 709884 h 1418150"/>
                  <a:gd name="connsiteX3" fmla="*/ 709884 w 1418150"/>
                  <a:gd name="connsiteY3" fmla="*/ 4044 h 1418150"/>
                  <a:gd name="connsiteX4" fmla="*/ 1415724 w 1418150"/>
                  <a:gd name="connsiteY4" fmla="*/ 709884 h 141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150" h="1418150">
                    <a:moveTo>
                      <a:pt x="1415724" y="709884"/>
                    </a:moveTo>
                    <a:cubicBezTo>
                      <a:pt x="1415724" y="1099709"/>
                      <a:pt x="1099709" y="1415724"/>
                      <a:pt x="709884" y="1415724"/>
                    </a:cubicBezTo>
                    <a:cubicBezTo>
                      <a:pt x="320060" y="1415724"/>
                      <a:pt x="4044" y="1099709"/>
                      <a:pt x="4044" y="709884"/>
                    </a:cubicBezTo>
                    <a:cubicBezTo>
                      <a:pt x="4044" y="320060"/>
                      <a:pt x="320060" y="4044"/>
                      <a:pt x="709884" y="4044"/>
                    </a:cubicBezTo>
                    <a:cubicBezTo>
                      <a:pt x="1099709" y="4044"/>
                      <a:pt x="1415724" y="320060"/>
                      <a:pt x="1415724" y="709884"/>
                    </a:cubicBezTo>
                    <a:close/>
                  </a:path>
                </a:pathLst>
              </a:custGeom>
              <a:solidFill>
                <a:srgbClr val="C3CFCB"/>
              </a:solidFill>
              <a:ln w="9525" cap="flat">
                <a:noFill/>
                <a:prstDash val="solid"/>
                <a:miter/>
              </a:ln>
            </p:spPr>
            <p:txBody>
              <a:bodyPr lIns="144000" tIns="180000" rIns="72000" rtlCol="0" anchor="t"/>
              <a:lstStyle/>
              <a:p>
                <a:pPr marL="0" lvl="1" algn="ctr" defTabSz="742950">
                  <a:lnSpc>
                    <a:spcPct val="90000"/>
                  </a:lnSpc>
                  <a:spcAft>
                    <a:spcPts val="600"/>
                  </a:spcAft>
                  <a:buSzPct val="100000"/>
                  <a:defRPr/>
                </a:pPr>
                <a:r>
                  <a:rPr lang="da-DK" sz="900" b="1" kern="0">
                    <a:sym typeface="Arial" panose="020B0604020202020204" pitchFamily="34" charset="0"/>
                  </a:rPr>
                  <a:t>3.</a:t>
                </a:r>
              </a:p>
              <a:p>
                <a:pPr marL="0" lvl="1" algn="ctr" defTabSz="742950">
                  <a:lnSpc>
                    <a:spcPct val="90000"/>
                  </a:lnSpc>
                  <a:spcAft>
                    <a:spcPts val="600"/>
                  </a:spcAft>
                  <a:buSzPct val="100000"/>
                  <a:defRPr/>
                </a:pPr>
                <a:r>
                  <a:rPr lang="da-DK" sz="900" b="1" kern="0">
                    <a:sym typeface="Arial" panose="020B0604020202020204" pitchFamily="34" charset="0"/>
                  </a:rPr>
                  <a:t>Løsningen </a:t>
                </a:r>
              </a:p>
            </p:txBody>
          </p:sp>
          <p:sp>
            <p:nvSpPr>
              <p:cNvPr id="37" name="Freeform: Shape 36">
                <a:extLst>
                  <a:ext uri="{FF2B5EF4-FFF2-40B4-BE49-F238E27FC236}">
                    <a16:creationId xmlns:a16="http://schemas.microsoft.com/office/drawing/2014/main" id="{AF79BD6A-B26B-4DC1-B90F-199A502D7699}"/>
                  </a:ext>
                </a:extLst>
              </p:cNvPr>
              <p:cNvSpPr/>
              <p:nvPr/>
            </p:nvSpPr>
            <p:spPr>
              <a:xfrm>
                <a:off x="3714075" y="2195439"/>
                <a:ext cx="1141508" cy="1116351"/>
              </a:xfrm>
              <a:custGeom>
                <a:avLst/>
                <a:gdLst>
                  <a:gd name="connsiteX0" fmla="*/ 1368833 w 1757860"/>
                  <a:gd name="connsiteY0" fmla="*/ 975429 h 1423543"/>
                  <a:gd name="connsiteX1" fmla="*/ 1250744 w 1757860"/>
                  <a:gd name="connsiteY1" fmla="*/ 256108 h 1423543"/>
                  <a:gd name="connsiteX2" fmla="*/ 256421 w 1757860"/>
                  <a:gd name="connsiteY2" fmla="*/ 176304 h 1423543"/>
                  <a:gd name="connsiteX3" fmla="*/ 176077 w 1757860"/>
                  <a:gd name="connsiteY3" fmla="*/ 1171166 h 1423543"/>
                  <a:gd name="connsiteX4" fmla="*/ 1170939 w 1757860"/>
                  <a:gd name="connsiteY4" fmla="*/ 1251510 h 1423543"/>
                  <a:gd name="connsiteX5" fmla="*/ 1754915 w 1757860"/>
                  <a:gd name="connsiteY5" fmla="*/ 762437 h 1423543"/>
                  <a:gd name="connsiteX0" fmla="*/ 1360745 w 1411103"/>
                  <a:gd name="connsiteY0" fmla="*/ 967341 h 1411588"/>
                  <a:gd name="connsiteX1" fmla="*/ 1242656 w 1411103"/>
                  <a:gd name="connsiteY1" fmla="*/ 248020 h 1411588"/>
                  <a:gd name="connsiteX2" fmla="*/ 248333 w 1411103"/>
                  <a:gd name="connsiteY2" fmla="*/ 168216 h 1411588"/>
                  <a:gd name="connsiteX3" fmla="*/ 167989 w 1411103"/>
                  <a:gd name="connsiteY3" fmla="*/ 1163078 h 1411588"/>
                  <a:gd name="connsiteX4" fmla="*/ 1162851 w 1411103"/>
                  <a:gd name="connsiteY4" fmla="*/ 1243422 h 1411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103" h="1411588">
                    <a:moveTo>
                      <a:pt x="1360745" y="967341"/>
                    </a:moveTo>
                    <a:cubicBezTo>
                      <a:pt x="1454570" y="732241"/>
                      <a:pt x="1418442" y="454542"/>
                      <a:pt x="1242656" y="248020"/>
                    </a:cubicBezTo>
                    <a:cubicBezTo>
                      <a:pt x="990300" y="-48551"/>
                      <a:pt x="544904" y="-84140"/>
                      <a:pt x="248333" y="168216"/>
                    </a:cubicBezTo>
                    <a:cubicBezTo>
                      <a:pt x="-48239" y="420571"/>
                      <a:pt x="-84367" y="865968"/>
                      <a:pt x="167989" y="1163078"/>
                    </a:cubicBezTo>
                    <a:cubicBezTo>
                      <a:pt x="420344" y="1460189"/>
                      <a:pt x="865740" y="1495778"/>
                      <a:pt x="1162851" y="1243422"/>
                    </a:cubicBezTo>
                  </a:path>
                </a:pathLst>
              </a:custGeom>
              <a:noFill/>
              <a:ln w="12700" cap="rnd">
                <a:solidFill>
                  <a:srgbClr val="30373B"/>
                </a:solidFill>
                <a:prstDash val="solid"/>
                <a:round/>
              </a:ln>
            </p:spPr>
            <p:txBody>
              <a:bodyPr rtlCol="0" anchor="ctr"/>
              <a:lstStyle/>
              <a:p>
                <a:pPr defTabSz="742950">
                  <a:lnSpc>
                    <a:spcPct val="90000"/>
                  </a:lnSpc>
                  <a:spcAft>
                    <a:spcPts val="600"/>
                  </a:spcAft>
                  <a:buFont typeface="Arial" panose="020B0604020202020204" pitchFamily="34" charset="0"/>
                  <a:buChar char="​"/>
                </a:pPr>
                <a:endParaRPr lang="da-DK" sz="900">
                  <a:solidFill>
                    <a:srgbClr val="1F2023"/>
                  </a:solidFill>
                  <a:latin typeface="+mj-lt"/>
                </a:endParaRPr>
              </a:p>
            </p:txBody>
          </p:sp>
        </p:grpSp>
        <p:grpSp>
          <p:nvGrpSpPr>
            <p:cNvPr id="20" name="Group 19">
              <a:extLst>
                <a:ext uri="{FF2B5EF4-FFF2-40B4-BE49-F238E27FC236}">
                  <a16:creationId xmlns:a16="http://schemas.microsoft.com/office/drawing/2014/main" id="{D3938C92-7F96-40B4-A759-9F7E3A283C49}"/>
                </a:ext>
              </a:extLst>
            </p:cNvPr>
            <p:cNvGrpSpPr/>
            <p:nvPr/>
          </p:nvGrpSpPr>
          <p:grpSpPr>
            <a:xfrm>
              <a:off x="5607987" y="2207895"/>
              <a:ext cx="1095664" cy="1023184"/>
              <a:chOff x="5267407" y="2195439"/>
              <a:chExt cx="1212156" cy="1131970"/>
            </a:xfrm>
          </p:grpSpPr>
          <p:sp>
            <p:nvSpPr>
              <p:cNvPr id="39" name="Freeform: Shape 38">
                <a:extLst>
                  <a:ext uri="{FF2B5EF4-FFF2-40B4-BE49-F238E27FC236}">
                    <a16:creationId xmlns:a16="http://schemas.microsoft.com/office/drawing/2014/main" id="{13114819-1878-4071-A0E7-9F757626B4EC}"/>
                  </a:ext>
                </a:extLst>
              </p:cNvPr>
              <p:cNvSpPr/>
              <p:nvPr/>
            </p:nvSpPr>
            <p:spPr>
              <a:xfrm>
                <a:off x="5267407" y="2205869"/>
                <a:ext cx="1147210" cy="1121540"/>
              </a:xfrm>
              <a:custGeom>
                <a:avLst/>
                <a:gdLst>
                  <a:gd name="connsiteX0" fmla="*/ 1415724 w 1418150"/>
                  <a:gd name="connsiteY0" fmla="*/ 709884 h 1418150"/>
                  <a:gd name="connsiteX1" fmla="*/ 709884 w 1418150"/>
                  <a:gd name="connsiteY1" fmla="*/ 1415724 h 1418150"/>
                  <a:gd name="connsiteX2" fmla="*/ 4044 w 1418150"/>
                  <a:gd name="connsiteY2" fmla="*/ 709884 h 1418150"/>
                  <a:gd name="connsiteX3" fmla="*/ 709884 w 1418150"/>
                  <a:gd name="connsiteY3" fmla="*/ 4044 h 1418150"/>
                  <a:gd name="connsiteX4" fmla="*/ 1415724 w 1418150"/>
                  <a:gd name="connsiteY4" fmla="*/ 709884 h 141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150" h="1418150">
                    <a:moveTo>
                      <a:pt x="1415724" y="709884"/>
                    </a:moveTo>
                    <a:cubicBezTo>
                      <a:pt x="1415724" y="1099709"/>
                      <a:pt x="1099709" y="1415724"/>
                      <a:pt x="709884" y="1415724"/>
                    </a:cubicBezTo>
                    <a:cubicBezTo>
                      <a:pt x="320060" y="1415724"/>
                      <a:pt x="4044" y="1099709"/>
                      <a:pt x="4044" y="709884"/>
                    </a:cubicBezTo>
                    <a:cubicBezTo>
                      <a:pt x="4044" y="320060"/>
                      <a:pt x="320060" y="4044"/>
                      <a:pt x="709884" y="4044"/>
                    </a:cubicBezTo>
                    <a:cubicBezTo>
                      <a:pt x="1099709" y="4044"/>
                      <a:pt x="1415724" y="320060"/>
                      <a:pt x="1415724" y="709884"/>
                    </a:cubicBezTo>
                    <a:close/>
                  </a:path>
                </a:pathLst>
              </a:custGeom>
              <a:solidFill>
                <a:srgbClr val="9DAEAD"/>
              </a:solidFill>
              <a:ln w="9525" cap="flat">
                <a:noFill/>
                <a:prstDash val="solid"/>
                <a:miter/>
              </a:ln>
            </p:spPr>
            <p:txBody>
              <a:bodyPr lIns="144000" tIns="180000" rIns="72000" rtlCol="0" anchor="t"/>
              <a:lstStyle/>
              <a:p>
                <a:pPr marL="0" lvl="1" algn="ctr" defTabSz="742950">
                  <a:lnSpc>
                    <a:spcPct val="90000"/>
                  </a:lnSpc>
                  <a:spcAft>
                    <a:spcPts val="600"/>
                  </a:spcAft>
                  <a:buSzPct val="100000"/>
                  <a:defRPr/>
                </a:pPr>
                <a:r>
                  <a:rPr lang="da-DK" sz="900" b="1" kern="0">
                    <a:sym typeface="Arial" panose="020B0604020202020204" pitchFamily="34" charset="0"/>
                  </a:rPr>
                  <a:t>4.</a:t>
                </a:r>
              </a:p>
              <a:p>
                <a:pPr marL="0" lvl="1" algn="ctr" defTabSz="742950">
                  <a:lnSpc>
                    <a:spcPct val="90000"/>
                  </a:lnSpc>
                  <a:spcAft>
                    <a:spcPts val="600"/>
                  </a:spcAft>
                  <a:buSzPct val="100000"/>
                  <a:defRPr/>
                </a:pPr>
                <a:r>
                  <a:rPr lang="da-DK" sz="900" b="1" kern="0">
                    <a:sym typeface="Arial" panose="020B0604020202020204" pitchFamily="34" charset="0"/>
                  </a:rPr>
                  <a:t>Planen og processen</a:t>
                </a:r>
              </a:p>
            </p:txBody>
          </p:sp>
          <p:sp>
            <p:nvSpPr>
              <p:cNvPr id="40" name="Freeform: Shape 39">
                <a:extLst>
                  <a:ext uri="{FF2B5EF4-FFF2-40B4-BE49-F238E27FC236}">
                    <a16:creationId xmlns:a16="http://schemas.microsoft.com/office/drawing/2014/main" id="{F3A2877D-7BCC-427E-B759-EDFF8727BACC}"/>
                  </a:ext>
                </a:extLst>
              </p:cNvPr>
              <p:cNvSpPr/>
              <p:nvPr/>
            </p:nvSpPr>
            <p:spPr>
              <a:xfrm>
                <a:off x="5338055" y="2195439"/>
                <a:ext cx="1141508" cy="1116351"/>
              </a:xfrm>
              <a:custGeom>
                <a:avLst/>
                <a:gdLst>
                  <a:gd name="connsiteX0" fmla="*/ 1368833 w 1757860"/>
                  <a:gd name="connsiteY0" fmla="*/ 975429 h 1423543"/>
                  <a:gd name="connsiteX1" fmla="*/ 1250744 w 1757860"/>
                  <a:gd name="connsiteY1" fmla="*/ 256108 h 1423543"/>
                  <a:gd name="connsiteX2" fmla="*/ 256421 w 1757860"/>
                  <a:gd name="connsiteY2" fmla="*/ 176304 h 1423543"/>
                  <a:gd name="connsiteX3" fmla="*/ 176077 w 1757860"/>
                  <a:gd name="connsiteY3" fmla="*/ 1171166 h 1423543"/>
                  <a:gd name="connsiteX4" fmla="*/ 1170939 w 1757860"/>
                  <a:gd name="connsiteY4" fmla="*/ 1251510 h 1423543"/>
                  <a:gd name="connsiteX5" fmla="*/ 1754915 w 1757860"/>
                  <a:gd name="connsiteY5" fmla="*/ 762437 h 1423543"/>
                  <a:gd name="connsiteX0" fmla="*/ 1360745 w 1411103"/>
                  <a:gd name="connsiteY0" fmla="*/ 967341 h 1411588"/>
                  <a:gd name="connsiteX1" fmla="*/ 1242656 w 1411103"/>
                  <a:gd name="connsiteY1" fmla="*/ 248020 h 1411588"/>
                  <a:gd name="connsiteX2" fmla="*/ 248333 w 1411103"/>
                  <a:gd name="connsiteY2" fmla="*/ 168216 h 1411588"/>
                  <a:gd name="connsiteX3" fmla="*/ 167989 w 1411103"/>
                  <a:gd name="connsiteY3" fmla="*/ 1163078 h 1411588"/>
                  <a:gd name="connsiteX4" fmla="*/ 1162851 w 1411103"/>
                  <a:gd name="connsiteY4" fmla="*/ 1243422 h 1411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103" h="1411588">
                    <a:moveTo>
                      <a:pt x="1360745" y="967341"/>
                    </a:moveTo>
                    <a:cubicBezTo>
                      <a:pt x="1454570" y="732241"/>
                      <a:pt x="1418442" y="454542"/>
                      <a:pt x="1242656" y="248020"/>
                    </a:cubicBezTo>
                    <a:cubicBezTo>
                      <a:pt x="990300" y="-48551"/>
                      <a:pt x="544904" y="-84140"/>
                      <a:pt x="248333" y="168216"/>
                    </a:cubicBezTo>
                    <a:cubicBezTo>
                      <a:pt x="-48239" y="420571"/>
                      <a:pt x="-84367" y="865968"/>
                      <a:pt x="167989" y="1163078"/>
                    </a:cubicBezTo>
                    <a:cubicBezTo>
                      <a:pt x="420344" y="1460189"/>
                      <a:pt x="865740" y="1495778"/>
                      <a:pt x="1162851" y="1243422"/>
                    </a:cubicBezTo>
                  </a:path>
                </a:pathLst>
              </a:custGeom>
              <a:noFill/>
              <a:ln w="12700" cap="rnd">
                <a:solidFill>
                  <a:srgbClr val="30373B"/>
                </a:solidFill>
                <a:prstDash val="solid"/>
                <a:round/>
              </a:ln>
            </p:spPr>
            <p:txBody>
              <a:bodyPr rtlCol="0" anchor="ctr"/>
              <a:lstStyle/>
              <a:p>
                <a:pPr defTabSz="742950">
                  <a:lnSpc>
                    <a:spcPct val="90000"/>
                  </a:lnSpc>
                  <a:spcAft>
                    <a:spcPts val="600"/>
                  </a:spcAft>
                  <a:buFont typeface="Arial" panose="020B0604020202020204" pitchFamily="34" charset="0"/>
                  <a:buChar char="​"/>
                </a:pPr>
                <a:endParaRPr lang="da-DK" sz="900">
                  <a:solidFill>
                    <a:srgbClr val="1F2023"/>
                  </a:solidFill>
                  <a:latin typeface="+mj-lt"/>
                </a:endParaRPr>
              </a:p>
            </p:txBody>
          </p:sp>
        </p:grpSp>
        <p:grpSp>
          <p:nvGrpSpPr>
            <p:cNvPr id="21" name="Group 20">
              <a:extLst>
                <a:ext uri="{FF2B5EF4-FFF2-40B4-BE49-F238E27FC236}">
                  <a16:creationId xmlns:a16="http://schemas.microsoft.com/office/drawing/2014/main" id="{83585C64-B4D6-4773-858D-DE16EF57C124}"/>
                </a:ext>
              </a:extLst>
            </p:cNvPr>
            <p:cNvGrpSpPr/>
            <p:nvPr/>
          </p:nvGrpSpPr>
          <p:grpSpPr>
            <a:xfrm>
              <a:off x="7237437" y="2207895"/>
              <a:ext cx="1095664" cy="1023184"/>
              <a:chOff x="6599932" y="2195439"/>
              <a:chExt cx="1212156" cy="1131970"/>
            </a:xfrm>
          </p:grpSpPr>
          <p:sp>
            <p:nvSpPr>
              <p:cNvPr id="42" name="Freeform: Shape 41">
                <a:extLst>
                  <a:ext uri="{FF2B5EF4-FFF2-40B4-BE49-F238E27FC236}">
                    <a16:creationId xmlns:a16="http://schemas.microsoft.com/office/drawing/2014/main" id="{F97E0D19-053F-45CF-AC9F-0DCA4B071D40}"/>
                  </a:ext>
                </a:extLst>
              </p:cNvPr>
              <p:cNvSpPr/>
              <p:nvPr/>
            </p:nvSpPr>
            <p:spPr>
              <a:xfrm>
                <a:off x="6599932" y="2205869"/>
                <a:ext cx="1147210" cy="1121540"/>
              </a:xfrm>
              <a:custGeom>
                <a:avLst/>
                <a:gdLst>
                  <a:gd name="connsiteX0" fmla="*/ 1415724 w 1418150"/>
                  <a:gd name="connsiteY0" fmla="*/ 709884 h 1418150"/>
                  <a:gd name="connsiteX1" fmla="*/ 709884 w 1418150"/>
                  <a:gd name="connsiteY1" fmla="*/ 1415724 h 1418150"/>
                  <a:gd name="connsiteX2" fmla="*/ 4044 w 1418150"/>
                  <a:gd name="connsiteY2" fmla="*/ 709884 h 1418150"/>
                  <a:gd name="connsiteX3" fmla="*/ 709884 w 1418150"/>
                  <a:gd name="connsiteY3" fmla="*/ 4044 h 1418150"/>
                  <a:gd name="connsiteX4" fmla="*/ 1415724 w 1418150"/>
                  <a:gd name="connsiteY4" fmla="*/ 709884 h 141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150" h="1418150">
                    <a:moveTo>
                      <a:pt x="1415724" y="709884"/>
                    </a:moveTo>
                    <a:cubicBezTo>
                      <a:pt x="1415724" y="1099709"/>
                      <a:pt x="1099709" y="1415724"/>
                      <a:pt x="709884" y="1415724"/>
                    </a:cubicBezTo>
                    <a:cubicBezTo>
                      <a:pt x="320060" y="1415724"/>
                      <a:pt x="4044" y="1099709"/>
                      <a:pt x="4044" y="709884"/>
                    </a:cubicBezTo>
                    <a:cubicBezTo>
                      <a:pt x="4044" y="320060"/>
                      <a:pt x="320060" y="4044"/>
                      <a:pt x="709884" y="4044"/>
                    </a:cubicBezTo>
                    <a:cubicBezTo>
                      <a:pt x="1099709" y="4044"/>
                      <a:pt x="1415724" y="320060"/>
                      <a:pt x="1415724" y="709884"/>
                    </a:cubicBezTo>
                    <a:close/>
                  </a:path>
                </a:pathLst>
              </a:custGeom>
              <a:solidFill>
                <a:srgbClr val="40615F"/>
              </a:solidFill>
              <a:ln w="9525" cap="flat">
                <a:noFill/>
                <a:prstDash val="solid"/>
                <a:miter/>
              </a:ln>
            </p:spPr>
            <p:txBody>
              <a:bodyPr lIns="144000" tIns="180000" rIns="72000" rtlCol="0" anchor="t"/>
              <a:lstStyle/>
              <a:p>
                <a:pPr marL="0" lvl="1" algn="ctr" defTabSz="742950">
                  <a:lnSpc>
                    <a:spcPct val="90000"/>
                  </a:lnSpc>
                  <a:spcAft>
                    <a:spcPts val="600"/>
                  </a:spcAft>
                  <a:buSzPct val="100000"/>
                  <a:defRPr/>
                </a:pPr>
                <a:r>
                  <a:rPr lang="da-DK" sz="900" b="1" kern="0">
                    <a:solidFill>
                      <a:schemeClr val="bg1"/>
                    </a:solidFill>
                    <a:sym typeface="Arial" panose="020B0604020202020204" pitchFamily="34" charset="0"/>
                  </a:rPr>
                  <a:t>5.</a:t>
                </a:r>
              </a:p>
              <a:p>
                <a:pPr marL="0" lvl="1" algn="ctr" defTabSz="742950">
                  <a:lnSpc>
                    <a:spcPct val="90000"/>
                  </a:lnSpc>
                  <a:spcAft>
                    <a:spcPts val="600"/>
                  </a:spcAft>
                  <a:buSzPct val="100000"/>
                  <a:defRPr/>
                </a:pPr>
                <a:r>
                  <a:rPr lang="da-DK" sz="900" b="1" kern="0" err="1">
                    <a:solidFill>
                      <a:schemeClr val="bg1"/>
                    </a:solidFill>
                    <a:sym typeface="Arial" panose="020B0604020202020204" pitchFamily="34" charset="0"/>
                  </a:rPr>
                  <a:t>Kommer-cielle</a:t>
                </a:r>
                <a:r>
                  <a:rPr lang="da-DK" sz="900" b="1" kern="0">
                    <a:solidFill>
                      <a:schemeClr val="bg1"/>
                    </a:solidFill>
                    <a:sym typeface="Arial" panose="020B0604020202020204" pitchFamily="34" charset="0"/>
                  </a:rPr>
                  <a:t> forhold</a:t>
                </a:r>
              </a:p>
            </p:txBody>
          </p:sp>
          <p:sp>
            <p:nvSpPr>
              <p:cNvPr id="43" name="Freeform: Shape 42">
                <a:extLst>
                  <a:ext uri="{FF2B5EF4-FFF2-40B4-BE49-F238E27FC236}">
                    <a16:creationId xmlns:a16="http://schemas.microsoft.com/office/drawing/2014/main" id="{0DE002C4-8089-41CB-9C02-81BAF8A86DF1}"/>
                  </a:ext>
                </a:extLst>
              </p:cNvPr>
              <p:cNvSpPr/>
              <p:nvPr/>
            </p:nvSpPr>
            <p:spPr>
              <a:xfrm>
                <a:off x="6670580" y="2195439"/>
                <a:ext cx="1141508" cy="1116351"/>
              </a:xfrm>
              <a:custGeom>
                <a:avLst/>
                <a:gdLst>
                  <a:gd name="connsiteX0" fmla="*/ 1368833 w 1757860"/>
                  <a:gd name="connsiteY0" fmla="*/ 975429 h 1423543"/>
                  <a:gd name="connsiteX1" fmla="*/ 1250744 w 1757860"/>
                  <a:gd name="connsiteY1" fmla="*/ 256108 h 1423543"/>
                  <a:gd name="connsiteX2" fmla="*/ 256421 w 1757860"/>
                  <a:gd name="connsiteY2" fmla="*/ 176304 h 1423543"/>
                  <a:gd name="connsiteX3" fmla="*/ 176077 w 1757860"/>
                  <a:gd name="connsiteY3" fmla="*/ 1171166 h 1423543"/>
                  <a:gd name="connsiteX4" fmla="*/ 1170939 w 1757860"/>
                  <a:gd name="connsiteY4" fmla="*/ 1251510 h 1423543"/>
                  <a:gd name="connsiteX5" fmla="*/ 1754915 w 1757860"/>
                  <a:gd name="connsiteY5" fmla="*/ 762437 h 1423543"/>
                  <a:gd name="connsiteX0" fmla="*/ 1360745 w 1411103"/>
                  <a:gd name="connsiteY0" fmla="*/ 967341 h 1411588"/>
                  <a:gd name="connsiteX1" fmla="*/ 1242656 w 1411103"/>
                  <a:gd name="connsiteY1" fmla="*/ 248020 h 1411588"/>
                  <a:gd name="connsiteX2" fmla="*/ 248333 w 1411103"/>
                  <a:gd name="connsiteY2" fmla="*/ 168216 h 1411588"/>
                  <a:gd name="connsiteX3" fmla="*/ 167989 w 1411103"/>
                  <a:gd name="connsiteY3" fmla="*/ 1163078 h 1411588"/>
                  <a:gd name="connsiteX4" fmla="*/ 1162851 w 1411103"/>
                  <a:gd name="connsiteY4" fmla="*/ 1243422 h 1411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103" h="1411588">
                    <a:moveTo>
                      <a:pt x="1360745" y="967341"/>
                    </a:moveTo>
                    <a:cubicBezTo>
                      <a:pt x="1454570" y="732241"/>
                      <a:pt x="1418442" y="454542"/>
                      <a:pt x="1242656" y="248020"/>
                    </a:cubicBezTo>
                    <a:cubicBezTo>
                      <a:pt x="990300" y="-48551"/>
                      <a:pt x="544904" y="-84140"/>
                      <a:pt x="248333" y="168216"/>
                    </a:cubicBezTo>
                    <a:cubicBezTo>
                      <a:pt x="-48239" y="420571"/>
                      <a:pt x="-84367" y="865968"/>
                      <a:pt x="167989" y="1163078"/>
                    </a:cubicBezTo>
                    <a:cubicBezTo>
                      <a:pt x="420344" y="1460189"/>
                      <a:pt x="865740" y="1495778"/>
                      <a:pt x="1162851" y="1243422"/>
                    </a:cubicBezTo>
                  </a:path>
                </a:pathLst>
              </a:custGeom>
              <a:noFill/>
              <a:ln w="12700" cap="rnd">
                <a:solidFill>
                  <a:srgbClr val="30373B"/>
                </a:solidFill>
                <a:prstDash val="solid"/>
                <a:round/>
              </a:ln>
            </p:spPr>
            <p:txBody>
              <a:bodyPr rtlCol="0" anchor="ctr"/>
              <a:lstStyle/>
              <a:p>
                <a:pPr defTabSz="742950">
                  <a:lnSpc>
                    <a:spcPct val="90000"/>
                  </a:lnSpc>
                  <a:spcAft>
                    <a:spcPts val="600"/>
                  </a:spcAft>
                  <a:buFont typeface="Arial" panose="020B0604020202020204" pitchFamily="34" charset="0"/>
                  <a:buChar char="​"/>
                </a:pPr>
                <a:endParaRPr lang="da-DK" sz="900">
                  <a:solidFill>
                    <a:srgbClr val="1F2023"/>
                  </a:solidFill>
                  <a:latin typeface="+mj-lt"/>
                </a:endParaRPr>
              </a:p>
            </p:txBody>
          </p:sp>
        </p:grpSp>
      </p:grpSp>
      <p:cxnSp>
        <p:nvCxnSpPr>
          <p:cNvPr id="52" name="Straight Connector 51">
            <a:extLst>
              <a:ext uri="{FF2B5EF4-FFF2-40B4-BE49-F238E27FC236}">
                <a16:creationId xmlns:a16="http://schemas.microsoft.com/office/drawing/2014/main" id="{55644CBA-CF2C-422F-8278-BEB4C5862767}"/>
              </a:ext>
            </a:extLst>
          </p:cNvPr>
          <p:cNvCxnSpPr/>
          <p:nvPr/>
        </p:nvCxnSpPr>
        <p:spPr>
          <a:xfrm>
            <a:off x="2218744" y="3428999"/>
            <a:ext cx="0" cy="2520951"/>
          </a:xfrm>
          <a:prstGeom prst="line">
            <a:avLst/>
          </a:prstGeom>
          <a:ln w="6350">
            <a:solidFill>
              <a:srgbClr val="8AA299"/>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374DB83-44D5-485A-824B-752E52708E4F}"/>
              </a:ext>
            </a:extLst>
          </p:cNvPr>
          <p:cNvCxnSpPr/>
          <p:nvPr/>
        </p:nvCxnSpPr>
        <p:spPr>
          <a:xfrm>
            <a:off x="3848193" y="3428999"/>
            <a:ext cx="0" cy="2520951"/>
          </a:xfrm>
          <a:prstGeom prst="line">
            <a:avLst/>
          </a:prstGeom>
          <a:ln w="6350">
            <a:solidFill>
              <a:srgbClr val="8AA299"/>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1FC06EB-352D-4A83-A17E-7B5DB084D79C}"/>
              </a:ext>
            </a:extLst>
          </p:cNvPr>
          <p:cNvCxnSpPr/>
          <p:nvPr/>
        </p:nvCxnSpPr>
        <p:spPr>
          <a:xfrm>
            <a:off x="5471794" y="3428999"/>
            <a:ext cx="0" cy="2520951"/>
          </a:xfrm>
          <a:prstGeom prst="line">
            <a:avLst/>
          </a:prstGeom>
          <a:ln w="6350">
            <a:solidFill>
              <a:srgbClr val="8AA299"/>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8DF4476-2B72-4CC3-A3E7-3291C177F0AE}"/>
              </a:ext>
            </a:extLst>
          </p:cNvPr>
          <p:cNvCxnSpPr/>
          <p:nvPr/>
        </p:nvCxnSpPr>
        <p:spPr>
          <a:xfrm>
            <a:off x="7101243" y="3428999"/>
            <a:ext cx="0" cy="2520951"/>
          </a:xfrm>
          <a:prstGeom prst="line">
            <a:avLst/>
          </a:prstGeom>
          <a:ln w="6350">
            <a:solidFill>
              <a:srgbClr val="8AA2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8340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64B9C86-AA66-408C-BB61-F44F5808B74C}"/>
              </a:ext>
            </a:extLst>
          </p:cNvPr>
          <p:cNvSpPr/>
          <p:nvPr/>
        </p:nvSpPr>
        <p:spPr>
          <a:xfrm>
            <a:off x="7044856" y="6066845"/>
            <a:ext cx="2099143" cy="791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4" name="Object 3" hidden="1">
            <a:extLst>
              <a:ext uri="{FF2B5EF4-FFF2-40B4-BE49-F238E27FC236}">
                <a16:creationId xmlns:a16="http://schemas.microsoft.com/office/drawing/2014/main" id="{234A9FF1-23CF-4337-9F0A-8D66B3E243E5}"/>
              </a:ext>
            </a:extLst>
          </p:cNvPr>
          <p:cNvGraphicFramePr>
            <a:graphicFrameLocks noChangeAspect="1"/>
          </p:cNvGraphicFramePr>
          <p:nvPr>
            <p:custDataLst>
              <p:tags r:id="rId2"/>
            </p:custDataLst>
            <p:extLst>
              <p:ext uri="{D42A27DB-BD31-4B8C-83A1-F6EECF244321}">
                <p14:modId xmlns:p14="http://schemas.microsoft.com/office/powerpoint/2010/main" val="226753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1" name="think-cell Slide" r:id="rId6" imgW="530" imgH="531" progId="TCLayout.ActiveDocument.1">
                  <p:embed/>
                </p:oleObj>
              </mc:Choice>
              <mc:Fallback>
                <p:oleObj name="think-cell Slide" r:id="rId6" imgW="530" imgH="531" progId="TCLayout.ActiveDocument.1">
                  <p:embed/>
                  <p:pic>
                    <p:nvPicPr>
                      <p:cNvPr id="4" name="Object 3" hidden="1">
                        <a:extLst>
                          <a:ext uri="{FF2B5EF4-FFF2-40B4-BE49-F238E27FC236}">
                            <a16:creationId xmlns:a16="http://schemas.microsoft.com/office/drawing/2014/main" id="{234A9FF1-23CF-4337-9F0A-8D66B3E243E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73DA888-8BAB-49B4-8161-3B7C988691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200" b="1">
              <a:latin typeface="Verdana" panose="020B0604030504040204" pitchFamily="34" charset="0"/>
              <a:ea typeface="Verdana" panose="020B0604030504040204" pitchFamily="34" charset="0"/>
              <a:sym typeface="Verdana" panose="020B0604030504040204" pitchFamily="34" charset="0"/>
            </a:endParaRPr>
          </a:p>
        </p:txBody>
      </p:sp>
      <p:sp>
        <p:nvSpPr>
          <p:cNvPr id="27" name="Rectangle 26">
            <a:extLst>
              <a:ext uri="{FF2B5EF4-FFF2-40B4-BE49-F238E27FC236}">
                <a16:creationId xmlns:a16="http://schemas.microsoft.com/office/drawing/2014/main" id="{CC26A0CC-CF93-4623-BA7A-CF53B6888C47}"/>
              </a:ext>
            </a:extLst>
          </p:cNvPr>
          <p:cNvSpPr/>
          <p:nvPr/>
        </p:nvSpPr>
        <p:spPr>
          <a:xfrm>
            <a:off x="8498" y="1634547"/>
            <a:ext cx="6535971" cy="5223453"/>
          </a:xfrm>
          <a:prstGeom prst="rect">
            <a:avLst/>
          </a:prstGeom>
          <a:solidFill>
            <a:srgbClr val="FBF9F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algn="l"/>
            <a:endParaRPr lang="da-DK" sz="923">
              <a:solidFill>
                <a:srgbClr val="2F363B"/>
              </a:solidFill>
            </a:endParaRPr>
          </a:p>
        </p:txBody>
      </p:sp>
      <p:sp>
        <p:nvSpPr>
          <p:cNvPr id="2" name="Title 1">
            <a:extLst>
              <a:ext uri="{FF2B5EF4-FFF2-40B4-BE49-F238E27FC236}">
                <a16:creationId xmlns:a16="http://schemas.microsoft.com/office/drawing/2014/main" id="{EBB4E76F-AAD1-47AA-A87B-15AD24F4F3A1}"/>
              </a:ext>
            </a:extLst>
          </p:cNvPr>
          <p:cNvSpPr>
            <a:spLocks noGrp="1"/>
          </p:cNvSpPr>
          <p:nvPr>
            <p:ph type="title"/>
          </p:nvPr>
        </p:nvSpPr>
        <p:spPr>
          <a:xfrm>
            <a:off x="223070" y="374079"/>
            <a:ext cx="7981950" cy="689476"/>
          </a:xfrm>
        </p:spPr>
        <p:txBody>
          <a:bodyPr lIns="91440" tIns="45720" rIns="91440" bIns="45720" anchor="b">
            <a:noAutofit/>
          </a:bodyPr>
          <a:lstStyle/>
          <a:p>
            <a:r>
              <a:rPr lang="da-DK" sz="2490" b="0">
                <a:solidFill>
                  <a:schemeClr val="tx1"/>
                </a:solidFill>
                <a:latin typeface="Impact" panose="020B0806030902050204" pitchFamily="34" charset="0"/>
                <a:ea typeface="Verdana"/>
                <a:cs typeface="Verdana"/>
              </a:rPr>
              <a:t>1. BAGGRUND OG FORMÅL</a:t>
            </a:r>
            <a:r>
              <a:rPr lang="da-DK" sz="2490" b="0">
                <a:solidFill>
                  <a:schemeClr val="tx1"/>
                </a:solidFill>
                <a:latin typeface="Impact" panose="020B0806030902050204" pitchFamily="34" charset="0"/>
              </a:rPr>
              <a:t/>
            </a:r>
            <a:br>
              <a:rPr lang="da-DK" sz="2490" b="0">
                <a:solidFill>
                  <a:schemeClr val="tx1"/>
                </a:solidFill>
                <a:latin typeface="Impact" panose="020B0806030902050204" pitchFamily="34" charset="0"/>
              </a:rPr>
            </a:br>
            <a:r>
              <a:rPr lang="da-DK" sz="2490" b="0">
                <a:solidFill>
                  <a:schemeClr val="tx1"/>
                </a:solidFill>
                <a:latin typeface="Impact" panose="020B0806030902050204" pitchFamily="34" charset="0"/>
                <a:ea typeface="Verdana"/>
                <a:cs typeface="Verdana"/>
              </a:rPr>
              <a:t> </a:t>
            </a:r>
            <a:endParaRPr lang="da-DK" sz="2490" b="0">
              <a:solidFill>
                <a:schemeClr val="tx1"/>
              </a:solidFill>
              <a:latin typeface="Impact" panose="020B0806030902050204" pitchFamily="34" charset="0"/>
            </a:endParaRPr>
          </a:p>
        </p:txBody>
      </p:sp>
      <p:sp>
        <p:nvSpPr>
          <p:cNvPr id="28" name="Content Placeholder 7">
            <a:extLst>
              <a:ext uri="{FF2B5EF4-FFF2-40B4-BE49-F238E27FC236}">
                <a16:creationId xmlns:a16="http://schemas.microsoft.com/office/drawing/2014/main" id="{5BD9BB3C-CF37-4374-9CD4-C627828ED3B0}"/>
              </a:ext>
            </a:extLst>
          </p:cNvPr>
          <p:cNvSpPr txBox="1">
            <a:spLocks/>
          </p:cNvSpPr>
          <p:nvPr/>
        </p:nvSpPr>
        <p:spPr>
          <a:xfrm>
            <a:off x="6185705" y="1188628"/>
            <a:ext cx="2239157" cy="4524315"/>
          </a:xfrm>
          <a:prstGeom prst="rect">
            <a:avLst/>
          </a:prstGeom>
          <a:solidFill>
            <a:srgbClr val="C3CFCB"/>
          </a:solidFill>
          <a:ln w="635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137160" numCol="1" spcCol="0" rtlCol="0" fromWordArt="0" anchor="t" anchorCtr="0" forceAA="0" compatLnSpc="1">
            <a:prstTxWarp prst="textNoShape">
              <a:avLst/>
            </a:prstTxWarp>
            <a:spAutoFit/>
          </a:bodyPr>
          <a:lstStyle>
            <a:defPPr>
              <a:defRPr lang="en-US"/>
            </a:defPPr>
            <a:lvl1pPr marL="0" indent="0" algn="l" defTabSz="914400" rtl="0" eaLnBrk="1" latinLnBrk="0" hangingPunct="1">
              <a:lnSpc>
                <a:spcPct val="150000"/>
              </a:lnSpc>
              <a:spcBef>
                <a:spcPts val="0"/>
              </a:spcBef>
              <a:buFont typeface="Arial" panose="020B0604020202020204" pitchFamily="34" charset="0"/>
              <a:buNone/>
              <a:defRPr sz="1100" kern="1200">
                <a:solidFill>
                  <a:srgbClr val="2F363B"/>
                </a:solidFill>
                <a:latin typeface="Verdana" panose="020B0604030504040204" pitchFamily="34" charset="0"/>
                <a:ea typeface="Verdana" panose="020B0604030504040204" pitchFamily="34" charset="0"/>
                <a:cs typeface="Verdana" panose="020B0604030504040204" pitchFamily="34" charset="0"/>
              </a:defRPr>
            </a:lvl1pPr>
            <a:lvl2pPr marL="0" lvl="1" indent="0" algn="l" defTabSz="914400" rtl="0" eaLnBrk="1" latinLnBrk="0" hangingPunct="1">
              <a:lnSpc>
                <a:spcPct val="150000"/>
              </a:lnSpc>
              <a:spcBef>
                <a:spcPts val="0"/>
              </a:spcBef>
              <a:buSzPct val="100000"/>
              <a:buFont typeface="Arial" panose="020B0604020202020204" pitchFamily="34" charset="0"/>
              <a:buChar char="​"/>
              <a:defRPr sz="1100" kern="1200">
                <a:solidFill>
                  <a:srgbClr val="2F363B"/>
                </a:solidFill>
                <a:latin typeface="Arial" panose="020B0604020202020204" pitchFamily="34" charset="0"/>
                <a:ea typeface="Verdana" panose="020B0604030504040204" pitchFamily="34" charset="0"/>
                <a:cs typeface="Verdana" panose="020B0604030504040204" pitchFamily="34" charset="0"/>
              </a:defRPr>
            </a:lvl2pPr>
            <a:lvl3pPr marL="1257300" indent="-342900" algn="l" defTabSz="914400" rtl="0" eaLnBrk="1" latinLnBrk="0" hangingPunct="1">
              <a:lnSpc>
                <a:spcPct val="150000"/>
              </a:lnSpc>
              <a:spcBef>
                <a:spcPts val="0"/>
              </a:spcBef>
              <a:buFont typeface="Courier New" panose="02070309020205020404" pitchFamily="49" charset="0"/>
              <a:buChar char="o"/>
              <a:defRPr sz="1400" kern="1200">
                <a:solidFill>
                  <a:schemeClr val="lt1"/>
                </a:solidFill>
                <a:latin typeface="Verdana" panose="020B0604030504040204" pitchFamily="34" charset="0"/>
                <a:ea typeface="Verdana" panose="020B0604030504040204" pitchFamily="34" charset="0"/>
                <a:cs typeface="Verdana" panose="020B0604030504040204" pitchFamily="34" charset="0"/>
              </a:defRPr>
            </a:lvl3pPr>
            <a:lvl4pPr marL="1714500" indent="-342900" algn="l" defTabSz="914400" rtl="0" eaLnBrk="1" latinLnBrk="0" hangingPunct="1">
              <a:lnSpc>
                <a:spcPct val="150000"/>
              </a:lnSpc>
              <a:spcBef>
                <a:spcPts val="0"/>
              </a:spcBef>
              <a:buFont typeface="Wingdings" panose="05000000000000000000" pitchFamily="2" charset="2"/>
              <a:buChar char="§"/>
              <a:defRPr sz="1300" kern="1200">
                <a:solidFill>
                  <a:schemeClr val="lt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150000"/>
              </a:lnSpc>
              <a:spcBef>
                <a:spcPts val="0"/>
              </a:spcBef>
              <a:buFont typeface="Arial" panose="020B0604020202020204" pitchFamily="34" charset="0"/>
              <a:buChar char="•"/>
              <a:defRPr sz="1100" kern="1200">
                <a:solidFill>
                  <a:schemeClr val="lt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lvl="1">
              <a:lnSpc>
                <a:spcPct val="100000"/>
              </a:lnSpc>
              <a:spcAft>
                <a:spcPts val="300"/>
              </a:spcAft>
              <a:buNone/>
              <a:defRPr/>
            </a:pPr>
            <a:r>
              <a:rPr lang="da-DK" sz="900" b="1">
                <a:solidFill>
                  <a:schemeClr val="tx1"/>
                </a:solidFill>
                <a:latin typeface="+mj-lt"/>
                <a:ea typeface="Verdana"/>
                <a:cs typeface="Verdana"/>
              </a:rPr>
              <a:t>Formål med denne boks</a:t>
            </a:r>
          </a:p>
          <a:p>
            <a:pPr>
              <a:lnSpc>
                <a:spcPct val="100000"/>
              </a:lnSpc>
              <a:spcAft>
                <a:spcPts val="300"/>
              </a:spcAft>
            </a:pPr>
            <a:r>
              <a:rPr lang="da-DK" sz="900">
                <a:solidFill>
                  <a:schemeClr val="tx1"/>
                </a:solidFill>
                <a:latin typeface="Verdana"/>
                <a:ea typeface="Verdana"/>
                <a:cs typeface="Verdana"/>
              </a:rPr>
              <a:t>I denne boks stiller Økonomistyrelsen på de efterfølgende sider de spørgsmål, som ønskes besvaret af leverandøren (se Vejledning om deltagelse i markedsdialog ”</a:t>
            </a:r>
            <a:r>
              <a:rPr lang="da-DK" sz="900" err="1">
                <a:solidFill>
                  <a:schemeClr val="tx1"/>
                </a:solidFill>
                <a:latin typeface="Verdana"/>
                <a:ea typeface="Verdana"/>
                <a:cs typeface="Verdana"/>
              </a:rPr>
              <a:t>Request</a:t>
            </a:r>
            <a:r>
              <a:rPr lang="da-DK" sz="900">
                <a:solidFill>
                  <a:schemeClr val="tx1"/>
                </a:solidFill>
                <a:latin typeface="Verdana"/>
                <a:ea typeface="Verdana"/>
                <a:cs typeface="Verdana"/>
              </a:rPr>
              <a:t> for Information” (RFI), særligt afsnit 5).   </a:t>
            </a:r>
          </a:p>
          <a:p>
            <a:pPr>
              <a:lnSpc>
                <a:spcPct val="100000"/>
              </a:lnSpc>
              <a:spcAft>
                <a:spcPts val="300"/>
              </a:spcAft>
            </a:pPr>
            <a:r>
              <a:rPr lang="da-DK" sz="900">
                <a:solidFill>
                  <a:schemeClr val="tx1"/>
                </a:solidFill>
                <a:latin typeface="Verdana"/>
                <a:ea typeface="Verdana"/>
                <a:cs typeface="Verdana"/>
              </a:rPr>
              <a:t>Leverandøren bedes i sin besvarelse følge denne disposition og henvise til de angivne spørgsmålsreferencer. </a:t>
            </a:r>
          </a:p>
          <a:p>
            <a:pPr>
              <a:lnSpc>
                <a:spcPct val="100000"/>
              </a:lnSpc>
              <a:spcAft>
                <a:spcPts val="300"/>
              </a:spcAft>
            </a:pPr>
            <a:r>
              <a:rPr lang="da-DK" sz="900">
                <a:solidFill>
                  <a:schemeClr val="tx1"/>
                </a:solidFill>
                <a:latin typeface="Verdana"/>
                <a:ea typeface="Verdana"/>
                <a:cs typeface="Verdana"/>
              </a:rPr>
              <a:t>Såfremt der er forhold, der ikke er dækket af de kommende spørgsmål, er leverandøren velkommen til at komme med supplerende anbefalinger eller redegøre for erfaringer, der kan være nyttige for Økonomi-styrelsen. Det kan f.eks. være:​ </a:t>
            </a:r>
          </a:p>
          <a:p>
            <a:pPr marL="107950" indent="-107950">
              <a:lnSpc>
                <a:spcPct val="100000"/>
              </a:lnSpc>
              <a:spcAft>
                <a:spcPts val="300"/>
              </a:spcAft>
              <a:buFont typeface="Arial" panose="020B0604020202020204" pitchFamily="34" charset="0"/>
              <a:buChar char="•"/>
            </a:pPr>
            <a:r>
              <a:rPr lang="da-DK" sz="900">
                <a:solidFill>
                  <a:schemeClr val="tx1"/>
                </a:solidFill>
                <a:ea typeface="Verdana"/>
                <a:cs typeface="Verdana"/>
              </a:rPr>
              <a:t>Betragtninger om plan og proces​</a:t>
            </a:r>
          </a:p>
          <a:p>
            <a:pPr marL="107950" indent="-107950">
              <a:lnSpc>
                <a:spcPct val="100000"/>
              </a:lnSpc>
              <a:spcAft>
                <a:spcPts val="300"/>
              </a:spcAft>
              <a:buFont typeface="Arial" panose="020B0604020202020204" pitchFamily="34" charset="0"/>
              <a:buChar char="•"/>
            </a:pPr>
            <a:r>
              <a:rPr lang="da-DK" sz="900">
                <a:solidFill>
                  <a:schemeClr val="tx1"/>
                </a:solidFill>
                <a:ea typeface="Verdana"/>
                <a:cs typeface="Verdana"/>
              </a:rPr>
              <a:t>Forhold angående tildelingskriterier og metodikker til sammenholdelse af løsninger</a:t>
            </a:r>
          </a:p>
          <a:p>
            <a:pPr marL="107950" indent="-107950">
              <a:lnSpc>
                <a:spcPct val="100000"/>
              </a:lnSpc>
              <a:spcAft>
                <a:spcPts val="300"/>
              </a:spcAft>
              <a:buFont typeface="Arial" panose="020B0604020202020204" pitchFamily="34" charset="0"/>
              <a:buChar char="•"/>
            </a:pPr>
            <a:r>
              <a:rPr lang="da-DK" sz="900">
                <a:solidFill>
                  <a:schemeClr val="tx1"/>
                </a:solidFill>
                <a:ea typeface="Verdana"/>
                <a:cs typeface="Verdana"/>
              </a:rPr>
              <a:t>Elementer af særlig betydning for optimal it-understøttelse af kerneopgaver mv. </a:t>
            </a:r>
          </a:p>
        </p:txBody>
      </p:sp>
      <p:sp>
        <p:nvSpPr>
          <p:cNvPr id="24" name="Content Placeholder 7">
            <a:extLst>
              <a:ext uri="{FF2B5EF4-FFF2-40B4-BE49-F238E27FC236}">
                <a16:creationId xmlns:a16="http://schemas.microsoft.com/office/drawing/2014/main" id="{C9A5D221-7877-4C4A-93FD-EBDAB0424EA0}"/>
              </a:ext>
            </a:extLst>
          </p:cNvPr>
          <p:cNvSpPr txBox="1">
            <a:spLocks/>
          </p:cNvSpPr>
          <p:nvPr/>
        </p:nvSpPr>
        <p:spPr>
          <a:xfrm>
            <a:off x="1320082" y="2052583"/>
            <a:ext cx="3976445" cy="184666"/>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da-DK" sz="1200" b="1">
                <a:latin typeface="+mj-lt"/>
              </a:rPr>
              <a:t>1.1 Baggrund og formål</a:t>
            </a:r>
          </a:p>
        </p:txBody>
      </p:sp>
      <p:sp>
        <p:nvSpPr>
          <p:cNvPr id="25" name="TextBox 24">
            <a:extLst>
              <a:ext uri="{FF2B5EF4-FFF2-40B4-BE49-F238E27FC236}">
                <a16:creationId xmlns:a16="http://schemas.microsoft.com/office/drawing/2014/main" id="{FEA42E42-C0E8-4DE0-A49B-40B2E65FCA9B}"/>
              </a:ext>
            </a:extLst>
          </p:cNvPr>
          <p:cNvSpPr txBox="1"/>
          <p:nvPr/>
        </p:nvSpPr>
        <p:spPr>
          <a:xfrm>
            <a:off x="712776" y="2665091"/>
            <a:ext cx="4959099" cy="4031873"/>
          </a:xfrm>
          <a:prstGeom prst="rect">
            <a:avLst/>
          </a:prstGeom>
          <a:noFill/>
        </p:spPr>
        <p:txBody>
          <a:bodyPr wrap="square" lIns="0" tIns="0" rIns="0" bIns="0" rtlCol="0" anchor="t">
            <a:spAutoFit/>
          </a:bodyPr>
          <a:lstStyle/>
          <a:p>
            <a:pPr defTabSz="914400">
              <a:spcAft>
                <a:spcPts val="600"/>
              </a:spcAft>
            </a:pPr>
            <a:r>
              <a:rPr lang="da-DK" sz="900" dirty="0">
                <a:ea typeface="+mn-lt"/>
                <a:cs typeface="+mn-lt"/>
              </a:rPr>
              <a:t>IndFak udgør det fællesstatslige system til understøttelse af indkøbs- og fakturagodkendelsesprocesserne forud for aflevering til Navision Stat. Økonomistyrelsen har anvendt elektronisk fakturabehandling (IndFak) i mere end 10 år. Økonomistyrelsen står over for at udbyde indkøbs og faktureringssystemet for 3. gang i løbet af primo 2021. Kontrakten med den nuværende udbyder udløber primo september 2022 og en ny aftale skal således være på plads og det nye system være operationelt inden. </a:t>
            </a:r>
          </a:p>
          <a:p>
            <a:pPr defTabSz="914400"/>
            <a:r>
              <a:rPr lang="da-DK" sz="900" dirty="0">
                <a:ea typeface="+mn-lt"/>
                <a:cs typeface="+mn-lt"/>
              </a:rPr>
              <a:t>IndFak sikrer en enkel håndtering af elektroniske fakturaer. Det understøtter digitale indkøb, smidiggør godkendelse af fakturaer og skaber overblik over fællesstatslige indkøbsaftaler og varekataloger. På den måde giver IndFak de statslige og selvejende institutioner overblik over deres </a:t>
            </a:r>
            <a:r>
              <a:rPr lang="da-DK" sz="900" dirty="0" smtClean="0">
                <a:ea typeface="+mn-lt"/>
                <a:cs typeface="+mn-lt"/>
              </a:rPr>
              <a:t>indkøb </a:t>
            </a:r>
            <a:r>
              <a:rPr lang="da-DK" sz="900" dirty="0">
                <a:ea typeface="+mn-lt"/>
                <a:cs typeface="+mn-lt"/>
              </a:rPr>
              <a:t>og hjælper dermed med at skabe et samlet overblik over statens indkøb.</a:t>
            </a:r>
            <a:endParaRPr lang="da-DK" dirty="0"/>
          </a:p>
          <a:p>
            <a:pPr defTabSz="914400"/>
            <a:endParaRPr lang="da-DK" sz="900" dirty="0">
              <a:ea typeface="+mn-lt"/>
              <a:cs typeface="+mn-lt"/>
            </a:endParaRPr>
          </a:p>
          <a:p>
            <a:pPr defTabSz="914400"/>
            <a:r>
              <a:rPr lang="da-DK" sz="900" dirty="0">
                <a:ea typeface="+mn-lt"/>
                <a:cs typeface="+mn-lt"/>
              </a:rPr>
              <a:t>Den eksisterende IndFak løsning anvendes af </a:t>
            </a:r>
            <a:r>
              <a:rPr lang="da-DK" sz="900" dirty="0" smtClean="0">
                <a:ea typeface="+mn-lt"/>
                <a:cs typeface="+mn-lt"/>
              </a:rPr>
              <a:t>over 400 </a:t>
            </a:r>
            <a:r>
              <a:rPr lang="da-DK" sz="900" dirty="0">
                <a:ea typeface="+mn-lt"/>
                <a:cs typeface="+mn-lt"/>
              </a:rPr>
              <a:t>statslige </a:t>
            </a:r>
            <a:r>
              <a:rPr lang="da-DK" sz="900" dirty="0" smtClean="0">
                <a:ea typeface="+mn-lt"/>
                <a:cs typeface="+mn-lt"/>
              </a:rPr>
              <a:t>myndigheder, styrelser, ministerier, departementer </a:t>
            </a:r>
            <a:r>
              <a:rPr lang="da-DK" sz="900" dirty="0">
                <a:ea typeface="+mn-lt"/>
                <a:cs typeface="+mn-lt"/>
              </a:rPr>
              <a:t>og statslige selvejende institutioner, der i alt har ca. </a:t>
            </a:r>
            <a:r>
              <a:rPr lang="da-DK" sz="900" dirty="0" smtClean="0">
                <a:ea typeface="+mn-lt"/>
                <a:cs typeface="+mn-lt"/>
              </a:rPr>
              <a:t>110.000 registrerede brugere, heraf ca. 25.000 månedlige, </a:t>
            </a:r>
            <a:r>
              <a:rPr lang="da-DK" sz="900" dirty="0">
                <a:ea typeface="+mn-lt"/>
                <a:cs typeface="+mn-lt"/>
              </a:rPr>
              <a:t>som årligt behandler ca. </a:t>
            </a:r>
            <a:r>
              <a:rPr lang="da-DK" sz="900" dirty="0" smtClean="0">
                <a:ea typeface="+mn-lt"/>
                <a:cs typeface="+mn-lt"/>
              </a:rPr>
              <a:t>1.600.000 </a:t>
            </a:r>
            <a:r>
              <a:rPr lang="da-DK" sz="900" dirty="0">
                <a:ea typeface="+mn-lt"/>
                <a:cs typeface="+mn-lt"/>
              </a:rPr>
              <a:t>fakturaer i systemet. Der er meget stor variation mellem brugerne, for så vidt angår fx institutionernes størrelser, deres økonomifunktioners bemanding og antallet og arten af deres indkøb.</a:t>
            </a:r>
            <a:endParaRPr lang="da-DK" dirty="0">
              <a:ea typeface="+mn-lt"/>
              <a:cs typeface="+mn-lt"/>
            </a:endParaRPr>
          </a:p>
          <a:p>
            <a:pPr defTabSz="914400"/>
            <a:endParaRPr lang="da-DK" sz="900" dirty="0">
              <a:ea typeface="+mn-lt"/>
              <a:cs typeface="+mn-lt"/>
            </a:endParaRPr>
          </a:p>
          <a:p>
            <a:pPr defTabSz="914400"/>
            <a:r>
              <a:rPr lang="da-DK" sz="900" dirty="0">
                <a:ea typeface="+mn-lt"/>
                <a:cs typeface="+mn-lt"/>
              </a:rPr>
              <a:t>I alt vil </a:t>
            </a:r>
            <a:r>
              <a:rPr lang="da-DK" sz="900" dirty="0" smtClean="0">
                <a:ea typeface="+mn-lt"/>
                <a:cs typeface="+mn-lt"/>
              </a:rPr>
              <a:t>over 1.000 </a:t>
            </a:r>
            <a:r>
              <a:rPr lang="da-DK" sz="900" dirty="0">
                <a:ea typeface="+mn-lt"/>
                <a:cs typeface="+mn-lt"/>
              </a:rPr>
              <a:t>statslige myndigheder og statslige selvejende institutioner have mulighed for at tilslutte sig løsningen. Økonomistyrelsen skønner, at disse statslige myndigheder og statslige selvejende institutioner behandler ca. </a:t>
            </a:r>
            <a:r>
              <a:rPr lang="da-DK" sz="900" dirty="0" smtClean="0">
                <a:ea typeface="+mn-lt"/>
                <a:cs typeface="+mn-lt"/>
              </a:rPr>
              <a:t>2.000.000 </a:t>
            </a:r>
            <a:r>
              <a:rPr lang="da-DK" sz="900" dirty="0">
                <a:ea typeface="+mn-lt"/>
                <a:cs typeface="+mn-lt"/>
              </a:rPr>
              <a:t>elektroniske fakturaer årligt, og at de afgiver ca. </a:t>
            </a:r>
            <a:r>
              <a:rPr lang="da-DK" sz="900" dirty="0" smtClean="0">
                <a:ea typeface="+mn-lt"/>
                <a:cs typeface="+mn-lt"/>
              </a:rPr>
              <a:t>1.000.000</a:t>
            </a:r>
            <a:r>
              <a:rPr lang="da-DK" sz="900" dirty="0">
                <a:ea typeface="+mn-lt"/>
                <a:cs typeface="+mn-lt"/>
              </a:rPr>
              <a:t> indkøbsordrer årligt elektronisk eller på en anden måde.</a:t>
            </a:r>
            <a:endParaRPr lang="da-DK" dirty="0">
              <a:ea typeface="+mn-lt"/>
              <a:cs typeface="+mn-lt"/>
            </a:endParaRPr>
          </a:p>
          <a:p>
            <a:pPr lvl="0" defTabSz="914400"/>
            <a:endParaRPr lang="da-DK" sz="900" dirty="0">
              <a:ea typeface="Verdana" panose="020B0604030504040204" pitchFamily="34" charset="0"/>
              <a:cs typeface="Verdana"/>
            </a:endParaRPr>
          </a:p>
          <a:p>
            <a:pPr defTabSz="914400">
              <a:spcAft>
                <a:spcPts val="600"/>
              </a:spcAft>
            </a:pPr>
            <a:endParaRPr lang="da-DK" sz="900" dirty="0">
              <a:ea typeface="+mn-lt"/>
              <a:cs typeface="+mn-lt"/>
            </a:endParaRPr>
          </a:p>
          <a:p>
            <a:pPr defTabSz="914400">
              <a:spcAft>
                <a:spcPts val="600"/>
              </a:spcAft>
            </a:pPr>
            <a:endParaRPr lang="da-DK" sz="900" dirty="0">
              <a:ea typeface="Verdana" panose="020B0604030504040204" pitchFamily="34" charset="0"/>
              <a:cs typeface="Verdana"/>
            </a:endParaRPr>
          </a:p>
        </p:txBody>
      </p:sp>
      <p:grpSp>
        <p:nvGrpSpPr>
          <p:cNvPr id="38" name="Group 37">
            <a:extLst>
              <a:ext uri="{FF2B5EF4-FFF2-40B4-BE49-F238E27FC236}">
                <a16:creationId xmlns:a16="http://schemas.microsoft.com/office/drawing/2014/main" id="{70B62BA1-D244-44B6-B576-BB8298E0C80E}"/>
              </a:ext>
            </a:extLst>
          </p:cNvPr>
          <p:cNvGrpSpPr/>
          <p:nvPr/>
        </p:nvGrpSpPr>
        <p:grpSpPr>
          <a:xfrm>
            <a:off x="734898" y="1887958"/>
            <a:ext cx="508794" cy="513916"/>
            <a:chOff x="8933753" y="3169155"/>
            <a:chExt cx="473075" cy="477837"/>
          </a:xfrm>
        </p:grpSpPr>
        <p:sp>
          <p:nvSpPr>
            <p:cNvPr id="39" name="Oval 127">
              <a:extLst>
                <a:ext uri="{FF2B5EF4-FFF2-40B4-BE49-F238E27FC236}">
                  <a16:creationId xmlns:a16="http://schemas.microsoft.com/office/drawing/2014/main" id="{EF342161-0ADE-41BA-978A-E949BE67B4EF}"/>
                </a:ext>
              </a:extLst>
            </p:cNvPr>
            <p:cNvSpPr>
              <a:spLocks noChangeArrowheads="1"/>
            </p:cNvSpPr>
            <p:nvPr/>
          </p:nvSpPr>
          <p:spPr bwMode="auto">
            <a:xfrm>
              <a:off x="8975028" y="3250117"/>
              <a:ext cx="319088" cy="320675"/>
            </a:xfrm>
            <a:prstGeom prst="ellipse">
              <a:avLst/>
            </a:pr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40" name="Group 39">
              <a:extLst>
                <a:ext uri="{FF2B5EF4-FFF2-40B4-BE49-F238E27FC236}">
                  <a16:creationId xmlns:a16="http://schemas.microsoft.com/office/drawing/2014/main" id="{C335FFB3-43EB-443F-B360-42F1A4DCDFA5}"/>
                </a:ext>
              </a:extLst>
            </p:cNvPr>
            <p:cNvGrpSpPr/>
            <p:nvPr/>
          </p:nvGrpSpPr>
          <p:grpSpPr>
            <a:xfrm>
              <a:off x="8933753" y="3169155"/>
              <a:ext cx="473075" cy="477837"/>
              <a:chOff x="8933753" y="3169155"/>
              <a:chExt cx="473075" cy="477837"/>
            </a:xfrm>
          </p:grpSpPr>
          <p:sp>
            <p:nvSpPr>
              <p:cNvPr id="41" name="Freeform 128">
                <a:extLst>
                  <a:ext uri="{FF2B5EF4-FFF2-40B4-BE49-F238E27FC236}">
                    <a16:creationId xmlns:a16="http://schemas.microsoft.com/office/drawing/2014/main" id="{23A2778A-AD05-449E-A89F-1EBB2C9AB26F}"/>
                  </a:ext>
                </a:extLst>
              </p:cNvPr>
              <p:cNvSpPr>
                <a:spLocks/>
              </p:cNvSpPr>
              <p:nvPr/>
            </p:nvSpPr>
            <p:spPr bwMode="auto">
              <a:xfrm>
                <a:off x="9132191" y="3372355"/>
                <a:ext cx="71438" cy="71438"/>
              </a:xfrm>
              <a:custGeom>
                <a:avLst/>
                <a:gdLst>
                  <a:gd name="T0" fmla="*/ 16 w 16"/>
                  <a:gd name="T1" fmla="*/ 8 h 16"/>
                  <a:gd name="T2" fmla="*/ 8 w 16"/>
                  <a:gd name="T3" fmla="*/ 16 h 16"/>
                  <a:gd name="T4" fmla="*/ 1 w 16"/>
                  <a:gd name="T5" fmla="*/ 8 h 16"/>
                  <a:gd name="T6" fmla="*/ 8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6" y="12"/>
                      <a:pt x="13" y="16"/>
                      <a:pt x="8" y="16"/>
                    </a:cubicBezTo>
                    <a:cubicBezTo>
                      <a:pt x="4" y="16"/>
                      <a:pt x="1" y="13"/>
                      <a:pt x="1" y="8"/>
                    </a:cubicBezTo>
                    <a:cubicBezTo>
                      <a:pt x="0" y="4"/>
                      <a:pt x="4" y="0"/>
                      <a:pt x="8" y="0"/>
                    </a:cubicBezTo>
                    <a:cubicBezTo>
                      <a:pt x="13" y="0"/>
                      <a:pt x="16" y="4"/>
                      <a:pt x="16" y="8"/>
                    </a:cubicBezTo>
                    <a:close/>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42" name="Line 129">
                <a:extLst>
                  <a:ext uri="{FF2B5EF4-FFF2-40B4-BE49-F238E27FC236}">
                    <a16:creationId xmlns:a16="http://schemas.microsoft.com/office/drawing/2014/main" id="{9DD44DA1-8031-4468-B198-35F4B409F473}"/>
                  </a:ext>
                </a:extLst>
              </p:cNvPr>
              <p:cNvSpPr>
                <a:spLocks noChangeShapeType="1"/>
              </p:cNvSpPr>
              <p:nvPr/>
            </p:nvSpPr>
            <p:spPr bwMode="auto">
              <a:xfrm>
                <a:off x="9168703" y="3169155"/>
                <a:ext cx="0" cy="8572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43" name="Line 130">
                <a:extLst>
                  <a:ext uri="{FF2B5EF4-FFF2-40B4-BE49-F238E27FC236}">
                    <a16:creationId xmlns:a16="http://schemas.microsoft.com/office/drawing/2014/main" id="{FE8B99C1-2A51-4078-A621-1A2C234C64B4}"/>
                  </a:ext>
                </a:extLst>
              </p:cNvPr>
              <p:cNvSpPr>
                <a:spLocks noChangeShapeType="1"/>
              </p:cNvSpPr>
              <p:nvPr/>
            </p:nvSpPr>
            <p:spPr bwMode="auto">
              <a:xfrm>
                <a:off x="9171878" y="3561267"/>
                <a:ext cx="0" cy="8572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44" name="Line 131">
                <a:extLst>
                  <a:ext uri="{FF2B5EF4-FFF2-40B4-BE49-F238E27FC236}">
                    <a16:creationId xmlns:a16="http://schemas.microsoft.com/office/drawing/2014/main" id="{AA9DF037-F29F-4C8B-BDBF-54B54ED61BE5}"/>
                  </a:ext>
                </a:extLst>
              </p:cNvPr>
              <p:cNvSpPr>
                <a:spLocks noChangeShapeType="1"/>
              </p:cNvSpPr>
              <p:nvPr/>
            </p:nvSpPr>
            <p:spPr bwMode="auto">
              <a:xfrm flipH="1">
                <a:off x="9321103" y="3404105"/>
                <a:ext cx="85725"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45" name="Line 132">
                <a:extLst>
                  <a:ext uri="{FF2B5EF4-FFF2-40B4-BE49-F238E27FC236}">
                    <a16:creationId xmlns:a16="http://schemas.microsoft.com/office/drawing/2014/main" id="{F5B44125-8F63-493D-97F9-80CAD45650D5}"/>
                  </a:ext>
                </a:extLst>
              </p:cNvPr>
              <p:cNvSpPr>
                <a:spLocks noChangeShapeType="1"/>
              </p:cNvSpPr>
              <p:nvPr/>
            </p:nvSpPr>
            <p:spPr bwMode="auto">
              <a:xfrm flipH="1">
                <a:off x="8933753" y="3408867"/>
                <a:ext cx="85725" cy="4763"/>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46" name="Freeform 133">
                <a:extLst>
                  <a:ext uri="{FF2B5EF4-FFF2-40B4-BE49-F238E27FC236}">
                    <a16:creationId xmlns:a16="http://schemas.microsoft.com/office/drawing/2014/main" id="{67AB4FF7-B940-4AB0-950E-2B8C6B44C31A}"/>
                  </a:ext>
                </a:extLst>
              </p:cNvPr>
              <p:cNvSpPr>
                <a:spLocks/>
              </p:cNvSpPr>
              <p:nvPr/>
            </p:nvSpPr>
            <p:spPr bwMode="auto">
              <a:xfrm>
                <a:off x="8970266" y="3210430"/>
                <a:ext cx="395288" cy="396875"/>
              </a:xfrm>
              <a:custGeom>
                <a:avLst/>
                <a:gdLst>
                  <a:gd name="T0" fmla="*/ 45 w 88"/>
                  <a:gd name="T1" fmla="*/ 88 h 88"/>
                  <a:gd name="T2" fmla="*/ 0 w 88"/>
                  <a:gd name="T3" fmla="*/ 45 h 88"/>
                  <a:gd name="T4" fmla="*/ 44 w 88"/>
                  <a:gd name="T5" fmla="*/ 0 h 88"/>
                  <a:gd name="T6" fmla="*/ 88 w 88"/>
                  <a:gd name="T7" fmla="*/ 44 h 88"/>
                  <a:gd name="T8" fmla="*/ 73 w 88"/>
                  <a:gd name="T9" fmla="*/ 78 h 88"/>
                </a:gdLst>
                <a:ahLst/>
                <a:cxnLst>
                  <a:cxn ang="0">
                    <a:pos x="T0" y="T1"/>
                  </a:cxn>
                  <a:cxn ang="0">
                    <a:pos x="T2" y="T3"/>
                  </a:cxn>
                  <a:cxn ang="0">
                    <a:pos x="T4" y="T5"/>
                  </a:cxn>
                  <a:cxn ang="0">
                    <a:pos x="T6" y="T7"/>
                  </a:cxn>
                  <a:cxn ang="0">
                    <a:pos x="T8" y="T9"/>
                  </a:cxn>
                </a:cxnLst>
                <a:rect l="0" t="0" r="r" b="b"/>
                <a:pathLst>
                  <a:path w="88" h="88">
                    <a:moveTo>
                      <a:pt x="45" y="88"/>
                    </a:moveTo>
                    <a:cubicBezTo>
                      <a:pt x="21" y="88"/>
                      <a:pt x="1" y="69"/>
                      <a:pt x="0" y="45"/>
                    </a:cubicBezTo>
                    <a:cubicBezTo>
                      <a:pt x="0" y="20"/>
                      <a:pt x="20" y="1"/>
                      <a:pt x="44" y="0"/>
                    </a:cubicBezTo>
                    <a:cubicBezTo>
                      <a:pt x="68" y="0"/>
                      <a:pt x="88" y="19"/>
                      <a:pt x="88" y="44"/>
                    </a:cubicBezTo>
                    <a:cubicBezTo>
                      <a:pt x="88" y="57"/>
                      <a:pt x="82" y="69"/>
                      <a:pt x="73" y="78"/>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sp>
        <p:nvSpPr>
          <p:cNvPr id="18" name="Pladsholder til diasnummer 5">
            <a:extLst>
              <a:ext uri="{FF2B5EF4-FFF2-40B4-BE49-F238E27FC236}">
                <a16:creationId xmlns:a16="http://schemas.microsoft.com/office/drawing/2014/main" id="{4EA85483-E2D5-4CE0-A431-6427D4FF516D}"/>
              </a:ext>
            </a:extLst>
          </p:cNvPr>
          <p:cNvSpPr txBox="1">
            <a:spLocks/>
          </p:cNvSpPr>
          <p:nvPr/>
        </p:nvSpPr>
        <p:spPr>
          <a:xfrm>
            <a:off x="4124325" y="6421930"/>
            <a:ext cx="990600" cy="297265"/>
          </a:xfrm>
          <a:prstGeom prst="rect">
            <a:avLst/>
          </a:prstGeom>
        </p:spPr>
        <p:txBody>
          <a:bodyPr/>
          <a:lstStyle>
            <a:defPPr>
              <a:defRPr lang="da-DK"/>
            </a:defPPr>
            <a:lvl1pPr marL="0" algn="r" defTabSz="914400" rtl="0" eaLnBrk="1" latinLnBrk="0" hangingPunct="1">
              <a:defRPr sz="1400" kern="1200">
                <a:solidFill>
                  <a:schemeClr val="accent6"/>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900" b="0">
                <a:solidFill>
                  <a:schemeClr val="tx1"/>
                </a:solidFill>
                <a:latin typeface="Verdana" panose="020B0604030504040204" pitchFamily="34" charset="0"/>
                <a:ea typeface="Verdana" panose="020B0604030504040204" pitchFamily="34" charset="0"/>
                <a:cs typeface="Verdana" panose="020B0604030504040204" pitchFamily="34" charset="0"/>
              </a:rPr>
              <a:t>Side </a:t>
            </a:r>
            <a:fld id="{C7AC859A-AE19-4543-AC75-3D2F5ABF6574}" type="slidenum">
              <a:rPr lang="da-DK" sz="900" b="0" smtClean="0">
                <a:solidFill>
                  <a:schemeClr val="tx1"/>
                </a:solidFill>
                <a:latin typeface="Verdana" panose="020B0604030504040204" pitchFamily="34" charset="0"/>
                <a:ea typeface="Verdana" panose="020B0604030504040204" pitchFamily="34" charset="0"/>
                <a:cs typeface="Verdana" panose="020B0604030504040204" pitchFamily="34" charset="0"/>
              </a:rPr>
              <a:pPr algn="ctr"/>
              <a:t>4</a:t>
            </a:fld>
            <a:endParaRPr lang="da-DK" sz="900" b="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2376574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64B9C86-AA66-408C-BB61-F44F5808B74C}"/>
              </a:ext>
            </a:extLst>
          </p:cNvPr>
          <p:cNvSpPr/>
          <p:nvPr/>
        </p:nvSpPr>
        <p:spPr>
          <a:xfrm>
            <a:off x="7044856" y="6066845"/>
            <a:ext cx="2099143" cy="791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4" name="Object 3" hidden="1">
            <a:extLst>
              <a:ext uri="{FF2B5EF4-FFF2-40B4-BE49-F238E27FC236}">
                <a16:creationId xmlns:a16="http://schemas.microsoft.com/office/drawing/2014/main" id="{234A9FF1-23CF-4337-9F0A-8D66B3E243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5" name="think-cell Slide" r:id="rId6" imgW="530" imgH="531" progId="TCLayout.ActiveDocument.1">
                  <p:embed/>
                </p:oleObj>
              </mc:Choice>
              <mc:Fallback>
                <p:oleObj name="think-cell Slide" r:id="rId6" imgW="530" imgH="531" progId="TCLayout.ActiveDocument.1">
                  <p:embed/>
                  <p:pic>
                    <p:nvPicPr>
                      <p:cNvPr id="4" name="Object 3" hidden="1">
                        <a:extLst>
                          <a:ext uri="{FF2B5EF4-FFF2-40B4-BE49-F238E27FC236}">
                            <a16:creationId xmlns:a16="http://schemas.microsoft.com/office/drawing/2014/main" id="{234A9FF1-23CF-4337-9F0A-8D66B3E243E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73DA888-8BAB-49B4-8161-3B7C988691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200" b="1">
              <a:latin typeface="Verdana" panose="020B0604030504040204" pitchFamily="34" charset="0"/>
              <a:ea typeface="Verdana" panose="020B0604030504040204" pitchFamily="34" charset="0"/>
              <a:sym typeface="Verdana" panose="020B0604030504040204" pitchFamily="34" charset="0"/>
            </a:endParaRPr>
          </a:p>
        </p:txBody>
      </p:sp>
      <p:sp>
        <p:nvSpPr>
          <p:cNvPr id="27" name="Rectangle 26">
            <a:extLst>
              <a:ext uri="{FF2B5EF4-FFF2-40B4-BE49-F238E27FC236}">
                <a16:creationId xmlns:a16="http://schemas.microsoft.com/office/drawing/2014/main" id="{CC26A0CC-CF93-4623-BA7A-CF53B6888C47}"/>
              </a:ext>
            </a:extLst>
          </p:cNvPr>
          <p:cNvSpPr/>
          <p:nvPr/>
        </p:nvSpPr>
        <p:spPr>
          <a:xfrm>
            <a:off x="0" y="1628775"/>
            <a:ext cx="6535971" cy="5229225"/>
          </a:xfrm>
          <a:prstGeom prst="rect">
            <a:avLst/>
          </a:prstGeom>
          <a:solidFill>
            <a:srgbClr val="FBF9F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algn="l"/>
            <a:endParaRPr lang="da-DK" sz="923">
              <a:solidFill>
                <a:srgbClr val="2F363B"/>
              </a:solidFill>
            </a:endParaRPr>
          </a:p>
        </p:txBody>
      </p:sp>
      <p:sp>
        <p:nvSpPr>
          <p:cNvPr id="2" name="Title 1">
            <a:extLst>
              <a:ext uri="{FF2B5EF4-FFF2-40B4-BE49-F238E27FC236}">
                <a16:creationId xmlns:a16="http://schemas.microsoft.com/office/drawing/2014/main" id="{EBB4E76F-AAD1-47AA-A87B-15AD24F4F3A1}"/>
              </a:ext>
            </a:extLst>
          </p:cNvPr>
          <p:cNvSpPr>
            <a:spLocks noGrp="1"/>
          </p:cNvSpPr>
          <p:nvPr>
            <p:ph type="title"/>
          </p:nvPr>
        </p:nvSpPr>
        <p:spPr>
          <a:xfrm>
            <a:off x="223074" y="372501"/>
            <a:ext cx="7981950" cy="689476"/>
          </a:xfrm>
        </p:spPr>
        <p:txBody>
          <a:bodyPr lIns="91440" tIns="45720" rIns="91440" bIns="45720" anchor="b">
            <a:noAutofit/>
          </a:bodyPr>
          <a:lstStyle/>
          <a:p>
            <a:r>
              <a:rPr lang="da-DK" sz="2490" b="0">
                <a:solidFill>
                  <a:schemeClr val="tx1"/>
                </a:solidFill>
                <a:latin typeface="Impact" panose="020B0806030902050204" pitchFamily="34" charset="0"/>
                <a:ea typeface="Verdana"/>
                <a:cs typeface="Verdana"/>
              </a:rPr>
              <a:t>1. BAGGRUND OG FORMÅL</a:t>
            </a:r>
            <a:r>
              <a:rPr lang="da-DK" sz="2490" b="0">
                <a:solidFill>
                  <a:schemeClr val="tx1"/>
                </a:solidFill>
                <a:latin typeface="Impact" panose="020B0806030902050204" pitchFamily="34" charset="0"/>
              </a:rPr>
              <a:t/>
            </a:r>
            <a:br>
              <a:rPr lang="da-DK" sz="2490" b="0">
                <a:solidFill>
                  <a:schemeClr val="tx1"/>
                </a:solidFill>
                <a:latin typeface="Impact" panose="020B0806030902050204" pitchFamily="34" charset="0"/>
              </a:rPr>
            </a:br>
            <a:r>
              <a:rPr lang="da-DK" sz="2490" b="0">
                <a:solidFill>
                  <a:schemeClr val="tx1"/>
                </a:solidFill>
                <a:latin typeface="Impact" panose="020B0806030902050204" pitchFamily="34" charset="0"/>
                <a:ea typeface="Verdana"/>
                <a:cs typeface="Verdana"/>
              </a:rPr>
              <a:t> </a:t>
            </a:r>
            <a:endParaRPr lang="da-DK" sz="2490" b="0">
              <a:solidFill>
                <a:schemeClr val="tx1"/>
              </a:solidFill>
              <a:latin typeface="Impact" panose="020B0806030902050204" pitchFamily="34" charset="0"/>
            </a:endParaRPr>
          </a:p>
        </p:txBody>
      </p:sp>
      <p:sp>
        <p:nvSpPr>
          <p:cNvPr id="28" name="Content Placeholder 7">
            <a:extLst>
              <a:ext uri="{FF2B5EF4-FFF2-40B4-BE49-F238E27FC236}">
                <a16:creationId xmlns:a16="http://schemas.microsoft.com/office/drawing/2014/main" id="{5BD9BB3C-CF37-4374-9CD4-C627828ED3B0}"/>
              </a:ext>
            </a:extLst>
          </p:cNvPr>
          <p:cNvSpPr txBox="1">
            <a:spLocks/>
          </p:cNvSpPr>
          <p:nvPr/>
        </p:nvSpPr>
        <p:spPr>
          <a:xfrm>
            <a:off x="6193080" y="1196974"/>
            <a:ext cx="2239157" cy="1538883"/>
          </a:xfrm>
          <a:prstGeom prst="rect">
            <a:avLst/>
          </a:prstGeom>
          <a:solidFill>
            <a:srgbClr val="C3CFCB"/>
          </a:solidFill>
          <a:ln w="635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137160" numCol="1" spcCol="0" rtlCol="0" fromWordArt="0" anchor="t" anchorCtr="0" forceAA="0" compatLnSpc="1">
            <a:prstTxWarp prst="textNoShape">
              <a:avLst/>
            </a:prstTxWarp>
            <a:spAutoFit/>
          </a:bodyPr>
          <a:lstStyle>
            <a:defPPr>
              <a:defRPr lang="en-US"/>
            </a:defPPr>
            <a:lvl1pPr marL="0" indent="0" algn="l" defTabSz="914400" rtl="0" eaLnBrk="1" latinLnBrk="0" hangingPunct="1">
              <a:lnSpc>
                <a:spcPct val="150000"/>
              </a:lnSpc>
              <a:spcBef>
                <a:spcPts val="0"/>
              </a:spcBef>
              <a:buFont typeface="Arial" panose="020B0604020202020204" pitchFamily="34" charset="0"/>
              <a:buNone/>
              <a:defRPr sz="1100" kern="1200">
                <a:solidFill>
                  <a:srgbClr val="2F363B"/>
                </a:solidFill>
                <a:latin typeface="Verdana" panose="020B0604030504040204" pitchFamily="34" charset="0"/>
                <a:ea typeface="Verdana" panose="020B0604030504040204" pitchFamily="34" charset="0"/>
                <a:cs typeface="Verdana" panose="020B0604030504040204" pitchFamily="34" charset="0"/>
              </a:defRPr>
            </a:lvl1pPr>
            <a:lvl2pPr marL="0" lvl="1" indent="0" algn="l" defTabSz="914400" rtl="0" eaLnBrk="1" latinLnBrk="0" hangingPunct="1">
              <a:lnSpc>
                <a:spcPct val="150000"/>
              </a:lnSpc>
              <a:spcBef>
                <a:spcPts val="0"/>
              </a:spcBef>
              <a:buSzPct val="100000"/>
              <a:buFont typeface="Arial" panose="020B0604020202020204" pitchFamily="34" charset="0"/>
              <a:buChar char="​"/>
              <a:defRPr sz="1100" kern="1200">
                <a:solidFill>
                  <a:srgbClr val="2F363B"/>
                </a:solidFill>
                <a:latin typeface="Arial" panose="020B0604020202020204" pitchFamily="34" charset="0"/>
                <a:ea typeface="Verdana" panose="020B0604030504040204" pitchFamily="34" charset="0"/>
                <a:cs typeface="Verdana" panose="020B0604030504040204" pitchFamily="34" charset="0"/>
              </a:defRPr>
            </a:lvl2pPr>
            <a:lvl3pPr marL="1257300" indent="-342900" algn="l" defTabSz="914400" rtl="0" eaLnBrk="1" latinLnBrk="0" hangingPunct="1">
              <a:lnSpc>
                <a:spcPct val="150000"/>
              </a:lnSpc>
              <a:spcBef>
                <a:spcPts val="0"/>
              </a:spcBef>
              <a:buFont typeface="Courier New" panose="02070309020205020404" pitchFamily="49" charset="0"/>
              <a:buChar char="o"/>
              <a:defRPr sz="1400" kern="1200">
                <a:solidFill>
                  <a:schemeClr val="lt1"/>
                </a:solidFill>
                <a:latin typeface="Verdana" panose="020B0604030504040204" pitchFamily="34" charset="0"/>
                <a:ea typeface="Verdana" panose="020B0604030504040204" pitchFamily="34" charset="0"/>
                <a:cs typeface="Verdana" panose="020B0604030504040204" pitchFamily="34" charset="0"/>
              </a:defRPr>
            </a:lvl3pPr>
            <a:lvl4pPr marL="1714500" indent="-342900" algn="l" defTabSz="914400" rtl="0" eaLnBrk="1" latinLnBrk="0" hangingPunct="1">
              <a:lnSpc>
                <a:spcPct val="150000"/>
              </a:lnSpc>
              <a:spcBef>
                <a:spcPts val="0"/>
              </a:spcBef>
              <a:buFont typeface="Wingdings" panose="05000000000000000000" pitchFamily="2" charset="2"/>
              <a:buChar char="§"/>
              <a:defRPr sz="1300" kern="1200">
                <a:solidFill>
                  <a:schemeClr val="lt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150000"/>
              </a:lnSpc>
              <a:spcBef>
                <a:spcPts val="0"/>
              </a:spcBef>
              <a:buFont typeface="Arial" panose="020B0604020202020204" pitchFamily="34" charset="0"/>
              <a:buChar char="•"/>
              <a:defRPr sz="1100" kern="1200">
                <a:solidFill>
                  <a:schemeClr val="lt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lvl="1">
              <a:lnSpc>
                <a:spcPct val="100000"/>
              </a:lnSpc>
              <a:spcAft>
                <a:spcPts val="300"/>
              </a:spcAft>
              <a:buNone/>
              <a:defRPr/>
            </a:pPr>
            <a:r>
              <a:rPr lang="da-DK" sz="900" b="1">
                <a:solidFill>
                  <a:schemeClr val="tx1"/>
                </a:solidFill>
                <a:latin typeface="+mj-lt"/>
                <a:ea typeface="Verdana"/>
                <a:cs typeface="Verdana"/>
              </a:rPr>
              <a:t>Spørgsmål, som ønskes besvaret af leverandøren: </a:t>
            </a:r>
          </a:p>
          <a:p>
            <a:pPr lvl="1">
              <a:lnSpc>
                <a:spcPct val="100000"/>
              </a:lnSpc>
              <a:spcBef>
                <a:spcPts val="600"/>
              </a:spcBef>
              <a:spcAft>
                <a:spcPts val="300"/>
              </a:spcAft>
              <a:buNone/>
              <a:defRPr/>
            </a:pPr>
            <a:r>
              <a:rPr lang="da-DK" sz="900" b="1">
                <a:solidFill>
                  <a:schemeClr val="tx1"/>
                </a:solidFill>
                <a:latin typeface="+mj-lt"/>
                <a:ea typeface="Verdana"/>
                <a:cs typeface="Arial"/>
              </a:rPr>
              <a:t>1.1.a: Relevante kompetencer og fagindsigt </a:t>
            </a:r>
          </a:p>
          <a:p>
            <a:pPr lvl="1">
              <a:lnSpc>
                <a:spcPct val="100000"/>
              </a:lnSpc>
              <a:spcAft>
                <a:spcPts val="300"/>
              </a:spcAft>
              <a:buNone/>
              <a:defRPr/>
            </a:pPr>
            <a:r>
              <a:rPr lang="da-DK" sz="900">
                <a:solidFill>
                  <a:schemeClr val="tx1"/>
                </a:solidFill>
                <a:latin typeface="+mj-lt"/>
                <a:ea typeface="Verdana"/>
                <a:cs typeface="Arial"/>
              </a:rPr>
              <a:t>Leverandøren bedes kort redegøre for sine kompetencer og faglige viden inden for det beskrevne område.</a:t>
            </a:r>
          </a:p>
        </p:txBody>
      </p:sp>
      <p:sp>
        <p:nvSpPr>
          <p:cNvPr id="24" name="Content Placeholder 7">
            <a:extLst>
              <a:ext uri="{FF2B5EF4-FFF2-40B4-BE49-F238E27FC236}">
                <a16:creationId xmlns:a16="http://schemas.microsoft.com/office/drawing/2014/main" id="{C9A5D221-7877-4C4A-93FD-EBDAB0424EA0}"/>
              </a:ext>
            </a:extLst>
          </p:cNvPr>
          <p:cNvSpPr txBox="1">
            <a:spLocks/>
          </p:cNvSpPr>
          <p:nvPr/>
        </p:nvSpPr>
        <p:spPr>
          <a:xfrm>
            <a:off x="1301032" y="2062105"/>
            <a:ext cx="4788790" cy="184666"/>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da-DK" sz="1200" b="1">
                <a:latin typeface="+mj-lt"/>
              </a:rPr>
              <a:t>1.1 Baggrund og formål</a:t>
            </a:r>
          </a:p>
        </p:txBody>
      </p:sp>
      <p:sp>
        <p:nvSpPr>
          <p:cNvPr id="25" name="TextBox 24">
            <a:extLst>
              <a:ext uri="{FF2B5EF4-FFF2-40B4-BE49-F238E27FC236}">
                <a16:creationId xmlns:a16="http://schemas.microsoft.com/office/drawing/2014/main" id="{FEA42E42-C0E8-4DE0-A49B-40B2E65FCA9B}"/>
              </a:ext>
            </a:extLst>
          </p:cNvPr>
          <p:cNvSpPr txBox="1"/>
          <p:nvPr/>
        </p:nvSpPr>
        <p:spPr>
          <a:xfrm>
            <a:off x="734899" y="2665088"/>
            <a:ext cx="4753792" cy="3323987"/>
          </a:xfrm>
          <a:prstGeom prst="rect">
            <a:avLst/>
          </a:prstGeom>
          <a:noFill/>
        </p:spPr>
        <p:txBody>
          <a:bodyPr wrap="square" lIns="0" tIns="0" rIns="0" bIns="0" rtlCol="0" anchor="t">
            <a:spAutoFit/>
          </a:bodyPr>
          <a:lstStyle/>
          <a:p>
            <a:r>
              <a:rPr lang="da-DK" sz="900"/>
              <a:t>IndFak er et indkøbs- og faktureringssystem, der er indkøbt som en standard applikation.</a:t>
            </a:r>
            <a:endParaRPr lang="da-DK" sz="900">
              <a:ea typeface="Verdana"/>
              <a:cs typeface="Verdana"/>
            </a:endParaRPr>
          </a:p>
          <a:p>
            <a:pPr fontAlgn="base"/>
            <a:endParaRPr lang="da-DK" sz="900" i="1"/>
          </a:p>
          <a:p>
            <a:pPr fontAlgn="base"/>
            <a:r>
              <a:rPr lang="da-DK" sz="900"/>
              <a:t>Da systemet skal dække en lang række forskellige institutioner med forskellige behov og karakteristika har Økonomistyrelsen et behov for at få afdækket markedet for bredt dækkende løsninger, der både har egenskaber til at understøtte meget store og komplekse organisationer, samt understøtte små administrationer, herunder på selvejende institutioner.</a:t>
            </a:r>
            <a:r>
              <a:rPr lang="da-DK" sz="900" i="1"/>
              <a:t> </a:t>
            </a:r>
            <a:r>
              <a:rPr lang="da-DK" sz="900"/>
              <a:t>Der er også behov for en indsigt i tendensen i markedet, og hvilke teknologiske strømninger, der bør tages højde for i udbuddet af et system, der skal understøtte opgaven i flere år fremadrettet.</a:t>
            </a:r>
          </a:p>
          <a:p>
            <a:pPr fontAlgn="base"/>
            <a:endParaRPr lang="da-DK" sz="900"/>
          </a:p>
          <a:p>
            <a:pPr fontAlgn="base"/>
            <a:r>
              <a:rPr lang="da-DK" sz="900"/>
              <a:t>Økonomistyrelsen ønsker </a:t>
            </a:r>
            <a:r>
              <a:rPr lang="da-DK" sz="900" err="1"/>
              <a:t>tilrådighedstillelse</a:t>
            </a:r>
            <a:r>
              <a:rPr lang="da-DK" sz="900"/>
              <a:t> af en etableret, moderne og brugervenlig standardløsning, der løbende vedligeholdes og udvikles i takt med standarder og </a:t>
            </a:r>
            <a:r>
              <a:rPr lang="da-DK" sz="900" err="1"/>
              <a:t>best</a:t>
            </a:r>
            <a:r>
              <a:rPr lang="da-DK" sz="900"/>
              <a:t> </a:t>
            </a:r>
            <a:r>
              <a:rPr lang="da-DK" sz="900" err="1"/>
              <a:t>pratice</a:t>
            </a:r>
            <a:r>
              <a:rPr lang="da-DK" sz="900"/>
              <a:t> på markedet. Løsningen skal kunne understøtte anvendelsen af fællesstatslige indkøbsaftaler, brug af elektroniske varekataloger, elektronisk håndtering af indkøbsordrer og fakturaer samt understøtte en effektiv organisering af forretningsgangene på området</a:t>
            </a:r>
          </a:p>
          <a:p>
            <a:pPr fontAlgn="base"/>
            <a:endParaRPr lang="da-DK" sz="900" i="1"/>
          </a:p>
          <a:p>
            <a:endParaRPr lang="da-DK" sz="900"/>
          </a:p>
          <a:p>
            <a:endParaRPr lang="da-DK" sz="900"/>
          </a:p>
          <a:p>
            <a:endParaRPr lang="da-DK" sz="900"/>
          </a:p>
          <a:p>
            <a:endParaRPr lang="da-DK" sz="900">
              <a:ea typeface="Verdana" panose="020B0604030504040204" pitchFamily="34" charset="0"/>
              <a:cs typeface="Verdana"/>
            </a:endParaRPr>
          </a:p>
          <a:p>
            <a:endParaRPr lang="da-DK" sz="900">
              <a:ea typeface="Verdana" panose="020B0604030504040204" pitchFamily="34" charset="0"/>
              <a:cs typeface="Verdana"/>
            </a:endParaRPr>
          </a:p>
        </p:txBody>
      </p:sp>
      <p:grpSp>
        <p:nvGrpSpPr>
          <p:cNvPr id="38" name="Group 37">
            <a:extLst>
              <a:ext uri="{FF2B5EF4-FFF2-40B4-BE49-F238E27FC236}">
                <a16:creationId xmlns:a16="http://schemas.microsoft.com/office/drawing/2014/main" id="{70B62BA1-D244-44B6-B576-BB8298E0C80E}"/>
              </a:ext>
            </a:extLst>
          </p:cNvPr>
          <p:cNvGrpSpPr/>
          <p:nvPr/>
        </p:nvGrpSpPr>
        <p:grpSpPr>
          <a:xfrm>
            <a:off x="734898" y="1887955"/>
            <a:ext cx="508794" cy="513916"/>
            <a:chOff x="8933753" y="3169155"/>
            <a:chExt cx="473075" cy="477837"/>
          </a:xfrm>
        </p:grpSpPr>
        <p:sp>
          <p:nvSpPr>
            <p:cNvPr id="39" name="Oval 127">
              <a:extLst>
                <a:ext uri="{FF2B5EF4-FFF2-40B4-BE49-F238E27FC236}">
                  <a16:creationId xmlns:a16="http://schemas.microsoft.com/office/drawing/2014/main" id="{EF342161-0ADE-41BA-978A-E949BE67B4EF}"/>
                </a:ext>
              </a:extLst>
            </p:cNvPr>
            <p:cNvSpPr>
              <a:spLocks noChangeArrowheads="1"/>
            </p:cNvSpPr>
            <p:nvPr/>
          </p:nvSpPr>
          <p:spPr bwMode="auto">
            <a:xfrm>
              <a:off x="8975028" y="3250117"/>
              <a:ext cx="319088" cy="320675"/>
            </a:xfrm>
            <a:prstGeom prst="ellipse">
              <a:avLst/>
            </a:pr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40" name="Group 39">
              <a:extLst>
                <a:ext uri="{FF2B5EF4-FFF2-40B4-BE49-F238E27FC236}">
                  <a16:creationId xmlns:a16="http://schemas.microsoft.com/office/drawing/2014/main" id="{C335FFB3-43EB-443F-B360-42F1A4DCDFA5}"/>
                </a:ext>
              </a:extLst>
            </p:cNvPr>
            <p:cNvGrpSpPr/>
            <p:nvPr/>
          </p:nvGrpSpPr>
          <p:grpSpPr>
            <a:xfrm>
              <a:off x="8933753" y="3169155"/>
              <a:ext cx="473075" cy="477837"/>
              <a:chOff x="8933753" y="3169155"/>
              <a:chExt cx="473075" cy="477837"/>
            </a:xfrm>
          </p:grpSpPr>
          <p:sp>
            <p:nvSpPr>
              <p:cNvPr id="41" name="Freeform 128">
                <a:extLst>
                  <a:ext uri="{FF2B5EF4-FFF2-40B4-BE49-F238E27FC236}">
                    <a16:creationId xmlns:a16="http://schemas.microsoft.com/office/drawing/2014/main" id="{23A2778A-AD05-449E-A89F-1EBB2C9AB26F}"/>
                  </a:ext>
                </a:extLst>
              </p:cNvPr>
              <p:cNvSpPr>
                <a:spLocks/>
              </p:cNvSpPr>
              <p:nvPr/>
            </p:nvSpPr>
            <p:spPr bwMode="auto">
              <a:xfrm>
                <a:off x="9132191" y="3372355"/>
                <a:ext cx="71438" cy="71438"/>
              </a:xfrm>
              <a:custGeom>
                <a:avLst/>
                <a:gdLst>
                  <a:gd name="T0" fmla="*/ 16 w 16"/>
                  <a:gd name="T1" fmla="*/ 8 h 16"/>
                  <a:gd name="T2" fmla="*/ 8 w 16"/>
                  <a:gd name="T3" fmla="*/ 16 h 16"/>
                  <a:gd name="T4" fmla="*/ 1 w 16"/>
                  <a:gd name="T5" fmla="*/ 8 h 16"/>
                  <a:gd name="T6" fmla="*/ 8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6" y="12"/>
                      <a:pt x="13" y="16"/>
                      <a:pt x="8" y="16"/>
                    </a:cubicBezTo>
                    <a:cubicBezTo>
                      <a:pt x="4" y="16"/>
                      <a:pt x="1" y="13"/>
                      <a:pt x="1" y="8"/>
                    </a:cubicBezTo>
                    <a:cubicBezTo>
                      <a:pt x="0" y="4"/>
                      <a:pt x="4" y="0"/>
                      <a:pt x="8" y="0"/>
                    </a:cubicBezTo>
                    <a:cubicBezTo>
                      <a:pt x="13" y="0"/>
                      <a:pt x="16" y="4"/>
                      <a:pt x="16" y="8"/>
                    </a:cubicBezTo>
                    <a:close/>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42" name="Line 129">
                <a:extLst>
                  <a:ext uri="{FF2B5EF4-FFF2-40B4-BE49-F238E27FC236}">
                    <a16:creationId xmlns:a16="http://schemas.microsoft.com/office/drawing/2014/main" id="{9DD44DA1-8031-4468-B198-35F4B409F473}"/>
                  </a:ext>
                </a:extLst>
              </p:cNvPr>
              <p:cNvSpPr>
                <a:spLocks noChangeShapeType="1"/>
              </p:cNvSpPr>
              <p:nvPr/>
            </p:nvSpPr>
            <p:spPr bwMode="auto">
              <a:xfrm>
                <a:off x="9168703" y="3169155"/>
                <a:ext cx="0" cy="8572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43" name="Line 130">
                <a:extLst>
                  <a:ext uri="{FF2B5EF4-FFF2-40B4-BE49-F238E27FC236}">
                    <a16:creationId xmlns:a16="http://schemas.microsoft.com/office/drawing/2014/main" id="{FE8B99C1-2A51-4078-A621-1A2C234C64B4}"/>
                  </a:ext>
                </a:extLst>
              </p:cNvPr>
              <p:cNvSpPr>
                <a:spLocks noChangeShapeType="1"/>
              </p:cNvSpPr>
              <p:nvPr/>
            </p:nvSpPr>
            <p:spPr bwMode="auto">
              <a:xfrm>
                <a:off x="9171878" y="3561267"/>
                <a:ext cx="0" cy="8572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44" name="Line 131">
                <a:extLst>
                  <a:ext uri="{FF2B5EF4-FFF2-40B4-BE49-F238E27FC236}">
                    <a16:creationId xmlns:a16="http://schemas.microsoft.com/office/drawing/2014/main" id="{AA9DF037-F29F-4C8B-BDBF-54B54ED61BE5}"/>
                  </a:ext>
                </a:extLst>
              </p:cNvPr>
              <p:cNvSpPr>
                <a:spLocks noChangeShapeType="1"/>
              </p:cNvSpPr>
              <p:nvPr/>
            </p:nvSpPr>
            <p:spPr bwMode="auto">
              <a:xfrm flipH="1">
                <a:off x="9321103" y="3404105"/>
                <a:ext cx="85725"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45" name="Line 132">
                <a:extLst>
                  <a:ext uri="{FF2B5EF4-FFF2-40B4-BE49-F238E27FC236}">
                    <a16:creationId xmlns:a16="http://schemas.microsoft.com/office/drawing/2014/main" id="{F5B44125-8F63-493D-97F9-80CAD45650D5}"/>
                  </a:ext>
                </a:extLst>
              </p:cNvPr>
              <p:cNvSpPr>
                <a:spLocks noChangeShapeType="1"/>
              </p:cNvSpPr>
              <p:nvPr/>
            </p:nvSpPr>
            <p:spPr bwMode="auto">
              <a:xfrm flipH="1">
                <a:off x="8933753" y="3408867"/>
                <a:ext cx="85725" cy="4763"/>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46" name="Freeform 133">
                <a:extLst>
                  <a:ext uri="{FF2B5EF4-FFF2-40B4-BE49-F238E27FC236}">
                    <a16:creationId xmlns:a16="http://schemas.microsoft.com/office/drawing/2014/main" id="{67AB4FF7-B940-4AB0-950E-2B8C6B44C31A}"/>
                  </a:ext>
                </a:extLst>
              </p:cNvPr>
              <p:cNvSpPr>
                <a:spLocks/>
              </p:cNvSpPr>
              <p:nvPr/>
            </p:nvSpPr>
            <p:spPr bwMode="auto">
              <a:xfrm>
                <a:off x="8970266" y="3210430"/>
                <a:ext cx="395288" cy="396875"/>
              </a:xfrm>
              <a:custGeom>
                <a:avLst/>
                <a:gdLst>
                  <a:gd name="T0" fmla="*/ 45 w 88"/>
                  <a:gd name="T1" fmla="*/ 88 h 88"/>
                  <a:gd name="T2" fmla="*/ 0 w 88"/>
                  <a:gd name="T3" fmla="*/ 45 h 88"/>
                  <a:gd name="T4" fmla="*/ 44 w 88"/>
                  <a:gd name="T5" fmla="*/ 0 h 88"/>
                  <a:gd name="T6" fmla="*/ 88 w 88"/>
                  <a:gd name="T7" fmla="*/ 44 h 88"/>
                  <a:gd name="T8" fmla="*/ 73 w 88"/>
                  <a:gd name="T9" fmla="*/ 78 h 88"/>
                </a:gdLst>
                <a:ahLst/>
                <a:cxnLst>
                  <a:cxn ang="0">
                    <a:pos x="T0" y="T1"/>
                  </a:cxn>
                  <a:cxn ang="0">
                    <a:pos x="T2" y="T3"/>
                  </a:cxn>
                  <a:cxn ang="0">
                    <a:pos x="T4" y="T5"/>
                  </a:cxn>
                  <a:cxn ang="0">
                    <a:pos x="T6" y="T7"/>
                  </a:cxn>
                  <a:cxn ang="0">
                    <a:pos x="T8" y="T9"/>
                  </a:cxn>
                </a:cxnLst>
                <a:rect l="0" t="0" r="r" b="b"/>
                <a:pathLst>
                  <a:path w="88" h="88">
                    <a:moveTo>
                      <a:pt x="45" y="88"/>
                    </a:moveTo>
                    <a:cubicBezTo>
                      <a:pt x="21" y="88"/>
                      <a:pt x="1" y="69"/>
                      <a:pt x="0" y="45"/>
                    </a:cubicBezTo>
                    <a:cubicBezTo>
                      <a:pt x="0" y="20"/>
                      <a:pt x="20" y="1"/>
                      <a:pt x="44" y="0"/>
                    </a:cubicBezTo>
                    <a:cubicBezTo>
                      <a:pt x="68" y="0"/>
                      <a:pt x="88" y="19"/>
                      <a:pt x="88" y="44"/>
                    </a:cubicBezTo>
                    <a:cubicBezTo>
                      <a:pt x="88" y="57"/>
                      <a:pt x="82" y="69"/>
                      <a:pt x="73" y="78"/>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sp>
        <p:nvSpPr>
          <p:cNvPr id="18" name="Pladsholder til diasnummer 5">
            <a:extLst>
              <a:ext uri="{FF2B5EF4-FFF2-40B4-BE49-F238E27FC236}">
                <a16:creationId xmlns:a16="http://schemas.microsoft.com/office/drawing/2014/main" id="{4EA85483-E2D5-4CE0-A431-6427D4FF516D}"/>
              </a:ext>
            </a:extLst>
          </p:cNvPr>
          <p:cNvSpPr txBox="1">
            <a:spLocks/>
          </p:cNvSpPr>
          <p:nvPr/>
        </p:nvSpPr>
        <p:spPr>
          <a:xfrm>
            <a:off x="4124325" y="6421930"/>
            <a:ext cx="990600" cy="297265"/>
          </a:xfrm>
          <a:prstGeom prst="rect">
            <a:avLst/>
          </a:prstGeom>
        </p:spPr>
        <p:txBody>
          <a:bodyPr/>
          <a:lstStyle>
            <a:defPPr>
              <a:defRPr lang="da-DK"/>
            </a:defPPr>
            <a:lvl1pPr marL="0" algn="r" defTabSz="914400" rtl="0" eaLnBrk="1" latinLnBrk="0" hangingPunct="1">
              <a:defRPr sz="1400" kern="1200">
                <a:solidFill>
                  <a:schemeClr val="accent6"/>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900" b="0">
                <a:solidFill>
                  <a:schemeClr val="tx1"/>
                </a:solidFill>
                <a:latin typeface="Verdana" panose="020B0604030504040204" pitchFamily="34" charset="0"/>
                <a:ea typeface="Verdana" panose="020B0604030504040204" pitchFamily="34" charset="0"/>
                <a:cs typeface="Verdana" panose="020B0604030504040204" pitchFamily="34" charset="0"/>
              </a:rPr>
              <a:t>Side </a:t>
            </a:r>
            <a:fld id="{C7AC859A-AE19-4543-AC75-3D2F5ABF6574}" type="slidenum">
              <a:rPr lang="da-DK" sz="900" b="0" smtClean="0">
                <a:solidFill>
                  <a:schemeClr val="tx1"/>
                </a:solidFill>
                <a:latin typeface="Verdana" panose="020B0604030504040204" pitchFamily="34" charset="0"/>
                <a:ea typeface="Verdana" panose="020B0604030504040204" pitchFamily="34" charset="0"/>
                <a:cs typeface="Verdana" panose="020B0604030504040204" pitchFamily="34" charset="0"/>
              </a:rPr>
              <a:pPr algn="ctr"/>
              <a:t>5</a:t>
            </a:fld>
            <a:endParaRPr lang="da-DK" sz="900" b="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7197529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416D589-BC61-4E6F-9C50-3C387FC297BD}"/>
              </a:ext>
            </a:extLst>
          </p:cNvPr>
          <p:cNvSpPr/>
          <p:nvPr/>
        </p:nvSpPr>
        <p:spPr>
          <a:xfrm>
            <a:off x="15192" y="1628775"/>
            <a:ext cx="6535971" cy="5229225"/>
          </a:xfrm>
          <a:prstGeom prst="rect">
            <a:avLst/>
          </a:prstGeom>
          <a:solidFill>
            <a:srgbClr val="FBF9F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rtl="0"/>
            <a:endParaRPr lang="en-US">
              <a:solidFill>
                <a:schemeClr val="tx1"/>
              </a:solidFill>
              <a:ea typeface="Verdana"/>
              <a:cs typeface="Segoe UI"/>
            </a:endParaRPr>
          </a:p>
        </p:txBody>
      </p:sp>
      <p:sp>
        <p:nvSpPr>
          <p:cNvPr id="14" name="Text Placeholder 13">
            <a:extLst>
              <a:ext uri="{FF2B5EF4-FFF2-40B4-BE49-F238E27FC236}">
                <a16:creationId xmlns:a16="http://schemas.microsoft.com/office/drawing/2014/main" id="{C8C2354E-5630-4435-8F25-4D87DD4E0CC0}"/>
              </a:ext>
            </a:extLst>
          </p:cNvPr>
          <p:cNvSpPr>
            <a:spLocks noGrp="1"/>
          </p:cNvSpPr>
          <p:nvPr>
            <p:ph type="body" sz="quarter" idx="13"/>
          </p:nvPr>
        </p:nvSpPr>
        <p:spPr>
          <a:xfrm>
            <a:off x="249115" y="6619857"/>
            <a:ext cx="6225333" cy="106116"/>
          </a:xfrm>
        </p:spPr>
        <p:txBody>
          <a:bodyPr/>
          <a:lstStyle/>
          <a:p>
            <a:pPr>
              <a:buNone/>
            </a:pPr>
            <a:endParaRPr lang="en-ID"/>
          </a:p>
        </p:txBody>
      </p:sp>
      <p:grpSp>
        <p:nvGrpSpPr>
          <p:cNvPr id="19" name="Group 18">
            <a:extLst>
              <a:ext uri="{FF2B5EF4-FFF2-40B4-BE49-F238E27FC236}">
                <a16:creationId xmlns:a16="http://schemas.microsoft.com/office/drawing/2014/main" id="{29A3D78E-1982-49E3-97BF-B681D8B1B2BD}"/>
              </a:ext>
            </a:extLst>
          </p:cNvPr>
          <p:cNvGrpSpPr/>
          <p:nvPr/>
        </p:nvGrpSpPr>
        <p:grpSpPr>
          <a:xfrm>
            <a:off x="2182752" y="4096902"/>
            <a:ext cx="2160709" cy="681339"/>
            <a:chOff x="2610644" y="2460193"/>
            <a:chExt cx="2340768" cy="1032387"/>
          </a:xfrm>
        </p:grpSpPr>
        <p:cxnSp>
          <p:nvCxnSpPr>
            <p:cNvPr id="87" name="Straight Connector 86">
              <a:extLst>
                <a:ext uri="{FF2B5EF4-FFF2-40B4-BE49-F238E27FC236}">
                  <a16:creationId xmlns:a16="http://schemas.microsoft.com/office/drawing/2014/main" id="{358DB5BC-8074-4F02-8777-98301A254109}"/>
                </a:ext>
              </a:extLst>
            </p:cNvPr>
            <p:cNvCxnSpPr>
              <a:cxnSpLocks/>
            </p:cNvCxnSpPr>
            <p:nvPr/>
          </p:nvCxnSpPr>
          <p:spPr>
            <a:xfrm>
              <a:off x="2610644" y="2460193"/>
              <a:ext cx="0" cy="1032387"/>
            </a:xfrm>
            <a:prstGeom prst="line">
              <a:avLst/>
            </a:prstGeom>
            <a:ln w="31750" cap="rnd">
              <a:solidFill>
                <a:srgbClr val="8AA299"/>
              </a:solidFill>
              <a:prstDash val="sysDot"/>
              <a:roun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3A57BC2A-35F0-4BA8-B2CB-19016DD87CC5}"/>
                </a:ext>
              </a:extLst>
            </p:cNvPr>
            <p:cNvCxnSpPr>
              <a:cxnSpLocks/>
            </p:cNvCxnSpPr>
            <p:nvPr/>
          </p:nvCxnSpPr>
          <p:spPr>
            <a:xfrm>
              <a:off x="4951412" y="2460193"/>
              <a:ext cx="0" cy="1032387"/>
            </a:xfrm>
            <a:prstGeom prst="line">
              <a:avLst/>
            </a:prstGeom>
            <a:ln w="31750" cap="rnd">
              <a:solidFill>
                <a:srgbClr val="8AA299"/>
              </a:solidFill>
              <a:prstDash val="sysDot"/>
              <a:round/>
            </a:ln>
          </p:spPr>
          <p:style>
            <a:lnRef idx="1">
              <a:schemeClr val="accent1"/>
            </a:lnRef>
            <a:fillRef idx="0">
              <a:schemeClr val="accent1"/>
            </a:fillRef>
            <a:effectRef idx="0">
              <a:schemeClr val="accent1"/>
            </a:effectRef>
            <a:fontRef idx="minor">
              <a:schemeClr val="tx1"/>
            </a:fontRef>
          </p:style>
        </p:cxnSp>
      </p:grpSp>
      <p:sp>
        <p:nvSpPr>
          <p:cNvPr id="96" name="Content Placeholder 2">
            <a:extLst>
              <a:ext uri="{FF2B5EF4-FFF2-40B4-BE49-F238E27FC236}">
                <a16:creationId xmlns:a16="http://schemas.microsoft.com/office/drawing/2014/main" id="{11B55FF7-BE38-404F-8671-B51087F09D07}"/>
              </a:ext>
            </a:extLst>
          </p:cNvPr>
          <p:cNvSpPr txBox="1">
            <a:spLocks/>
          </p:cNvSpPr>
          <p:nvPr/>
        </p:nvSpPr>
        <p:spPr>
          <a:xfrm>
            <a:off x="427765" y="4096901"/>
            <a:ext cx="1674546" cy="681844"/>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oAutofit/>
          </a:bodyPr>
          <a:lstStyle>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chemeClr val="lt1"/>
                </a:solidFill>
                <a:latin typeface="+mn-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chemeClr val="lt1"/>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chemeClr val="lt1"/>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chemeClr val="lt1"/>
                </a:solidFill>
                <a:latin typeface="+mn-lt"/>
                <a:ea typeface="+mn-ea"/>
                <a:cs typeface="+mn-cs"/>
              </a:defRPr>
            </a:lvl9pPr>
          </a:lstStyle>
          <a:p>
            <a:pPr algn="ctr" defTabSz="914400">
              <a:buNone/>
            </a:pPr>
            <a:r>
              <a:rPr lang="da-DK" sz="900">
                <a:ea typeface="+mn-lt"/>
                <a:cs typeface="+mn-lt"/>
              </a:rPr>
              <a:t>Håndtering af varekataloger og aftaler</a:t>
            </a:r>
          </a:p>
        </p:txBody>
      </p:sp>
      <p:sp>
        <p:nvSpPr>
          <p:cNvPr id="97" name="Content Placeholder 2">
            <a:extLst>
              <a:ext uri="{FF2B5EF4-FFF2-40B4-BE49-F238E27FC236}">
                <a16:creationId xmlns:a16="http://schemas.microsoft.com/office/drawing/2014/main" id="{9524E255-489D-4D88-BFAC-6B39B6B631C3}"/>
              </a:ext>
            </a:extLst>
          </p:cNvPr>
          <p:cNvSpPr txBox="1">
            <a:spLocks/>
          </p:cNvSpPr>
          <p:nvPr/>
        </p:nvSpPr>
        <p:spPr>
          <a:xfrm>
            <a:off x="2406759" y="5520844"/>
            <a:ext cx="1674546" cy="681844"/>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oAutofit/>
          </a:bodyPr>
          <a:lstStyle>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chemeClr val="lt1"/>
                </a:solidFill>
                <a:latin typeface="+mn-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chemeClr val="lt1"/>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chemeClr val="lt1"/>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chemeClr val="lt1"/>
                </a:solidFill>
                <a:latin typeface="+mn-lt"/>
                <a:ea typeface="+mn-ea"/>
                <a:cs typeface="+mn-cs"/>
              </a:defRPr>
            </a:lvl9pPr>
          </a:lstStyle>
          <a:p>
            <a:pPr algn="ctr" defTabSz="914400">
              <a:buNone/>
            </a:pPr>
            <a:r>
              <a:rPr lang="da-DK" sz="900">
                <a:ea typeface="+mn-lt"/>
                <a:cs typeface="+mn-lt"/>
              </a:rPr>
              <a:t>Afsendelse af ordre og modtagelse af faktura/kreditnotaer med tilhørende ordre/faktura match</a:t>
            </a:r>
          </a:p>
        </p:txBody>
      </p:sp>
      <p:sp>
        <p:nvSpPr>
          <p:cNvPr id="99" name="Content Placeholder 2">
            <a:extLst>
              <a:ext uri="{FF2B5EF4-FFF2-40B4-BE49-F238E27FC236}">
                <a16:creationId xmlns:a16="http://schemas.microsoft.com/office/drawing/2014/main" id="{A4B30A47-F483-4572-BEF4-D6B8CA89A90E}"/>
              </a:ext>
            </a:extLst>
          </p:cNvPr>
          <p:cNvSpPr txBox="1">
            <a:spLocks/>
          </p:cNvSpPr>
          <p:nvPr/>
        </p:nvSpPr>
        <p:spPr>
          <a:xfrm>
            <a:off x="4396796" y="4096901"/>
            <a:ext cx="1674546" cy="681844"/>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oAutofit/>
          </a:bodyPr>
          <a:lstStyle>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chemeClr val="lt1"/>
                </a:solidFill>
                <a:latin typeface="+mn-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chemeClr val="lt1"/>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chemeClr val="lt1"/>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chemeClr val="lt1"/>
                </a:solidFill>
                <a:latin typeface="+mn-lt"/>
                <a:ea typeface="+mn-ea"/>
                <a:cs typeface="+mn-cs"/>
              </a:defRPr>
            </a:lvl9pPr>
          </a:lstStyle>
          <a:p>
            <a:pPr algn="ctr" defTabSz="914400">
              <a:buNone/>
            </a:pPr>
            <a:r>
              <a:rPr lang="da-DK" sz="900">
                <a:ea typeface="+mn-lt"/>
                <a:cs typeface="+mn-lt"/>
              </a:rPr>
              <a:t>Kontering og godkendelses flow </a:t>
            </a:r>
          </a:p>
        </p:txBody>
      </p:sp>
      <p:sp>
        <p:nvSpPr>
          <p:cNvPr id="100" name="Content Placeholder 2">
            <a:extLst>
              <a:ext uri="{FF2B5EF4-FFF2-40B4-BE49-F238E27FC236}">
                <a16:creationId xmlns:a16="http://schemas.microsoft.com/office/drawing/2014/main" id="{CF7403F6-27D8-40DC-8C97-FB6DA4B48A29}"/>
              </a:ext>
            </a:extLst>
          </p:cNvPr>
          <p:cNvSpPr txBox="1">
            <a:spLocks/>
          </p:cNvSpPr>
          <p:nvPr/>
        </p:nvSpPr>
        <p:spPr>
          <a:xfrm>
            <a:off x="408691" y="5520844"/>
            <a:ext cx="1674546" cy="681844"/>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oAutofit/>
          </a:bodyPr>
          <a:lstStyle>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chemeClr val="lt1"/>
                </a:solidFill>
                <a:latin typeface="+mn-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chemeClr val="lt1"/>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chemeClr val="lt1"/>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chemeClr val="lt1"/>
                </a:solidFill>
                <a:latin typeface="+mn-lt"/>
                <a:ea typeface="+mn-ea"/>
                <a:cs typeface="+mn-cs"/>
              </a:defRPr>
            </a:lvl9pPr>
          </a:lstStyle>
          <a:p>
            <a:pPr algn="ctr" defTabSz="914400">
              <a:buNone/>
            </a:pPr>
            <a:r>
              <a:rPr lang="da-DK" sz="900">
                <a:ea typeface="+mn-lt"/>
                <a:cs typeface="+mn-lt"/>
              </a:rPr>
              <a:t>Oprettelse af manuelle fakturaer som supplement til de automatisk modtagne og fuldt fortolkede bilag via </a:t>
            </a:r>
            <a:r>
              <a:rPr lang="da-DK" sz="900" err="1">
                <a:ea typeface="+mn-lt"/>
                <a:cs typeface="+mn-lt"/>
              </a:rPr>
              <a:t>Nemhandel</a:t>
            </a:r>
            <a:r>
              <a:rPr lang="da-DK" sz="900">
                <a:ea typeface="+mn-lt"/>
                <a:cs typeface="+mn-lt"/>
              </a:rPr>
              <a:t>, for bilag afsendt fra Danmark</a:t>
            </a:r>
          </a:p>
        </p:txBody>
      </p:sp>
      <p:grpSp>
        <p:nvGrpSpPr>
          <p:cNvPr id="6" name="Group 5">
            <a:extLst>
              <a:ext uri="{FF2B5EF4-FFF2-40B4-BE49-F238E27FC236}">
                <a16:creationId xmlns:a16="http://schemas.microsoft.com/office/drawing/2014/main" id="{7C7E2263-7E49-4A43-ACF3-6F1A9DE9958B}"/>
              </a:ext>
            </a:extLst>
          </p:cNvPr>
          <p:cNvGrpSpPr/>
          <p:nvPr/>
        </p:nvGrpSpPr>
        <p:grpSpPr>
          <a:xfrm>
            <a:off x="2947903" y="4673770"/>
            <a:ext cx="632452" cy="663454"/>
            <a:chOff x="3621996" y="1738845"/>
            <a:chExt cx="485776" cy="509588"/>
          </a:xfrm>
        </p:grpSpPr>
        <p:sp>
          <p:nvSpPr>
            <p:cNvPr id="139" name="Freeform 41">
              <a:extLst>
                <a:ext uri="{FF2B5EF4-FFF2-40B4-BE49-F238E27FC236}">
                  <a16:creationId xmlns:a16="http://schemas.microsoft.com/office/drawing/2014/main" id="{CC06C82C-6C66-4F9E-AC08-B79D99AE63A4}"/>
                </a:ext>
              </a:extLst>
            </p:cNvPr>
            <p:cNvSpPr>
              <a:spLocks/>
            </p:cNvSpPr>
            <p:nvPr/>
          </p:nvSpPr>
          <p:spPr bwMode="auto">
            <a:xfrm>
              <a:off x="3737884" y="1738845"/>
              <a:ext cx="193675" cy="203200"/>
            </a:xfrm>
            <a:custGeom>
              <a:avLst/>
              <a:gdLst>
                <a:gd name="T0" fmla="*/ 43 w 43"/>
                <a:gd name="T1" fmla="*/ 45 h 45"/>
                <a:gd name="T2" fmla="*/ 0 w 43"/>
                <a:gd name="T3" fmla="*/ 45 h 45"/>
                <a:gd name="T4" fmla="*/ 0 w 43"/>
                <a:gd name="T5" fmla="*/ 22 h 45"/>
                <a:gd name="T6" fmla="*/ 21 w 43"/>
                <a:gd name="T7" fmla="*/ 0 h 45"/>
                <a:gd name="T8" fmla="*/ 22 w 43"/>
                <a:gd name="T9" fmla="*/ 0 h 45"/>
                <a:gd name="T10" fmla="*/ 43 w 43"/>
                <a:gd name="T11" fmla="*/ 22 h 45"/>
                <a:gd name="T12" fmla="*/ 43 w 43"/>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43" h="45">
                  <a:moveTo>
                    <a:pt x="43" y="45"/>
                  </a:moveTo>
                  <a:cubicBezTo>
                    <a:pt x="0" y="45"/>
                    <a:pt x="0" y="45"/>
                    <a:pt x="0" y="45"/>
                  </a:cubicBezTo>
                  <a:cubicBezTo>
                    <a:pt x="0" y="22"/>
                    <a:pt x="0" y="22"/>
                    <a:pt x="0" y="22"/>
                  </a:cubicBezTo>
                  <a:cubicBezTo>
                    <a:pt x="0" y="10"/>
                    <a:pt x="9" y="0"/>
                    <a:pt x="21" y="0"/>
                  </a:cubicBezTo>
                  <a:cubicBezTo>
                    <a:pt x="22" y="0"/>
                    <a:pt x="22" y="0"/>
                    <a:pt x="22" y="0"/>
                  </a:cubicBezTo>
                  <a:cubicBezTo>
                    <a:pt x="34" y="0"/>
                    <a:pt x="43" y="10"/>
                    <a:pt x="43" y="22"/>
                  </a:cubicBezTo>
                  <a:lnTo>
                    <a:pt x="43" y="45"/>
                  </a:lnTo>
                  <a:close/>
                </a:path>
              </a:pathLst>
            </a:custGeom>
            <a:solidFill>
              <a:srgbClr val="8AA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da-DK" sz="1662"/>
            </a:p>
          </p:txBody>
        </p:sp>
        <p:grpSp>
          <p:nvGrpSpPr>
            <p:cNvPr id="5" name="Group 4">
              <a:extLst>
                <a:ext uri="{FF2B5EF4-FFF2-40B4-BE49-F238E27FC236}">
                  <a16:creationId xmlns:a16="http://schemas.microsoft.com/office/drawing/2014/main" id="{EBFB0A08-EEBD-4677-9228-C7B4FF80F6D2}"/>
                </a:ext>
              </a:extLst>
            </p:cNvPr>
            <p:cNvGrpSpPr/>
            <p:nvPr/>
          </p:nvGrpSpPr>
          <p:grpSpPr>
            <a:xfrm>
              <a:off x="3621996" y="1761070"/>
              <a:ext cx="485776" cy="487363"/>
              <a:chOff x="3621996" y="1761070"/>
              <a:chExt cx="485776" cy="487363"/>
            </a:xfrm>
          </p:grpSpPr>
          <p:sp>
            <p:nvSpPr>
              <p:cNvPr id="143" name="Freeform 42">
                <a:extLst>
                  <a:ext uri="{FF2B5EF4-FFF2-40B4-BE49-F238E27FC236}">
                    <a16:creationId xmlns:a16="http://schemas.microsoft.com/office/drawing/2014/main" id="{8AC200EF-CA1A-4243-9F0E-AF1FFF614DEF}"/>
                  </a:ext>
                </a:extLst>
              </p:cNvPr>
              <p:cNvSpPr>
                <a:spLocks/>
              </p:cNvSpPr>
              <p:nvPr/>
            </p:nvSpPr>
            <p:spPr bwMode="auto">
              <a:xfrm>
                <a:off x="3683909" y="2013483"/>
                <a:ext cx="180975" cy="46038"/>
              </a:xfrm>
              <a:custGeom>
                <a:avLst/>
                <a:gdLst>
                  <a:gd name="T0" fmla="*/ 114 w 114"/>
                  <a:gd name="T1" fmla="*/ 0 h 29"/>
                  <a:gd name="T2" fmla="*/ 0 w 114"/>
                  <a:gd name="T3" fmla="*/ 0 h 29"/>
                  <a:gd name="T4" fmla="*/ 0 w 114"/>
                  <a:gd name="T5" fmla="*/ 29 h 29"/>
                </a:gdLst>
                <a:ahLst/>
                <a:cxnLst>
                  <a:cxn ang="0">
                    <a:pos x="T0" y="T1"/>
                  </a:cxn>
                  <a:cxn ang="0">
                    <a:pos x="T2" y="T3"/>
                  </a:cxn>
                  <a:cxn ang="0">
                    <a:pos x="T4" y="T5"/>
                  </a:cxn>
                </a:cxnLst>
                <a:rect l="0" t="0" r="r" b="b"/>
                <a:pathLst>
                  <a:path w="114" h="29">
                    <a:moveTo>
                      <a:pt x="114" y="0"/>
                    </a:moveTo>
                    <a:lnTo>
                      <a:pt x="0" y="0"/>
                    </a:lnTo>
                    <a:lnTo>
                      <a:pt x="0" y="29"/>
                    </a:lnTo>
                  </a:path>
                </a:pathLst>
              </a:custGeom>
              <a:noFill/>
              <a:ln w="1587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144" name="Line 43">
                <a:extLst>
                  <a:ext uri="{FF2B5EF4-FFF2-40B4-BE49-F238E27FC236}">
                    <a16:creationId xmlns:a16="http://schemas.microsoft.com/office/drawing/2014/main" id="{10C1B453-35D5-4DC4-8AF7-8B0C1C55C62F}"/>
                  </a:ext>
                </a:extLst>
              </p:cNvPr>
              <p:cNvSpPr>
                <a:spLocks noChangeShapeType="1"/>
              </p:cNvSpPr>
              <p:nvPr/>
            </p:nvSpPr>
            <p:spPr bwMode="auto">
              <a:xfrm>
                <a:off x="3864884" y="1964270"/>
                <a:ext cx="0" cy="95250"/>
              </a:xfrm>
              <a:prstGeom prst="line">
                <a:avLst/>
              </a:prstGeom>
              <a:noFill/>
              <a:ln w="1587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146" name="Freeform 44">
                <a:extLst>
                  <a:ext uri="{FF2B5EF4-FFF2-40B4-BE49-F238E27FC236}">
                    <a16:creationId xmlns:a16="http://schemas.microsoft.com/office/drawing/2014/main" id="{507459F4-D279-4EF1-85B0-B19DA915854A}"/>
                  </a:ext>
                </a:extLst>
              </p:cNvPr>
              <p:cNvSpPr>
                <a:spLocks/>
              </p:cNvSpPr>
              <p:nvPr/>
            </p:nvSpPr>
            <p:spPr bwMode="auto">
              <a:xfrm>
                <a:off x="3864884" y="2013483"/>
                <a:ext cx="179388" cy="46038"/>
              </a:xfrm>
              <a:custGeom>
                <a:avLst/>
                <a:gdLst>
                  <a:gd name="T0" fmla="*/ 0 w 113"/>
                  <a:gd name="T1" fmla="*/ 0 h 29"/>
                  <a:gd name="T2" fmla="*/ 113 w 113"/>
                  <a:gd name="T3" fmla="*/ 0 h 29"/>
                  <a:gd name="T4" fmla="*/ 113 w 113"/>
                  <a:gd name="T5" fmla="*/ 29 h 29"/>
                </a:gdLst>
                <a:ahLst/>
                <a:cxnLst>
                  <a:cxn ang="0">
                    <a:pos x="T0" y="T1"/>
                  </a:cxn>
                  <a:cxn ang="0">
                    <a:pos x="T2" y="T3"/>
                  </a:cxn>
                  <a:cxn ang="0">
                    <a:pos x="T4" y="T5"/>
                  </a:cxn>
                </a:cxnLst>
                <a:rect l="0" t="0" r="r" b="b"/>
                <a:pathLst>
                  <a:path w="113" h="29">
                    <a:moveTo>
                      <a:pt x="0" y="0"/>
                    </a:moveTo>
                    <a:lnTo>
                      <a:pt x="113" y="0"/>
                    </a:lnTo>
                    <a:lnTo>
                      <a:pt x="113" y="29"/>
                    </a:lnTo>
                  </a:path>
                </a:pathLst>
              </a:custGeom>
              <a:noFill/>
              <a:ln w="1587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148" name="Freeform 45">
                <a:extLst>
                  <a:ext uri="{FF2B5EF4-FFF2-40B4-BE49-F238E27FC236}">
                    <a16:creationId xmlns:a16="http://schemas.microsoft.com/office/drawing/2014/main" id="{A674494B-43D3-4F1D-BB2B-6F1121F58C6E}"/>
                  </a:ext>
                </a:extLst>
              </p:cNvPr>
              <p:cNvSpPr>
                <a:spLocks/>
              </p:cNvSpPr>
              <p:nvPr/>
            </p:nvSpPr>
            <p:spPr bwMode="auto">
              <a:xfrm>
                <a:off x="3621996" y="2162708"/>
                <a:ext cx="125413" cy="85725"/>
              </a:xfrm>
              <a:custGeom>
                <a:avLst/>
                <a:gdLst>
                  <a:gd name="T0" fmla="*/ 0 w 28"/>
                  <a:gd name="T1" fmla="*/ 19 h 19"/>
                  <a:gd name="T2" fmla="*/ 0 w 28"/>
                  <a:gd name="T3" fmla="*/ 10 h 19"/>
                  <a:gd name="T4" fmla="*/ 10 w 28"/>
                  <a:gd name="T5" fmla="*/ 0 h 19"/>
                  <a:gd name="T6" fmla="*/ 19 w 28"/>
                  <a:gd name="T7" fmla="*/ 0 h 19"/>
                  <a:gd name="T8" fmla="*/ 28 w 28"/>
                  <a:gd name="T9" fmla="*/ 10 h 19"/>
                  <a:gd name="T10" fmla="*/ 28 w 28"/>
                  <a:gd name="T11" fmla="*/ 12 h 19"/>
                  <a:gd name="T12" fmla="*/ 21 w 28"/>
                  <a:gd name="T13" fmla="*/ 19 h 19"/>
                  <a:gd name="T14" fmla="*/ 8 w 28"/>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9">
                    <a:moveTo>
                      <a:pt x="0" y="19"/>
                    </a:moveTo>
                    <a:cubicBezTo>
                      <a:pt x="0" y="10"/>
                      <a:pt x="0" y="10"/>
                      <a:pt x="0" y="10"/>
                    </a:cubicBezTo>
                    <a:cubicBezTo>
                      <a:pt x="0" y="5"/>
                      <a:pt x="5" y="0"/>
                      <a:pt x="10" y="0"/>
                    </a:cubicBezTo>
                    <a:cubicBezTo>
                      <a:pt x="19" y="0"/>
                      <a:pt x="19" y="0"/>
                      <a:pt x="19" y="0"/>
                    </a:cubicBezTo>
                    <a:cubicBezTo>
                      <a:pt x="24" y="0"/>
                      <a:pt x="28" y="5"/>
                      <a:pt x="28" y="10"/>
                    </a:cubicBezTo>
                    <a:cubicBezTo>
                      <a:pt x="28" y="12"/>
                      <a:pt x="28" y="12"/>
                      <a:pt x="28" y="12"/>
                    </a:cubicBezTo>
                    <a:cubicBezTo>
                      <a:pt x="28" y="15"/>
                      <a:pt x="25" y="19"/>
                      <a:pt x="21" y="19"/>
                    </a:cubicBezTo>
                    <a:cubicBezTo>
                      <a:pt x="8" y="19"/>
                      <a:pt x="8" y="19"/>
                      <a:pt x="8" y="19"/>
                    </a:cubicBezTo>
                  </a:path>
                </a:pathLst>
              </a:custGeom>
              <a:noFill/>
              <a:ln w="1587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149" name="Line 46">
                <a:extLst>
                  <a:ext uri="{FF2B5EF4-FFF2-40B4-BE49-F238E27FC236}">
                    <a16:creationId xmlns:a16="http://schemas.microsoft.com/office/drawing/2014/main" id="{D1837109-64CB-4C9D-8094-35CE915F6102}"/>
                  </a:ext>
                </a:extLst>
              </p:cNvPr>
              <p:cNvSpPr>
                <a:spLocks noChangeShapeType="1"/>
              </p:cNvSpPr>
              <p:nvPr/>
            </p:nvSpPr>
            <p:spPr bwMode="auto">
              <a:xfrm>
                <a:off x="3707721" y="2150008"/>
                <a:ext cx="0" cy="0"/>
              </a:xfrm>
              <a:prstGeom prst="line">
                <a:avLst/>
              </a:prstGeom>
              <a:noFill/>
              <a:ln w="1587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150" name="Freeform 47">
                <a:extLst>
                  <a:ext uri="{FF2B5EF4-FFF2-40B4-BE49-F238E27FC236}">
                    <a16:creationId xmlns:a16="http://schemas.microsoft.com/office/drawing/2014/main" id="{E49C5069-5C54-439A-86EA-CF001907E19C}"/>
                  </a:ext>
                </a:extLst>
              </p:cNvPr>
              <p:cNvSpPr>
                <a:spLocks/>
              </p:cNvSpPr>
              <p:nvPr/>
            </p:nvSpPr>
            <p:spPr bwMode="auto">
              <a:xfrm>
                <a:off x="3656921" y="2091270"/>
                <a:ext cx="58738" cy="71438"/>
              </a:xfrm>
              <a:custGeom>
                <a:avLst/>
                <a:gdLst>
                  <a:gd name="T0" fmla="*/ 6 w 13"/>
                  <a:gd name="T1" fmla="*/ 16 h 16"/>
                  <a:gd name="T2" fmla="*/ 0 w 13"/>
                  <a:gd name="T3" fmla="*/ 8 h 16"/>
                  <a:gd name="T4" fmla="*/ 6 w 13"/>
                  <a:gd name="T5" fmla="*/ 0 h 16"/>
                  <a:gd name="T6" fmla="*/ 12 w 13"/>
                  <a:gd name="T7" fmla="*/ 8 h 16"/>
                  <a:gd name="T8" fmla="*/ 11 w 13"/>
                  <a:gd name="T9" fmla="*/ 12 h 16"/>
                </a:gdLst>
                <a:ahLst/>
                <a:cxnLst>
                  <a:cxn ang="0">
                    <a:pos x="T0" y="T1"/>
                  </a:cxn>
                  <a:cxn ang="0">
                    <a:pos x="T2" y="T3"/>
                  </a:cxn>
                  <a:cxn ang="0">
                    <a:pos x="T4" y="T5"/>
                  </a:cxn>
                  <a:cxn ang="0">
                    <a:pos x="T6" y="T7"/>
                  </a:cxn>
                  <a:cxn ang="0">
                    <a:pos x="T8" y="T9"/>
                  </a:cxn>
                </a:cxnLst>
                <a:rect l="0" t="0" r="r" b="b"/>
                <a:pathLst>
                  <a:path w="13" h="16">
                    <a:moveTo>
                      <a:pt x="6" y="16"/>
                    </a:moveTo>
                    <a:cubicBezTo>
                      <a:pt x="4" y="16"/>
                      <a:pt x="1" y="13"/>
                      <a:pt x="0" y="8"/>
                    </a:cubicBezTo>
                    <a:cubicBezTo>
                      <a:pt x="0" y="4"/>
                      <a:pt x="2" y="0"/>
                      <a:pt x="6" y="0"/>
                    </a:cubicBezTo>
                    <a:cubicBezTo>
                      <a:pt x="11" y="0"/>
                      <a:pt x="13" y="4"/>
                      <a:pt x="12" y="8"/>
                    </a:cubicBezTo>
                    <a:cubicBezTo>
                      <a:pt x="12" y="10"/>
                      <a:pt x="12" y="11"/>
                      <a:pt x="11" y="12"/>
                    </a:cubicBezTo>
                  </a:path>
                </a:pathLst>
              </a:custGeom>
              <a:noFill/>
              <a:ln w="1587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151" name="Freeform 48">
                <a:extLst>
                  <a:ext uri="{FF2B5EF4-FFF2-40B4-BE49-F238E27FC236}">
                    <a16:creationId xmlns:a16="http://schemas.microsoft.com/office/drawing/2014/main" id="{FEEBD94D-8E36-4F01-8098-07D3FA0BC86E}"/>
                  </a:ext>
                </a:extLst>
              </p:cNvPr>
              <p:cNvSpPr>
                <a:spLocks/>
              </p:cNvSpPr>
              <p:nvPr/>
            </p:nvSpPr>
            <p:spPr bwMode="auto">
              <a:xfrm>
                <a:off x="3801384" y="2162708"/>
                <a:ext cx="127000" cy="85725"/>
              </a:xfrm>
              <a:custGeom>
                <a:avLst/>
                <a:gdLst>
                  <a:gd name="T0" fmla="*/ 0 w 28"/>
                  <a:gd name="T1" fmla="*/ 19 h 19"/>
                  <a:gd name="T2" fmla="*/ 0 w 28"/>
                  <a:gd name="T3" fmla="*/ 10 h 19"/>
                  <a:gd name="T4" fmla="*/ 10 w 28"/>
                  <a:gd name="T5" fmla="*/ 0 h 19"/>
                  <a:gd name="T6" fmla="*/ 18 w 28"/>
                  <a:gd name="T7" fmla="*/ 0 h 19"/>
                  <a:gd name="T8" fmla="*/ 28 w 28"/>
                  <a:gd name="T9" fmla="*/ 10 h 19"/>
                  <a:gd name="T10" fmla="*/ 28 w 28"/>
                  <a:gd name="T11" fmla="*/ 12 h 19"/>
                  <a:gd name="T12" fmla="*/ 21 w 28"/>
                  <a:gd name="T13" fmla="*/ 19 h 19"/>
                  <a:gd name="T14" fmla="*/ 8 w 28"/>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9">
                    <a:moveTo>
                      <a:pt x="0" y="19"/>
                    </a:moveTo>
                    <a:cubicBezTo>
                      <a:pt x="0" y="10"/>
                      <a:pt x="0" y="10"/>
                      <a:pt x="0" y="10"/>
                    </a:cubicBezTo>
                    <a:cubicBezTo>
                      <a:pt x="0" y="5"/>
                      <a:pt x="4" y="0"/>
                      <a:pt x="10" y="0"/>
                    </a:cubicBezTo>
                    <a:cubicBezTo>
                      <a:pt x="18" y="0"/>
                      <a:pt x="18" y="0"/>
                      <a:pt x="18" y="0"/>
                    </a:cubicBezTo>
                    <a:cubicBezTo>
                      <a:pt x="24" y="0"/>
                      <a:pt x="28" y="5"/>
                      <a:pt x="28" y="10"/>
                    </a:cubicBezTo>
                    <a:cubicBezTo>
                      <a:pt x="28" y="12"/>
                      <a:pt x="28" y="12"/>
                      <a:pt x="28" y="12"/>
                    </a:cubicBezTo>
                    <a:cubicBezTo>
                      <a:pt x="28" y="15"/>
                      <a:pt x="25" y="19"/>
                      <a:pt x="21" y="19"/>
                    </a:cubicBezTo>
                    <a:cubicBezTo>
                      <a:pt x="8" y="19"/>
                      <a:pt x="8" y="19"/>
                      <a:pt x="8" y="19"/>
                    </a:cubicBezTo>
                  </a:path>
                </a:pathLst>
              </a:custGeom>
              <a:noFill/>
              <a:ln w="1587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159" name="Line 49">
                <a:extLst>
                  <a:ext uri="{FF2B5EF4-FFF2-40B4-BE49-F238E27FC236}">
                    <a16:creationId xmlns:a16="http://schemas.microsoft.com/office/drawing/2014/main" id="{FAB9E744-E127-4C07-B5EB-CE351536B047}"/>
                  </a:ext>
                </a:extLst>
              </p:cNvPr>
              <p:cNvSpPr>
                <a:spLocks noChangeShapeType="1"/>
              </p:cNvSpPr>
              <p:nvPr/>
            </p:nvSpPr>
            <p:spPr bwMode="auto">
              <a:xfrm>
                <a:off x="3887109" y="2150008"/>
                <a:ext cx="0" cy="0"/>
              </a:xfrm>
              <a:prstGeom prst="line">
                <a:avLst/>
              </a:prstGeom>
              <a:noFill/>
              <a:ln w="1587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187" name="Freeform 50">
                <a:extLst>
                  <a:ext uri="{FF2B5EF4-FFF2-40B4-BE49-F238E27FC236}">
                    <a16:creationId xmlns:a16="http://schemas.microsoft.com/office/drawing/2014/main" id="{04415E1B-56E8-42E6-B3AA-E7FFA11D617A}"/>
                  </a:ext>
                </a:extLst>
              </p:cNvPr>
              <p:cNvSpPr>
                <a:spLocks/>
              </p:cNvSpPr>
              <p:nvPr/>
            </p:nvSpPr>
            <p:spPr bwMode="auto">
              <a:xfrm>
                <a:off x="3837896" y="2091270"/>
                <a:ext cx="53975" cy="71438"/>
              </a:xfrm>
              <a:custGeom>
                <a:avLst/>
                <a:gdLst>
                  <a:gd name="T0" fmla="*/ 6 w 12"/>
                  <a:gd name="T1" fmla="*/ 16 h 16"/>
                  <a:gd name="T2" fmla="*/ 0 w 12"/>
                  <a:gd name="T3" fmla="*/ 8 h 16"/>
                  <a:gd name="T4" fmla="*/ 6 w 12"/>
                  <a:gd name="T5" fmla="*/ 0 h 16"/>
                  <a:gd name="T6" fmla="*/ 12 w 12"/>
                  <a:gd name="T7" fmla="*/ 8 h 16"/>
                  <a:gd name="T8" fmla="*/ 11 w 12"/>
                  <a:gd name="T9" fmla="*/ 12 h 16"/>
                </a:gdLst>
                <a:ahLst/>
                <a:cxnLst>
                  <a:cxn ang="0">
                    <a:pos x="T0" y="T1"/>
                  </a:cxn>
                  <a:cxn ang="0">
                    <a:pos x="T2" y="T3"/>
                  </a:cxn>
                  <a:cxn ang="0">
                    <a:pos x="T4" y="T5"/>
                  </a:cxn>
                  <a:cxn ang="0">
                    <a:pos x="T6" y="T7"/>
                  </a:cxn>
                  <a:cxn ang="0">
                    <a:pos x="T8" y="T9"/>
                  </a:cxn>
                </a:cxnLst>
                <a:rect l="0" t="0" r="r" b="b"/>
                <a:pathLst>
                  <a:path w="12" h="16">
                    <a:moveTo>
                      <a:pt x="6" y="16"/>
                    </a:moveTo>
                    <a:cubicBezTo>
                      <a:pt x="4" y="16"/>
                      <a:pt x="1" y="13"/>
                      <a:pt x="0" y="8"/>
                    </a:cubicBezTo>
                    <a:cubicBezTo>
                      <a:pt x="0" y="4"/>
                      <a:pt x="2" y="0"/>
                      <a:pt x="6" y="0"/>
                    </a:cubicBezTo>
                    <a:cubicBezTo>
                      <a:pt x="10" y="0"/>
                      <a:pt x="12" y="4"/>
                      <a:pt x="12" y="8"/>
                    </a:cubicBezTo>
                    <a:cubicBezTo>
                      <a:pt x="12" y="10"/>
                      <a:pt x="12" y="11"/>
                      <a:pt x="11" y="12"/>
                    </a:cubicBezTo>
                  </a:path>
                </a:pathLst>
              </a:custGeom>
              <a:noFill/>
              <a:ln w="1587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208" name="Freeform 51">
                <a:extLst>
                  <a:ext uri="{FF2B5EF4-FFF2-40B4-BE49-F238E27FC236}">
                    <a16:creationId xmlns:a16="http://schemas.microsoft.com/office/drawing/2014/main" id="{843D6DD9-C084-4D33-A74D-DE5F5AF55D3F}"/>
                  </a:ext>
                </a:extLst>
              </p:cNvPr>
              <p:cNvSpPr>
                <a:spLocks/>
              </p:cNvSpPr>
              <p:nvPr/>
            </p:nvSpPr>
            <p:spPr bwMode="auto">
              <a:xfrm>
                <a:off x="3982359" y="2162708"/>
                <a:ext cx="125413" cy="85725"/>
              </a:xfrm>
              <a:custGeom>
                <a:avLst/>
                <a:gdLst>
                  <a:gd name="T0" fmla="*/ 0 w 28"/>
                  <a:gd name="T1" fmla="*/ 19 h 19"/>
                  <a:gd name="T2" fmla="*/ 0 w 28"/>
                  <a:gd name="T3" fmla="*/ 10 h 19"/>
                  <a:gd name="T4" fmla="*/ 10 w 28"/>
                  <a:gd name="T5" fmla="*/ 0 h 19"/>
                  <a:gd name="T6" fmla="*/ 18 w 28"/>
                  <a:gd name="T7" fmla="*/ 0 h 19"/>
                  <a:gd name="T8" fmla="*/ 28 w 28"/>
                  <a:gd name="T9" fmla="*/ 10 h 19"/>
                  <a:gd name="T10" fmla="*/ 28 w 28"/>
                  <a:gd name="T11" fmla="*/ 12 h 19"/>
                  <a:gd name="T12" fmla="*/ 21 w 28"/>
                  <a:gd name="T13" fmla="*/ 19 h 19"/>
                  <a:gd name="T14" fmla="*/ 8 w 28"/>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9">
                    <a:moveTo>
                      <a:pt x="0" y="19"/>
                    </a:moveTo>
                    <a:cubicBezTo>
                      <a:pt x="0" y="10"/>
                      <a:pt x="0" y="10"/>
                      <a:pt x="0" y="10"/>
                    </a:cubicBezTo>
                    <a:cubicBezTo>
                      <a:pt x="0" y="5"/>
                      <a:pt x="4" y="0"/>
                      <a:pt x="10" y="0"/>
                    </a:cubicBezTo>
                    <a:cubicBezTo>
                      <a:pt x="18" y="0"/>
                      <a:pt x="18" y="0"/>
                      <a:pt x="18" y="0"/>
                    </a:cubicBezTo>
                    <a:cubicBezTo>
                      <a:pt x="24" y="0"/>
                      <a:pt x="28" y="5"/>
                      <a:pt x="28" y="10"/>
                    </a:cubicBezTo>
                    <a:cubicBezTo>
                      <a:pt x="28" y="12"/>
                      <a:pt x="28" y="12"/>
                      <a:pt x="28" y="12"/>
                    </a:cubicBezTo>
                    <a:cubicBezTo>
                      <a:pt x="28" y="15"/>
                      <a:pt x="25" y="19"/>
                      <a:pt x="21" y="19"/>
                    </a:cubicBezTo>
                    <a:cubicBezTo>
                      <a:pt x="8" y="19"/>
                      <a:pt x="8" y="19"/>
                      <a:pt x="8" y="19"/>
                    </a:cubicBezTo>
                  </a:path>
                </a:pathLst>
              </a:custGeom>
              <a:noFill/>
              <a:ln w="1587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209" name="Line 52">
                <a:extLst>
                  <a:ext uri="{FF2B5EF4-FFF2-40B4-BE49-F238E27FC236}">
                    <a16:creationId xmlns:a16="http://schemas.microsoft.com/office/drawing/2014/main" id="{6A22CF32-BF0B-435E-BC9E-431FB24503FF}"/>
                  </a:ext>
                </a:extLst>
              </p:cNvPr>
              <p:cNvSpPr>
                <a:spLocks noChangeShapeType="1"/>
              </p:cNvSpPr>
              <p:nvPr/>
            </p:nvSpPr>
            <p:spPr bwMode="auto">
              <a:xfrm>
                <a:off x="4066496" y="2150008"/>
                <a:ext cx="0" cy="0"/>
              </a:xfrm>
              <a:prstGeom prst="line">
                <a:avLst/>
              </a:prstGeom>
              <a:noFill/>
              <a:ln w="1587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210" name="Freeform 53">
                <a:extLst>
                  <a:ext uri="{FF2B5EF4-FFF2-40B4-BE49-F238E27FC236}">
                    <a16:creationId xmlns:a16="http://schemas.microsoft.com/office/drawing/2014/main" id="{F8A24191-0E93-4AC6-980D-47F3402E6A97}"/>
                  </a:ext>
                </a:extLst>
              </p:cNvPr>
              <p:cNvSpPr>
                <a:spLocks/>
              </p:cNvSpPr>
              <p:nvPr/>
            </p:nvSpPr>
            <p:spPr bwMode="auto">
              <a:xfrm>
                <a:off x="4017284" y="2091270"/>
                <a:ext cx="53975" cy="71438"/>
              </a:xfrm>
              <a:custGeom>
                <a:avLst/>
                <a:gdLst>
                  <a:gd name="T0" fmla="*/ 6 w 12"/>
                  <a:gd name="T1" fmla="*/ 16 h 16"/>
                  <a:gd name="T2" fmla="*/ 0 w 12"/>
                  <a:gd name="T3" fmla="*/ 8 h 16"/>
                  <a:gd name="T4" fmla="*/ 6 w 12"/>
                  <a:gd name="T5" fmla="*/ 0 h 16"/>
                  <a:gd name="T6" fmla="*/ 12 w 12"/>
                  <a:gd name="T7" fmla="*/ 8 h 16"/>
                  <a:gd name="T8" fmla="*/ 11 w 12"/>
                  <a:gd name="T9" fmla="*/ 12 h 16"/>
                </a:gdLst>
                <a:ahLst/>
                <a:cxnLst>
                  <a:cxn ang="0">
                    <a:pos x="T0" y="T1"/>
                  </a:cxn>
                  <a:cxn ang="0">
                    <a:pos x="T2" y="T3"/>
                  </a:cxn>
                  <a:cxn ang="0">
                    <a:pos x="T4" y="T5"/>
                  </a:cxn>
                  <a:cxn ang="0">
                    <a:pos x="T6" y="T7"/>
                  </a:cxn>
                  <a:cxn ang="0">
                    <a:pos x="T8" y="T9"/>
                  </a:cxn>
                </a:cxnLst>
                <a:rect l="0" t="0" r="r" b="b"/>
                <a:pathLst>
                  <a:path w="12" h="16">
                    <a:moveTo>
                      <a:pt x="6" y="16"/>
                    </a:moveTo>
                    <a:cubicBezTo>
                      <a:pt x="4" y="16"/>
                      <a:pt x="0" y="13"/>
                      <a:pt x="0" y="8"/>
                    </a:cubicBezTo>
                    <a:cubicBezTo>
                      <a:pt x="0" y="4"/>
                      <a:pt x="2" y="0"/>
                      <a:pt x="6" y="0"/>
                    </a:cubicBezTo>
                    <a:cubicBezTo>
                      <a:pt x="10" y="0"/>
                      <a:pt x="12" y="4"/>
                      <a:pt x="12" y="8"/>
                    </a:cubicBezTo>
                    <a:cubicBezTo>
                      <a:pt x="12" y="10"/>
                      <a:pt x="12" y="11"/>
                      <a:pt x="11" y="12"/>
                    </a:cubicBezTo>
                  </a:path>
                </a:pathLst>
              </a:custGeom>
              <a:noFill/>
              <a:ln w="1587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211" name="Freeform 54">
                <a:extLst>
                  <a:ext uri="{FF2B5EF4-FFF2-40B4-BE49-F238E27FC236}">
                    <a16:creationId xmlns:a16="http://schemas.microsoft.com/office/drawing/2014/main" id="{6B702E0D-8AE1-443C-A574-58558661830C}"/>
                  </a:ext>
                </a:extLst>
              </p:cNvPr>
              <p:cNvSpPr>
                <a:spLocks/>
              </p:cNvSpPr>
              <p:nvPr/>
            </p:nvSpPr>
            <p:spPr bwMode="auto">
              <a:xfrm>
                <a:off x="3796621" y="1838858"/>
                <a:ext cx="134938" cy="93663"/>
              </a:xfrm>
              <a:custGeom>
                <a:avLst/>
                <a:gdLst>
                  <a:gd name="T0" fmla="*/ 0 w 30"/>
                  <a:gd name="T1" fmla="*/ 21 h 21"/>
                  <a:gd name="T2" fmla="*/ 0 w 30"/>
                  <a:gd name="T3" fmla="*/ 11 h 21"/>
                  <a:gd name="T4" fmla="*/ 10 w 30"/>
                  <a:gd name="T5" fmla="*/ 0 h 21"/>
                  <a:gd name="T6" fmla="*/ 20 w 30"/>
                  <a:gd name="T7" fmla="*/ 0 h 21"/>
                  <a:gd name="T8" fmla="*/ 30 w 30"/>
                  <a:gd name="T9" fmla="*/ 11 h 21"/>
                  <a:gd name="T10" fmla="*/ 30 w 30"/>
                  <a:gd name="T11" fmla="*/ 13 h 21"/>
                  <a:gd name="T12" fmla="*/ 23 w 30"/>
                  <a:gd name="T13" fmla="*/ 21 h 21"/>
                  <a:gd name="T14" fmla="*/ 8 w 30"/>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1">
                    <a:moveTo>
                      <a:pt x="0" y="21"/>
                    </a:moveTo>
                    <a:cubicBezTo>
                      <a:pt x="0" y="11"/>
                      <a:pt x="0" y="11"/>
                      <a:pt x="0" y="11"/>
                    </a:cubicBezTo>
                    <a:cubicBezTo>
                      <a:pt x="0" y="5"/>
                      <a:pt x="5" y="0"/>
                      <a:pt x="10" y="0"/>
                    </a:cubicBezTo>
                    <a:cubicBezTo>
                      <a:pt x="20" y="0"/>
                      <a:pt x="20" y="0"/>
                      <a:pt x="20" y="0"/>
                    </a:cubicBezTo>
                    <a:cubicBezTo>
                      <a:pt x="26" y="0"/>
                      <a:pt x="30" y="5"/>
                      <a:pt x="30" y="11"/>
                    </a:cubicBezTo>
                    <a:cubicBezTo>
                      <a:pt x="30" y="13"/>
                      <a:pt x="30" y="13"/>
                      <a:pt x="30" y="13"/>
                    </a:cubicBezTo>
                    <a:cubicBezTo>
                      <a:pt x="30" y="17"/>
                      <a:pt x="27" y="21"/>
                      <a:pt x="23" y="21"/>
                    </a:cubicBezTo>
                    <a:cubicBezTo>
                      <a:pt x="8" y="21"/>
                      <a:pt x="8" y="21"/>
                      <a:pt x="8" y="21"/>
                    </a:cubicBezTo>
                  </a:path>
                </a:pathLst>
              </a:custGeom>
              <a:noFill/>
              <a:ln w="1587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212" name="Line 55">
                <a:extLst>
                  <a:ext uri="{FF2B5EF4-FFF2-40B4-BE49-F238E27FC236}">
                    <a16:creationId xmlns:a16="http://schemas.microsoft.com/office/drawing/2014/main" id="{9811B57B-F38E-4BB3-8A82-9703C3C3DDF7}"/>
                  </a:ext>
                </a:extLst>
              </p:cNvPr>
              <p:cNvSpPr>
                <a:spLocks noChangeShapeType="1"/>
              </p:cNvSpPr>
              <p:nvPr/>
            </p:nvSpPr>
            <p:spPr bwMode="auto">
              <a:xfrm>
                <a:off x="3887109" y="1819808"/>
                <a:ext cx="0" cy="0"/>
              </a:xfrm>
              <a:prstGeom prst="line">
                <a:avLst/>
              </a:prstGeom>
              <a:noFill/>
              <a:ln w="1587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213" name="Freeform 56">
                <a:extLst>
                  <a:ext uri="{FF2B5EF4-FFF2-40B4-BE49-F238E27FC236}">
                    <a16:creationId xmlns:a16="http://schemas.microsoft.com/office/drawing/2014/main" id="{20ED43E7-DEE5-4C5F-B405-FA95833E0A06}"/>
                  </a:ext>
                </a:extLst>
              </p:cNvPr>
              <p:cNvSpPr>
                <a:spLocks/>
              </p:cNvSpPr>
              <p:nvPr/>
            </p:nvSpPr>
            <p:spPr bwMode="auto">
              <a:xfrm>
                <a:off x="3833134" y="1761070"/>
                <a:ext cx="63500" cy="77788"/>
              </a:xfrm>
              <a:custGeom>
                <a:avLst/>
                <a:gdLst>
                  <a:gd name="T0" fmla="*/ 7 w 14"/>
                  <a:gd name="T1" fmla="*/ 17 h 17"/>
                  <a:gd name="T2" fmla="*/ 1 w 14"/>
                  <a:gd name="T3" fmla="*/ 9 h 17"/>
                  <a:gd name="T4" fmla="*/ 7 w 14"/>
                  <a:gd name="T5" fmla="*/ 0 h 17"/>
                  <a:gd name="T6" fmla="*/ 14 w 14"/>
                  <a:gd name="T7" fmla="*/ 9 h 17"/>
                  <a:gd name="T8" fmla="*/ 13 w 14"/>
                  <a:gd name="T9" fmla="*/ 13 h 17"/>
                </a:gdLst>
                <a:ahLst/>
                <a:cxnLst>
                  <a:cxn ang="0">
                    <a:pos x="T0" y="T1"/>
                  </a:cxn>
                  <a:cxn ang="0">
                    <a:pos x="T2" y="T3"/>
                  </a:cxn>
                  <a:cxn ang="0">
                    <a:pos x="T4" y="T5"/>
                  </a:cxn>
                  <a:cxn ang="0">
                    <a:pos x="T6" y="T7"/>
                  </a:cxn>
                  <a:cxn ang="0">
                    <a:pos x="T8" y="T9"/>
                  </a:cxn>
                </a:cxnLst>
                <a:rect l="0" t="0" r="r" b="b"/>
                <a:pathLst>
                  <a:path w="14" h="17">
                    <a:moveTo>
                      <a:pt x="7" y="17"/>
                    </a:moveTo>
                    <a:cubicBezTo>
                      <a:pt x="4" y="17"/>
                      <a:pt x="1" y="14"/>
                      <a:pt x="1" y="9"/>
                    </a:cubicBezTo>
                    <a:cubicBezTo>
                      <a:pt x="0" y="4"/>
                      <a:pt x="2" y="0"/>
                      <a:pt x="7" y="0"/>
                    </a:cubicBezTo>
                    <a:cubicBezTo>
                      <a:pt x="12" y="0"/>
                      <a:pt x="14" y="4"/>
                      <a:pt x="14" y="9"/>
                    </a:cubicBezTo>
                    <a:cubicBezTo>
                      <a:pt x="14" y="10"/>
                      <a:pt x="13" y="12"/>
                      <a:pt x="13" y="13"/>
                    </a:cubicBezTo>
                  </a:path>
                </a:pathLst>
              </a:custGeom>
              <a:noFill/>
              <a:ln w="1587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da-DK" sz="1662"/>
              </a:p>
            </p:txBody>
          </p:sp>
        </p:grpSp>
      </p:grpSp>
      <p:grpSp>
        <p:nvGrpSpPr>
          <p:cNvPr id="9" name="Group 8">
            <a:extLst>
              <a:ext uri="{FF2B5EF4-FFF2-40B4-BE49-F238E27FC236}">
                <a16:creationId xmlns:a16="http://schemas.microsoft.com/office/drawing/2014/main" id="{2D29BFF5-4112-466A-B418-2DD859129B13}"/>
              </a:ext>
            </a:extLst>
          </p:cNvPr>
          <p:cNvGrpSpPr/>
          <p:nvPr/>
        </p:nvGrpSpPr>
        <p:grpSpPr>
          <a:xfrm>
            <a:off x="1047756" y="3253601"/>
            <a:ext cx="608179" cy="587273"/>
            <a:chOff x="5988279" y="1769007"/>
            <a:chExt cx="481012" cy="485775"/>
          </a:xfrm>
        </p:grpSpPr>
        <p:sp>
          <p:nvSpPr>
            <p:cNvPr id="215" name="Freeform 57">
              <a:extLst>
                <a:ext uri="{FF2B5EF4-FFF2-40B4-BE49-F238E27FC236}">
                  <a16:creationId xmlns:a16="http://schemas.microsoft.com/office/drawing/2014/main" id="{358E87DF-164D-4D07-84E1-4C221758E5BD}"/>
                </a:ext>
              </a:extLst>
            </p:cNvPr>
            <p:cNvSpPr>
              <a:spLocks/>
            </p:cNvSpPr>
            <p:nvPr/>
          </p:nvSpPr>
          <p:spPr bwMode="auto">
            <a:xfrm>
              <a:off x="6100991" y="1916645"/>
              <a:ext cx="198438" cy="203200"/>
            </a:xfrm>
            <a:custGeom>
              <a:avLst/>
              <a:gdLst>
                <a:gd name="T0" fmla="*/ 44 w 44"/>
                <a:gd name="T1" fmla="*/ 45 h 45"/>
                <a:gd name="T2" fmla="*/ 0 w 44"/>
                <a:gd name="T3" fmla="*/ 45 h 45"/>
                <a:gd name="T4" fmla="*/ 0 w 44"/>
                <a:gd name="T5" fmla="*/ 22 h 45"/>
                <a:gd name="T6" fmla="*/ 22 w 44"/>
                <a:gd name="T7" fmla="*/ 0 h 45"/>
                <a:gd name="T8" fmla="*/ 23 w 44"/>
                <a:gd name="T9" fmla="*/ 0 h 45"/>
                <a:gd name="T10" fmla="*/ 44 w 44"/>
                <a:gd name="T11" fmla="*/ 22 h 45"/>
                <a:gd name="T12" fmla="*/ 44 w 44"/>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44" h="45">
                  <a:moveTo>
                    <a:pt x="44" y="45"/>
                  </a:moveTo>
                  <a:cubicBezTo>
                    <a:pt x="0" y="45"/>
                    <a:pt x="0" y="45"/>
                    <a:pt x="0" y="45"/>
                  </a:cubicBezTo>
                  <a:cubicBezTo>
                    <a:pt x="0" y="22"/>
                    <a:pt x="0" y="22"/>
                    <a:pt x="0" y="22"/>
                  </a:cubicBezTo>
                  <a:cubicBezTo>
                    <a:pt x="0" y="10"/>
                    <a:pt x="10" y="0"/>
                    <a:pt x="22" y="0"/>
                  </a:cubicBezTo>
                  <a:cubicBezTo>
                    <a:pt x="23" y="0"/>
                    <a:pt x="23" y="0"/>
                    <a:pt x="23" y="0"/>
                  </a:cubicBezTo>
                  <a:cubicBezTo>
                    <a:pt x="35" y="0"/>
                    <a:pt x="44" y="10"/>
                    <a:pt x="44" y="22"/>
                  </a:cubicBezTo>
                  <a:lnTo>
                    <a:pt x="44" y="45"/>
                  </a:lnTo>
                  <a:close/>
                </a:path>
              </a:pathLst>
            </a:custGeom>
            <a:solidFill>
              <a:srgbClr val="8AA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da-DK" sz="1662"/>
            </a:p>
          </p:txBody>
        </p:sp>
        <p:grpSp>
          <p:nvGrpSpPr>
            <p:cNvPr id="8" name="Group 7">
              <a:extLst>
                <a:ext uri="{FF2B5EF4-FFF2-40B4-BE49-F238E27FC236}">
                  <a16:creationId xmlns:a16="http://schemas.microsoft.com/office/drawing/2014/main" id="{137BB5AC-F4F4-4B98-B8BB-B18FAEA4B422}"/>
                </a:ext>
              </a:extLst>
            </p:cNvPr>
            <p:cNvGrpSpPr/>
            <p:nvPr/>
          </p:nvGrpSpPr>
          <p:grpSpPr>
            <a:xfrm>
              <a:off x="5988279" y="1769007"/>
              <a:ext cx="481012" cy="485775"/>
              <a:chOff x="5988279" y="1769007"/>
              <a:chExt cx="481012" cy="485775"/>
            </a:xfrm>
          </p:grpSpPr>
          <p:sp>
            <p:nvSpPr>
              <p:cNvPr id="216" name="Freeform 58">
                <a:extLst>
                  <a:ext uri="{FF2B5EF4-FFF2-40B4-BE49-F238E27FC236}">
                    <a16:creationId xmlns:a16="http://schemas.microsoft.com/office/drawing/2014/main" id="{31E68AF7-0C4C-4A8E-8345-4FD383276136}"/>
                  </a:ext>
                </a:extLst>
              </p:cNvPr>
              <p:cNvSpPr>
                <a:spLocks/>
              </p:cNvSpPr>
              <p:nvPr/>
            </p:nvSpPr>
            <p:spPr bwMode="auto">
              <a:xfrm>
                <a:off x="6194654" y="1769007"/>
                <a:ext cx="73025" cy="76200"/>
              </a:xfrm>
              <a:custGeom>
                <a:avLst/>
                <a:gdLst>
                  <a:gd name="T0" fmla="*/ 16 w 16"/>
                  <a:gd name="T1" fmla="*/ 9 h 17"/>
                  <a:gd name="T2" fmla="*/ 8 w 16"/>
                  <a:gd name="T3" fmla="*/ 17 h 17"/>
                  <a:gd name="T4" fmla="*/ 0 w 16"/>
                  <a:gd name="T5" fmla="*/ 8 h 17"/>
                  <a:gd name="T6" fmla="*/ 8 w 16"/>
                  <a:gd name="T7" fmla="*/ 1 h 17"/>
                  <a:gd name="T8" fmla="*/ 16 w 16"/>
                  <a:gd name="T9" fmla="*/ 9 h 17"/>
                </a:gdLst>
                <a:ahLst/>
                <a:cxnLst>
                  <a:cxn ang="0">
                    <a:pos x="T0" y="T1"/>
                  </a:cxn>
                  <a:cxn ang="0">
                    <a:pos x="T2" y="T3"/>
                  </a:cxn>
                  <a:cxn ang="0">
                    <a:pos x="T4" y="T5"/>
                  </a:cxn>
                  <a:cxn ang="0">
                    <a:pos x="T6" y="T7"/>
                  </a:cxn>
                  <a:cxn ang="0">
                    <a:pos x="T8" y="T9"/>
                  </a:cxn>
                </a:cxnLst>
                <a:rect l="0" t="0" r="r" b="b"/>
                <a:pathLst>
                  <a:path w="16" h="17">
                    <a:moveTo>
                      <a:pt x="16" y="9"/>
                    </a:moveTo>
                    <a:cubicBezTo>
                      <a:pt x="16" y="14"/>
                      <a:pt x="12" y="17"/>
                      <a:pt x="8" y="17"/>
                    </a:cubicBezTo>
                    <a:cubicBezTo>
                      <a:pt x="3" y="17"/>
                      <a:pt x="0" y="13"/>
                      <a:pt x="0" y="8"/>
                    </a:cubicBezTo>
                    <a:cubicBezTo>
                      <a:pt x="0" y="4"/>
                      <a:pt x="4" y="0"/>
                      <a:pt x="8" y="1"/>
                    </a:cubicBezTo>
                    <a:cubicBezTo>
                      <a:pt x="13" y="1"/>
                      <a:pt x="16" y="5"/>
                      <a:pt x="16" y="9"/>
                    </a:cubicBezTo>
                    <a:close/>
                  </a:path>
                </a:pathLst>
              </a:custGeom>
              <a:noFill/>
              <a:ln w="1587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217" name="Freeform 59">
                <a:extLst>
                  <a:ext uri="{FF2B5EF4-FFF2-40B4-BE49-F238E27FC236}">
                    <a16:creationId xmlns:a16="http://schemas.microsoft.com/office/drawing/2014/main" id="{4D5F60DD-A907-47D6-BE3D-80BBAE27BCBB}"/>
                  </a:ext>
                </a:extLst>
              </p:cNvPr>
              <p:cNvSpPr>
                <a:spLocks/>
              </p:cNvSpPr>
              <p:nvPr/>
            </p:nvSpPr>
            <p:spPr bwMode="auto">
              <a:xfrm>
                <a:off x="5988279" y="1938870"/>
                <a:ext cx="71438" cy="73025"/>
              </a:xfrm>
              <a:custGeom>
                <a:avLst/>
                <a:gdLst>
                  <a:gd name="T0" fmla="*/ 16 w 16"/>
                  <a:gd name="T1" fmla="*/ 8 h 16"/>
                  <a:gd name="T2" fmla="*/ 8 w 16"/>
                  <a:gd name="T3" fmla="*/ 16 h 16"/>
                  <a:gd name="T4" fmla="*/ 0 w 16"/>
                  <a:gd name="T5" fmla="*/ 8 h 16"/>
                  <a:gd name="T6" fmla="*/ 8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6" y="13"/>
                      <a:pt x="12" y="16"/>
                      <a:pt x="8" y="16"/>
                    </a:cubicBezTo>
                    <a:cubicBezTo>
                      <a:pt x="3" y="16"/>
                      <a:pt x="0" y="12"/>
                      <a:pt x="0" y="8"/>
                    </a:cubicBezTo>
                    <a:cubicBezTo>
                      <a:pt x="0" y="3"/>
                      <a:pt x="4" y="0"/>
                      <a:pt x="8" y="0"/>
                    </a:cubicBezTo>
                    <a:cubicBezTo>
                      <a:pt x="13" y="0"/>
                      <a:pt x="16" y="4"/>
                      <a:pt x="16" y="8"/>
                    </a:cubicBezTo>
                    <a:close/>
                  </a:path>
                </a:pathLst>
              </a:custGeom>
              <a:noFill/>
              <a:ln w="1587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218" name="Freeform 60">
                <a:extLst>
                  <a:ext uri="{FF2B5EF4-FFF2-40B4-BE49-F238E27FC236}">
                    <a16:creationId xmlns:a16="http://schemas.microsoft.com/office/drawing/2014/main" id="{84903E1E-1CEE-49F9-8B09-B35143BB89A8}"/>
                  </a:ext>
                </a:extLst>
              </p:cNvPr>
              <p:cNvSpPr>
                <a:spLocks/>
              </p:cNvSpPr>
              <p:nvPr/>
            </p:nvSpPr>
            <p:spPr bwMode="auto">
              <a:xfrm>
                <a:off x="6059716" y="2178582"/>
                <a:ext cx="73025" cy="76200"/>
              </a:xfrm>
              <a:custGeom>
                <a:avLst/>
                <a:gdLst>
                  <a:gd name="T0" fmla="*/ 16 w 16"/>
                  <a:gd name="T1" fmla="*/ 9 h 17"/>
                  <a:gd name="T2" fmla="*/ 8 w 16"/>
                  <a:gd name="T3" fmla="*/ 17 h 17"/>
                  <a:gd name="T4" fmla="*/ 0 w 16"/>
                  <a:gd name="T5" fmla="*/ 8 h 17"/>
                  <a:gd name="T6" fmla="*/ 8 w 16"/>
                  <a:gd name="T7" fmla="*/ 1 h 17"/>
                  <a:gd name="T8" fmla="*/ 16 w 16"/>
                  <a:gd name="T9" fmla="*/ 9 h 17"/>
                </a:gdLst>
                <a:ahLst/>
                <a:cxnLst>
                  <a:cxn ang="0">
                    <a:pos x="T0" y="T1"/>
                  </a:cxn>
                  <a:cxn ang="0">
                    <a:pos x="T2" y="T3"/>
                  </a:cxn>
                  <a:cxn ang="0">
                    <a:pos x="T4" y="T5"/>
                  </a:cxn>
                  <a:cxn ang="0">
                    <a:pos x="T6" y="T7"/>
                  </a:cxn>
                  <a:cxn ang="0">
                    <a:pos x="T8" y="T9"/>
                  </a:cxn>
                </a:cxnLst>
                <a:rect l="0" t="0" r="r" b="b"/>
                <a:pathLst>
                  <a:path w="16" h="17">
                    <a:moveTo>
                      <a:pt x="16" y="9"/>
                    </a:moveTo>
                    <a:cubicBezTo>
                      <a:pt x="16" y="14"/>
                      <a:pt x="12" y="17"/>
                      <a:pt x="8" y="17"/>
                    </a:cubicBezTo>
                    <a:cubicBezTo>
                      <a:pt x="3" y="17"/>
                      <a:pt x="0" y="13"/>
                      <a:pt x="0" y="8"/>
                    </a:cubicBezTo>
                    <a:cubicBezTo>
                      <a:pt x="0" y="4"/>
                      <a:pt x="4" y="0"/>
                      <a:pt x="8" y="1"/>
                    </a:cubicBezTo>
                    <a:cubicBezTo>
                      <a:pt x="13" y="1"/>
                      <a:pt x="16" y="5"/>
                      <a:pt x="16" y="9"/>
                    </a:cubicBezTo>
                    <a:close/>
                  </a:path>
                </a:pathLst>
              </a:custGeom>
              <a:noFill/>
              <a:ln w="1587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219" name="Freeform 61">
                <a:extLst>
                  <a:ext uri="{FF2B5EF4-FFF2-40B4-BE49-F238E27FC236}">
                    <a16:creationId xmlns:a16="http://schemas.microsoft.com/office/drawing/2014/main" id="{19CAAC4B-D654-4E27-8D6C-0FF3B9641C2A}"/>
                  </a:ext>
                </a:extLst>
              </p:cNvPr>
              <p:cNvSpPr>
                <a:spLocks/>
              </p:cNvSpPr>
              <p:nvPr/>
            </p:nvSpPr>
            <p:spPr bwMode="auto">
              <a:xfrm>
                <a:off x="6321654" y="2178582"/>
                <a:ext cx="76200" cy="76200"/>
              </a:xfrm>
              <a:custGeom>
                <a:avLst/>
                <a:gdLst>
                  <a:gd name="T0" fmla="*/ 17 w 17"/>
                  <a:gd name="T1" fmla="*/ 9 h 17"/>
                  <a:gd name="T2" fmla="*/ 8 w 17"/>
                  <a:gd name="T3" fmla="*/ 17 h 17"/>
                  <a:gd name="T4" fmla="*/ 1 w 17"/>
                  <a:gd name="T5" fmla="*/ 8 h 17"/>
                  <a:gd name="T6" fmla="*/ 9 w 17"/>
                  <a:gd name="T7" fmla="*/ 1 h 17"/>
                  <a:gd name="T8" fmla="*/ 17 w 17"/>
                  <a:gd name="T9" fmla="*/ 9 h 17"/>
                </a:gdLst>
                <a:ahLst/>
                <a:cxnLst>
                  <a:cxn ang="0">
                    <a:pos x="T0" y="T1"/>
                  </a:cxn>
                  <a:cxn ang="0">
                    <a:pos x="T2" y="T3"/>
                  </a:cxn>
                  <a:cxn ang="0">
                    <a:pos x="T4" y="T5"/>
                  </a:cxn>
                  <a:cxn ang="0">
                    <a:pos x="T6" y="T7"/>
                  </a:cxn>
                  <a:cxn ang="0">
                    <a:pos x="T8" y="T9"/>
                  </a:cxn>
                </a:cxnLst>
                <a:rect l="0" t="0" r="r" b="b"/>
                <a:pathLst>
                  <a:path w="17" h="17">
                    <a:moveTo>
                      <a:pt x="17" y="9"/>
                    </a:moveTo>
                    <a:cubicBezTo>
                      <a:pt x="17" y="14"/>
                      <a:pt x="13" y="17"/>
                      <a:pt x="8" y="17"/>
                    </a:cubicBezTo>
                    <a:cubicBezTo>
                      <a:pt x="4" y="17"/>
                      <a:pt x="0" y="13"/>
                      <a:pt x="1" y="8"/>
                    </a:cubicBezTo>
                    <a:cubicBezTo>
                      <a:pt x="1" y="4"/>
                      <a:pt x="5" y="0"/>
                      <a:pt x="9" y="1"/>
                    </a:cubicBezTo>
                    <a:cubicBezTo>
                      <a:pt x="14" y="1"/>
                      <a:pt x="17" y="5"/>
                      <a:pt x="17" y="9"/>
                    </a:cubicBezTo>
                    <a:close/>
                  </a:path>
                </a:pathLst>
              </a:custGeom>
              <a:noFill/>
              <a:ln w="1587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220" name="Freeform 62">
                <a:extLst>
                  <a:ext uri="{FF2B5EF4-FFF2-40B4-BE49-F238E27FC236}">
                    <a16:creationId xmlns:a16="http://schemas.microsoft.com/office/drawing/2014/main" id="{60AB0F5F-3CD9-403B-8ACC-53C872401CBA}"/>
                  </a:ext>
                </a:extLst>
              </p:cNvPr>
              <p:cNvSpPr>
                <a:spLocks/>
              </p:cNvSpPr>
              <p:nvPr/>
            </p:nvSpPr>
            <p:spPr bwMode="auto">
              <a:xfrm>
                <a:off x="6393091" y="1938870"/>
                <a:ext cx="76200" cy="73025"/>
              </a:xfrm>
              <a:custGeom>
                <a:avLst/>
                <a:gdLst>
                  <a:gd name="T0" fmla="*/ 16 w 17"/>
                  <a:gd name="T1" fmla="*/ 8 h 16"/>
                  <a:gd name="T2" fmla="*/ 8 w 17"/>
                  <a:gd name="T3" fmla="*/ 16 h 16"/>
                  <a:gd name="T4" fmla="*/ 0 w 17"/>
                  <a:gd name="T5" fmla="*/ 8 h 16"/>
                  <a:gd name="T6" fmla="*/ 9 w 17"/>
                  <a:gd name="T7" fmla="*/ 0 h 16"/>
                  <a:gd name="T8" fmla="*/ 16 w 17"/>
                  <a:gd name="T9" fmla="*/ 8 h 16"/>
                </a:gdLst>
                <a:ahLst/>
                <a:cxnLst>
                  <a:cxn ang="0">
                    <a:pos x="T0" y="T1"/>
                  </a:cxn>
                  <a:cxn ang="0">
                    <a:pos x="T2" y="T3"/>
                  </a:cxn>
                  <a:cxn ang="0">
                    <a:pos x="T4" y="T5"/>
                  </a:cxn>
                  <a:cxn ang="0">
                    <a:pos x="T6" y="T7"/>
                  </a:cxn>
                  <a:cxn ang="0">
                    <a:pos x="T8" y="T9"/>
                  </a:cxn>
                </a:cxnLst>
                <a:rect l="0" t="0" r="r" b="b"/>
                <a:pathLst>
                  <a:path w="17" h="16">
                    <a:moveTo>
                      <a:pt x="16" y="8"/>
                    </a:moveTo>
                    <a:cubicBezTo>
                      <a:pt x="16" y="13"/>
                      <a:pt x="12" y="16"/>
                      <a:pt x="8" y="16"/>
                    </a:cubicBezTo>
                    <a:cubicBezTo>
                      <a:pt x="3" y="16"/>
                      <a:pt x="0" y="12"/>
                      <a:pt x="0" y="8"/>
                    </a:cubicBezTo>
                    <a:cubicBezTo>
                      <a:pt x="0" y="3"/>
                      <a:pt x="4" y="0"/>
                      <a:pt x="9" y="0"/>
                    </a:cubicBezTo>
                    <a:cubicBezTo>
                      <a:pt x="13" y="0"/>
                      <a:pt x="17" y="4"/>
                      <a:pt x="16" y="8"/>
                    </a:cubicBezTo>
                    <a:close/>
                  </a:path>
                </a:pathLst>
              </a:custGeom>
              <a:noFill/>
              <a:ln w="1587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221" name="Line 63">
                <a:extLst>
                  <a:ext uri="{FF2B5EF4-FFF2-40B4-BE49-F238E27FC236}">
                    <a16:creationId xmlns:a16="http://schemas.microsoft.com/office/drawing/2014/main" id="{D9012943-362D-4BA1-BE62-28F4997416C3}"/>
                  </a:ext>
                </a:extLst>
              </p:cNvPr>
              <p:cNvSpPr>
                <a:spLocks noChangeShapeType="1"/>
              </p:cNvSpPr>
              <p:nvPr/>
            </p:nvSpPr>
            <p:spPr bwMode="auto">
              <a:xfrm flipH="1" flipV="1">
                <a:off x="6059716" y="1989670"/>
                <a:ext cx="73025" cy="34925"/>
              </a:xfrm>
              <a:prstGeom prst="line">
                <a:avLst/>
              </a:prstGeom>
              <a:noFill/>
              <a:ln w="1587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222" name="Line 64">
                <a:extLst>
                  <a:ext uri="{FF2B5EF4-FFF2-40B4-BE49-F238E27FC236}">
                    <a16:creationId xmlns:a16="http://schemas.microsoft.com/office/drawing/2014/main" id="{0ADDD828-2238-4FC9-A7CF-924DB260D169}"/>
                  </a:ext>
                </a:extLst>
              </p:cNvPr>
              <p:cNvSpPr>
                <a:spLocks noChangeShapeType="1"/>
              </p:cNvSpPr>
              <p:nvPr/>
            </p:nvSpPr>
            <p:spPr bwMode="auto">
              <a:xfrm>
                <a:off x="6231166" y="1845207"/>
                <a:ext cx="0" cy="44450"/>
              </a:xfrm>
              <a:prstGeom prst="line">
                <a:avLst/>
              </a:prstGeom>
              <a:noFill/>
              <a:ln w="1587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223" name="Line 65">
                <a:extLst>
                  <a:ext uri="{FF2B5EF4-FFF2-40B4-BE49-F238E27FC236}">
                    <a16:creationId xmlns:a16="http://schemas.microsoft.com/office/drawing/2014/main" id="{CC101807-8068-4186-BA83-EAAB53DE08BE}"/>
                  </a:ext>
                </a:extLst>
              </p:cNvPr>
              <p:cNvSpPr>
                <a:spLocks noChangeShapeType="1"/>
              </p:cNvSpPr>
              <p:nvPr/>
            </p:nvSpPr>
            <p:spPr bwMode="auto">
              <a:xfrm flipH="1">
                <a:off x="6118454" y="2161120"/>
                <a:ext cx="31750" cy="30163"/>
              </a:xfrm>
              <a:prstGeom prst="line">
                <a:avLst/>
              </a:prstGeom>
              <a:noFill/>
              <a:ln w="1587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224" name="Line 66">
                <a:extLst>
                  <a:ext uri="{FF2B5EF4-FFF2-40B4-BE49-F238E27FC236}">
                    <a16:creationId xmlns:a16="http://schemas.microsoft.com/office/drawing/2014/main" id="{C21FE236-B8DA-4D54-9043-01F3A0E5023F}"/>
                  </a:ext>
                </a:extLst>
              </p:cNvPr>
              <p:cNvSpPr>
                <a:spLocks noChangeShapeType="1"/>
              </p:cNvSpPr>
              <p:nvPr/>
            </p:nvSpPr>
            <p:spPr bwMode="auto">
              <a:xfrm flipH="1" flipV="1">
                <a:off x="6312129" y="2164295"/>
                <a:ext cx="22225" cy="26988"/>
              </a:xfrm>
              <a:prstGeom prst="line">
                <a:avLst/>
              </a:prstGeom>
              <a:noFill/>
              <a:ln w="1587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225" name="Line 67">
                <a:extLst>
                  <a:ext uri="{FF2B5EF4-FFF2-40B4-BE49-F238E27FC236}">
                    <a16:creationId xmlns:a16="http://schemas.microsoft.com/office/drawing/2014/main" id="{FA7FBA5B-EE9E-47E6-BF24-F8363E43DAE3}"/>
                  </a:ext>
                </a:extLst>
              </p:cNvPr>
              <p:cNvSpPr>
                <a:spLocks noChangeShapeType="1"/>
              </p:cNvSpPr>
              <p:nvPr/>
            </p:nvSpPr>
            <p:spPr bwMode="auto">
              <a:xfrm flipH="1">
                <a:off x="6326416" y="1994432"/>
                <a:ext cx="71438" cy="30163"/>
              </a:xfrm>
              <a:prstGeom prst="line">
                <a:avLst/>
              </a:prstGeom>
              <a:noFill/>
              <a:ln w="1587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226" name="Freeform 68">
                <a:extLst>
                  <a:ext uri="{FF2B5EF4-FFF2-40B4-BE49-F238E27FC236}">
                    <a16:creationId xmlns:a16="http://schemas.microsoft.com/office/drawing/2014/main" id="{0F8975C9-EB70-4B58-AA64-FAEABC6D54F8}"/>
                  </a:ext>
                </a:extLst>
              </p:cNvPr>
              <p:cNvSpPr>
                <a:spLocks/>
              </p:cNvSpPr>
              <p:nvPr/>
            </p:nvSpPr>
            <p:spPr bwMode="auto">
              <a:xfrm>
                <a:off x="6150204" y="2016657"/>
                <a:ext cx="161925" cy="107950"/>
              </a:xfrm>
              <a:custGeom>
                <a:avLst/>
                <a:gdLst>
                  <a:gd name="T0" fmla="*/ 0 w 36"/>
                  <a:gd name="T1" fmla="*/ 24 h 24"/>
                  <a:gd name="T2" fmla="*/ 0 w 36"/>
                  <a:gd name="T3" fmla="*/ 12 h 24"/>
                  <a:gd name="T4" fmla="*/ 12 w 36"/>
                  <a:gd name="T5" fmla="*/ 0 h 24"/>
                  <a:gd name="T6" fmla="*/ 24 w 36"/>
                  <a:gd name="T7" fmla="*/ 0 h 24"/>
                  <a:gd name="T8" fmla="*/ 36 w 36"/>
                  <a:gd name="T9" fmla="*/ 12 h 24"/>
                  <a:gd name="T10" fmla="*/ 36 w 36"/>
                  <a:gd name="T11" fmla="*/ 14 h 24"/>
                  <a:gd name="T12" fmla="*/ 27 w 36"/>
                  <a:gd name="T13" fmla="*/ 24 h 24"/>
                  <a:gd name="T14" fmla="*/ 10 w 36"/>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4">
                    <a:moveTo>
                      <a:pt x="0" y="24"/>
                    </a:moveTo>
                    <a:cubicBezTo>
                      <a:pt x="0" y="12"/>
                      <a:pt x="0" y="12"/>
                      <a:pt x="0" y="12"/>
                    </a:cubicBezTo>
                    <a:cubicBezTo>
                      <a:pt x="0" y="5"/>
                      <a:pt x="5" y="0"/>
                      <a:pt x="12" y="0"/>
                    </a:cubicBezTo>
                    <a:cubicBezTo>
                      <a:pt x="24" y="0"/>
                      <a:pt x="24" y="0"/>
                      <a:pt x="24" y="0"/>
                    </a:cubicBezTo>
                    <a:cubicBezTo>
                      <a:pt x="31" y="0"/>
                      <a:pt x="36" y="5"/>
                      <a:pt x="36" y="12"/>
                    </a:cubicBezTo>
                    <a:cubicBezTo>
                      <a:pt x="36" y="14"/>
                      <a:pt x="36" y="14"/>
                      <a:pt x="36" y="14"/>
                    </a:cubicBezTo>
                    <a:cubicBezTo>
                      <a:pt x="36" y="20"/>
                      <a:pt x="32" y="24"/>
                      <a:pt x="27" y="24"/>
                    </a:cubicBezTo>
                    <a:cubicBezTo>
                      <a:pt x="10" y="24"/>
                      <a:pt x="10" y="24"/>
                      <a:pt x="10" y="24"/>
                    </a:cubicBezTo>
                  </a:path>
                </a:pathLst>
              </a:custGeom>
              <a:noFill/>
              <a:ln w="1587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227" name="Line 69">
                <a:extLst>
                  <a:ext uri="{FF2B5EF4-FFF2-40B4-BE49-F238E27FC236}">
                    <a16:creationId xmlns:a16="http://schemas.microsoft.com/office/drawing/2014/main" id="{C4210A7F-CCB7-4CE5-9442-1DEE158FB410}"/>
                  </a:ext>
                </a:extLst>
              </p:cNvPr>
              <p:cNvSpPr>
                <a:spLocks noChangeShapeType="1"/>
              </p:cNvSpPr>
              <p:nvPr/>
            </p:nvSpPr>
            <p:spPr bwMode="auto">
              <a:xfrm>
                <a:off x="6258154" y="1994432"/>
                <a:ext cx="0" cy="0"/>
              </a:xfrm>
              <a:prstGeom prst="line">
                <a:avLst/>
              </a:prstGeom>
              <a:noFill/>
              <a:ln w="1587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228" name="Freeform 70">
                <a:extLst>
                  <a:ext uri="{FF2B5EF4-FFF2-40B4-BE49-F238E27FC236}">
                    <a16:creationId xmlns:a16="http://schemas.microsoft.com/office/drawing/2014/main" id="{8CF492D2-C87C-4D5A-96BE-5EB628284D48}"/>
                  </a:ext>
                </a:extLst>
              </p:cNvPr>
              <p:cNvSpPr>
                <a:spLocks/>
              </p:cNvSpPr>
              <p:nvPr/>
            </p:nvSpPr>
            <p:spPr bwMode="auto">
              <a:xfrm>
                <a:off x="6194654" y="1921407"/>
                <a:ext cx="73025" cy="95250"/>
              </a:xfrm>
              <a:custGeom>
                <a:avLst/>
                <a:gdLst>
                  <a:gd name="T0" fmla="*/ 8 w 16"/>
                  <a:gd name="T1" fmla="*/ 21 h 21"/>
                  <a:gd name="T2" fmla="*/ 0 w 16"/>
                  <a:gd name="T3" fmla="*/ 10 h 21"/>
                  <a:gd name="T4" fmla="*/ 8 w 16"/>
                  <a:gd name="T5" fmla="*/ 0 h 21"/>
                  <a:gd name="T6" fmla="*/ 16 w 16"/>
                  <a:gd name="T7" fmla="*/ 10 h 21"/>
                  <a:gd name="T8" fmla="*/ 15 w 16"/>
                  <a:gd name="T9" fmla="*/ 15 h 21"/>
                </a:gdLst>
                <a:ahLst/>
                <a:cxnLst>
                  <a:cxn ang="0">
                    <a:pos x="T0" y="T1"/>
                  </a:cxn>
                  <a:cxn ang="0">
                    <a:pos x="T2" y="T3"/>
                  </a:cxn>
                  <a:cxn ang="0">
                    <a:pos x="T4" y="T5"/>
                  </a:cxn>
                  <a:cxn ang="0">
                    <a:pos x="T6" y="T7"/>
                  </a:cxn>
                  <a:cxn ang="0">
                    <a:pos x="T8" y="T9"/>
                  </a:cxn>
                </a:cxnLst>
                <a:rect l="0" t="0" r="r" b="b"/>
                <a:pathLst>
                  <a:path w="16" h="21">
                    <a:moveTo>
                      <a:pt x="8" y="21"/>
                    </a:moveTo>
                    <a:cubicBezTo>
                      <a:pt x="5" y="21"/>
                      <a:pt x="1" y="17"/>
                      <a:pt x="0" y="10"/>
                    </a:cubicBezTo>
                    <a:cubicBezTo>
                      <a:pt x="0" y="4"/>
                      <a:pt x="2" y="0"/>
                      <a:pt x="8" y="0"/>
                    </a:cubicBezTo>
                    <a:cubicBezTo>
                      <a:pt x="14" y="0"/>
                      <a:pt x="16" y="4"/>
                      <a:pt x="16" y="10"/>
                    </a:cubicBezTo>
                    <a:cubicBezTo>
                      <a:pt x="16" y="12"/>
                      <a:pt x="15" y="14"/>
                      <a:pt x="15" y="15"/>
                    </a:cubicBezTo>
                  </a:path>
                </a:pathLst>
              </a:custGeom>
              <a:noFill/>
              <a:ln w="1587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da-DK" sz="1662"/>
              </a:p>
            </p:txBody>
          </p:sp>
        </p:grpSp>
      </p:grpSp>
      <p:grpSp>
        <p:nvGrpSpPr>
          <p:cNvPr id="20" name="Group 19">
            <a:extLst>
              <a:ext uri="{FF2B5EF4-FFF2-40B4-BE49-F238E27FC236}">
                <a16:creationId xmlns:a16="http://schemas.microsoft.com/office/drawing/2014/main" id="{1628065C-1282-4148-98AB-D7B025DC58FB}"/>
              </a:ext>
            </a:extLst>
          </p:cNvPr>
          <p:cNvGrpSpPr/>
          <p:nvPr/>
        </p:nvGrpSpPr>
        <p:grpSpPr>
          <a:xfrm>
            <a:off x="2186137" y="5520618"/>
            <a:ext cx="2138250" cy="748070"/>
            <a:chOff x="3806947" y="4710914"/>
            <a:chExt cx="2316437" cy="1032633"/>
          </a:xfrm>
        </p:grpSpPr>
        <p:cxnSp>
          <p:nvCxnSpPr>
            <p:cNvPr id="101" name="Straight Connector 100">
              <a:extLst>
                <a:ext uri="{FF2B5EF4-FFF2-40B4-BE49-F238E27FC236}">
                  <a16:creationId xmlns:a16="http://schemas.microsoft.com/office/drawing/2014/main" id="{5B5AC20C-CC9D-4075-AF0C-26CF4D3D9A49}"/>
                </a:ext>
              </a:extLst>
            </p:cNvPr>
            <p:cNvCxnSpPr>
              <a:cxnSpLocks/>
            </p:cNvCxnSpPr>
            <p:nvPr/>
          </p:nvCxnSpPr>
          <p:spPr>
            <a:xfrm>
              <a:off x="3806947" y="4710914"/>
              <a:ext cx="0" cy="1032387"/>
            </a:xfrm>
            <a:prstGeom prst="line">
              <a:avLst/>
            </a:prstGeom>
            <a:ln w="31750" cap="rnd">
              <a:solidFill>
                <a:srgbClr val="8AA299"/>
              </a:solidFill>
              <a:prstDash val="sysDot"/>
              <a:roun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53A60DD-E365-41E5-BC78-B148210F5DC1}"/>
                </a:ext>
              </a:extLst>
            </p:cNvPr>
            <p:cNvCxnSpPr>
              <a:cxnSpLocks/>
            </p:cNvCxnSpPr>
            <p:nvPr/>
          </p:nvCxnSpPr>
          <p:spPr>
            <a:xfrm>
              <a:off x="6123384" y="4711160"/>
              <a:ext cx="0" cy="1032387"/>
            </a:xfrm>
            <a:prstGeom prst="line">
              <a:avLst/>
            </a:prstGeom>
            <a:ln w="31750" cap="rnd">
              <a:solidFill>
                <a:srgbClr val="8AA299"/>
              </a:solidFill>
              <a:prstDash val="sysDot"/>
              <a:round/>
            </a:ln>
          </p:spPr>
          <p:style>
            <a:lnRef idx="1">
              <a:schemeClr val="accent1"/>
            </a:lnRef>
            <a:fillRef idx="0">
              <a:schemeClr val="accent1"/>
            </a:fillRef>
            <a:effectRef idx="0">
              <a:schemeClr val="accent1"/>
            </a:effectRef>
            <a:fontRef idx="minor">
              <a:schemeClr val="tx1"/>
            </a:fontRef>
          </p:style>
        </p:cxnSp>
      </p:grpSp>
      <p:sp>
        <p:nvSpPr>
          <p:cNvPr id="104" name="Content Placeholder 2">
            <a:extLst>
              <a:ext uri="{FF2B5EF4-FFF2-40B4-BE49-F238E27FC236}">
                <a16:creationId xmlns:a16="http://schemas.microsoft.com/office/drawing/2014/main" id="{002DC56B-2C0B-4BAD-91BC-0CD9B702CBFD}"/>
              </a:ext>
            </a:extLst>
          </p:cNvPr>
          <p:cNvSpPr txBox="1">
            <a:spLocks/>
          </p:cNvSpPr>
          <p:nvPr/>
        </p:nvSpPr>
        <p:spPr>
          <a:xfrm>
            <a:off x="4451940" y="5520844"/>
            <a:ext cx="1674546" cy="681844"/>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oAutofit/>
          </a:bodyPr>
          <a:lstStyle>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chemeClr val="lt1"/>
                </a:solidFill>
                <a:latin typeface="+mn-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chemeClr val="lt1"/>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chemeClr val="lt1"/>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chemeClr val="lt1"/>
                </a:solidFill>
                <a:latin typeface="+mn-lt"/>
                <a:ea typeface="+mn-ea"/>
                <a:cs typeface="+mn-cs"/>
              </a:defRPr>
            </a:lvl9pPr>
          </a:lstStyle>
          <a:p>
            <a:pPr algn="ctr" defTabSz="914400">
              <a:buNone/>
            </a:pPr>
            <a:r>
              <a:rPr lang="da-DK" sz="900">
                <a:ea typeface="+mn-lt"/>
                <a:cs typeface="+mn-lt"/>
              </a:rPr>
              <a:t>Modtagelse af fuldt fortolkede bilag via PEPPOL, for bilag afsendt fra EU</a:t>
            </a:r>
          </a:p>
        </p:txBody>
      </p:sp>
      <p:sp>
        <p:nvSpPr>
          <p:cNvPr id="105" name="Content Placeholder 2">
            <a:extLst>
              <a:ext uri="{FF2B5EF4-FFF2-40B4-BE49-F238E27FC236}">
                <a16:creationId xmlns:a16="http://schemas.microsoft.com/office/drawing/2014/main" id="{01878DF5-3511-4EA7-9DC8-B0DF3D7FA598}"/>
              </a:ext>
            </a:extLst>
          </p:cNvPr>
          <p:cNvSpPr txBox="1">
            <a:spLocks/>
          </p:cNvSpPr>
          <p:nvPr/>
        </p:nvSpPr>
        <p:spPr>
          <a:xfrm>
            <a:off x="2489082" y="4096901"/>
            <a:ext cx="1674546" cy="681844"/>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oAutofit/>
          </a:bodyPr>
          <a:lstStyle>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chemeClr val="lt1"/>
                </a:solidFill>
                <a:latin typeface="+mn-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chemeClr val="lt1"/>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chemeClr val="lt1"/>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chemeClr val="lt1"/>
                </a:solidFill>
                <a:latin typeface="+mn-lt"/>
                <a:ea typeface="+mn-ea"/>
                <a:cs typeface="+mn-cs"/>
              </a:defRPr>
            </a:lvl9pPr>
          </a:lstStyle>
          <a:p>
            <a:pPr algn="ctr" defTabSz="914400">
              <a:buNone/>
            </a:pPr>
            <a:r>
              <a:rPr lang="da-DK" sz="900">
                <a:ea typeface="+mn-lt"/>
                <a:cs typeface="+mn-lt"/>
              </a:rPr>
              <a:t>Integration til Navision Stat</a:t>
            </a:r>
          </a:p>
        </p:txBody>
      </p:sp>
      <p:grpSp>
        <p:nvGrpSpPr>
          <p:cNvPr id="17" name="Group 16">
            <a:extLst>
              <a:ext uri="{FF2B5EF4-FFF2-40B4-BE49-F238E27FC236}">
                <a16:creationId xmlns:a16="http://schemas.microsoft.com/office/drawing/2014/main" id="{751B3FC2-6CFF-4DB9-AA18-DD76A11D11BD}"/>
              </a:ext>
            </a:extLst>
          </p:cNvPr>
          <p:cNvGrpSpPr/>
          <p:nvPr/>
        </p:nvGrpSpPr>
        <p:grpSpPr>
          <a:xfrm>
            <a:off x="4990063" y="4791178"/>
            <a:ext cx="381885" cy="546046"/>
            <a:chOff x="1294267" y="4281282"/>
            <a:chExt cx="352425" cy="504826"/>
          </a:xfrm>
        </p:grpSpPr>
        <p:sp>
          <p:nvSpPr>
            <p:cNvPr id="237" name="Oval 77">
              <a:extLst>
                <a:ext uri="{FF2B5EF4-FFF2-40B4-BE49-F238E27FC236}">
                  <a16:creationId xmlns:a16="http://schemas.microsoft.com/office/drawing/2014/main" id="{3934ED2B-FD0B-4AC1-A1D4-BA2AA360D443}"/>
                </a:ext>
              </a:extLst>
            </p:cNvPr>
            <p:cNvSpPr>
              <a:spLocks noChangeArrowheads="1"/>
            </p:cNvSpPr>
            <p:nvPr/>
          </p:nvSpPr>
          <p:spPr bwMode="auto">
            <a:xfrm>
              <a:off x="1294267" y="4303507"/>
              <a:ext cx="293688" cy="293688"/>
            </a:xfrm>
            <a:prstGeom prst="ellipse">
              <a:avLst/>
            </a:prstGeom>
            <a:solidFill>
              <a:srgbClr val="8AA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da-DK" sz="1662"/>
            </a:p>
          </p:txBody>
        </p:sp>
        <p:grpSp>
          <p:nvGrpSpPr>
            <p:cNvPr id="13" name="Group 12">
              <a:extLst>
                <a:ext uri="{FF2B5EF4-FFF2-40B4-BE49-F238E27FC236}">
                  <a16:creationId xmlns:a16="http://schemas.microsoft.com/office/drawing/2014/main" id="{6733B644-0146-420C-ACCB-B28043CB177C}"/>
                </a:ext>
              </a:extLst>
            </p:cNvPr>
            <p:cNvGrpSpPr/>
            <p:nvPr/>
          </p:nvGrpSpPr>
          <p:grpSpPr>
            <a:xfrm>
              <a:off x="1294267" y="4281282"/>
              <a:ext cx="352425" cy="504826"/>
              <a:chOff x="1294267" y="4281282"/>
              <a:chExt cx="352425" cy="504826"/>
            </a:xfrm>
          </p:grpSpPr>
          <p:sp>
            <p:nvSpPr>
              <p:cNvPr id="238" name="Freeform 78">
                <a:extLst>
                  <a:ext uri="{FF2B5EF4-FFF2-40B4-BE49-F238E27FC236}">
                    <a16:creationId xmlns:a16="http://schemas.microsoft.com/office/drawing/2014/main" id="{5DAA3E1E-1440-4618-A059-1BB91152ABEB}"/>
                  </a:ext>
                </a:extLst>
              </p:cNvPr>
              <p:cNvSpPr>
                <a:spLocks/>
              </p:cNvSpPr>
              <p:nvPr/>
            </p:nvSpPr>
            <p:spPr bwMode="auto">
              <a:xfrm>
                <a:off x="1379992" y="4628945"/>
                <a:ext cx="180975" cy="157163"/>
              </a:xfrm>
              <a:custGeom>
                <a:avLst/>
                <a:gdLst>
                  <a:gd name="T0" fmla="*/ 0 w 114"/>
                  <a:gd name="T1" fmla="*/ 0 h 99"/>
                  <a:gd name="T2" fmla="*/ 0 w 114"/>
                  <a:gd name="T3" fmla="*/ 99 h 99"/>
                  <a:gd name="T4" fmla="*/ 57 w 114"/>
                  <a:gd name="T5" fmla="*/ 56 h 99"/>
                  <a:gd name="T6" fmla="*/ 114 w 114"/>
                  <a:gd name="T7" fmla="*/ 99 h 99"/>
                  <a:gd name="T8" fmla="*/ 114 w 114"/>
                  <a:gd name="T9" fmla="*/ 14 h 99"/>
                </a:gdLst>
                <a:ahLst/>
                <a:cxnLst>
                  <a:cxn ang="0">
                    <a:pos x="T0" y="T1"/>
                  </a:cxn>
                  <a:cxn ang="0">
                    <a:pos x="T2" y="T3"/>
                  </a:cxn>
                  <a:cxn ang="0">
                    <a:pos x="T4" y="T5"/>
                  </a:cxn>
                  <a:cxn ang="0">
                    <a:pos x="T6" y="T7"/>
                  </a:cxn>
                  <a:cxn ang="0">
                    <a:pos x="T8" y="T9"/>
                  </a:cxn>
                </a:cxnLst>
                <a:rect l="0" t="0" r="r" b="b"/>
                <a:pathLst>
                  <a:path w="114" h="99">
                    <a:moveTo>
                      <a:pt x="0" y="0"/>
                    </a:moveTo>
                    <a:lnTo>
                      <a:pt x="0" y="99"/>
                    </a:lnTo>
                    <a:lnTo>
                      <a:pt x="57" y="56"/>
                    </a:lnTo>
                    <a:lnTo>
                      <a:pt x="114" y="99"/>
                    </a:lnTo>
                    <a:lnTo>
                      <a:pt x="114" y="14"/>
                    </a:lnTo>
                  </a:path>
                </a:pathLst>
              </a:custGeom>
              <a:noFill/>
              <a:ln w="1587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239" name="Freeform 79">
                <a:extLst>
                  <a:ext uri="{FF2B5EF4-FFF2-40B4-BE49-F238E27FC236}">
                    <a16:creationId xmlns:a16="http://schemas.microsoft.com/office/drawing/2014/main" id="{B94720BF-BCBC-4CB5-A83A-63C19AF6E925}"/>
                  </a:ext>
                </a:extLst>
              </p:cNvPr>
              <p:cNvSpPr>
                <a:spLocks/>
              </p:cNvSpPr>
              <p:nvPr/>
            </p:nvSpPr>
            <p:spPr bwMode="auto">
              <a:xfrm>
                <a:off x="1294267" y="4281282"/>
                <a:ext cx="352425" cy="350838"/>
              </a:xfrm>
              <a:custGeom>
                <a:avLst/>
                <a:gdLst>
                  <a:gd name="T0" fmla="*/ 29 w 78"/>
                  <a:gd name="T1" fmla="*/ 77 h 78"/>
                  <a:gd name="T2" fmla="*/ 39 w 78"/>
                  <a:gd name="T3" fmla="*/ 78 h 78"/>
                  <a:gd name="T4" fmla="*/ 78 w 78"/>
                  <a:gd name="T5" fmla="*/ 39 h 78"/>
                  <a:gd name="T6" fmla="*/ 39 w 78"/>
                  <a:gd name="T7" fmla="*/ 0 h 78"/>
                  <a:gd name="T8" fmla="*/ 0 w 78"/>
                  <a:gd name="T9" fmla="*/ 39 h 78"/>
                  <a:gd name="T10" fmla="*/ 17 w 78"/>
                  <a:gd name="T11" fmla="*/ 72 h 78"/>
                  <a:gd name="T12" fmla="*/ 19 w 78"/>
                  <a:gd name="T13" fmla="*/ 77 h 78"/>
                </a:gdLst>
                <a:ahLst/>
                <a:cxnLst>
                  <a:cxn ang="0">
                    <a:pos x="T0" y="T1"/>
                  </a:cxn>
                  <a:cxn ang="0">
                    <a:pos x="T2" y="T3"/>
                  </a:cxn>
                  <a:cxn ang="0">
                    <a:pos x="T4" y="T5"/>
                  </a:cxn>
                  <a:cxn ang="0">
                    <a:pos x="T6" y="T7"/>
                  </a:cxn>
                  <a:cxn ang="0">
                    <a:pos x="T8" y="T9"/>
                  </a:cxn>
                  <a:cxn ang="0">
                    <a:pos x="T10" y="T11"/>
                  </a:cxn>
                  <a:cxn ang="0">
                    <a:pos x="T12" y="T13"/>
                  </a:cxn>
                </a:cxnLst>
                <a:rect l="0" t="0" r="r" b="b"/>
                <a:pathLst>
                  <a:path w="78" h="78">
                    <a:moveTo>
                      <a:pt x="29" y="77"/>
                    </a:moveTo>
                    <a:cubicBezTo>
                      <a:pt x="32" y="78"/>
                      <a:pt x="35" y="78"/>
                      <a:pt x="39" y="78"/>
                    </a:cubicBezTo>
                    <a:cubicBezTo>
                      <a:pt x="61" y="78"/>
                      <a:pt x="78" y="61"/>
                      <a:pt x="78" y="39"/>
                    </a:cubicBezTo>
                    <a:cubicBezTo>
                      <a:pt x="78" y="17"/>
                      <a:pt x="61" y="0"/>
                      <a:pt x="39" y="0"/>
                    </a:cubicBezTo>
                    <a:cubicBezTo>
                      <a:pt x="17" y="0"/>
                      <a:pt x="0" y="17"/>
                      <a:pt x="0" y="39"/>
                    </a:cubicBezTo>
                    <a:cubicBezTo>
                      <a:pt x="0" y="53"/>
                      <a:pt x="7" y="65"/>
                      <a:pt x="17" y="72"/>
                    </a:cubicBezTo>
                    <a:cubicBezTo>
                      <a:pt x="18" y="72"/>
                      <a:pt x="19" y="73"/>
                      <a:pt x="19" y="77"/>
                    </a:cubicBezTo>
                  </a:path>
                </a:pathLst>
              </a:custGeom>
              <a:noFill/>
              <a:ln w="1587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da-DK" sz="1662"/>
              </a:p>
            </p:txBody>
          </p:sp>
          <p:sp>
            <p:nvSpPr>
              <p:cNvPr id="240" name="Freeform 80">
                <a:extLst>
                  <a:ext uri="{FF2B5EF4-FFF2-40B4-BE49-F238E27FC236}">
                    <a16:creationId xmlns:a16="http://schemas.microsoft.com/office/drawing/2014/main" id="{000D73BC-30AE-4610-B540-673C316BF76F}"/>
                  </a:ext>
                </a:extLst>
              </p:cNvPr>
              <p:cNvSpPr>
                <a:spLocks/>
              </p:cNvSpPr>
              <p:nvPr/>
            </p:nvSpPr>
            <p:spPr bwMode="auto">
              <a:xfrm>
                <a:off x="1389517" y="4379707"/>
                <a:ext cx="152400" cy="153988"/>
              </a:xfrm>
              <a:custGeom>
                <a:avLst/>
                <a:gdLst>
                  <a:gd name="T0" fmla="*/ 0 w 34"/>
                  <a:gd name="T1" fmla="*/ 17 h 34"/>
                  <a:gd name="T2" fmla="*/ 17 w 34"/>
                  <a:gd name="T3" fmla="*/ 0 h 34"/>
                  <a:gd name="T4" fmla="*/ 34 w 34"/>
                  <a:gd name="T5" fmla="*/ 17 h 34"/>
                  <a:gd name="T6" fmla="*/ 17 w 34"/>
                  <a:gd name="T7" fmla="*/ 34 h 34"/>
                </a:gdLst>
                <a:ahLst/>
                <a:cxnLst>
                  <a:cxn ang="0">
                    <a:pos x="T0" y="T1"/>
                  </a:cxn>
                  <a:cxn ang="0">
                    <a:pos x="T2" y="T3"/>
                  </a:cxn>
                  <a:cxn ang="0">
                    <a:pos x="T4" y="T5"/>
                  </a:cxn>
                  <a:cxn ang="0">
                    <a:pos x="T6" y="T7"/>
                  </a:cxn>
                </a:cxnLst>
                <a:rect l="0" t="0" r="r" b="b"/>
                <a:pathLst>
                  <a:path w="34" h="34">
                    <a:moveTo>
                      <a:pt x="0" y="17"/>
                    </a:moveTo>
                    <a:cubicBezTo>
                      <a:pt x="0" y="8"/>
                      <a:pt x="8" y="0"/>
                      <a:pt x="17" y="0"/>
                    </a:cubicBezTo>
                    <a:cubicBezTo>
                      <a:pt x="27" y="0"/>
                      <a:pt x="34" y="8"/>
                      <a:pt x="34" y="17"/>
                    </a:cubicBezTo>
                    <a:cubicBezTo>
                      <a:pt x="34" y="26"/>
                      <a:pt x="27" y="34"/>
                      <a:pt x="17" y="34"/>
                    </a:cubicBezTo>
                  </a:path>
                </a:pathLst>
              </a:custGeom>
              <a:noFill/>
              <a:ln w="1587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da-DK" sz="1662"/>
              </a:p>
            </p:txBody>
          </p:sp>
        </p:grpSp>
      </p:grpSp>
      <p:sp>
        <p:nvSpPr>
          <p:cNvPr id="98" name="Rectangle 97">
            <a:extLst>
              <a:ext uri="{FF2B5EF4-FFF2-40B4-BE49-F238E27FC236}">
                <a16:creationId xmlns:a16="http://schemas.microsoft.com/office/drawing/2014/main" id="{D689FF4D-1F93-483C-AF33-A1E6407FFECE}"/>
              </a:ext>
            </a:extLst>
          </p:cNvPr>
          <p:cNvSpPr/>
          <p:nvPr/>
        </p:nvSpPr>
        <p:spPr>
          <a:xfrm>
            <a:off x="6199001" y="1196976"/>
            <a:ext cx="2225862" cy="1603374"/>
          </a:xfrm>
          <a:prstGeom prst="rect">
            <a:avLst/>
          </a:prstGeom>
          <a:solidFill>
            <a:srgbClr val="C3CFCB"/>
          </a:solidFill>
        </p:spPr>
        <p:txBody>
          <a:bodyPr wrap="square" lIns="137160" tIns="137160" rIns="137160" bIns="137160" anchor="t">
            <a:noAutofit/>
          </a:bodyPr>
          <a:lstStyle/>
          <a:p>
            <a:pPr defTabSz="914400">
              <a:spcAft>
                <a:spcPts val="600"/>
              </a:spcAft>
            </a:pPr>
            <a:r>
              <a:rPr lang="da-DK" sz="900" b="1">
                <a:ea typeface="Verdana"/>
                <a:cs typeface="Verdana"/>
              </a:rPr>
              <a:t>Spørgsmål, som ønskes besvaret af leverandøren: </a:t>
            </a:r>
            <a:endParaRPr lang="da-DK" sz="900">
              <a:ea typeface="Verdana"/>
              <a:cs typeface="Verdana"/>
            </a:endParaRPr>
          </a:p>
          <a:p>
            <a:pPr defTabSz="914400">
              <a:spcAft>
                <a:spcPts val="600"/>
              </a:spcAft>
            </a:pPr>
            <a:r>
              <a:rPr lang="da-DK" sz="900" b="1">
                <a:ea typeface="Verdana"/>
                <a:cs typeface="Arial"/>
              </a:rPr>
              <a:t>1.1.b: Erfaringer med lignende funktionalitet </a:t>
            </a:r>
          </a:p>
          <a:p>
            <a:pPr defTabSz="914400">
              <a:spcAft>
                <a:spcPts val="600"/>
              </a:spcAft>
            </a:pPr>
            <a:r>
              <a:rPr lang="da-DK" sz="900">
                <a:ea typeface="Verdana"/>
                <a:cs typeface="Arial"/>
              </a:rPr>
              <a:t>Leverandøren bedes kort redegøre for sine erfaringer med at levere indkøbs- og fakturahåndtering i en lignende opsætning?</a:t>
            </a:r>
          </a:p>
          <a:p>
            <a:pPr defTabSz="914400">
              <a:spcAft>
                <a:spcPts val="600"/>
              </a:spcAft>
            </a:pPr>
            <a:endParaRPr lang="da-DK" sz="900" b="1">
              <a:ea typeface="Verdana"/>
              <a:cs typeface="Arial"/>
            </a:endParaRPr>
          </a:p>
          <a:p>
            <a:pPr defTabSz="914400">
              <a:spcAft>
                <a:spcPts val="600"/>
              </a:spcAft>
            </a:pPr>
            <a:endParaRPr lang="da-DK" sz="900">
              <a:ea typeface="Verdana"/>
              <a:cs typeface="Arial"/>
            </a:endParaRPr>
          </a:p>
          <a:p>
            <a:pPr defTabSz="914400">
              <a:spcAft>
                <a:spcPts val="600"/>
              </a:spcAft>
            </a:pPr>
            <a:endParaRPr lang="da-DK" sz="900">
              <a:ea typeface="Verdana"/>
              <a:cs typeface="Arial"/>
            </a:endParaRPr>
          </a:p>
          <a:p>
            <a:pPr defTabSz="914400">
              <a:spcAft>
                <a:spcPts val="600"/>
              </a:spcAft>
            </a:pPr>
            <a:endParaRPr lang="da-DK" sz="900">
              <a:ea typeface="+mn-lt"/>
              <a:cs typeface="+mn-lt"/>
            </a:endParaRPr>
          </a:p>
        </p:txBody>
      </p:sp>
      <p:grpSp>
        <p:nvGrpSpPr>
          <p:cNvPr id="107" name="Group 106">
            <a:extLst>
              <a:ext uri="{FF2B5EF4-FFF2-40B4-BE49-F238E27FC236}">
                <a16:creationId xmlns:a16="http://schemas.microsoft.com/office/drawing/2014/main" id="{92D42926-B6F1-4419-ADB3-796122774C72}"/>
              </a:ext>
            </a:extLst>
          </p:cNvPr>
          <p:cNvGrpSpPr/>
          <p:nvPr/>
        </p:nvGrpSpPr>
        <p:grpSpPr>
          <a:xfrm>
            <a:off x="4912826" y="3317951"/>
            <a:ext cx="539252" cy="363445"/>
            <a:chOff x="8369950" y="3258829"/>
            <a:chExt cx="539252" cy="363445"/>
          </a:xfrm>
        </p:grpSpPr>
        <p:sp>
          <p:nvSpPr>
            <p:cNvPr id="114" name="Freeform: Shape 113">
              <a:extLst>
                <a:ext uri="{FF2B5EF4-FFF2-40B4-BE49-F238E27FC236}">
                  <a16:creationId xmlns:a16="http://schemas.microsoft.com/office/drawing/2014/main" id="{F819D267-2B4D-4C9F-8757-3CD00EB4626E}"/>
                </a:ext>
              </a:extLst>
            </p:cNvPr>
            <p:cNvSpPr/>
            <p:nvPr/>
          </p:nvSpPr>
          <p:spPr>
            <a:xfrm>
              <a:off x="8514055" y="3354374"/>
              <a:ext cx="304280" cy="242297"/>
            </a:xfrm>
            <a:custGeom>
              <a:avLst/>
              <a:gdLst>
                <a:gd name="connsiteX0" fmla="*/ 302735 w 304279"/>
                <a:gd name="connsiteY0" fmla="*/ 92094 h 242296"/>
                <a:gd name="connsiteX1" fmla="*/ 240189 w 304279"/>
                <a:gd name="connsiteY1" fmla="*/ 2500 h 242296"/>
                <a:gd name="connsiteX2" fmla="*/ 208634 w 304279"/>
                <a:gd name="connsiteY2" fmla="*/ 27857 h 242296"/>
                <a:gd name="connsiteX3" fmla="*/ 132001 w 304279"/>
                <a:gd name="connsiteY3" fmla="*/ 32928 h 242296"/>
                <a:gd name="connsiteX4" fmla="*/ 18177 w 304279"/>
                <a:gd name="connsiteY4" fmla="*/ 127593 h 242296"/>
                <a:gd name="connsiteX5" fmla="*/ 27194 w 304279"/>
                <a:gd name="connsiteY5" fmla="*/ 200282 h 242296"/>
                <a:gd name="connsiteX6" fmla="*/ 107208 w 304279"/>
                <a:gd name="connsiteY6" fmla="*/ 239162 h 242296"/>
                <a:gd name="connsiteX7" fmla="*/ 152286 w 304279"/>
                <a:gd name="connsiteY7" fmla="*/ 235218 h 242296"/>
                <a:gd name="connsiteX8" fmla="*/ 240189 w 304279"/>
                <a:gd name="connsiteY8" fmla="*/ 170417 h 242296"/>
                <a:gd name="connsiteX9" fmla="*/ 265546 w 304279"/>
                <a:gd name="connsiteY9" fmla="*/ 124776 h 242296"/>
                <a:gd name="connsiteX10" fmla="*/ 302735 w 304279"/>
                <a:gd name="connsiteY10" fmla="*/ 92094 h 24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4279" h="242296">
                  <a:moveTo>
                    <a:pt x="302735" y="92094"/>
                  </a:moveTo>
                  <a:lnTo>
                    <a:pt x="240189" y="2500"/>
                  </a:lnTo>
                  <a:lnTo>
                    <a:pt x="208634" y="27857"/>
                  </a:lnTo>
                  <a:cubicBezTo>
                    <a:pt x="184968" y="13770"/>
                    <a:pt x="154540" y="14897"/>
                    <a:pt x="132001" y="32928"/>
                  </a:cubicBezTo>
                  <a:lnTo>
                    <a:pt x="18177" y="127593"/>
                  </a:lnTo>
                  <a:cubicBezTo>
                    <a:pt x="-6052" y="147878"/>
                    <a:pt x="-1545" y="186758"/>
                    <a:pt x="27194" y="200282"/>
                  </a:cubicBezTo>
                  <a:lnTo>
                    <a:pt x="107208" y="239162"/>
                  </a:lnTo>
                  <a:cubicBezTo>
                    <a:pt x="121858" y="246487"/>
                    <a:pt x="139326" y="244797"/>
                    <a:pt x="152286" y="235218"/>
                  </a:cubicBezTo>
                  <a:lnTo>
                    <a:pt x="240189" y="170417"/>
                  </a:lnTo>
                  <a:cubicBezTo>
                    <a:pt x="254839" y="158584"/>
                    <a:pt x="263292" y="142243"/>
                    <a:pt x="265546" y="124776"/>
                  </a:cubicBezTo>
                  <a:lnTo>
                    <a:pt x="302735" y="92094"/>
                  </a:lnTo>
                  <a:close/>
                </a:path>
              </a:pathLst>
            </a:custGeom>
            <a:solidFill>
              <a:srgbClr val="8AA299"/>
            </a:solidFill>
            <a:ln w="5635" cap="flat">
              <a:noFill/>
              <a:prstDash val="solid"/>
              <a:miter/>
            </a:ln>
          </p:spPr>
          <p:txBody>
            <a:bodyPr rtlCol="0" anchor="ctr"/>
            <a:lstStyle/>
            <a:p>
              <a:endParaRPr lang="da-DK"/>
            </a:p>
          </p:txBody>
        </p:sp>
        <p:grpSp>
          <p:nvGrpSpPr>
            <p:cNvPr id="115" name="Group 114">
              <a:extLst>
                <a:ext uri="{FF2B5EF4-FFF2-40B4-BE49-F238E27FC236}">
                  <a16:creationId xmlns:a16="http://schemas.microsoft.com/office/drawing/2014/main" id="{553C218A-B93A-4987-B809-695466B5E8B4}"/>
                </a:ext>
              </a:extLst>
            </p:cNvPr>
            <p:cNvGrpSpPr/>
            <p:nvPr/>
          </p:nvGrpSpPr>
          <p:grpSpPr>
            <a:xfrm>
              <a:off x="8369950" y="3258829"/>
              <a:ext cx="539252" cy="363445"/>
              <a:chOff x="8369950" y="3258829"/>
              <a:chExt cx="539252" cy="363445"/>
            </a:xfrm>
          </p:grpSpPr>
          <p:sp>
            <p:nvSpPr>
              <p:cNvPr id="117" name="Freeform: Shape 116">
                <a:extLst>
                  <a:ext uri="{FF2B5EF4-FFF2-40B4-BE49-F238E27FC236}">
                    <a16:creationId xmlns:a16="http://schemas.microsoft.com/office/drawing/2014/main" id="{E6BE2A3B-B274-4482-80B9-EE09C463FA85}"/>
                  </a:ext>
                </a:extLst>
              </p:cNvPr>
              <p:cNvSpPr/>
              <p:nvPr/>
            </p:nvSpPr>
            <p:spPr>
              <a:xfrm>
                <a:off x="8492789" y="3311232"/>
                <a:ext cx="61983" cy="45078"/>
              </a:xfrm>
              <a:custGeom>
                <a:avLst/>
                <a:gdLst>
                  <a:gd name="connsiteX0" fmla="*/ 56912 w 61982"/>
                  <a:gd name="connsiteY0" fmla="*/ 38880 h 45078"/>
                  <a:gd name="connsiteX1" fmla="*/ 8452 w 61982"/>
                  <a:gd name="connsiteY1" fmla="*/ 8452 h 45078"/>
                </a:gdLst>
                <a:ahLst/>
                <a:cxnLst>
                  <a:cxn ang="0">
                    <a:pos x="connsiteX0" y="connsiteY0"/>
                  </a:cxn>
                  <a:cxn ang="0">
                    <a:pos x="connsiteX1" y="connsiteY1"/>
                  </a:cxn>
                </a:cxnLst>
                <a:rect l="l" t="t" r="r" b="b"/>
                <a:pathLst>
                  <a:path w="61982" h="45078">
                    <a:moveTo>
                      <a:pt x="56912" y="38880"/>
                    </a:moveTo>
                    <a:lnTo>
                      <a:pt x="8452" y="8452"/>
                    </a:lnTo>
                  </a:path>
                </a:pathLst>
              </a:custGeom>
              <a:ln w="12700" cap="rnd">
                <a:solidFill>
                  <a:srgbClr val="30373B"/>
                </a:solidFill>
                <a:prstDash val="solid"/>
                <a:round/>
              </a:ln>
            </p:spPr>
            <p:txBody>
              <a:bodyPr rtlCol="0" anchor="ctr"/>
              <a:lstStyle/>
              <a:p>
                <a:endParaRPr lang="da-DK"/>
              </a:p>
            </p:txBody>
          </p:sp>
          <p:sp>
            <p:nvSpPr>
              <p:cNvPr id="118" name="Freeform: Shape 117">
                <a:extLst>
                  <a:ext uri="{FF2B5EF4-FFF2-40B4-BE49-F238E27FC236}">
                    <a16:creationId xmlns:a16="http://schemas.microsoft.com/office/drawing/2014/main" id="{E9F2E253-E4A8-4920-9B92-5C3F4C8CEBE0}"/>
                  </a:ext>
                </a:extLst>
              </p:cNvPr>
              <p:cNvSpPr/>
              <p:nvPr/>
            </p:nvSpPr>
            <p:spPr>
              <a:xfrm>
                <a:off x="8541249" y="3335108"/>
                <a:ext cx="197218" cy="118331"/>
              </a:xfrm>
              <a:custGeom>
                <a:avLst/>
                <a:gdLst>
                  <a:gd name="connsiteX0" fmla="*/ 135799 w 197218"/>
                  <a:gd name="connsiteY0" fmla="*/ 110796 h 118331"/>
                  <a:gd name="connsiteX1" fmla="*/ 190456 w 197218"/>
                  <a:gd name="connsiteY1" fmla="*/ 98399 h 118331"/>
                  <a:gd name="connsiteX2" fmla="*/ 78323 w 197218"/>
                  <a:gd name="connsiteY2" fmla="*/ 20639 h 118331"/>
                  <a:gd name="connsiteX3" fmla="*/ 8452 w 197218"/>
                  <a:gd name="connsiteY3" fmla="*/ 15568 h 118331"/>
                </a:gdLst>
                <a:ahLst/>
                <a:cxnLst>
                  <a:cxn ang="0">
                    <a:pos x="connsiteX0" y="connsiteY0"/>
                  </a:cxn>
                  <a:cxn ang="0">
                    <a:pos x="connsiteX1" y="connsiteY1"/>
                  </a:cxn>
                  <a:cxn ang="0">
                    <a:pos x="connsiteX2" y="connsiteY2"/>
                  </a:cxn>
                  <a:cxn ang="0">
                    <a:pos x="connsiteX3" y="connsiteY3"/>
                  </a:cxn>
                </a:cxnLst>
                <a:rect l="l" t="t" r="r" b="b"/>
                <a:pathLst>
                  <a:path w="197218" h="118331">
                    <a:moveTo>
                      <a:pt x="135799" y="110796"/>
                    </a:moveTo>
                    <a:cubicBezTo>
                      <a:pt x="156084" y="118121"/>
                      <a:pt x="178060" y="116431"/>
                      <a:pt x="190456" y="98399"/>
                    </a:cubicBezTo>
                    <a:lnTo>
                      <a:pt x="78323" y="20639"/>
                    </a:lnTo>
                    <a:cubicBezTo>
                      <a:pt x="56911" y="5989"/>
                      <a:pt x="30427" y="4862"/>
                      <a:pt x="8452" y="15568"/>
                    </a:cubicBezTo>
                  </a:path>
                </a:pathLst>
              </a:custGeom>
              <a:noFill/>
              <a:ln w="12700" cap="rnd">
                <a:solidFill>
                  <a:srgbClr val="30373B"/>
                </a:solidFill>
                <a:prstDash val="solid"/>
                <a:round/>
              </a:ln>
            </p:spPr>
            <p:txBody>
              <a:bodyPr rtlCol="0" anchor="ctr"/>
              <a:lstStyle/>
              <a:p>
                <a:endParaRPr lang="da-DK"/>
              </a:p>
            </p:txBody>
          </p:sp>
          <p:sp>
            <p:nvSpPr>
              <p:cNvPr id="119" name="Freeform: Shape 118">
                <a:extLst>
                  <a:ext uri="{FF2B5EF4-FFF2-40B4-BE49-F238E27FC236}">
                    <a16:creationId xmlns:a16="http://schemas.microsoft.com/office/drawing/2014/main" id="{448CBD1F-B47A-4BD1-A1D2-279C78C80EE6}"/>
                  </a:ext>
                </a:extLst>
              </p:cNvPr>
              <p:cNvSpPr/>
              <p:nvPr/>
            </p:nvSpPr>
            <p:spPr>
              <a:xfrm>
                <a:off x="8422354" y="3431817"/>
                <a:ext cx="112696" cy="101427"/>
              </a:xfrm>
              <a:custGeom>
                <a:avLst/>
                <a:gdLst>
                  <a:gd name="connsiteX0" fmla="*/ 109315 w 112696"/>
                  <a:gd name="connsiteY0" fmla="*/ 97482 h 101426"/>
                  <a:gd name="connsiteX1" fmla="*/ 94665 w 112696"/>
                  <a:gd name="connsiteY1" fmla="*/ 88467 h 101426"/>
                  <a:gd name="connsiteX2" fmla="*/ 62547 w 112696"/>
                  <a:gd name="connsiteY2" fmla="*/ 41134 h 101426"/>
                  <a:gd name="connsiteX3" fmla="*/ 8452 w 112696"/>
                  <a:gd name="connsiteY3" fmla="*/ 8452 h 101426"/>
                </a:gdLst>
                <a:ahLst/>
                <a:cxnLst>
                  <a:cxn ang="0">
                    <a:pos x="connsiteX0" y="connsiteY0"/>
                  </a:cxn>
                  <a:cxn ang="0">
                    <a:pos x="connsiteX1" y="connsiteY1"/>
                  </a:cxn>
                  <a:cxn ang="0">
                    <a:pos x="connsiteX2" y="connsiteY2"/>
                  </a:cxn>
                  <a:cxn ang="0">
                    <a:pos x="connsiteX3" y="connsiteY3"/>
                  </a:cxn>
                </a:cxnLst>
                <a:rect l="l" t="t" r="r" b="b"/>
                <a:pathLst>
                  <a:path w="112696" h="101426">
                    <a:moveTo>
                      <a:pt x="109315" y="97482"/>
                    </a:moveTo>
                    <a:lnTo>
                      <a:pt x="94665" y="88467"/>
                    </a:lnTo>
                    <a:cubicBezTo>
                      <a:pt x="77197" y="77760"/>
                      <a:pt x="65928" y="60292"/>
                      <a:pt x="62547" y="41134"/>
                    </a:cubicBezTo>
                    <a:lnTo>
                      <a:pt x="8452" y="8452"/>
                    </a:lnTo>
                  </a:path>
                </a:pathLst>
              </a:custGeom>
              <a:noFill/>
              <a:ln w="12700" cap="rnd">
                <a:solidFill>
                  <a:srgbClr val="30373B"/>
                </a:solidFill>
                <a:prstDash val="solid"/>
                <a:round/>
              </a:ln>
            </p:spPr>
            <p:txBody>
              <a:bodyPr rtlCol="0" anchor="ctr"/>
              <a:lstStyle/>
              <a:p>
                <a:endParaRPr lang="da-DK"/>
              </a:p>
            </p:txBody>
          </p:sp>
          <p:sp>
            <p:nvSpPr>
              <p:cNvPr id="120" name="Freeform: Shape 119">
                <a:extLst>
                  <a:ext uri="{FF2B5EF4-FFF2-40B4-BE49-F238E27FC236}">
                    <a16:creationId xmlns:a16="http://schemas.microsoft.com/office/drawing/2014/main" id="{AF1FAD34-3B7B-4AD9-A3B9-ED32062CF1AE}"/>
                  </a:ext>
                </a:extLst>
              </p:cNvPr>
              <p:cNvSpPr/>
              <p:nvPr/>
            </p:nvSpPr>
            <p:spPr>
              <a:xfrm>
                <a:off x="8735086" y="3346168"/>
                <a:ext cx="50713" cy="39444"/>
              </a:xfrm>
              <a:custGeom>
                <a:avLst/>
                <a:gdLst>
                  <a:gd name="connsiteX0" fmla="*/ 8452 w 50713"/>
                  <a:gd name="connsiteY0" fmla="*/ 34372 h 39443"/>
                  <a:gd name="connsiteX1" fmla="*/ 42825 w 50713"/>
                  <a:gd name="connsiteY1" fmla="*/ 8452 h 39443"/>
                </a:gdLst>
                <a:ahLst/>
                <a:cxnLst>
                  <a:cxn ang="0">
                    <a:pos x="connsiteX0" y="connsiteY0"/>
                  </a:cxn>
                  <a:cxn ang="0">
                    <a:pos x="connsiteX1" y="connsiteY1"/>
                  </a:cxn>
                </a:cxnLst>
                <a:rect l="l" t="t" r="r" b="b"/>
                <a:pathLst>
                  <a:path w="50713" h="39443">
                    <a:moveTo>
                      <a:pt x="8452" y="34372"/>
                    </a:moveTo>
                    <a:lnTo>
                      <a:pt x="42825" y="8452"/>
                    </a:lnTo>
                  </a:path>
                </a:pathLst>
              </a:custGeom>
              <a:ln w="12700" cap="rnd">
                <a:solidFill>
                  <a:srgbClr val="30373B"/>
                </a:solidFill>
                <a:prstDash val="solid"/>
                <a:round/>
              </a:ln>
            </p:spPr>
            <p:txBody>
              <a:bodyPr rtlCol="0" anchor="ctr"/>
              <a:lstStyle/>
              <a:p>
                <a:endParaRPr lang="da-DK"/>
              </a:p>
            </p:txBody>
          </p:sp>
          <p:sp>
            <p:nvSpPr>
              <p:cNvPr id="121" name="Freeform: Shape 120">
                <a:extLst>
                  <a:ext uri="{FF2B5EF4-FFF2-40B4-BE49-F238E27FC236}">
                    <a16:creationId xmlns:a16="http://schemas.microsoft.com/office/drawing/2014/main" id="{BF07C98A-1D60-414D-B284-B30D406DFDC1}"/>
                  </a:ext>
                </a:extLst>
              </p:cNvPr>
              <p:cNvSpPr/>
              <p:nvPr/>
            </p:nvSpPr>
            <p:spPr>
              <a:xfrm>
                <a:off x="8655635" y="3361887"/>
                <a:ext cx="95792" cy="28174"/>
              </a:xfrm>
              <a:custGeom>
                <a:avLst/>
                <a:gdLst>
                  <a:gd name="connsiteX0" fmla="*/ 8452 w 95791"/>
                  <a:gd name="connsiteY0" fmla="*/ 22035 h 28174"/>
                  <a:gd name="connsiteX1" fmla="*/ 87903 w 95791"/>
                  <a:gd name="connsiteY1" fmla="*/ 18654 h 28174"/>
                </a:gdLst>
                <a:ahLst/>
                <a:cxnLst>
                  <a:cxn ang="0">
                    <a:pos x="connsiteX0" y="connsiteY0"/>
                  </a:cxn>
                  <a:cxn ang="0">
                    <a:pos x="connsiteX1" y="connsiteY1"/>
                  </a:cxn>
                </a:cxnLst>
                <a:rect l="l" t="t" r="r" b="b"/>
                <a:pathLst>
                  <a:path w="95791" h="28174">
                    <a:moveTo>
                      <a:pt x="8452" y="22035"/>
                    </a:moveTo>
                    <a:cubicBezTo>
                      <a:pt x="34372" y="623"/>
                      <a:pt x="74380" y="8511"/>
                      <a:pt x="87903" y="18654"/>
                    </a:cubicBezTo>
                  </a:path>
                </a:pathLst>
              </a:custGeom>
              <a:noFill/>
              <a:ln w="12700" cap="rnd">
                <a:solidFill>
                  <a:srgbClr val="30373B"/>
                </a:solidFill>
                <a:prstDash val="solid"/>
                <a:round/>
              </a:ln>
            </p:spPr>
            <p:txBody>
              <a:bodyPr rtlCol="0" anchor="ctr"/>
              <a:lstStyle/>
              <a:p>
                <a:endParaRPr lang="da-DK"/>
              </a:p>
            </p:txBody>
          </p:sp>
          <p:sp>
            <p:nvSpPr>
              <p:cNvPr id="125" name="Freeform: Shape 124">
                <a:extLst>
                  <a:ext uri="{FF2B5EF4-FFF2-40B4-BE49-F238E27FC236}">
                    <a16:creationId xmlns:a16="http://schemas.microsoft.com/office/drawing/2014/main" id="{ED5DAD3B-9CD0-4A98-9D5B-65816DD9A502}"/>
                  </a:ext>
                </a:extLst>
              </p:cNvPr>
              <p:cNvSpPr/>
              <p:nvPr/>
            </p:nvSpPr>
            <p:spPr>
              <a:xfrm>
                <a:off x="8638584" y="3441960"/>
                <a:ext cx="214123" cy="180314"/>
              </a:xfrm>
              <a:custGeom>
                <a:avLst/>
                <a:gdLst>
                  <a:gd name="connsiteX0" fmla="*/ 208635 w 214122"/>
                  <a:gd name="connsiteY0" fmla="*/ 8452 h 180313"/>
                  <a:gd name="connsiteX1" fmla="*/ 168065 w 214122"/>
                  <a:gd name="connsiteY1" fmla="*/ 38880 h 180313"/>
                  <a:gd name="connsiteX2" fmla="*/ 142708 w 214122"/>
                  <a:gd name="connsiteY2" fmla="*/ 90157 h 180313"/>
                  <a:gd name="connsiteX3" fmla="*/ 66638 w 214122"/>
                  <a:gd name="connsiteY3" fmla="*/ 151013 h 180313"/>
                  <a:gd name="connsiteX4" fmla="*/ 52551 w 214122"/>
                  <a:gd name="connsiteY4" fmla="*/ 162846 h 180313"/>
                  <a:gd name="connsiteX5" fmla="*/ 41845 w 214122"/>
                  <a:gd name="connsiteY5" fmla="*/ 171298 h 180313"/>
                  <a:gd name="connsiteX6" fmla="*/ 15361 w 214122"/>
                  <a:gd name="connsiteY6" fmla="*/ 171862 h 180313"/>
                  <a:gd name="connsiteX7" fmla="*/ 15925 w 214122"/>
                  <a:gd name="connsiteY7" fmla="*/ 141434 h 1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122" h="180313">
                    <a:moveTo>
                      <a:pt x="208635" y="8452"/>
                    </a:moveTo>
                    <a:lnTo>
                      <a:pt x="168065" y="38880"/>
                    </a:lnTo>
                    <a:cubicBezTo>
                      <a:pt x="167501" y="58039"/>
                      <a:pt x="158485" y="76633"/>
                      <a:pt x="142708" y="90157"/>
                    </a:cubicBezTo>
                    <a:lnTo>
                      <a:pt x="66638" y="151013"/>
                    </a:lnTo>
                    <a:lnTo>
                      <a:pt x="52551" y="162846"/>
                    </a:lnTo>
                    <a:lnTo>
                      <a:pt x="41845" y="171298"/>
                    </a:lnTo>
                    <a:cubicBezTo>
                      <a:pt x="33956" y="177497"/>
                      <a:pt x="22686" y="178060"/>
                      <a:pt x="15361" y="171862"/>
                    </a:cubicBezTo>
                    <a:cubicBezTo>
                      <a:pt x="5782" y="163410"/>
                      <a:pt x="6345" y="148759"/>
                      <a:pt x="15925" y="141434"/>
                    </a:cubicBezTo>
                  </a:path>
                </a:pathLst>
              </a:custGeom>
              <a:noFill/>
              <a:ln w="12700" cap="rnd">
                <a:solidFill>
                  <a:srgbClr val="30373B"/>
                </a:solidFill>
                <a:prstDash val="solid"/>
                <a:round/>
              </a:ln>
            </p:spPr>
            <p:txBody>
              <a:bodyPr rtlCol="0" anchor="ctr"/>
              <a:lstStyle/>
              <a:p>
                <a:endParaRPr lang="da-DK"/>
              </a:p>
            </p:txBody>
          </p:sp>
          <p:sp>
            <p:nvSpPr>
              <p:cNvPr id="126" name="Freeform: Shape 125">
                <a:extLst>
                  <a:ext uri="{FF2B5EF4-FFF2-40B4-BE49-F238E27FC236}">
                    <a16:creationId xmlns:a16="http://schemas.microsoft.com/office/drawing/2014/main" id="{46FB33A2-E610-4044-B348-90A8A6CD8A40}"/>
                  </a:ext>
                </a:extLst>
              </p:cNvPr>
              <p:cNvSpPr/>
              <p:nvPr/>
            </p:nvSpPr>
            <p:spPr>
              <a:xfrm>
                <a:off x="8525554" y="3427310"/>
                <a:ext cx="123966" cy="135235"/>
              </a:xfrm>
              <a:custGeom>
                <a:avLst/>
                <a:gdLst>
                  <a:gd name="connsiteX0" fmla="*/ 113740 w 123965"/>
                  <a:gd name="connsiteY0" fmla="*/ 67054 h 135235"/>
                  <a:gd name="connsiteX1" fmla="*/ 42178 w 123965"/>
                  <a:gd name="connsiteY1" fmla="*/ 122839 h 135235"/>
                  <a:gd name="connsiteX2" fmla="*/ 40487 w 123965"/>
                  <a:gd name="connsiteY2" fmla="*/ 123966 h 135235"/>
                  <a:gd name="connsiteX3" fmla="*/ 10623 w 123965"/>
                  <a:gd name="connsiteY3" fmla="*/ 117768 h 135235"/>
                  <a:gd name="connsiteX4" fmla="*/ 16258 w 123965"/>
                  <a:gd name="connsiteY4" fmla="*/ 91847 h 135235"/>
                  <a:gd name="connsiteX5" fmla="*/ 121065 w 123965"/>
                  <a:gd name="connsiteY5" fmla="*/ 8452 h 135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965" h="135235">
                    <a:moveTo>
                      <a:pt x="113740" y="67054"/>
                    </a:moveTo>
                    <a:lnTo>
                      <a:pt x="42178" y="122839"/>
                    </a:lnTo>
                    <a:lnTo>
                      <a:pt x="40487" y="123966"/>
                    </a:lnTo>
                    <a:cubicBezTo>
                      <a:pt x="30908" y="131855"/>
                      <a:pt x="16821" y="129037"/>
                      <a:pt x="10623" y="117768"/>
                    </a:cubicBezTo>
                    <a:cubicBezTo>
                      <a:pt x="6115" y="109315"/>
                      <a:pt x="8933" y="98046"/>
                      <a:pt x="16258" y="91847"/>
                    </a:cubicBezTo>
                    <a:lnTo>
                      <a:pt x="121065" y="8452"/>
                    </a:lnTo>
                  </a:path>
                </a:pathLst>
              </a:custGeom>
              <a:noFill/>
              <a:ln w="12700" cap="rnd">
                <a:solidFill>
                  <a:srgbClr val="30373B"/>
                </a:solidFill>
                <a:prstDash val="solid"/>
                <a:round/>
              </a:ln>
            </p:spPr>
            <p:txBody>
              <a:bodyPr rtlCol="0" anchor="ctr"/>
              <a:lstStyle/>
              <a:p>
                <a:endParaRPr lang="da-DK"/>
              </a:p>
            </p:txBody>
          </p:sp>
          <p:sp>
            <p:nvSpPr>
              <p:cNvPr id="130" name="Freeform: Shape 129">
                <a:extLst>
                  <a:ext uri="{FF2B5EF4-FFF2-40B4-BE49-F238E27FC236}">
                    <a16:creationId xmlns:a16="http://schemas.microsoft.com/office/drawing/2014/main" id="{BF1DBDA3-39E2-40C4-A1FF-86E8E280C37A}"/>
                  </a:ext>
                </a:extLst>
              </p:cNvPr>
              <p:cNvSpPr/>
              <p:nvPr/>
            </p:nvSpPr>
            <p:spPr>
              <a:xfrm>
                <a:off x="8562025" y="3508451"/>
                <a:ext cx="118331" cy="73253"/>
              </a:xfrm>
              <a:custGeom>
                <a:avLst/>
                <a:gdLst>
                  <a:gd name="connsiteX0" fmla="*/ 112768 w 118331"/>
                  <a:gd name="connsiteY0" fmla="*/ 8452 h 73252"/>
                  <a:gd name="connsiteX1" fmla="*/ 41770 w 118331"/>
                  <a:gd name="connsiteY1" fmla="*/ 64237 h 73252"/>
                  <a:gd name="connsiteX2" fmla="*/ 41770 w 118331"/>
                  <a:gd name="connsiteY2" fmla="*/ 64237 h 73252"/>
                  <a:gd name="connsiteX3" fmla="*/ 15850 w 118331"/>
                  <a:gd name="connsiteY3" fmla="*/ 64800 h 73252"/>
                  <a:gd name="connsiteX4" fmla="*/ 15850 w 118331"/>
                  <a:gd name="connsiteY4" fmla="*/ 33809 h 73252"/>
                  <a:gd name="connsiteX5" fmla="*/ 16413 w 118331"/>
                  <a:gd name="connsiteY5" fmla="*/ 33245 h 73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331" h="73252">
                    <a:moveTo>
                      <a:pt x="112768" y="8452"/>
                    </a:moveTo>
                    <a:lnTo>
                      <a:pt x="41770" y="64237"/>
                    </a:lnTo>
                    <a:lnTo>
                      <a:pt x="41770" y="64237"/>
                    </a:lnTo>
                    <a:cubicBezTo>
                      <a:pt x="34444" y="70435"/>
                      <a:pt x="23175" y="70999"/>
                      <a:pt x="15850" y="64800"/>
                    </a:cubicBezTo>
                    <a:cubicBezTo>
                      <a:pt x="5707" y="56348"/>
                      <a:pt x="6270" y="41698"/>
                      <a:pt x="15850" y="33809"/>
                    </a:cubicBezTo>
                    <a:lnTo>
                      <a:pt x="16413" y="33245"/>
                    </a:lnTo>
                  </a:path>
                </a:pathLst>
              </a:custGeom>
              <a:noFill/>
              <a:ln w="12700" cap="rnd">
                <a:solidFill>
                  <a:srgbClr val="30373B"/>
                </a:solidFill>
                <a:prstDash val="solid"/>
                <a:round/>
              </a:ln>
            </p:spPr>
            <p:txBody>
              <a:bodyPr rtlCol="0" anchor="ctr"/>
              <a:lstStyle/>
              <a:p>
                <a:endParaRPr lang="da-DK"/>
              </a:p>
            </p:txBody>
          </p:sp>
          <p:sp>
            <p:nvSpPr>
              <p:cNvPr id="131" name="Freeform: Shape 130">
                <a:extLst>
                  <a:ext uri="{FF2B5EF4-FFF2-40B4-BE49-F238E27FC236}">
                    <a16:creationId xmlns:a16="http://schemas.microsoft.com/office/drawing/2014/main" id="{A5A9E378-2E2C-4749-AE1A-5D8961C3C1F6}"/>
                  </a:ext>
                </a:extLst>
              </p:cNvPr>
              <p:cNvSpPr/>
              <p:nvPr/>
            </p:nvSpPr>
            <p:spPr>
              <a:xfrm>
                <a:off x="8600342" y="3529300"/>
                <a:ext cx="118331" cy="73253"/>
              </a:xfrm>
              <a:custGeom>
                <a:avLst/>
                <a:gdLst>
                  <a:gd name="connsiteX0" fmla="*/ 112204 w 118331"/>
                  <a:gd name="connsiteY0" fmla="*/ 8452 h 73252"/>
                  <a:gd name="connsiteX1" fmla="*/ 41769 w 118331"/>
                  <a:gd name="connsiteY1" fmla="*/ 63673 h 73252"/>
                  <a:gd name="connsiteX2" fmla="*/ 41769 w 118331"/>
                  <a:gd name="connsiteY2" fmla="*/ 63673 h 73252"/>
                  <a:gd name="connsiteX3" fmla="*/ 41769 w 118331"/>
                  <a:gd name="connsiteY3" fmla="*/ 63673 h 73252"/>
                  <a:gd name="connsiteX4" fmla="*/ 15849 w 118331"/>
                  <a:gd name="connsiteY4" fmla="*/ 64237 h 73252"/>
                  <a:gd name="connsiteX5" fmla="*/ 15849 w 118331"/>
                  <a:gd name="connsiteY5" fmla="*/ 33245 h 73252"/>
                  <a:gd name="connsiteX6" fmla="*/ 15849 w 118331"/>
                  <a:gd name="connsiteY6" fmla="*/ 33245 h 73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331" h="73252">
                    <a:moveTo>
                      <a:pt x="112204" y="8452"/>
                    </a:moveTo>
                    <a:lnTo>
                      <a:pt x="41769" y="63673"/>
                    </a:lnTo>
                    <a:lnTo>
                      <a:pt x="41769" y="63673"/>
                    </a:lnTo>
                    <a:lnTo>
                      <a:pt x="41769" y="63673"/>
                    </a:lnTo>
                    <a:cubicBezTo>
                      <a:pt x="34444" y="69872"/>
                      <a:pt x="23175" y="70435"/>
                      <a:pt x="15849" y="64237"/>
                    </a:cubicBezTo>
                    <a:cubicBezTo>
                      <a:pt x="5707" y="55785"/>
                      <a:pt x="6270" y="41134"/>
                      <a:pt x="15849" y="33245"/>
                    </a:cubicBezTo>
                    <a:lnTo>
                      <a:pt x="15849" y="33245"/>
                    </a:lnTo>
                  </a:path>
                </a:pathLst>
              </a:custGeom>
              <a:noFill/>
              <a:ln w="12700" cap="rnd">
                <a:solidFill>
                  <a:srgbClr val="30373B"/>
                </a:solidFill>
                <a:prstDash val="solid"/>
                <a:round/>
              </a:ln>
            </p:spPr>
            <p:txBody>
              <a:bodyPr rtlCol="0" anchor="ctr"/>
              <a:lstStyle/>
              <a:p>
                <a:endParaRPr lang="da-DK"/>
              </a:p>
            </p:txBody>
          </p:sp>
          <p:sp>
            <p:nvSpPr>
              <p:cNvPr id="132" name="Freeform: Shape 131">
                <a:extLst>
                  <a:ext uri="{FF2B5EF4-FFF2-40B4-BE49-F238E27FC236}">
                    <a16:creationId xmlns:a16="http://schemas.microsoft.com/office/drawing/2014/main" id="{A2C80B73-F9EF-4BD9-B95A-D169A27AFCF2}"/>
                  </a:ext>
                </a:extLst>
              </p:cNvPr>
              <p:cNvSpPr/>
              <p:nvPr/>
            </p:nvSpPr>
            <p:spPr>
              <a:xfrm>
                <a:off x="8369950" y="3259956"/>
                <a:ext cx="146505" cy="208488"/>
              </a:xfrm>
              <a:custGeom>
                <a:avLst/>
                <a:gdLst>
                  <a:gd name="connsiteX0" fmla="*/ 8452 w 146505"/>
                  <a:gd name="connsiteY0" fmla="*/ 179751 h 208488"/>
                  <a:gd name="connsiteX1" fmla="*/ 46205 w 146505"/>
                  <a:gd name="connsiteY1" fmla="*/ 202853 h 208488"/>
                  <a:gd name="connsiteX2" fmla="*/ 138053 w 146505"/>
                  <a:gd name="connsiteY2" fmla="*/ 43952 h 208488"/>
                  <a:gd name="connsiteX3" fmla="*/ 79451 w 146505"/>
                  <a:gd name="connsiteY3" fmla="*/ 8452 h 208488"/>
                </a:gdLst>
                <a:ahLst/>
                <a:cxnLst>
                  <a:cxn ang="0">
                    <a:pos x="connsiteX0" y="connsiteY0"/>
                  </a:cxn>
                  <a:cxn ang="0">
                    <a:pos x="connsiteX1" y="connsiteY1"/>
                  </a:cxn>
                  <a:cxn ang="0">
                    <a:pos x="connsiteX2" y="connsiteY2"/>
                  </a:cxn>
                  <a:cxn ang="0">
                    <a:pos x="connsiteX3" y="connsiteY3"/>
                  </a:cxn>
                </a:cxnLst>
                <a:rect l="l" t="t" r="r" b="b"/>
                <a:pathLst>
                  <a:path w="146505" h="208488">
                    <a:moveTo>
                      <a:pt x="8452" y="179751"/>
                    </a:moveTo>
                    <a:lnTo>
                      <a:pt x="46205" y="202853"/>
                    </a:lnTo>
                    <a:lnTo>
                      <a:pt x="138053" y="43952"/>
                    </a:lnTo>
                    <a:lnTo>
                      <a:pt x="79451" y="8452"/>
                    </a:lnTo>
                  </a:path>
                </a:pathLst>
              </a:custGeom>
              <a:noFill/>
              <a:ln w="12700" cap="rnd">
                <a:solidFill>
                  <a:srgbClr val="30373B"/>
                </a:solidFill>
                <a:prstDash val="solid"/>
                <a:round/>
              </a:ln>
            </p:spPr>
            <p:txBody>
              <a:bodyPr rtlCol="0" anchor="ctr"/>
              <a:lstStyle/>
              <a:p>
                <a:endParaRPr lang="da-DK"/>
              </a:p>
            </p:txBody>
          </p:sp>
          <p:sp>
            <p:nvSpPr>
              <p:cNvPr id="133" name="Freeform: Shape 132">
                <a:extLst>
                  <a:ext uri="{FF2B5EF4-FFF2-40B4-BE49-F238E27FC236}">
                    <a16:creationId xmlns:a16="http://schemas.microsoft.com/office/drawing/2014/main" id="{30564690-3E70-4C24-BE7A-F9076259D2EB}"/>
                  </a:ext>
                </a:extLst>
              </p:cNvPr>
              <p:cNvSpPr/>
              <p:nvPr/>
            </p:nvSpPr>
            <p:spPr>
              <a:xfrm>
                <a:off x="8751427" y="3258829"/>
                <a:ext cx="157775" cy="225392"/>
              </a:xfrm>
              <a:custGeom>
                <a:avLst/>
                <a:gdLst>
                  <a:gd name="connsiteX0" fmla="*/ 151577 w 157774"/>
                  <a:gd name="connsiteY0" fmla="*/ 190457 h 225392"/>
                  <a:gd name="connsiteX1" fmla="*/ 115514 w 157774"/>
                  <a:gd name="connsiteY1" fmla="*/ 217504 h 225392"/>
                  <a:gd name="connsiteX2" fmla="*/ 8452 w 157774"/>
                  <a:gd name="connsiteY2" fmla="*/ 68745 h 225392"/>
                  <a:gd name="connsiteX3" fmla="*/ 89030 w 157774"/>
                  <a:gd name="connsiteY3" fmla="*/ 8452 h 225392"/>
                </a:gdLst>
                <a:ahLst/>
                <a:cxnLst>
                  <a:cxn ang="0">
                    <a:pos x="connsiteX0" y="connsiteY0"/>
                  </a:cxn>
                  <a:cxn ang="0">
                    <a:pos x="connsiteX1" y="connsiteY1"/>
                  </a:cxn>
                  <a:cxn ang="0">
                    <a:pos x="connsiteX2" y="connsiteY2"/>
                  </a:cxn>
                  <a:cxn ang="0">
                    <a:pos x="connsiteX3" y="connsiteY3"/>
                  </a:cxn>
                </a:cxnLst>
                <a:rect l="l" t="t" r="r" b="b"/>
                <a:pathLst>
                  <a:path w="157774" h="225392">
                    <a:moveTo>
                      <a:pt x="151577" y="190457"/>
                    </a:moveTo>
                    <a:lnTo>
                      <a:pt x="115514" y="217504"/>
                    </a:lnTo>
                    <a:lnTo>
                      <a:pt x="8452" y="68745"/>
                    </a:lnTo>
                    <a:lnTo>
                      <a:pt x="89030" y="8452"/>
                    </a:lnTo>
                  </a:path>
                </a:pathLst>
              </a:custGeom>
              <a:noFill/>
              <a:ln w="12700" cap="rnd">
                <a:solidFill>
                  <a:srgbClr val="30373B"/>
                </a:solidFill>
                <a:prstDash val="solid"/>
                <a:round/>
              </a:ln>
            </p:spPr>
            <p:txBody>
              <a:bodyPr rtlCol="0" anchor="ctr"/>
              <a:lstStyle/>
              <a:p>
                <a:endParaRPr lang="da-DK"/>
              </a:p>
            </p:txBody>
          </p:sp>
          <p:sp>
            <p:nvSpPr>
              <p:cNvPr id="134" name="Freeform: Shape 133">
                <a:extLst>
                  <a:ext uri="{FF2B5EF4-FFF2-40B4-BE49-F238E27FC236}">
                    <a16:creationId xmlns:a16="http://schemas.microsoft.com/office/drawing/2014/main" id="{5E183F35-BAA1-45FA-9599-9D19BDE5B2F0}"/>
                  </a:ext>
                </a:extLst>
              </p:cNvPr>
              <p:cNvSpPr/>
              <p:nvPr/>
            </p:nvSpPr>
            <p:spPr>
              <a:xfrm>
                <a:off x="8790871" y="3297709"/>
                <a:ext cx="90157" cy="118331"/>
              </a:xfrm>
              <a:custGeom>
                <a:avLst/>
                <a:gdLst>
                  <a:gd name="connsiteX0" fmla="*/ 82832 w 90156"/>
                  <a:gd name="connsiteY0" fmla="*/ 112133 h 118331"/>
                  <a:gd name="connsiteX1" fmla="*/ 8452 w 90156"/>
                  <a:gd name="connsiteY1" fmla="*/ 8452 h 118331"/>
                </a:gdLst>
                <a:ahLst/>
                <a:cxnLst>
                  <a:cxn ang="0">
                    <a:pos x="connsiteX0" y="connsiteY0"/>
                  </a:cxn>
                  <a:cxn ang="0">
                    <a:pos x="connsiteX1" y="connsiteY1"/>
                  </a:cxn>
                </a:cxnLst>
                <a:rect l="l" t="t" r="r" b="b"/>
                <a:pathLst>
                  <a:path w="90156" h="118331">
                    <a:moveTo>
                      <a:pt x="82832" y="112133"/>
                    </a:moveTo>
                    <a:lnTo>
                      <a:pt x="8452" y="8452"/>
                    </a:lnTo>
                  </a:path>
                </a:pathLst>
              </a:custGeom>
              <a:ln w="12700" cap="rnd">
                <a:solidFill>
                  <a:srgbClr val="30373B"/>
                </a:solidFill>
                <a:prstDash val="solid"/>
                <a:round/>
              </a:ln>
            </p:spPr>
            <p:txBody>
              <a:bodyPr rtlCol="0" anchor="ctr"/>
              <a:lstStyle/>
              <a:p>
                <a:endParaRPr lang="da-DK"/>
              </a:p>
            </p:txBody>
          </p:sp>
        </p:grpSp>
      </p:grpSp>
      <p:grpSp>
        <p:nvGrpSpPr>
          <p:cNvPr id="135" name="Group 134">
            <a:extLst>
              <a:ext uri="{FF2B5EF4-FFF2-40B4-BE49-F238E27FC236}">
                <a16:creationId xmlns:a16="http://schemas.microsoft.com/office/drawing/2014/main" id="{B5D58305-E08E-4FEF-AC87-EF6359E71C9B}"/>
              </a:ext>
            </a:extLst>
          </p:cNvPr>
          <p:cNvGrpSpPr/>
          <p:nvPr/>
        </p:nvGrpSpPr>
        <p:grpSpPr>
          <a:xfrm>
            <a:off x="1079582" y="4750595"/>
            <a:ext cx="543015" cy="586629"/>
            <a:chOff x="-8452" y="3161346"/>
            <a:chExt cx="420921" cy="454729"/>
          </a:xfrm>
        </p:grpSpPr>
        <p:sp>
          <p:nvSpPr>
            <p:cNvPr id="136" name="Freeform: Shape 135">
              <a:extLst>
                <a:ext uri="{FF2B5EF4-FFF2-40B4-BE49-F238E27FC236}">
                  <a16:creationId xmlns:a16="http://schemas.microsoft.com/office/drawing/2014/main" id="{EFE83762-1F83-42E1-97B7-910B909D0C40}"/>
                </a:ext>
              </a:extLst>
            </p:cNvPr>
            <p:cNvSpPr/>
            <p:nvPr/>
          </p:nvSpPr>
          <p:spPr>
            <a:xfrm>
              <a:off x="87093" y="3393254"/>
              <a:ext cx="304280" cy="219758"/>
            </a:xfrm>
            <a:custGeom>
              <a:avLst/>
              <a:gdLst>
                <a:gd name="connsiteX0" fmla="*/ 264519 w 304279"/>
                <a:gd name="connsiteY0" fmla="*/ 220567 h 219757"/>
                <a:gd name="connsiteX1" fmla="*/ 43634 w 304279"/>
                <a:gd name="connsiteY1" fmla="*/ 220567 h 219757"/>
                <a:gd name="connsiteX2" fmla="*/ 2500 w 304279"/>
                <a:gd name="connsiteY2" fmla="*/ 179433 h 219757"/>
                <a:gd name="connsiteX3" fmla="*/ 2500 w 304279"/>
                <a:gd name="connsiteY3" fmla="*/ 43634 h 219757"/>
                <a:gd name="connsiteX4" fmla="*/ 43634 w 304279"/>
                <a:gd name="connsiteY4" fmla="*/ 2500 h 219757"/>
                <a:gd name="connsiteX5" fmla="*/ 264519 w 304279"/>
                <a:gd name="connsiteY5" fmla="*/ 2500 h 219757"/>
                <a:gd name="connsiteX6" fmla="*/ 305653 w 304279"/>
                <a:gd name="connsiteY6" fmla="*/ 43634 h 219757"/>
                <a:gd name="connsiteX7" fmla="*/ 305653 w 304279"/>
                <a:gd name="connsiteY7" fmla="*/ 179997 h 219757"/>
                <a:gd name="connsiteX8" fmla="*/ 264519 w 304279"/>
                <a:gd name="connsiteY8" fmla="*/ 220567 h 21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4279" h="219757">
                  <a:moveTo>
                    <a:pt x="264519" y="220567"/>
                  </a:moveTo>
                  <a:lnTo>
                    <a:pt x="43634" y="220567"/>
                  </a:lnTo>
                  <a:cubicBezTo>
                    <a:pt x="21095" y="220567"/>
                    <a:pt x="2500" y="201973"/>
                    <a:pt x="2500" y="179433"/>
                  </a:cubicBezTo>
                  <a:lnTo>
                    <a:pt x="2500" y="43634"/>
                  </a:lnTo>
                  <a:cubicBezTo>
                    <a:pt x="2500" y="21095"/>
                    <a:pt x="21095" y="2500"/>
                    <a:pt x="43634" y="2500"/>
                  </a:cubicBezTo>
                  <a:lnTo>
                    <a:pt x="264519" y="2500"/>
                  </a:lnTo>
                  <a:cubicBezTo>
                    <a:pt x="287058" y="2500"/>
                    <a:pt x="305653" y="21095"/>
                    <a:pt x="305653" y="43634"/>
                  </a:cubicBezTo>
                  <a:lnTo>
                    <a:pt x="305653" y="179997"/>
                  </a:lnTo>
                  <a:cubicBezTo>
                    <a:pt x="305090" y="202536"/>
                    <a:pt x="287058" y="220567"/>
                    <a:pt x="264519" y="220567"/>
                  </a:cubicBezTo>
                  <a:close/>
                </a:path>
              </a:pathLst>
            </a:custGeom>
            <a:solidFill>
              <a:srgbClr val="8AA299"/>
            </a:solidFill>
            <a:ln w="5635" cap="flat">
              <a:noFill/>
              <a:prstDash val="solid"/>
              <a:miter/>
            </a:ln>
          </p:spPr>
          <p:txBody>
            <a:bodyPr rtlCol="0" anchor="ctr"/>
            <a:lstStyle/>
            <a:p>
              <a:endParaRPr lang="da-DK"/>
            </a:p>
          </p:txBody>
        </p:sp>
        <p:grpSp>
          <p:nvGrpSpPr>
            <p:cNvPr id="137" name="Group 136">
              <a:extLst>
                <a:ext uri="{FF2B5EF4-FFF2-40B4-BE49-F238E27FC236}">
                  <a16:creationId xmlns:a16="http://schemas.microsoft.com/office/drawing/2014/main" id="{2D0EA622-68A4-478A-9E84-378C51E44195}"/>
                </a:ext>
              </a:extLst>
            </p:cNvPr>
            <p:cNvGrpSpPr/>
            <p:nvPr/>
          </p:nvGrpSpPr>
          <p:grpSpPr>
            <a:xfrm>
              <a:off x="-8452" y="3161346"/>
              <a:ext cx="420921" cy="454729"/>
              <a:chOff x="-8452" y="3161346"/>
              <a:chExt cx="420921" cy="454729"/>
            </a:xfrm>
          </p:grpSpPr>
          <p:sp>
            <p:nvSpPr>
              <p:cNvPr id="138" name="Freeform: Shape 137">
                <a:extLst>
                  <a:ext uri="{FF2B5EF4-FFF2-40B4-BE49-F238E27FC236}">
                    <a16:creationId xmlns:a16="http://schemas.microsoft.com/office/drawing/2014/main" id="{C1105BFE-2D6B-48BF-8D2F-779D66950F7C}"/>
                  </a:ext>
                </a:extLst>
              </p:cNvPr>
              <p:cNvSpPr/>
              <p:nvPr/>
            </p:nvSpPr>
            <p:spPr>
              <a:xfrm>
                <a:off x="635" y="3270732"/>
                <a:ext cx="405706" cy="343724"/>
              </a:xfrm>
              <a:custGeom>
                <a:avLst/>
                <a:gdLst>
                  <a:gd name="connsiteX0" fmla="*/ 91213 w 405706"/>
                  <a:gd name="connsiteY0" fmla="*/ 340272 h 343723"/>
                  <a:gd name="connsiteX1" fmla="*/ 5000 w 405706"/>
                  <a:gd name="connsiteY1" fmla="*/ 340272 h 343723"/>
                  <a:gd name="connsiteX2" fmla="*/ 5000 w 405706"/>
                  <a:gd name="connsiteY2" fmla="*/ 51206 h 343723"/>
                  <a:gd name="connsiteX3" fmla="*/ 13452 w 405706"/>
                  <a:gd name="connsiteY3" fmla="*/ 30357 h 343723"/>
                  <a:gd name="connsiteX4" fmla="*/ 29793 w 405706"/>
                  <a:gd name="connsiteY4" fmla="*/ 12889 h 343723"/>
                  <a:gd name="connsiteX5" fmla="*/ 48952 w 405706"/>
                  <a:gd name="connsiteY5" fmla="*/ 5000 h 343723"/>
                  <a:gd name="connsiteX6" fmla="*/ 129530 w 405706"/>
                  <a:gd name="connsiteY6" fmla="*/ 5000 h 343723"/>
                  <a:gd name="connsiteX7" fmla="*/ 148688 w 405706"/>
                  <a:gd name="connsiteY7" fmla="*/ 12889 h 343723"/>
                  <a:gd name="connsiteX8" fmla="*/ 166156 w 405706"/>
                  <a:gd name="connsiteY8" fmla="*/ 30357 h 343723"/>
                  <a:gd name="connsiteX9" fmla="*/ 188132 w 405706"/>
                  <a:gd name="connsiteY9" fmla="*/ 39373 h 343723"/>
                  <a:gd name="connsiteX10" fmla="*/ 391548 w 405706"/>
                  <a:gd name="connsiteY10" fmla="*/ 39373 h 343723"/>
                  <a:gd name="connsiteX11" fmla="*/ 405072 w 405706"/>
                  <a:gd name="connsiteY11" fmla="*/ 52896 h 343723"/>
                  <a:gd name="connsiteX12" fmla="*/ 405072 w 405706"/>
                  <a:gd name="connsiteY12" fmla="*/ 78816 h 343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5706" h="343723">
                    <a:moveTo>
                      <a:pt x="91213" y="340272"/>
                    </a:moveTo>
                    <a:lnTo>
                      <a:pt x="5000" y="340272"/>
                    </a:lnTo>
                    <a:lnTo>
                      <a:pt x="5000" y="51206"/>
                    </a:lnTo>
                    <a:cubicBezTo>
                      <a:pt x="5000" y="43317"/>
                      <a:pt x="7818" y="35992"/>
                      <a:pt x="13452" y="30357"/>
                    </a:cubicBezTo>
                    <a:lnTo>
                      <a:pt x="29793" y="12889"/>
                    </a:lnTo>
                    <a:cubicBezTo>
                      <a:pt x="34865" y="7818"/>
                      <a:pt x="42190" y="5000"/>
                      <a:pt x="48952" y="5000"/>
                    </a:cubicBezTo>
                    <a:lnTo>
                      <a:pt x="129530" y="5000"/>
                    </a:lnTo>
                    <a:cubicBezTo>
                      <a:pt x="136855" y="5000"/>
                      <a:pt x="143617" y="7818"/>
                      <a:pt x="148688" y="12889"/>
                    </a:cubicBezTo>
                    <a:lnTo>
                      <a:pt x="166156" y="30357"/>
                    </a:lnTo>
                    <a:cubicBezTo>
                      <a:pt x="171791" y="35992"/>
                      <a:pt x="179679" y="39373"/>
                      <a:pt x="188132" y="39373"/>
                    </a:cubicBezTo>
                    <a:lnTo>
                      <a:pt x="391548" y="39373"/>
                    </a:lnTo>
                    <a:cubicBezTo>
                      <a:pt x="398874" y="39373"/>
                      <a:pt x="405072" y="45571"/>
                      <a:pt x="405072" y="52896"/>
                    </a:cubicBezTo>
                    <a:lnTo>
                      <a:pt x="405072" y="78816"/>
                    </a:lnTo>
                  </a:path>
                </a:pathLst>
              </a:custGeom>
              <a:noFill/>
              <a:ln w="12700" cap="rnd">
                <a:solidFill>
                  <a:srgbClr val="30373B"/>
                </a:solidFill>
                <a:prstDash val="solid"/>
                <a:round/>
              </a:ln>
            </p:spPr>
            <p:txBody>
              <a:bodyPr rtlCol="0" anchor="ctr"/>
              <a:lstStyle/>
              <a:p>
                <a:endParaRPr lang="da-DK"/>
              </a:p>
            </p:txBody>
          </p:sp>
          <p:sp>
            <p:nvSpPr>
              <p:cNvPr id="140" name="Freeform: Shape 139">
                <a:extLst>
                  <a:ext uri="{FF2B5EF4-FFF2-40B4-BE49-F238E27FC236}">
                    <a16:creationId xmlns:a16="http://schemas.microsoft.com/office/drawing/2014/main" id="{768D8557-50BC-4A58-B22A-C4CB6A275264}"/>
                  </a:ext>
                </a:extLst>
              </p:cNvPr>
              <p:cNvSpPr/>
              <p:nvPr/>
            </p:nvSpPr>
            <p:spPr>
              <a:xfrm>
                <a:off x="113823" y="3387865"/>
                <a:ext cx="45078" cy="107061"/>
              </a:xfrm>
              <a:custGeom>
                <a:avLst/>
                <a:gdLst>
                  <a:gd name="connsiteX0" fmla="*/ 8452 w 45078"/>
                  <a:gd name="connsiteY0" fmla="*/ 38880 h 107061"/>
                  <a:gd name="connsiteX1" fmla="*/ 36626 w 45078"/>
                  <a:gd name="connsiteY1" fmla="*/ 8452 h 107061"/>
                  <a:gd name="connsiteX2" fmla="*/ 36626 w 45078"/>
                  <a:gd name="connsiteY2" fmla="*/ 99173 h 107061"/>
                </a:gdLst>
                <a:ahLst/>
                <a:cxnLst>
                  <a:cxn ang="0">
                    <a:pos x="connsiteX0" y="connsiteY0"/>
                  </a:cxn>
                  <a:cxn ang="0">
                    <a:pos x="connsiteX1" y="connsiteY1"/>
                  </a:cxn>
                  <a:cxn ang="0">
                    <a:pos x="connsiteX2" y="connsiteY2"/>
                  </a:cxn>
                </a:cxnLst>
                <a:rect l="l" t="t" r="r" b="b"/>
                <a:pathLst>
                  <a:path w="45078" h="107061">
                    <a:moveTo>
                      <a:pt x="8452" y="38880"/>
                    </a:moveTo>
                    <a:lnTo>
                      <a:pt x="36626" y="8452"/>
                    </a:lnTo>
                    <a:lnTo>
                      <a:pt x="36626" y="99173"/>
                    </a:lnTo>
                  </a:path>
                </a:pathLst>
              </a:custGeom>
              <a:noFill/>
              <a:ln w="12700" cap="rnd">
                <a:solidFill>
                  <a:srgbClr val="30373B"/>
                </a:solidFill>
                <a:prstDash val="solid"/>
                <a:round/>
              </a:ln>
            </p:spPr>
            <p:txBody>
              <a:bodyPr rtlCol="0" anchor="ctr"/>
              <a:lstStyle/>
              <a:p>
                <a:endParaRPr lang="da-DK"/>
              </a:p>
            </p:txBody>
          </p:sp>
          <p:sp>
            <p:nvSpPr>
              <p:cNvPr id="141" name="Freeform: Shape 140">
                <a:extLst>
                  <a:ext uri="{FF2B5EF4-FFF2-40B4-BE49-F238E27FC236}">
                    <a16:creationId xmlns:a16="http://schemas.microsoft.com/office/drawing/2014/main" id="{2B5AE5FC-0AF7-4DC5-8ED8-AEB1981F483F}"/>
                  </a:ext>
                </a:extLst>
              </p:cNvPr>
              <p:cNvSpPr/>
              <p:nvPr/>
            </p:nvSpPr>
            <p:spPr>
              <a:xfrm>
                <a:off x="120585" y="3480840"/>
                <a:ext cx="56348" cy="16904"/>
              </a:xfrm>
              <a:custGeom>
                <a:avLst/>
                <a:gdLst>
                  <a:gd name="connsiteX0" fmla="*/ 8452 w 56348"/>
                  <a:gd name="connsiteY0" fmla="*/ 8452 h 16904"/>
                  <a:gd name="connsiteX1" fmla="*/ 49586 w 56348"/>
                  <a:gd name="connsiteY1" fmla="*/ 8452 h 16904"/>
                </a:gdLst>
                <a:ahLst/>
                <a:cxnLst>
                  <a:cxn ang="0">
                    <a:pos x="connsiteX0" y="connsiteY0"/>
                  </a:cxn>
                  <a:cxn ang="0">
                    <a:pos x="connsiteX1" y="connsiteY1"/>
                  </a:cxn>
                </a:cxnLst>
                <a:rect l="l" t="t" r="r" b="b"/>
                <a:pathLst>
                  <a:path w="56348" h="16904">
                    <a:moveTo>
                      <a:pt x="8452" y="8452"/>
                    </a:moveTo>
                    <a:lnTo>
                      <a:pt x="49586" y="8452"/>
                    </a:lnTo>
                  </a:path>
                </a:pathLst>
              </a:custGeom>
              <a:ln w="12700" cap="rnd">
                <a:solidFill>
                  <a:srgbClr val="30373B"/>
                </a:solidFill>
                <a:prstDash val="solid"/>
                <a:round/>
              </a:ln>
            </p:spPr>
            <p:txBody>
              <a:bodyPr rtlCol="0" anchor="ctr"/>
              <a:lstStyle/>
              <a:p>
                <a:endParaRPr lang="da-DK"/>
              </a:p>
            </p:txBody>
          </p:sp>
          <p:sp>
            <p:nvSpPr>
              <p:cNvPr id="142" name="Freeform: Shape 141">
                <a:extLst>
                  <a:ext uri="{FF2B5EF4-FFF2-40B4-BE49-F238E27FC236}">
                    <a16:creationId xmlns:a16="http://schemas.microsoft.com/office/drawing/2014/main" id="{A34BCAFB-5EA2-42FE-9F89-0A25F85080BA}"/>
                  </a:ext>
                </a:extLst>
              </p:cNvPr>
              <p:cNvSpPr/>
              <p:nvPr/>
            </p:nvSpPr>
            <p:spPr>
              <a:xfrm>
                <a:off x="188766" y="3387302"/>
                <a:ext cx="67618" cy="107061"/>
              </a:xfrm>
              <a:custGeom>
                <a:avLst/>
                <a:gdLst>
                  <a:gd name="connsiteX0" fmla="*/ 34372 w 67617"/>
                  <a:gd name="connsiteY0" fmla="*/ 101990 h 107061"/>
                  <a:gd name="connsiteX1" fmla="*/ 8452 w 67617"/>
                  <a:gd name="connsiteY1" fmla="*/ 55221 h 107061"/>
                  <a:gd name="connsiteX2" fmla="*/ 34936 w 67617"/>
                  <a:gd name="connsiteY2" fmla="*/ 8452 h 107061"/>
                  <a:gd name="connsiteX3" fmla="*/ 60856 w 67617"/>
                  <a:gd name="connsiteY3" fmla="*/ 54094 h 107061"/>
                  <a:gd name="connsiteX4" fmla="*/ 34372 w 67617"/>
                  <a:gd name="connsiteY4" fmla="*/ 101990 h 1070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17" h="107061">
                    <a:moveTo>
                      <a:pt x="34372" y="101990"/>
                    </a:moveTo>
                    <a:cubicBezTo>
                      <a:pt x="16904" y="101990"/>
                      <a:pt x="8452" y="86213"/>
                      <a:pt x="8452" y="55221"/>
                    </a:cubicBezTo>
                    <a:cubicBezTo>
                      <a:pt x="8452" y="8452"/>
                      <a:pt x="28174" y="8452"/>
                      <a:pt x="34936" y="8452"/>
                    </a:cubicBezTo>
                    <a:cubicBezTo>
                      <a:pt x="52404" y="8452"/>
                      <a:pt x="60856" y="23666"/>
                      <a:pt x="60856" y="54094"/>
                    </a:cubicBezTo>
                    <a:cubicBezTo>
                      <a:pt x="60856" y="96919"/>
                      <a:pt x="45642" y="101990"/>
                      <a:pt x="34372" y="101990"/>
                    </a:cubicBezTo>
                    <a:close/>
                  </a:path>
                </a:pathLst>
              </a:custGeom>
              <a:noFill/>
              <a:ln w="12700" cap="rnd">
                <a:solidFill>
                  <a:srgbClr val="30373B"/>
                </a:solidFill>
                <a:prstDash val="solid"/>
                <a:round/>
              </a:ln>
            </p:spPr>
            <p:txBody>
              <a:bodyPr rtlCol="0" anchor="ctr"/>
              <a:lstStyle/>
              <a:p>
                <a:endParaRPr lang="da-DK"/>
              </a:p>
            </p:txBody>
          </p:sp>
          <p:sp>
            <p:nvSpPr>
              <p:cNvPr id="145" name="Freeform: Shape 144">
                <a:extLst>
                  <a:ext uri="{FF2B5EF4-FFF2-40B4-BE49-F238E27FC236}">
                    <a16:creationId xmlns:a16="http://schemas.microsoft.com/office/drawing/2014/main" id="{8D775CB0-9965-44FA-83A9-0E99CACAFEBD}"/>
                  </a:ext>
                </a:extLst>
              </p:cNvPr>
              <p:cNvSpPr/>
              <p:nvPr/>
            </p:nvSpPr>
            <p:spPr>
              <a:xfrm>
                <a:off x="270471" y="3387865"/>
                <a:ext cx="39444" cy="107061"/>
              </a:xfrm>
              <a:custGeom>
                <a:avLst/>
                <a:gdLst>
                  <a:gd name="connsiteX0" fmla="*/ 8452 w 39443"/>
                  <a:gd name="connsiteY0" fmla="*/ 38880 h 107061"/>
                  <a:gd name="connsiteX1" fmla="*/ 36063 w 39443"/>
                  <a:gd name="connsiteY1" fmla="*/ 8452 h 107061"/>
                  <a:gd name="connsiteX2" fmla="*/ 36063 w 39443"/>
                  <a:gd name="connsiteY2" fmla="*/ 99173 h 107061"/>
                </a:gdLst>
                <a:ahLst/>
                <a:cxnLst>
                  <a:cxn ang="0">
                    <a:pos x="connsiteX0" y="connsiteY0"/>
                  </a:cxn>
                  <a:cxn ang="0">
                    <a:pos x="connsiteX1" y="connsiteY1"/>
                  </a:cxn>
                  <a:cxn ang="0">
                    <a:pos x="connsiteX2" y="connsiteY2"/>
                  </a:cxn>
                </a:cxnLst>
                <a:rect l="l" t="t" r="r" b="b"/>
                <a:pathLst>
                  <a:path w="39443" h="107061">
                    <a:moveTo>
                      <a:pt x="8452" y="38880"/>
                    </a:moveTo>
                    <a:lnTo>
                      <a:pt x="36063" y="8452"/>
                    </a:lnTo>
                    <a:lnTo>
                      <a:pt x="36063" y="99173"/>
                    </a:lnTo>
                  </a:path>
                </a:pathLst>
              </a:custGeom>
              <a:noFill/>
              <a:ln w="12700" cap="rnd">
                <a:solidFill>
                  <a:srgbClr val="30373B"/>
                </a:solidFill>
                <a:prstDash val="solid"/>
                <a:round/>
              </a:ln>
            </p:spPr>
            <p:txBody>
              <a:bodyPr rtlCol="0" anchor="ctr"/>
              <a:lstStyle/>
              <a:p>
                <a:endParaRPr lang="da-DK"/>
              </a:p>
            </p:txBody>
          </p:sp>
          <p:sp>
            <p:nvSpPr>
              <p:cNvPr id="147" name="Freeform: Shape 146">
                <a:extLst>
                  <a:ext uri="{FF2B5EF4-FFF2-40B4-BE49-F238E27FC236}">
                    <a16:creationId xmlns:a16="http://schemas.microsoft.com/office/drawing/2014/main" id="{41C7B4A3-6C59-42EA-8213-1252F2B099BE}"/>
                  </a:ext>
                </a:extLst>
              </p:cNvPr>
              <p:cNvSpPr/>
              <p:nvPr/>
            </p:nvSpPr>
            <p:spPr>
              <a:xfrm>
                <a:off x="277233" y="3480840"/>
                <a:ext cx="56348" cy="16904"/>
              </a:xfrm>
              <a:custGeom>
                <a:avLst/>
                <a:gdLst>
                  <a:gd name="connsiteX0" fmla="*/ 8452 w 56348"/>
                  <a:gd name="connsiteY0" fmla="*/ 8452 h 16904"/>
                  <a:gd name="connsiteX1" fmla="*/ 49586 w 56348"/>
                  <a:gd name="connsiteY1" fmla="*/ 8452 h 16904"/>
                </a:gdLst>
                <a:ahLst/>
                <a:cxnLst>
                  <a:cxn ang="0">
                    <a:pos x="connsiteX0" y="connsiteY0"/>
                  </a:cxn>
                  <a:cxn ang="0">
                    <a:pos x="connsiteX1" y="connsiteY1"/>
                  </a:cxn>
                </a:cxnLst>
                <a:rect l="l" t="t" r="r" b="b"/>
                <a:pathLst>
                  <a:path w="56348" h="16904">
                    <a:moveTo>
                      <a:pt x="8452" y="8452"/>
                    </a:moveTo>
                    <a:lnTo>
                      <a:pt x="49586" y="8452"/>
                    </a:lnTo>
                  </a:path>
                </a:pathLst>
              </a:custGeom>
              <a:ln w="12700" cap="rnd">
                <a:solidFill>
                  <a:srgbClr val="30373B"/>
                </a:solidFill>
                <a:prstDash val="solid"/>
                <a:round/>
              </a:ln>
            </p:spPr>
            <p:txBody>
              <a:bodyPr rtlCol="0" anchor="ctr"/>
              <a:lstStyle/>
              <a:p>
                <a:endParaRPr lang="da-DK"/>
              </a:p>
            </p:txBody>
          </p:sp>
          <p:sp>
            <p:nvSpPr>
              <p:cNvPr id="152" name="Freeform: Shape 151">
                <a:extLst>
                  <a:ext uri="{FF2B5EF4-FFF2-40B4-BE49-F238E27FC236}">
                    <a16:creationId xmlns:a16="http://schemas.microsoft.com/office/drawing/2014/main" id="{E2B2F262-A0C0-4675-8474-4C888DD43BD2}"/>
                  </a:ext>
                </a:extLst>
              </p:cNvPr>
              <p:cNvSpPr/>
              <p:nvPr/>
            </p:nvSpPr>
            <p:spPr>
              <a:xfrm>
                <a:off x="270471" y="3503943"/>
                <a:ext cx="39444" cy="107061"/>
              </a:xfrm>
              <a:custGeom>
                <a:avLst/>
                <a:gdLst>
                  <a:gd name="connsiteX0" fmla="*/ 8452 w 39443"/>
                  <a:gd name="connsiteY0" fmla="*/ 38880 h 107061"/>
                  <a:gd name="connsiteX1" fmla="*/ 36063 w 39443"/>
                  <a:gd name="connsiteY1" fmla="*/ 8452 h 107061"/>
                  <a:gd name="connsiteX2" fmla="*/ 36063 w 39443"/>
                  <a:gd name="connsiteY2" fmla="*/ 98609 h 107061"/>
                </a:gdLst>
                <a:ahLst/>
                <a:cxnLst>
                  <a:cxn ang="0">
                    <a:pos x="connsiteX0" y="connsiteY0"/>
                  </a:cxn>
                  <a:cxn ang="0">
                    <a:pos x="connsiteX1" y="connsiteY1"/>
                  </a:cxn>
                  <a:cxn ang="0">
                    <a:pos x="connsiteX2" y="connsiteY2"/>
                  </a:cxn>
                </a:cxnLst>
                <a:rect l="l" t="t" r="r" b="b"/>
                <a:pathLst>
                  <a:path w="39443" h="107061">
                    <a:moveTo>
                      <a:pt x="8452" y="38880"/>
                    </a:moveTo>
                    <a:lnTo>
                      <a:pt x="36063" y="8452"/>
                    </a:lnTo>
                    <a:lnTo>
                      <a:pt x="36063" y="98609"/>
                    </a:lnTo>
                  </a:path>
                </a:pathLst>
              </a:custGeom>
              <a:noFill/>
              <a:ln w="12700" cap="rnd">
                <a:solidFill>
                  <a:srgbClr val="30373B"/>
                </a:solidFill>
                <a:prstDash val="solid"/>
                <a:round/>
              </a:ln>
            </p:spPr>
            <p:txBody>
              <a:bodyPr rtlCol="0" anchor="ctr"/>
              <a:lstStyle/>
              <a:p>
                <a:endParaRPr lang="da-DK"/>
              </a:p>
            </p:txBody>
          </p:sp>
          <p:sp>
            <p:nvSpPr>
              <p:cNvPr id="153" name="Freeform: Shape 152">
                <a:extLst>
                  <a:ext uri="{FF2B5EF4-FFF2-40B4-BE49-F238E27FC236}">
                    <a16:creationId xmlns:a16="http://schemas.microsoft.com/office/drawing/2014/main" id="{509D41FB-4EED-4A29-B274-8BBB8F65A101}"/>
                  </a:ext>
                </a:extLst>
              </p:cNvPr>
              <p:cNvSpPr/>
              <p:nvPr/>
            </p:nvSpPr>
            <p:spPr>
              <a:xfrm>
                <a:off x="277233" y="3596354"/>
                <a:ext cx="56348" cy="16904"/>
              </a:xfrm>
              <a:custGeom>
                <a:avLst/>
                <a:gdLst>
                  <a:gd name="connsiteX0" fmla="*/ 8452 w 56348"/>
                  <a:gd name="connsiteY0" fmla="*/ 8452 h 16904"/>
                  <a:gd name="connsiteX1" fmla="*/ 49586 w 56348"/>
                  <a:gd name="connsiteY1" fmla="*/ 8452 h 16904"/>
                </a:gdLst>
                <a:ahLst/>
                <a:cxnLst>
                  <a:cxn ang="0">
                    <a:pos x="connsiteX0" y="connsiteY0"/>
                  </a:cxn>
                  <a:cxn ang="0">
                    <a:pos x="connsiteX1" y="connsiteY1"/>
                  </a:cxn>
                </a:cxnLst>
                <a:rect l="l" t="t" r="r" b="b"/>
                <a:pathLst>
                  <a:path w="56348" h="16904">
                    <a:moveTo>
                      <a:pt x="8452" y="8452"/>
                    </a:moveTo>
                    <a:lnTo>
                      <a:pt x="49586" y="8452"/>
                    </a:lnTo>
                  </a:path>
                </a:pathLst>
              </a:custGeom>
              <a:ln w="12700" cap="rnd">
                <a:solidFill>
                  <a:srgbClr val="30373B"/>
                </a:solidFill>
                <a:prstDash val="solid"/>
                <a:round/>
              </a:ln>
            </p:spPr>
            <p:txBody>
              <a:bodyPr rtlCol="0" anchor="ctr"/>
              <a:lstStyle/>
              <a:p>
                <a:endParaRPr lang="da-DK"/>
              </a:p>
            </p:txBody>
          </p:sp>
          <p:sp>
            <p:nvSpPr>
              <p:cNvPr id="154" name="Freeform: Shape 153">
                <a:extLst>
                  <a:ext uri="{FF2B5EF4-FFF2-40B4-BE49-F238E27FC236}">
                    <a16:creationId xmlns:a16="http://schemas.microsoft.com/office/drawing/2014/main" id="{833CAEB1-2113-4737-A836-4781D10B7740}"/>
                  </a:ext>
                </a:extLst>
              </p:cNvPr>
              <p:cNvSpPr/>
              <p:nvPr/>
            </p:nvSpPr>
            <p:spPr>
              <a:xfrm>
                <a:off x="195528" y="3503943"/>
                <a:ext cx="39444" cy="107061"/>
              </a:xfrm>
              <a:custGeom>
                <a:avLst/>
                <a:gdLst>
                  <a:gd name="connsiteX0" fmla="*/ 8452 w 39443"/>
                  <a:gd name="connsiteY0" fmla="*/ 38880 h 107061"/>
                  <a:gd name="connsiteX1" fmla="*/ 36063 w 39443"/>
                  <a:gd name="connsiteY1" fmla="*/ 8452 h 107061"/>
                  <a:gd name="connsiteX2" fmla="*/ 36063 w 39443"/>
                  <a:gd name="connsiteY2" fmla="*/ 98609 h 107061"/>
                </a:gdLst>
                <a:ahLst/>
                <a:cxnLst>
                  <a:cxn ang="0">
                    <a:pos x="connsiteX0" y="connsiteY0"/>
                  </a:cxn>
                  <a:cxn ang="0">
                    <a:pos x="connsiteX1" y="connsiteY1"/>
                  </a:cxn>
                  <a:cxn ang="0">
                    <a:pos x="connsiteX2" y="connsiteY2"/>
                  </a:cxn>
                </a:cxnLst>
                <a:rect l="l" t="t" r="r" b="b"/>
                <a:pathLst>
                  <a:path w="39443" h="107061">
                    <a:moveTo>
                      <a:pt x="8452" y="38880"/>
                    </a:moveTo>
                    <a:lnTo>
                      <a:pt x="36063" y="8452"/>
                    </a:lnTo>
                    <a:lnTo>
                      <a:pt x="36063" y="98609"/>
                    </a:lnTo>
                  </a:path>
                </a:pathLst>
              </a:custGeom>
              <a:noFill/>
              <a:ln w="12700" cap="rnd">
                <a:solidFill>
                  <a:srgbClr val="30373B"/>
                </a:solidFill>
                <a:prstDash val="solid"/>
                <a:round/>
              </a:ln>
            </p:spPr>
            <p:txBody>
              <a:bodyPr rtlCol="0" anchor="ctr"/>
              <a:lstStyle/>
              <a:p>
                <a:endParaRPr lang="da-DK"/>
              </a:p>
            </p:txBody>
          </p:sp>
          <p:sp>
            <p:nvSpPr>
              <p:cNvPr id="155" name="Freeform: Shape 154">
                <a:extLst>
                  <a:ext uri="{FF2B5EF4-FFF2-40B4-BE49-F238E27FC236}">
                    <a16:creationId xmlns:a16="http://schemas.microsoft.com/office/drawing/2014/main" id="{1BCE8F72-6766-4794-A3A9-94EE665EE90F}"/>
                  </a:ext>
                </a:extLst>
              </p:cNvPr>
              <p:cNvSpPr/>
              <p:nvPr/>
            </p:nvSpPr>
            <p:spPr>
              <a:xfrm>
                <a:off x="202290" y="3596354"/>
                <a:ext cx="56348" cy="16904"/>
              </a:xfrm>
              <a:custGeom>
                <a:avLst/>
                <a:gdLst>
                  <a:gd name="connsiteX0" fmla="*/ 8452 w 56348"/>
                  <a:gd name="connsiteY0" fmla="*/ 8452 h 16904"/>
                  <a:gd name="connsiteX1" fmla="*/ 49586 w 56348"/>
                  <a:gd name="connsiteY1" fmla="*/ 8452 h 16904"/>
                </a:gdLst>
                <a:ahLst/>
                <a:cxnLst>
                  <a:cxn ang="0">
                    <a:pos x="connsiteX0" y="connsiteY0"/>
                  </a:cxn>
                  <a:cxn ang="0">
                    <a:pos x="connsiteX1" y="connsiteY1"/>
                  </a:cxn>
                </a:cxnLst>
                <a:rect l="l" t="t" r="r" b="b"/>
                <a:pathLst>
                  <a:path w="56348" h="16904">
                    <a:moveTo>
                      <a:pt x="8452" y="8452"/>
                    </a:moveTo>
                    <a:lnTo>
                      <a:pt x="49586" y="8452"/>
                    </a:lnTo>
                  </a:path>
                </a:pathLst>
              </a:custGeom>
              <a:ln w="12700" cap="rnd">
                <a:solidFill>
                  <a:srgbClr val="30373B"/>
                </a:solidFill>
                <a:prstDash val="solid"/>
                <a:round/>
              </a:ln>
            </p:spPr>
            <p:txBody>
              <a:bodyPr rtlCol="0" anchor="ctr"/>
              <a:lstStyle/>
              <a:p>
                <a:endParaRPr lang="da-DK"/>
              </a:p>
            </p:txBody>
          </p:sp>
          <p:sp>
            <p:nvSpPr>
              <p:cNvPr id="156" name="Freeform: Shape 155">
                <a:extLst>
                  <a:ext uri="{FF2B5EF4-FFF2-40B4-BE49-F238E27FC236}">
                    <a16:creationId xmlns:a16="http://schemas.microsoft.com/office/drawing/2014/main" id="{A6FA09B5-C87F-4E3F-8E47-7C36C8A112CA}"/>
                  </a:ext>
                </a:extLst>
              </p:cNvPr>
              <p:cNvSpPr/>
              <p:nvPr/>
            </p:nvSpPr>
            <p:spPr>
              <a:xfrm>
                <a:off x="344851" y="3387302"/>
                <a:ext cx="67618" cy="107061"/>
              </a:xfrm>
              <a:custGeom>
                <a:avLst/>
                <a:gdLst>
                  <a:gd name="connsiteX0" fmla="*/ 34372 w 67617"/>
                  <a:gd name="connsiteY0" fmla="*/ 101990 h 107061"/>
                  <a:gd name="connsiteX1" fmla="*/ 8452 w 67617"/>
                  <a:gd name="connsiteY1" fmla="*/ 55221 h 107061"/>
                  <a:gd name="connsiteX2" fmla="*/ 34936 w 67617"/>
                  <a:gd name="connsiteY2" fmla="*/ 8452 h 107061"/>
                  <a:gd name="connsiteX3" fmla="*/ 60856 w 67617"/>
                  <a:gd name="connsiteY3" fmla="*/ 54094 h 107061"/>
                  <a:gd name="connsiteX4" fmla="*/ 34372 w 67617"/>
                  <a:gd name="connsiteY4" fmla="*/ 101990 h 1070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17" h="107061">
                    <a:moveTo>
                      <a:pt x="34372" y="101990"/>
                    </a:moveTo>
                    <a:cubicBezTo>
                      <a:pt x="16904" y="101990"/>
                      <a:pt x="8452" y="86213"/>
                      <a:pt x="8452" y="55221"/>
                    </a:cubicBezTo>
                    <a:cubicBezTo>
                      <a:pt x="8452" y="8452"/>
                      <a:pt x="28174" y="8452"/>
                      <a:pt x="34936" y="8452"/>
                    </a:cubicBezTo>
                    <a:cubicBezTo>
                      <a:pt x="52404" y="8452"/>
                      <a:pt x="60856" y="23666"/>
                      <a:pt x="60856" y="54094"/>
                    </a:cubicBezTo>
                    <a:cubicBezTo>
                      <a:pt x="60856" y="96919"/>
                      <a:pt x="46205" y="101990"/>
                      <a:pt x="34372" y="101990"/>
                    </a:cubicBezTo>
                    <a:close/>
                  </a:path>
                </a:pathLst>
              </a:custGeom>
              <a:noFill/>
              <a:ln w="12700" cap="rnd">
                <a:solidFill>
                  <a:srgbClr val="30373B"/>
                </a:solidFill>
                <a:prstDash val="solid"/>
                <a:round/>
              </a:ln>
            </p:spPr>
            <p:txBody>
              <a:bodyPr rtlCol="0" anchor="ctr"/>
              <a:lstStyle/>
              <a:p>
                <a:endParaRPr lang="da-DK"/>
              </a:p>
            </p:txBody>
          </p:sp>
          <p:sp>
            <p:nvSpPr>
              <p:cNvPr id="157" name="Freeform: Shape 156">
                <a:extLst>
                  <a:ext uri="{FF2B5EF4-FFF2-40B4-BE49-F238E27FC236}">
                    <a16:creationId xmlns:a16="http://schemas.microsoft.com/office/drawing/2014/main" id="{8A1E6A96-55C5-4449-9151-5C9655B6C762}"/>
                  </a:ext>
                </a:extLst>
              </p:cNvPr>
              <p:cNvSpPr/>
              <p:nvPr/>
            </p:nvSpPr>
            <p:spPr>
              <a:xfrm>
                <a:off x="116077" y="3509014"/>
                <a:ext cx="67618" cy="107061"/>
              </a:xfrm>
              <a:custGeom>
                <a:avLst/>
                <a:gdLst>
                  <a:gd name="connsiteX0" fmla="*/ 34372 w 67617"/>
                  <a:gd name="connsiteY0" fmla="*/ 101990 h 107061"/>
                  <a:gd name="connsiteX1" fmla="*/ 8452 w 67617"/>
                  <a:gd name="connsiteY1" fmla="*/ 55221 h 107061"/>
                  <a:gd name="connsiteX2" fmla="*/ 34936 w 67617"/>
                  <a:gd name="connsiteY2" fmla="*/ 8452 h 107061"/>
                  <a:gd name="connsiteX3" fmla="*/ 60856 w 67617"/>
                  <a:gd name="connsiteY3" fmla="*/ 54094 h 107061"/>
                  <a:gd name="connsiteX4" fmla="*/ 34372 w 67617"/>
                  <a:gd name="connsiteY4" fmla="*/ 101990 h 1070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17" h="107061">
                    <a:moveTo>
                      <a:pt x="34372" y="101990"/>
                    </a:moveTo>
                    <a:cubicBezTo>
                      <a:pt x="16904" y="101990"/>
                      <a:pt x="8452" y="86213"/>
                      <a:pt x="8452" y="55221"/>
                    </a:cubicBezTo>
                    <a:cubicBezTo>
                      <a:pt x="8452" y="8452"/>
                      <a:pt x="28174" y="8452"/>
                      <a:pt x="34936" y="8452"/>
                    </a:cubicBezTo>
                    <a:cubicBezTo>
                      <a:pt x="52404" y="8452"/>
                      <a:pt x="60856" y="23666"/>
                      <a:pt x="60856" y="54094"/>
                    </a:cubicBezTo>
                    <a:cubicBezTo>
                      <a:pt x="60856" y="96919"/>
                      <a:pt x="45642" y="101990"/>
                      <a:pt x="34372" y="101990"/>
                    </a:cubicBezTo>
                    <a:close/>
                  </a:path>
                </a:pathLst>
              </a:custGeom>
              <a:noFill/>
              <a:ln w="12700" cap="rnd">
                <a:solidFill>
                  <a:srgbClr val="30373B"/>
                </a:solidFill>
                <a:prstDash val="solid"/>
                <a:round/>
              </a:ln>
            </p:spPr>
            <p:txBody>
              <a:bodyPr rtlCol="0" anchor="ctr"/>
              <a:lstStyle/>
              <a:p>
                <a:endParaRPr lang="da-DK"/>
              </a:p>
            </p:txBody>
          </p:sp>
          <p:sp>
            <p:nvSpPr>
              <p:cNvPr id="158" name="Freeform: Shape 157">
                <a:extLst>
                  <a:ext uri="{FF2B5EF4-FFF2-40B4-BE49-F238E27FC236}">
                    <a16:creationId xmlns:a16="http://schemas.microsoft.com/office/drawing/2014/main" id="{95790AFD-1EDB-4A39-91FA-86BBD645757A}"/>
                  </a:ext>
                </a:extLst>
              </p:cNvPr>
              <p:cNvSpPr/>
              <p:nvPr/>
            </p:nvSpPr>
            <p:spPr>
              <a:xfrm>
                <a:off x="344851" y="3509014"/>
                <a:ext cx="67618" cy="107061"/>
              </a:xfrm>
              <a:custGeom>
                <a:avLst/>
                <a:gdLst>
                  <a:gd name="connsiteX0" fmla="*/ 34372 w 67617"/>
                  <a:gd name="connsiteY0" fmla="*/ 101990 h 107061"/>
                  <a:gd name="connsiteX1" fmla="*/ 8452 w 67617"/>
                  <a:gd name="connsiteY1" fmla="*/ 55221 h 107061"/>
                  <a:gd name="connsiteX2" fmla="*/ 34936 w 67617"/>
                  <a:gd name="connsiteY2" fmla="*/ 8452 h 107061"/>
                  <a:gd name="connsiteX3" fmla="*/ 60856 w 67617"/>
                  <a:gd name="connsiteY3" fmla="*/ 54094 h 107061"/>
                  <a:gd name="connsiteX4" fmla="*/ 34372 w 67617"/>
                  <a:gd name="connsiteY4" fmla="*/ 101990 h 1070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17" h="107061">
                    <a:moveTo>
                      <a:pt x="34372" y="101990"/>
                    </a:moveTo>
                    <a:cubicBezTo>
                      <a:pt x="16904" y="101990"/>
                      <a:pt x="8452" y="86213"/>
                      <a:pt x="8452" y="55221"/>
                    </a:cubicBezTo>
                    <a:cubicBezTo>
                      <a:pt x="8452" y="8452"/>
                      <a:pt x="28174" y="8452"/>
                      <a:pt x="34936" y="8452"/>
                    </a:cubicBezTo>
                    <a:cubicBezTo>
                      <a:pt x="52404" y="8452"/>
                      <a:pt x="60856" y="23666"/>
                      <a:pt x="60856" y="54094"/>
                    </a:cubicBezTo>
                    <a:cubicBezTo>
                      <a:pt x="60856" y="96919"/>
                      <a:pt x="46205" y="101990"/>
                      <a:pt x="34372" y="101990"/>
                    </a:cubicBezTo>
                    <a:close/>
                  </a:path>
                </a:pathLst>
              </a:custGeom>
              <a:noFill/>
              <a:ln w="12700" cap="rnd">
                <a:solidFill>
                  <a:srgbClr val="30373B"/>
                </a:solidFill>
                <a:prstDash val="solid"/>
                <a:round/>
              </a:ln>
            </p:spPr>
            <p:txBody>
              <a:bodyPr rtlCol="0" anchor="ctr"/>
              <a:lstStyle/>
              <a:p>
                <a:endParaRPr lang="da-DK"/>
              </a:p>
            </p:txBody>
          </p:sp>
          <p:sp>
            <p:nvSpPr>
              <p:cNvPr id="160" name="Freeform: Shape 159">
                <a:extLst>
                  <a:ext uri="{FF2B5EF4-FFF2-40B4-BE49-F238E27FC236}">
                    <a16:creationId xmlns:a16="http://schemas.microsoft.com/office/drawing/2014/main" id="{57B89B0B-E660-4BDE-AEB8-37B5AA687487}"/>
                  </a:ext>
                </a:extLst>
              </p:cNvPr>
              <p:cNvSpPr/>
              <p:nvPr/>
            </p:nvSpPr>
            <p:spPr>
              <a:xfrm>
                <a:off x="-5000" y="3164798"/>
                <a:ext cx="5635" cy="5635"/>
              </a:xfrm>
              <a:custGeom>
                <a:avLst/>
                <a:gdLst/>
                <a:ahLst/>
                <a:cxnLst/>
                <a:rect l="l" t="t" r="r" b="b"/>
                <a:pathLst>
                  <a:path w="5634" h="5634"/>
                </a:pathLst>
              </a:custGeom>
              <a:solidFill>
                <a:srgbClr val="FFFFFF"/>
              </a:solidFill>
              <a:ln w="12700" cap="rnd">
                <a:solidFill>
                  <a:srgbClr val="30373B"/>
                </a:solidFill>
                <a:prstDash val="solid"/>
                <a:round/>
              </a:ln>
            </p:spPr>
            <p:txBody>
              <a:bodyPr rtlCol="0" anchor="ctr"/>
              <a:lstStyle/>
              <a:p>
                <a:endParaRPr lang="da-DK"/>
              </a:p>
            </p:txBody>
          </p:sp>
          <p:sp>
            <p:nvSpPr>
              <p:cNvPr id="161" name="Freeform: Shape 160">
                <a:extLst>
                  <a:ext uri="{FF2B5EF4-FFF2-40B4-BE49-F238E27FC236}">
                    <a16:creationId xmlns:a16="http://schemas.microsoft.com/office/drawing/2014/main" id="{CD012584-4DA0-4AA6-A4A3-08A10C78D0C7}"/>
                  </a:ext>
                </a:extLst>
              </p:cNvPr>
              <p:cNvSpPr/>
              <p:nvPr/>
            </p:nvSpPr>
            <p:spPr>
              <a:xfrm>
                <a:off x="-8452" y="3161346"/>
                <a:ext cx="16904" cy="16904"/>
              </a:xfrm>
              <a:custGeom>
                <a:avLst/>
                <a:gdLst/>
                <a:ahLst/>
                <a:cxnLst/>
                <a:rect l="l" t="t" r="r" b="b"/>
                <a:pathLst>
                  <a:path w="16904" h="16904"/>
                </a:pathLst>
              </a:custGeom>
              <a:noFill/>
              <a:ln w="12700" cap="rnd">
                <a:solidFill>
                  <a:srgbClr val="30373B"/>
                </a:solidFill>
                <a:prstDash val="solid"/>
                <a:round/>
              </a:ln>
            </p:spPr>
            <p:txBody>
              <a:bodyPr rtlCol="0" anchor="ctr"/>
              <a:lstStyle/>
              <a:p>
                <a:endParaRPr lang="da-DK"/>
              </a:p>
            </p:txBody>
          </p:sp>
        </p:grpSp>
      </p:grpSp>
      <p:grpSp>
        <p:nvGrpSpPr>
          <p:cNvPr id="162" name="Group 161">
            <a:extLst>
              <a:ext uri="{FF2B5EF4-FFF2-40B4-BE49-F238E27FC236}">
                <a16:creationId xmlns:a16="http://schemas.microsoft.com/office/drawing/2014/main" id="{8A035452-BFA6-42A1-ACD1-71FB8F0F6FA4}"/>
              </a:ext>
            </a:extLst>
          </p:cNvPr>
          <p:cNvGrpSpPr/>
          <p:nvPr/>
        </p:nvGrpSpPr>
        <p:grpSpPr>
          <a:xfrm>
            <a:off x="3010129" y="3234796"/>
            <a:ext cx="508000" cy="446087"/>
            <a:chOff x="8774114" y="2924373"/>
            <a:chExt cx="508000" cy="446087"/>
          </a:xfrm>
        </p:grpSpPr>
        <p:grpSp>
          <p:nvGrpSpPr>
            <p:cNvPr id="163" name="Group 162">
              <a:extLst>
                <a:ext uri="{FF2B5EF4-FFF2-40B4-BE49-F238E27FC236}">
                  <a16:creationId xmlns:a16="http://schemas.microsoft.com/office/drawing/2014/main" id="{D051B77E-F2D8-487B-B67F-FECF1B2A9797}"/>
                </a:ext>
              </a:extLst>
            </p:cNvPr>
            <p:cNvGrpSpPr/>
            <p:nvPr/>
          </p:nvGrpSpPr>
          <p:grpSpPr>
            <a:xfrm>
              <a:off x="8774114" y="2924373"/>
              <a:ext cx="466725" cy="414337"/>
              <a:chOff x="8774114" y="2924373"/>
              <a:chExt cx="466725" cy="414337"/>
            </a:xfrm>
            <a:solidFill>
              <a:schemeClr val="accent2"/>
            </a:solidFill>
          </p:grpSpPr>
          <p:sp>
            <p:nvSpPr>
              <p:cNvPr id="175" name="Rectangle 56">
                <a:extLst>
                  <a:ext uri="{FF2B5EF4-FFF2-40B4-BE49-F238E27FC236}">
                    <a16:creationId xmlns:a16="http://schemas.microsoft.com/office/drawing/2014/main" id="{778F728F-4669-4B88-8BE1-14A936E05D04}"/>
                  </a:ext>
                </a:extLst>
              </p:cNvPr>
              <p:cNvSpPr>
                <a:spLocks noChangeArrowheads="1"/>
              </p:cNvSpPr>
              <p:nvPr/>
            </p:nvSpPr>
            <p:spPr bwMode="auto">
              <a:xfrm>
                <a:off x="8921751" y="2924373"/>
                <a:ext cx="161925" cy="109538"/>
              </a:xfrm>
              <a:prstGeom prst="rect">
                <a:avLst/>
              </a:prstGeom>
              <a:solidFill>
                <a:srgbClr val="8AA2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76" name="Rectangle 57">
                <a:extLst>
                  <a:ext uri="{FF2B5EF4-FFF2-40B4-BE49-F238E27FC236}">
                    <a16:creationId xmlns:a16="http://schemas.microsoft.com/office/drawing/2014/main" id="{C3E264E1-D1DD-4293-BFAD-785B9C9B65D5}"/>
                  </a:ext>
                </a:extLst>
              </p:cNvPr>
              <p:cNvSpPr>
                <a:spLocks noChangeArrowheads="1"/>
              </p:cNvSpPr>
              <p:nvPr/>
            </p:nvSpPr>
            <p:spPr bwMode="auto">
              <a:xfrm>
                <a:off x="8774114" y="3230760"/>
                <a:ext cx="157163" cy="107950"/>
              </a:xfrm>
              <a:prstGeom prst="rect">
                <a:avLst/>
              </a:prstGeom>
              <a:solidFill>
                <a:srgbClr val="8AA2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77" name="Rectangle 58">
                <a:extLst>
                  <a:ext uri="{FF2B5EF4-FFF2-40B4-BE49-F238E27FC236}">
                    <a16:creationId xmlns:a16="http://schemas.microsoft.com/office/drawing/2014/main" id="{7AD764B9-8C27-41A1-92CB-2A2D3BB2ACA1}"/>
                  </a:ext>
                </a:extLst>
              </p:cNvPr>
              <p:cNvSpPr>
                <a:spLocks noChangeArrowheads="1"/>
              </p:cNvSpPr>
              <p:nvPr/>
            </p:nvSpPr>
            <p:spPr bwMode="auto">
              <a:xfrm>
                <a:off x="9078914" y="3230760"/>
                <a:ext cx="161925" cy="107950"/>
              </a:xfrm>
              <a:prstGeom prst="rect">
                <a:avLst/>
              </a:prstGeom>
              <a:solidFill>
                <a:srgbClr val="8AA2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grpSp>
          <p:nvGrpSpPr>
            <p:cNvPr id="164" name="Group 163">
              <a:extLst>
                <a:ext uri="{FF2B5EF4-FFF2-40B4-BE49-F238E27FC236}">
                  <a16:creationId xmlns:a16="http://schemas.microsoft.com/office/drawing/2014/main" id="{2A7C3CD2-496A-47E3-8BBA-B4EF00ACE5BD}"/>
                </a:ext>
              </a:extLst>
            </p:cNvPr>
            <p:cNvGrpSpPr/>
            <p:nvPr/>
          </p:nvGrpSpPr>
          <p:grpSpPr>
            <a:xfrm>
              <a:off x="8813801" y="2924373"/>
              <a:ext cx="468313" cy="446087"/>
              <a:chOff x="8813801" y="2924373"/>
              <a:chExt cx="468313" cy="446087"/>
            </a:xfrm>
          </p:grpSpPr>
          <p:sp>
            <p:nvSpPr>
              <p:cNvPr id="165" name="Rectangle 59">
                <a:extLst>
                  <a:ext uri="{FF2B5EF4-FFF2-40B4-BE49-F238E27FC236}">
                    <a16:creationId xmlns:a16="http://schemas.microsoft.com/office/drawing/2014/main" id="{206A8F85-9199-467F-BEF9-91A954522396}"/>
                  </a:ext>
                </a:extLst>
              </p:cNvPr>
              <p:cNvSpPr>
                <a:spLocks noChangeArrowheads="1"/>
              </p:cNvSpPr>
              <p:nvPr/>
            </p:nvSpPr>
            <p:spPr bwMode="auto">
              <a:xfrm>
                <a:off x="8963026" y="2924373"/>
                <a:ext cx="161925" cy="109538"/>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66" name="Line 60">
                <a:extLst>
                  <a:ext uri="{FF2B5EF4-FFF2-40B4-BE49-F238E27FC236}">
                    <a16:creationId xmlns:a16="http://schemas.microsoft.com/office/drawing/2014/main" id="{DAF8BAFA-3DB1-48F8-AFFD-DE18C181CC03}"/>
                  </a:ext>
                </a:extLst>
              </p:cNvPr>
              <p:cNvSpPr>
                <a:spLocks noChangeShapeType="1"/>
              </p:cNvSpPr>
              <p:nvPr/>
            </p:nvSpPr>
            <p:spPr bwMode="auto">
              <a:xfrm flipH="1">
                <a:off x="8994776" y="3064073"/>
                <a:ext cx="98425"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67" name="Rectangle 61">
                <a:extLst>
                  <a:ext uri="{FF2B5EF4-FFF2-40B4-BE49-F238E27FC236}">
                    <a16:creationId xmlns:a16="http://schemas.microsoft.com/office/drawing/2014/main" id="{65B67A78-E539-49DC-8F0A-6771B38799E0}"/>
                  </a:ext>
                </a:extLst>
              </p:cNvPr>
              <p:cNvSpPr>
                <a:spLocks noChangeArrowheads="1"/>
              </p:cNvSpPr>
              <p:nvPr/>
            </p:nvSpPr>
            <p:spPr bwMode="auto">
              <a:xfrm>
                <a:off x="8813801" y="3230760"/>
                <a:ext cx="161925" cy="10795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68" name="Line 62">
                <a:extLst>
                  <a:ext uri="{FF2B5EF4-FFF2-40B4-BE49-F238E27FC236}">
                    <a16:creationId xmlns:a16="http://schemas.microsoft.com/office/drawing/2014/main" id="{EA8B3CFA-B880-44DA-AE60-CB7881E58046}"/>
                  </a:ext>
                </a:extLst>
              </p:cNvPr>
              <p:cNvSpPr>
                <a:spLocks noChangeShapeType="1"/>
              </p:cNvSpPr>
              <p:nvPr/>
            </p:nvSpPr>
            <p:spPr bwMode="auto">
              <a:xfrm>
                <a:off x="8867776" y="3338710"/>
                <a:ext cx="53975"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69" name="Line 63">
                <a:extLst>
                  <a:ext uri="{FF2B5EF4-FFF2-40B4-BE49-F238E27FC236}">
                    <a16:creationId xmlns:a16="http://schemas.microsoft.com/office/drawing/2014/main" id="{91FB0572-FEDB-4692-88DE-81FD9B2EE4BF}"/>
                  </a:ext>
                </a:extLst>
              </p:cNvPr>
              <p:cNvSpPr>
                <a:spLocks noChangeShapeType="1"/>
              </p:cNvSpPr>
              <p:nvPr/>
            </p:nvSpPr>
            <p:spPr bwMode="auto">
              <a:xfrm flipH="1">
                <a:off x="8845551" y="3370460"/>
                <a:ext cx="98425"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70" name="Rectangle 64">
                <a:extLst>
                  <a:ext uri="{FF2B5EF4-FFF2-40B4-BE49-F238E27FC236}">
                    <a16:creationId xmlns:a16="http://schemas.microsoft.com/office/drawing/2014/main" id="{A1927AE8-B24C-4563-BB1E-68FBC9585555}"/>
                  </a:ext>
                </a:extLst>
              </p:cNvPr>
              <p:cNvSpPr>
                <a:spLocks noChangeArrowheads="1"/>
              </p:cNvSpPr>
              <p:nvPr/>
            </p:nvSpPr>
            <p:spPr bwMode="auto">
              <a:xfrm>
                <a:off x="9120189" y="3230760"/>
                <a:ext cx="161925" cy="10795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71" name="Line 65">
                <a:extLst>
                  <a:ext uri="{FF2B5EF4-FFF2-40B4-BE49-F238E27FC236}">
                    <a16:creationId xmlns:a16="http://schemas.microsoft.com/office/drawing/2014/main" id="{15D567F3-9F5E-45FF-B155-7353C6E4109F}"/>
                  </a:ext>
                </a:extLst>
              </p:cNvPr>
              <p:cNvSpPr>
                <a:spLocks noChangeShapeType="1"/>
              </p:cNvSpPr>
              <p:nvPr/>
            </p:nvSpPr>
            <p:spPr bwMode="auto">
              <a:xfrm>
                <a:off x="9174164" y="3338710"/>
                <a:ext cx="58738"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72" name="Line 66">
                <a:extLst>
                  <a:ext uri="{FF2B5EF4-FFF2-40B4-BE49-F238E27FC236}">
                    <a16:creationId xmlns:a16="http://schemas.microsoft.com/office/drawing/2014/main" id="{6E08C35D-294F-4386-82EF-4931D2C09C51}"/>
                  </a:ext>
                </a:extLst>
              </p:cNvPr>
              <p:cNvSpPr>
                <a:spLocks noChangeShapeType="1"/>
              </p:cNvSpPr>
              <p:nvPr/>
            </p:nvSpPr>
            <p:spPr bwMode="auto">
              <a:xfrm flipH="1">
                <a:off x="9151939" y="3370460"/>
                <a:ext cx="98425"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73" name="Freeform 67">
                <a:extLst>
                  <a:ext uri="{FF2B5EF4-FFF2-40B4-BE49-F238E27FC236}">
                    <a16:creationId xmlns:a16="http://schemas.microsoft.com/office/drawing/2014/main" id="{8C9AABF8-8BAA-4F73-BD41-6FA6E470B305}"/>
                  </a:ext>
                </a:extLst>
              </p:cNvPr>
              <p:cNvSpPr>
                <a:spLocks/>
              </p:cNvSpPr>
              <p:nvPr/>
            </p:nvSpPr>
            <p:spPr bwMode="auto">
              <a:xfrm>
                <a:off x="8894764" y="3105348"/>
                <a:ext cx="153988" cy="76200"/>
              </a:xfrm>
              <a:custGeom>
                <a:avLst/>
                <a:gdLst>
                  <a:gd name="T0" fmla="*/ 97 w 97"/>
                  <a:gd name="T1" fmla="*/ 0 h 48"/>
                  <a:gd name="T2" fmla="*/ 97 w 97"/>
                  <a:gd name="T3" fmla="*/ 25 h 48"/>
                  <a:gd name="T4" fmla="*/ 0 w 97"/>
                  <a:gd name="T5" fmla="*/ 25 h 48"/>
                  <a:gd name="T6" fmla="*/ 0 w 97"/>
                  <a:gd name="T7" fmla="*/ 48 h 48"/>
                </a:gdLst>
                <a:ahLst/>
                <a:cxnLst>
                  <a:cxn ang="0">
                    <a:pos x="T0" y="T1"/>
                  </a:cxn>
                  <a:cxn ang="0">
                    <a:pos x="T2" y="T3"/>
                  </a:cxn>
                  <a:cxn ang="0">
                    <a:pos x="T4" y="T5"/>
                  </a:cxn>
                  <a:cxn ang="0">
                    <a:pos x="T6" y="T7"/>
                  </a:cxn>
                </a:cxnLst>
                <a:rect l="0" t="0" r="r" b="b"/>
                <a:pathLst>
                  <a:path w="97" h="48">
                    <a:moveTo>
                      <a:pt x="97" y="0"/>
                    </a:moveTo>
                    <a:lnTo>
                      <a:pt x="97" y="25"/>
                    </a:lnTo>
                    <a:lnTo>
                      <a:pt x="0" y="25"/>
                    </a:lnTo>
                    <a:lnTo>
                      <a:pt x="0" y="48"/>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74" name="Freeform 68">
                <a:extLst>
                  <a:ext uri="{FF2B5EF4-FFF2-40B4-BE49-F238E27FC236}">
                    <a16:creationId xmlns:a16="http://schemas.microsoft.com/office/drawing/2014/main" id="{FF45D016-700A-4376-A744-F87E9FD285AD}"/>
                  </a:ext>
                </a:extLst>
              </p:cNvPr>
              <p:cNvSpPr>
                <a:spLocks/>
              </p:cNvSpPr>
              <p:nvPr/>
            </p:nvSpPr>
            <p:spPr bwMode="auto">
              <a:xfrm>
                <a:off x="9048751" y="3145035"/>
                <a:ext cx="147638" cy="36513"/>
              </a:xfrm>
              <a:custGeom>
                <a:avLst/>
                <a:gdLst>
                  <a:gd name="T0" fmla="*/ 0 w 93"/>
                  <a:gd name="T1" fmla="*/ 0 h 23"/>
                  <a:gd name="T2" fmla="*/ 93 w 93"/>
                  <a:gd name="T3" fmla="*/ 0 h 23"/>
                  <a:gd name="T4" fmla="*/ 93 w 93"/>
                  <a:gd name="T5" fmla="*/ 23 h 23"/>
                </a:gdLst>
                <a:ahLst/>
                <a:cxnLst>
                  <a:cxn ang="0">
                    <a:pos x="T0" y="T1"/>
                  </a:cxn>
                  <a:cxn ang="0">
                    <a:pos x="T2" y="T3"/>
                  </a:cxn>
                  <a:cxn ang="0">
                    <a:pos x="T4" y="T5"/>
                  </a:cxn>
                </a:cxnLst>
                <a:rect l="0" t="0" r="r" b="b"/>
                <a:pathLst>
                  <a:path w="93" h="23">
                    <a:moveTo>
                      <a:pt x="0" y="0"/>
                    </a:moveTo>
                    <a:lnTo>
                      <a:pt x="93" y="0"/>
                    </a:lnTo>
                    <a:lnTo>
                      <a:pt x="93" y="2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sp>
        <p:nvSpPr>
          <p:cNvPr id="202" name="TextBox 201">
            <a:extLst>
              <a:ext uri="{FF2B5EF4-FFF2-40B4-BE49-F238E27FC236}">
                <a16:creationId xmlns:a16="http://schemas.microsoft.com/office/drawing/2014/main" id="{68DCDEED-A85F-41AD-A1DE-F97BB25B0929}"/>
              </a:ext>
            </a:extLst>
          </p:cNvPr>
          <p:cNvSpPr txBox="1"/>
          <p:nvPr/>
        </p:nvSpPr>
        <p:spPr>
          <a:xfrm>
            <a:off x="731306" y="2665459"/>
            <a:ext cx="4959099" cy="373949"/>
          </a:xfrm>
          <a:prstGeom prst="rect">
            <a:avLst/>
          </a:prstGeom>
          <a:noFill/>
        </p:spPr>
        <p:txBody>
          <a:bodyPr wrap="square" lIns="0" tIns="0" rIns="0" bIns="0" rtlCol="0" anchor="t">
            <a:spAutoFit/>
          </a:bodyPr>
          <a:lstStyle>
            <a:defPPr>
              <a:defRPr lang="en-US"/>
            </a:defPPr>
            <a:lvl1pPr lvl="0" algn="just" defTabSz="742950">
              <a:lnSpc>
                <a:spcPct val="90000"/>
              </a:lnSpc>
              <a:spcBef>
                <a:spcPts val="300"/>
              </a:spcBef>
              <a:spcAft>
                <a:spcPts val="600"/>
              </a:spcAft>
              <a:buFont typeface="Arial" panose="020B0604020202020204" pitchFamily="34" charset="0"/>
              <a:buChar char="​"/>
              <a:defRPr sz="1100">
                <a:solidFill>
                  <a:srgbClr val="1F2023"/>
                </a:solidFill>
                <a:latin typeface="Arial"/>
              </a:defRPr>
            </a:lvl1pPr>
          </a:lstStyle>
          <a:p>
            <a:pPr algn="l"/>
            <a:r>
              <a:rPr lang="da-DK" sz="900">
                <a:cs typeface="Segoe UI"/>
              </a:rPr>
              <a:t>IndFak understøtter samtlige forretningsprocesser fra ordreafgivelse og modtagelse af handelsbilag, til efterfølgende kontering og godkendelse, forud for aflevering af modtagne handelsbilag til Navision Stat. IndFak </a:t>
            </a:r>
            <a:r>
              <a:rPr lang="en-US" sz="900">
                <a:cs typeface="Segoe UI"/>
              </a:rPr>
              <a:t>​​</a:t>
            </a:r>
            <a:r>
              <a:rPr lang="da-DK" sz="900">
                <a:cs typeface="Segoe UI"/>
              </a:rPr>
              <a:t>indeholder den nedenfor illustrerede kernefunktionalitet.​</a:t>
            </a:r>
          </a:p>
        </p:txBody>
      </p:sp>
      <p:sp>
        <p:nvSpPr>
          <p:cNvPr id="203" name="Rectangle 202">
            <a:extLst>
              <a:ext uri="{FF2B5EF4-FFF2-40B4-BE49-F238E27FC236}">
                <a16:creationId xmlns:a16="http://schemas.microsoft.com/office/drawing/2014/main" id="{77B76EE0-26B8-4D44-AFE0-A3E1059C5AAD}"/>
              </a:ext>
            </a:extLst>
          </p:cNvPr>
          <p:cNvSpPr/>
          <p:nvPr/>
        </p:nvSpPr>
        <p:spPr>
          <a:xfrm>
            <a:off x="7044856" y="6093479"/>
            <a:ext cx="2099143" cy="791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4" name="Rectangle 203">
            <a:extLst>
              <a:ext uri="{FF2B5EF4-FFF2-40B4-BE49-F238E27FC236}">
                <a16:creationId xmlns:a16="http://schemas.microsoft.com/office/drawing/2014/main" id="{83E50BDA-E540-4868-BD97-145CC0E07D59}"/>
              </a:ext>
            </a:extLst>
          </p:cNvPr>
          <p:cNvSpPr/>
          <p:nvPr/>
        </p:nvSpPr>
        <p:spPr>
          <a:xfrm>
            <a:off x="6948488" y="6004167"/>
            <a:ext cx="2099143" cy="791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5" name="Pladsholder til diasnummer 5">
            <a:extLst>
              <a:ext uri="{FF2B5EF4-FFF2-40B4-BE49-F238E27FC236}">
                <a16:creationId xmlns:a16="http://schemas.microsoft.com/office/drawing/2014/main" id="{33D8F419-5DD9-4C22-87B6-5D7EF620DE90}"/>
              </a:ext>
            </a:extLst>
          </p:cNvPr>
          <p:cNvSpPr txBox="1">
            <a:spLocks/>
          </p:cNvSpPr>
          <p:nvPr/>
        </p:nvSpPr>
        <p:spPr>
          <a:xfrm>
            <a:off x="4105275" y="6202855"/>
            <a:ext cx="990600" cy="297265"/>
          </a:xfrm>
          <a:prstGeom prst="rect">
            <a:avLst/>
          </a:prstGeom>
        </p:spPr>
        <p:txBody>
          <a:bodyPr/>
          <a:lstStyle>
            <a:defPPr>
              <a:defRPr lang="da-DK"/>
            </a:defPPr>
            <a:lvl1pPr marL="0" algn="r" defTabSz="914400" rtl="0" eaLnBrk="1" latinLnBrk="0" hangingPunct="1">
              <a:defRPr sz="1400" kern="1200">
                <a:solidFill>
                  <a:schemeClr val="accent6"/>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900" b="0">
                <a:solidFill>
                  <a:schemeClr val="tx1"/>
                </a:solidFill>
                <a:latin typeface="Verdana" panose="020B0604030504040204" pitchFamily="34" charset="0"/>
                <a:ea typeface="Verdana" panose="020B0604030504040204" pitchFamily="34" charset="0"/>
                <a:cs typeface="Verdana" panose="020B0604030504040204" pitchFamily="34" charset="0"/>
              </a:rPr>
              <a:t>Side </a:t>
            </a:r>
            <a:fld id="{C7AC859A-AE19-4543-AC75-3D2F5ABF6574}" type="slidenum">
              <a:rPr lang="da-DK" sz="900" b="0" dirty="0" smtClean="0">
                <a:solidFill>
                  <a:schemeClr val="tx1"/>
                </a:solidFill>
                <a:latin typeface="Verdana" panose="020B0604030504040204" pitchFamily="34" charset="0"/>
                <a:ea typeface="Verdana" panose="020B0604030504040204" pitchFamily="34" charset="0"/>
                <a:cs typeface="Verdana" panose="020B0604030504040204" pitchFamily="34" charset="0"/>
              </a:rPr>
              <a:pPr algn="ctr"/>
              <a:t>6</a:t>
            </a:fld>
            <a:endParaRPr lang="da-DK" sz="900" b="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itle 1">
            <a:extLst>
              <a:ext uri="{FF2B5EF4-FFF2-40B4-BE49-F238E27FC236}">
                <a16:creationId xmlns:a16="http://schemas.microsoft.com/office/drawing/2014/main" id="{C7967F1A-D350-4E34-9257-2CB189ECBD56}"/>
              </a:ext>
            </a:extLst>
          </p:cNvPr>
          <p:cNvSpPr>
            <a:spLocks noGrp="1"/>
          </p:cNvSpPr>
          <p:nvPr>
            <p:ph type="title"/>
          </p:nvPr>
        </p:nvSpPr>
        <p:spPr>
          <a:xfrm>
            <a:off x="219075" y="355602"/>
            <a:ext cx="7981950" cy="689476"/>
          </a:xfrm>
        </p:spPr>
        <p:txBody>
          <a:bodyPr lIns="91440" tIns="45720" rIns="91440" bIns="45720" anchor="b">
            <a:noAutofit/>
          </a:bodyPr>
          <a:lstStyle/>
          <a:p>
            <a:r>
              <a:rPr lang="da-DK" sz="2450" b="0">
                <a:solidFill>
                  <a:schemeClr val="tx1"/>
                </a:solidFill>
                <a:latin typeface="Impact"/>
                <a:ea typeface="Verdana"/>
                <a:cs typeface="Verdana"/>
              </a:rPr>
              <a:t>1. BAGGRUND OG FORMÅL</a:t>
            </a:r>
            <a:r>
              <a:rPr lang="da-DK" sz="2450" b="0">
                <a:latin typeface="Impact" panose="020B0806030902050204" pitchFamily="34" charset="0"/>
              </a:rPr>
              <a:t/>
            </a:r>
            <a:br>
              <a:rPr lang="da-DK" sz="2450" b="0">
                <a:latin typeface="Impact" panose="020B0806030902050204" pitchFamily="34" charset="0"/>
              </a:rPr>
            </a:br>
            <a:r>
              <a:rPr lang="da-DK" sz="2450" b="0">
                <a:solidFill>
                  <a:schemeClr val="tx1"/>
                </a:solidFill>
                <a:latin typeface="Impact"/>
                <a:ea typeface="Verdana"/>
                <a:cs typeface="Verdana"/>
              </a:rPr>
              <a:t> </a:t>
            </a:r>
            <a:endParaRPr lang="da-DK" sz="2450" b="0">
              <a:solidFill>
                <a:schemeClr val="tx1"/>
              </a:solidFill>
              <a:latin typeface="Impact"/>
            </a:endParaRPr>
          </a:p>
        </p:txBody>
      </p:sp>
      <p:sp>
        <p:nvSpPr>
          <p:cNvPr id="11" name="Content Placeholder 7">
            <a:extLst>
              <a:ext uri="{FF2B5EF4-FFF2-40B4-BE49-F238E27FC236}">
                <a16:creationId xmlns:a16="http://schemas.microsoft.com/office/drawing/2014/main" id="{CF7EE9D3-86E4-4F77-8BCE-8C192E7B9719}"/>
              </a:ext>
            </a:extLst>
          </p:cNvPr>
          <p:cNvSpPr txBox="1">
            <a:spLocks/>
          </p:cNvSpPr>
          <p:nvPr/>
        </p:nvSpPr>
        <p:spPr>
          <a:xfrm>
            <a:off x="1301032" y="2062102"/>
            <a:ext cx="4788790" cy="184666"/>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da-DK" sz="1200" b="1">
                <a:latin typeface="+mj-lt"/>
              </a:rPr>
              <a:t>1.1 Baggrund og formål</a:t>
            </a:r>
          </a:p>
        </p:txBody>
      </p:sp>
      <p:grpSp>
        <p:nvGrpSpPr>
          <p:cNvPr id="12" name="Group 11">
            <a:extLst>
              <a:ext uri="{FF2B5EF4-FFF2-40B4-BE49-F238E27FC236}">
                <a16:creationId xmlns:a16="http://schemas.microsoft.com/office/drawing/2014/main" id="{85D7427C-A694-4C32-BD29-1522E000EF02}"/>
              </a:ext>
            </a:extLst>
          </p:cNvPr>
          <p:cNvGrpSpPr/>
          <p:nvPr/>
        </p:nvGrpSpPr>
        <p:grpSpPr>
          <a:xfrm>
            <a:off x="731808" y="1887959"/>
            <a:ext cx="508793" cy="513917"/>
            <a:chOff x="8933753" y="3169155"/>
            <a:chExt cx="473075" cy="477837"/>
          </a:xfrm>
        </p:grpSpPr>
        <p:sp>
          <p:nvSpPr>
            <p:cNvPr id="193" name="Oval 127">
              <a:extLst>
                <a:ext uri="{FF2B5EF4-FFF2-40B4-BE49-F238E27FC236}">
                  <a16:creationId xmlns:a16="http://schemas.microsoft.com/office/drawing/2014/main" id="{6475C4F2-EE5B-4B61-958F-10D4B562310F}"/>
                </a:ext>
              </a:extLst>
            </p:cNvPr>
            <p:cNvSpPr>
              <a:spLocks noChangeArrowheads="1"/>
            </p:cNvSpPr>
            <p:nvPr/>
          </p:nvSpPr>
          <p:spPr bwMode="auto">
            <a:xfrm>
              <a:off x="8975028" y="3250117"/>
              <a:ext cx="319088" cy="320675"/>
            </a:xfrm>
            <a:prstGeom prst="ellipse">
              <a:avLst/>
            </a:pr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194" name="Group 193">
              <a:extLst>
                <a:ext uri="{FF2B5EF4-FFF2-40B4-BE49-F238E27FC236}">
                  <a16:creationId xmlns:a16="http://schemas.microsoft.com/office/drawing/2014/main" id="{0218A293-D40C-4E96-8128-C25D32F6B334}"/>
                </a:ext>
              </a:extLst>
            </p:cNvPr>
            <p:cNvGrpSpPr/>
            <p:nvPr/>
          </p:nvGrpSpPr>
          <p:grpSpPr>
            <a:xfrm>
              <a:off x="8933753" y="3169155"/>
              <a:ext cx="473075" cy="477837"/>
              <a:chOff x="8933753" y="3169155"/>
              <a:chExt cx="473075" cy="477837"/>
            </a:xfrm>
          </p:grpSpPr>
          <p:sp>
            <p:nvSpPr>
              <p:cNvPr id="195" name="Freeform 128">
                <a:extLst>
                  <a:ext uri="{FF2B5EF4-FFF2-40B4-BE49-F238E27FC236}">
                    <a16:creationId xmlns:a16="http://schemas.microsoft.com/office/drawing/2014/main" id="{0F6B65FC-8599-4B46-9E6D-502E41223B71}"/>
                  </a:ext>
                </a:extLst>
              </p:cNvPr>
              <p:cNvSpPr>
                <a:spLocks/>
              </p:cNvSpPr>
              <p:nvPr/>
            </p:nvSpPr>
            <p:spPr bwMode="auto">
              <a:xfrm>
                <a:off x="9132191" y="3372355"/>
                <a:ext cx="71438" cy="71438"/>
              </a:xfrm>
              <a:custGeom>
                <a:avLst/>
                <a:gdLst>
                  <a:gd name="T0" fmla="*/ 16 w 16"/>
                  <a:gd name="T1" fmla="*/ 8 h 16"/>
                  <a:gd name="T2" fmla="*/ 8 w 16"/>
                  <a:gd name="T3" fmla="*/ 16 h 16"/>
                  <a:gd name="T4" fmla="*/ 1 w 16"/>
                  <a:gd name="T5" fmla="*/ 8 h 16"/>
                  <a:gd name="T6" fmla="*/ 8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6" y="12"/>
                      <a:pt x="13" y="16"/>
                      <a:pt x="8" y="16"/>
                    </a:cubicBezTo>
                    <a:cubicBezTo>
                      <a:pt x="4" y="16"/>
                      <a:pt x="1" y="13"/>
                      <a:pt x="1" y="8"/>
                    </a:cubicBezTo>
                    <a:cubicBezTo>
                      <a:pt x="0" y="4"/>
                      <a:pt x="4" y="0"/>
                      <a:pt x="8" y="0"/>
                    </a:cubicBezTo>
                    <a:cubicBezTo>
                      <a:pt x="13" y="0"/>
                      <a:pt x="16" y="4"/>
                      <a:pt x="16" y="8"/>
                    </a:cubicBezTo>
                    <a:close/>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96" name="Line 129">
                <a:extLst>
                  <a:ext uri="{FF2B5EF4-FFF2-40B4-BE49-F238E27FC236}">
                    <a16:creationId xmlns:a16="http://schemas.microsoft.com/office/drawing/2014/main" id="{6F341FBE-EBD4-491A-95B5-A3DE1DEB0C89}"/>
                  </a:ext>
                </a:extLst>
              </p:cNvPr>
              <p:cNvSpPr>
                <a:spLocks noChangeShapeType="1"/>
              </p:cNvSpPr>
              <p:nvPr/>
            </p:nvSpPr>
            <p:spPr bwMode="auto">
              <a:xfrm>
                <a:off x="9168703" y="3169155"/>
                <a:ext cx="0" cy="8572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97" name="Line 130">
                <a:extLst>
                  <a:ext uri="{FF2B5EF4-FFF2-40B4-BE49-F238E27FC236}">
                    <a16:creationId xmlns:a16="http://schemas.microsoft.com/office/drawing/2014/main" id="{7178ED77-E280-4C70-BCE0-D7ACE8F32542}"/>
                  </a:ext>
                </a:extLst>
              </p:cNvPr>
              <p:cNvSpPr>
                <a:spLocks noChangeShapeType="1"/>
              </p:cNvSpPr>
              <p:nvPr/>
            </p:nvSpPr>
            <p:spPr bwMode="auto">
              <a:xfrm>
                <a:off x="9171878" y="3561267"/>
                <a:ext cx="0" cy="8572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98" name="Line 131">
                <a:extLst>
                  <a:ext uri="{FF2B5EF4-FFF2-40B4-BE49-F238E27FC236}">
                    <a16:creationId xmlns:a16="http://schemas.microsoft.com/office/drawing/2014/main" id="{96C7A195-2CE1-491F-B2E2-50E3ACAE8670}"/>
                  </a:ext>
                </a:extLst>
              </p:cNvPr>
              <p:cNvSpPr>
                <a:spLocks noChangeShapeType="1"/>
              </p:cNvSpPr>
              <p:nvPr/>
            </p:nvSpPr>
            <p:spPr bwMode="auto">
              <a:xfrm flipH="1">
                <a:off x="9321103" y="3404105"/>
                <a:ext cx="85725"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99" name="Line 132">
                <a:extLst>
                  <a:ext uri="{FF2B5EF4-FFF2-40B4-BE49-F238E27FC236}">
                    <a16:creationId xmlns:a16="http://schemas.microsoft.com/office/drawing/2014/main" id="{EB4B6DA0-B23F-498A-A009-A9167E8172BE}"/>
                  </a:ext>
                </a:extLst>
              </p:cNvPr>
              <p:cNvSpPr>
                <a:spLocks noChangeShapeType="1"/>
              </p:cNvSpPr>
              <p:nvPr/>
            </p:nvSpPr>
            <p:spPr bwMode="auto">
              <a:xfrm flipH="1">
                <a:off x="8933753" y="3408867"/>
                <a:ext cx="85725" cy="4763"/>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00" name="Freeform 133">
                <a:extLst>
                  <a:ext uri="{FF2B5EF4-FFF2-40B4-BE49-F238E27FC236}">
                    <a16:creationId xmlns:a16="http://schemas.microsoft.com/office/drawing/2014/main" id="{BE6AE745-C95B-4631-99D3-6FDC6557E004}"/>
                  </a:ext>
                </a:extLst>
              </p:cNvPr>
              <p:cNvSpPr>
                <a:spLocks/>
              </p:cNvSpPr>
              <p:nvPr/>
            </p:nvSpPr>
            <p:spPr bwMode="auto">
              <a:xfrm>
                <a:off x="8970266" y="3210430"/>
                <a:ext cx="395288" cy="396875"/>
              </a:xfrm>
              <a:custGeom>
                <a:avLst/>
                <a:gdLst>
                  <a:gd name="T0" fmla="*/ 45 w 88"/>
                  <a:gd name="T1" fmla="*/ 88 h 88"/>
                  <a:gd name="T2" fmla="*/ 0 w 88"/>
                  <a:gd name="T3" fmla="*/ 45 h 88"/>
                  <a:gd name="T4" fmla="*/ 44 w 88"/>
                  <a:gd name="T5" fmla="*/ 0 h 88"/>
                  <a:gd name="T6" fmla="*/ 88 w 88"/>
                  <a:gd name="T7" fmla="*/ 44 h 88"/>
                  <a:gd name="T8" fmla="*/ 73 w 88"/>
                  <a:gd name="T9" fmla="*/ 78 h 88"/>
                </a:gdLst>
                <a:ahLst/>
                <a:cxnLst>
                  <a:cxn ang="0">
                    <a:pos x="T0" y="T1"/>
                  </a:cxn>
                  <a:cxn ang="0">
                    <a:pos x="T2" y="T3"/>
                  </a:cxn>
                  <a:cxn ang="0">
                    <a:pos x="T4" y="T5"/>
                  </a:cxn>
                  <a:cxn ang="0">
                    <a:pos x="T6" y="T7"/>
                  </a:cxn>
                  <a:cxn ang="0">
                    <a:pos x="T8" y="T9"/>
                  </a:cxn>
                </a:cxnLst>
                <a:rect l="0" t="0" r="r" b="b"/>
                <a:pathLst>
                  <a:path w="88" h="88">
                    <a:moveTo>
                      <a:pt x="45" y="88"/>
                    </a:moveTo>
                    <a:cubicBezTo>
                      <a:pt x="21" y="88"/>
                      <a:pt x="1" y="69"/>
                      <a:pt x="0" y="45"/>
                    </a:cubicBezTo>
                    <a:cubicBezTo>
                      <a:pt x="0" y="20"/>
                      <a:pt x="20" y="1"/>
                      <a:pt x="44" y="0"/>
                    </a:cubicBezTo>
                    <a:cubicBezTo>
                      <a:pt x="68" y="0"/>
                      <a:pt x="88" y="19"/>
                      <a:pt x="88" y="44"/>
                    </a:cubicBezTo>
                    <a:cubicBezTo>
                      <a:pt x="88" y="57"/>
                      <a:pt x="82" y="69"/>
                      <a:pt x="73" y="78"/>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sp>
        <p:nvSpPr>
          <p:cNvPr id="3" name="TextBox 2">
            <a:extLst>
              <a:ext uri="{FF2B5EF4-FFF2-40B4-BE49-F238E27FC236}">
                <a16:creationId xmlns:a16="http://schemas.microsoft.com/office/drawing/2014/main" id="{5B8E49B7-BDAB-4C21-BA40-C50C7F0F2715}"/>
              </a:ext>
            </a:extLst>
          </p:cNvPr>
          <p:cNvSpPr txBox="1"/>
          <p:nvPr/>
        </p:nvSpPr>
        <p:spPr>
          <a:xfrm>
            <a:off x="219727" y="6450530"/>
            <a:ext cx="6421955" cy="215444"/>
          </a:xfrm>
          <a:prstGeom prst="rect">
            <a:avLst/>
          </a:prstGeom>
          <a:noFill/>
        </p:spPr>
        <p:txBody>
          <a:bodyPr wrap="square" lIns="91440" tIns="45720" rIns="91440" bIns="45720" anchor="t">
            <a:spAutoFit/>
          </a:bodyPr>
          <a:lstStyle/>
          <a:p>
            <a:r>
              <a:rPr lang="da-DK" sz="800" i="1"/>
              <a:t>Kilde: </a:t>
            </a:r>
            <a:r>
              <a:rPr lang="da-DK" sz="800" b="0" i="0">
                <a:effectLst/>
                <a:latin typeface="Segoe UI"/>
                <a:cs typeface="Segoe UI"/>
                <a:hlinkClick r:id="rId4" tooltip="https://oes.dk/media/32859/indfak_produkstrategi_web.pdf">
                  <a:extLst>
                    <a:ext uri="{A12FA001-AC4F-418D-AE19-62706E023703}">
                      <ahyp:hlinkClr xmlns="" xmlns:ahyp="http://schemas.microsoft.com/office/drawing/2018/hyperlinkcolor" val="tx"/>
                    </a:ext>
                  </a:extLst>
                </a:hlinkClick>
              </a:rPr>
              <a:t>https://oes.dk/media/32859/indfak_produkstrategi_web.pdf</a:t>
            </a:r>
            <a:endParaRPr lang="da-DK" sz="800" b="0" i="0">
              <a:effectLst/>
              <a:latin typeface="Segoe UI"/>
              <a:cs typeface="Segoe UI"/>
            </a:endParaRPr>
          </a:p>
        </p:txBody>
      </p:sp>
      <p:sp>
        <p:nvSpPr>
          <p:cNvPr id="4" name="Rectangle 3">
            <a:extLst>
              <a:ext uri="{FF2B5EF4-FFF2-40B4-BE49-F238E27FC236}">
                <a16:creationId xmlns:a16="http://schemas.microsoft.com/office/drawing/2014/main" id="{48AEE919-D4C9-4C84-BBA6-D563E11909C1}"/>
              </a:ext>
            </a:extLst>
          </p:cNvPr>
          <p:cNvSpPr/>
          <p:nvPr/>
        </p:nvSpPr>
        <p:spPr>
          <a:xfrm>
            <a:off x="249115" y="6665974"/>
            <a:ext cx="409646" cy="169327"/>
          </a:xfrm>
          <a:prstGeom prst="rect">
            <a:avLst/>
          </a:prstGeom>
          <a:solidFill>
            <a:srgbClr val="FBF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custDataLst>
      <p:tags r:id="rId1"/>
    </p:custDataLst>
    <p:extLst>
      <p:ext uri="{BB962C8B-B14F-4D97-AF65-F5344CB8AC3E}">
        <p14:creationId xmlns:p14="http://schemas.microsoft.com/office/powerpoint/2010/main" val="3214822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8336E-2A2E-426F-8620-7A6F924521AE}"/>
              </a:ext>
            </a:extLst>
          </p:cNvPr>
          <p:cNvSpPr>
            <a:spLocks noGrp="1"/>
          </p:cNvSpPr>
          <p:nvPr>
            <p:ph type="title"/>
          </p:nvPr>
        </p:nvSpPr>
        <p:spPr>
          <a:xfrm>
            <a:off x="257175" y="327027"/>
            <a:ext cx="7981950" cy="689476"/>
          </a:xfrm>
        </p:spPr>
        <p:txBody>
          <a:bodyPr>
            <a:normAutofit fontScale="90000"/>
          </a:bodyPr>
          <a:lstStyle/>
          <a:p>
            <a:r>
              <a:rPr lang="da-DK" sz="2800" b="0">
                <a:solidFill>
                  <a:schemeClr val="tx1"/>
                </a:solidFill>
                <a:latin typeface="Impact" panose="020B0806030902050204" pitchFamily="34" charset="0"/>
              </a:rPr>
              <a:t>2. Leverandøren</a:t>
            </a:r>
            <a:r>
              <a:rPr lang="da-DK"/>
              <a:t/>
            </a:r>
            <a:br>
              <a:rPr lang="da-DK"/>
            </a:br>
            <a:r>
              <a:rPr lang="da-DK"/>
              <a:t> </a:t>
            </a:r>
          </a:p>
        </p:txBody>
      </p:sp>
      <p:sp>
        <p:nvSpPr>
          <p:cNvPr id="4" name="Rectangle 3">
            <a:extLst>
              <a:ext uri="{FF2B5EF4-FFF2-40B4-BE49-F238E27FC236}">
                <a16:creationId xmlns:a16="http://schemas.microsoft.com/office/drawing/2014/main" id="{65BA7B73-4E01-4DC6-AD70-424C423B8512}"/>
              </a:ext>
            </a:extLst>
          </p:cNvPr>
          <p:cNvSpPr/>
          <p:nvPr/>
        </p:nvSpPr>
        <p:spPr>
          <a:xfrm>
            <a:off x="0" y="1628775"/>
            <a:ext cx="6535971" cy="5229225"/>
          </a:xfrm>
          <a:prstGeom prst="rect">
            <a:avLst/>
          </a:prstGeom>
          <a:solidFill>
            <a:srgbClr val="FBF9F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algn="l"/>
            <a:endParaRPr lang="da-DK" sz="923">
              <a:solidFill>
                <a:srgbClr val="2F363B"/>
              </a:solidFill>
            </a:endParaRPr>
          </a:p>
        </p:txBody>
      </p:sp>
      <p:sp>
        <p:nvSpPr>
          <p:cNvPr id="5" name="Content Placeholder 7">
            <a:extLst>
              <a:ext uri="{FF2B5EF4-FFF2-40B4-BE49-F238E27FC236}">
                <a16:creationId xmlns:a16="http://schemas.microsoft.com/office/drawing/2014/main" id="{3E7B5754-B9C8-410C-A00D-A5322E7EA8E8}"/>
              </a:ext>
            </a:extLst>
          </p:cNvPr>
          <p:cNvSpPr txBox="1">
            <a:spLocks/>
          </p:cNvSpPr>
          <p:nvPr/>
        </p:nvSpPr>
        <p:spPr>
          <a:xfrm>
            <a:off x="6185705" y="1196975"/>
            <a:ext cx="2239157" cy="3813175"/>
          </a:xfrm>
          <a:prstGeom prst="rect">
            <a:avLst/>
          </a:prstGeom>
          <a:solidFill>
            <a:srgbClr val="C3CFCB"/>
          </a:solidFill>
          <a:ln w="635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6800" tIns="136800" rIns="136800" bIns="136800" numCol="1" spcCol="0" rtlCol="0" fromWordArt="0" anchor="t" anchorCtr="0" forceAA="0" compatLnSpc="1">
            <a:prstTxWarp prst="textNoShape">
              <a:avLst/>
            </a:prstTxWarp>
            <a:noAutofit/>
          </a:bodyPr>
          <a:lstStyle>
            <a:defPPr>
              <a:defRPr lang="en-US"/>
            </a:defPPr>
            <a:lvl1pPr marL="0" indent="0" algn="l" defTabSz="914400" rtl="0" eaLnBrk="1" latinLnBrk="0" hangingPunct="1">
              <a:lnSpc>
                <a:spcPct val="150000"/>
              </a:lnSpc>
              <a:spcBef>
                <a:spcPts val="0"/>
              </a:spcBef>
              <a:buFont typeface="Arial" panose="020B0604020202020204" pitchFamily="34" charset="0"/>
              <a:buNone/>
              <a:defRPr sz="1100" kern="1200">
                <a:solidFill>
                  <a:srgbClr val="2F363B"/>
                </a:solidFill>
                <a:latin typeface="Verdana" panose="020B0604030504040204" pitchFamily="34" charset="0"/>
                <a:ea typeface="Verdana" panose="020B0604030504040204" pitchFamily="34" charset="0"/>
                <a:cs typeface="Verdana" panose="020B0604030504040204" pitchFamily="34" charset="0"/>
              </a:defRPr>
            </a:lvl1pPr>
            <a:lvl2pPr marL="0" lvl="1" indent="0" algn="l" defTabSz="914400" rtl="0" eaLnBrk="1" latinLnBrk="0" hangingPunct="1">
              <a:lnSpc>
                <a:spcPct val="150000"/>
              </a:lnSpc>
              <a:spcBef>
                <a:spcPts val="0"/>
              </a:spcBef>
              <a:buSzPct val="100000"/>
              <a:buFont typeface="Arial" panose="020B0604020202020204" pitchFamily="34" charset="0"/>
              <a:buChar char="​"/>
              <a:defRPr sz="1100" kern="1200">
                <a:solidFill>
                  <a:srgbClr val="2F363B"/>
                </a:solidFill>
                <a:latin typeface="Arial" panose="020B0604020202020204" pitchFamily="34" charset="0"/>
                <a:ea typeface="Verdana" panose="020B0604030504040204" pitchFamily="34" charset="0"/>
                <a:cs typeface="Verdana" panose="020B0604030504040204" pitchFamily="34" charset="0"/>
              </a:defRPr>
            </a:lvl2pPr>
            <a:lvl3pPr marL="1257300" indent="-342900" algn="l" defTabSz="914400" rtl="0" eaLnBrk="1" latinLnBrk="0" hangingPunct="1">
              <a:lnSpc>
                <a:spcPct val="150000"/>
              </a:lnSpc>
              <a:spcBef>
                <a:spcPts val="0"/>
              </a:spcBef>
              <a:buFont typeface="Courier New" panose="02070309020205020404" pitchFamily="49" charset="0"/>
              <a:buChar char="o"/>
              <a:defRPr sz="1400" kern="1200">
                <a:solidFill>
                  <a:schemeClr val="lt1"/>
                </a:solidFill>
                <a:latin typeface="Verdana" panose="020B0604030504040204" pitchFamily="34" charset="0"/>
                <a:ea typeface="Verdana" panose="020B0604030504040204" pitchFamily="34" charset="0"/>
                <a:cs typeface="Verdana" panose="020B0604030504040204" pitchFamily="34" charset="0"/>
              </a:defRPr>
            </a:lvl3pPr>
            <a:lvl4pPr marL="1714500" indent="-342900" algn="l" defTabSz="914400" rtl="0" eaLnBrk="1" latinLnBrk="0" hangingPunct="1">
              <a:lnSpc>
                <a:spcPct val="150000"/>
              </a:lnSpc>
              <a:spcBef>
                <a:spcPts val="0"/>
              </a:spcBef>
              <a:buFont typeface="Wingdings" panose="05000000000000000000" pitchFamily="2" charset="2"/>
              <a:buChar char="§"/>
              <a:defRPr sz="1300" kern="1200">
                <a:solidFill>
                  <a:schemeClr val="lt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150000"/>
              </a:lnSpc>
              <a:spcBef>
                <a:spcPts val="0"/>
              </a:spcBef>
              <a:buFont typeface="Arial" panose="020B0604020202020204" pitchFamily="34" charset="0"/>
              <a:buChar char="•"/>
              <a:defRPr sz="1100" kern="1200">
                <a:solidFill>
                  <a:schemeClr val="lt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lvl="1">
              <a:lnSpc>
                <a:spcPct val="100000"/>
              </a:lnSpc>
              <a:buNone/>
              <a:defRPr/>
            </a:pPr>
            <a:r>
              <a:rPr lang="da-DK" sz="900" b="1">
                <a:solidFill>
                  <a:schemeClr val="tx1"/>
                </a:solidFill>
                <a:latin typeface="+mj-lt"/>
                <a:ea typeface="Verdana"/>
                <a:cs typeface="Verdana"/>
              </a:rPr>
              <a:t>Spørgsmål, som ønskes besvaret af leverandøren: </a:t>
            </a:r>
          </a:p>
          <a:p>
            <a:pPr lvl="1">
              <a:lnSpc>
                <a:spcPct val="100000"/>
              </a:lnSpc>
              <a:spcBef>
                <a:spcPts val="600"/>
              </a:spcBef>
              <a:spcAft>
                <a:spcPts val="300"/>
              </a:spcAft>
              <a:buNone/>
              <a:defRPr/>
            </a:pPr>
            <a:r>
              <a:rPr lang="da-DK" sz="900" b="1">
                <a:solidFill>
                  <a:schemeClr val="tx1"/>
                </a:solidFill>
                <a:latin typeface="+mj-lt"/>
                <a:ea typeface="Verdana"/>
                <a:cs typeface="Verdana"/>
              </a:rPr>
              <a:t>2.1.a: Leverandørbeskrivelse</a:t>
            </a:r>
          </a:p>
          <a:p>
            <a:pPr lvl="1">
              <a:lnSpc>
                <a:spcPct val="100000"/>
              </a:lnSpc>
              <a:spcAft>
                <a:spcPts val="300"/>
              </a:spcAft>
              <a:buNone/>
              <a:defRPr/>
            </a:pPr>
            <a:r>
              <a:rPr lang="da-DK" sz="900">
                <a:solidFill>
                  <a:schemeClr val="tx1"/>
                </a:solidFill>
                <a:latin typeface="+mj-lt"/>
                <a:ea typeface="Verdana"/>
                <a:cs typeface="Arial"/>
              </a:rPr>
              <a:t>Leverandøren bedes levere en kort og målrettet profilbeskrivelse (f.eks. fokusområder, tilbudte ydelser og services, organisering og kompetencer).</a:t>
            </a:r>
          </a:p>
          <a:p>
            <a:pPr lvl="1">
              <a:lnSpc>
                <a:spcPct val="100000"/>
              </a:lnSpc>
              <a:spcBef>
                <a:spcPts val="600"/>
              </a:spcBef>
              <a:spcAft>
                <a:spcPts val="300"/>
              </a:spcAft>
              <a:buNone/>
              <a:defRPr/>
            </a:pPr>
            <a:r>
              <a:rPr lang="da-DK" sz="900" b="1">
                <a:solidFill>
                  <a:schemeClr val="tx1"/>
                </a:solidFill>
                <a:latin typeface="+mj-lt"/>
                <a:ea typeface="Verdana"/>
                <a:cs typeface="Arial"/>
              </a:rPr>
              <a:t>​</a:t>
            </a:r>
            <a:r>
              <a:rPr lang="da-DK" sz="900" b="1">
                <a:solidFill>
                  <a:schemeClr val="tx1"/>
                </a:solidFill>
                <a:latin typeface="+mj-lt"/>
                <a:ea typeface="Verdana"/>
              </a:rPr>
              <a:t>2.1.b: Leverandørsamarbejder</a:t>
            </a:r>
          </a:p>
          <a:p>
            <a:pPr lvl="1">
              <a:lnSpc>
                <a:spcPct val="100000"/>
              </a:lnSpc>
              <a:spcAft>
                <a:spcPts val="300"/>
              </a:spcAft>
              <a:buNone/>
              <a:defRPr/>
            </a:pPr>
            <a:r>
              <a:rPr lang="da-DK" sz="900">
                <a:solidFill>
                  <a:schemeClr val="tx1"/>
                </a:solidFill>
                <a:latin typeface="+mj-lt"/>
                <a:ea typeface="Verdana"/>
              </a:rPr>
              <a:t>Leverandøren bedes kort redegøre for sine </a:t>
            </a:r>
            <a:r>
              <a:rPr lang="da-DK" sz="900">
                <a:solidFill>
                  <a:schemeClr val="tx1"/>
                </a:solidFill>
                <a:latin typeface="+mj-lt"/>
                <a:ea typeface="Verdana"/>
                <a:cs typeface="Arial"/>
              </a:rPr>
              <a:t>erfaringer med at indgå i leverandørsamarbejder om levering af vedligeholdelse og drift af sammenlignelige it-løsninger.</a:t>
            </a:r>
          </a:p>
          <a:p>
            <a:pPr lvl="1">
              <a:lnSpc>
                <a:spcPct val="100000"/>
              </a:lnSpc>
              <a:spcBef>
                <a:spcPts val="600"/>
              </a:spcBef>
              <a:spcAft>
                <a:spcPts val="300"/>
              </a:spcAft>
              <a:buNone/>
              <a:defRPr/>
            </a:pPr>
            <a:r>
              <a:rPr lang="da-DK" sz="900" b="1">
                <a:solidFill>
                  <a:schemeClr val="tx1"/>
                </a:solidFill>
                <a:latin typeface="+mj-lt"/>
                <a:ea typeface="Verdana"/>
              </a:rPr>
              <a:t>2.1.c: Markedsindsigt</a:t>
            </a:r>
          </a:p>
          <a:p>
            <a:pPr lvl="1">
              <a:lnSpc>
                <a:spcPct val="100000"/>
              </a:lnSpc>
              <a:spcAft>
                <a:spcPts val="300"/>
              </a:spcAft>
              <a:buNone/>
              <a:defRPr/>
            </a:pPr>
            <a:r>
              <a:rPr lang="da-DK" sz="900">
                <a:solidFill>
                  <a:schemeClr val="tx1"/>
                </a:solidFill>
                <a:latin typeface="+mj-lt"/>
                <a:ea typeface="Verdana"/>
                <a:cs typeface="Arial"/>
              </a:rPr>
              <a:t>Leverandøren bedes kort redegøre for, hvordan leverandøren ser markedet for denne type løsninger udvikle sig, herunder eventuelle faldgruber i tekniske eller kommercielle forhold.</a:t>
            </a:r>
          </a:p>
        </p:txBody>
      </p:sp>
      <p:sp>
        <p:nvSpPr>
          <p:cNvPr id="13" name="Rectangle 12">
            <a:extLst>
              <a:ext uri="{FF2B5EF4-FFF2-40B4-BE49-F238E27FC236}">
                <a16:creationId xmlns:a16="http://schemas.microsoft.com/office/drawing/2014/main" id="{46F8EC7D-6DCB-47F7-BC36-ACB7F6E67675}"/>
              </a:ext>
            </a:extLst>
          </p:cNvPr>
          <p:cNvSpPr/>
          <p:nvPr/>
        </p:nvSpPr>
        <p:spPr>
          <a:xfrm>
            <a:off x="731306" y="2674984"/>
            <a:ext cx="4389269" cy="1620444"/>
          </a:xfrm>
          <a:prstGeom prst="rect">
            <a:avLst/>
          </a:prstGeom>
        </p:spPr>
        <p:txBody>
          <a:bodyPr wrap="square" lIns="0" tIns="0" rIns="0" bIns="0" anchor="t">
            <a:spAutoFit/>
          </a:bodyPr>
          <a:lstStyle/>
          <a:p>
            <a:pPr>
              <a:lnSpc>
                <a:spcPct val="90000"/>
              </a:lnSpc>
            </a:pPr>
            <a:r>
              <a:rPr lang="da-DK" sz="900"/>
              <a:t>Formålet med dette afsnit i leverandørbesvarelsen er at give Økonomistyrelsen kendskab til leverandøren - herunder  leverandørens tilbudte ydelser samt kompetencer og erfaringer. Dette skal bidrage til at Økonomistyrelsen får et indblik i markedets karakteristika, vilkår og mangfoldighed.</a:t>
            </a:r>
          </a:p>
          <a:p>
            <a:pPr>
              <a:lnSpc>
                <a:spcPct val="90000"/>
              </a:lnSpc>
            </a:pPr>
            <a:endParaRPr lang="da-DK" sz="900"/>
          </a:p>
          <a:p>
            <a:pPr>
              <a:lnSpc>
                <a:spcPct val="90000"/>
              </a:lnSpc>
            </a:pPr>
            <a:r>
              <a:rPr lang="da-DK" sz="900"/>
              <a:t>Der er ikke en forventning om, at leverandøren udarbejder udtømmende referencelister mv., og leverandørerne vil ikke blive bedømt i denne del af processen.</a:t>
            </a:r>
          </a:p>
          <a:p>
            <a:pPr>
              <a:lnSpc>
                <a:spcPct val="90000"/>
              </a:lnSpc>
            </a:pPr>
            <a:endParaRPr lang="da-DK" sz="900"/>
          </a:p>
          <a:p>
            <a:pPr>
              <a:lnSpc>
                <a:spcPct val="90000"/>
              </a:lnSpc>
            </a:pPr>
            <a:r>
              <a:rPr lang="da-DK" sz="900"/>
              <a:t>Derimod har Økonomistyrelsen et ønske om at få kendskab til fx  sammenlignelige cases, og eventuelt få mulighed for at spørge til disse ved eventuelle præsentationsmøder.</a:t>
            </a:r>
            <a:endParaRPr lang="da-DK" sz="900">
              <a:ea typeface="Verdana"/>
            </a:endParaRPr>
          </a:p>
        </p:txBody>
      </p:sp>
      <p:sp>
        <p:nvSpPr>
          <p:cNvPr id="17" name="Content Placeholder 7">
            <a:extLst>
              <a:ext uri="{FF2B5EF4-FFF2-40B4-BE49-F238E27FC236}">
                <a16:creationId xmlns:a16="http://schemas.microsoft.com/office/drawing/2014/main" id="{72495980-F0E5-464C-9925-3C7557BE0313}"/>
              </a:ext>
            </a:extLst>
          </p:cNvPr>
          <p:cNvSpPr txBox="1">
            <a:spLocks/>
          </p:cNvSpPr>
          <p:nvPr/>
        </p:nvSpPr>
        <p:spPr>
          <a:xfrm>
            <a:off x="1329087" y="2059957"/>
            <a:ext cx="3976445" cy="184666"/>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da-DK" sz="1200" b="1">
                <a:latin typeface="+mj-lt"/>
              </a:rPr>
              <a:t>2.1 leverandørens profil og referencer </a:t>
            </a:r>
          </a:p>
        </p:txBody>
      </p:sp>
      <p:grpSp>
        <p:nvGrpSpPr>
          <p:cNvPr id="35" name="Group 34">
            <a:extLst>
              <a:ext uri="{FF2B5EF4-FFF2-40B4-BE49-F238E27FC236}">
                <a16:creationId xmlns:a16="http://schemas.microsoft.com/office/drawing/2014/main" id="{3B399ECA-84C9-4910-B791-832C6934A862}"/>
              </a:ext>
            </a:extLst>
          </p:cNvPr>
          <p:cNvGrpSpPr/>
          <p:nvPr/>
        </p:nvGrpSpPr>
        <p:grpSpPr>
          <a:xfrm>
            <a:off x="813434" y="1909403"/>
            <a:ext cx="237111" cy="562222"/>
            <a:chOff x="2954453" y="1365774"/>
            <a:chExt cx="307975" cy="730250"/>
          </a:xfrm>
          <a:solidFill>
            <a:srgbClr val="8AA299"/>
          </a:solidFill>
        </p:grpSpPr>
        <p:grpSp>
          <p:nvGrpSpPr>
            <p:cNvPr id="36" name="Group 35">
              <a:extLst>
                <a:ext uri="{FF2B5EF4-FFF2-40B4-BE49-F238E27FC236}">
                  <a16:creationId xmlns:a16="http://schemas.microsoft.com/office/drawing/2014/main" id="{4916BB81-00DF-4791-80E9-C121B323282F}"/>
                </a:ext>
              </a:extLst>
            </p:cNvPr>
            <p:cNvGrpSpPr/>
            <p:nvPr/>
          </p:nvGrpSpPr>
          <p:grpSpPr>
            <a:xfrm>
              <a:off x="2954453" y="1365774"/>
              <a:ext cx="307975" cy="730250"/>
              <a:chOff x="2954453" y="1365774"/>
              <a:chExt cx="307975" cy="730250"/>
            </a:xfrm>
            <a:grpFill/>
          </p:grpSpPr>
          <p:sp>
            <p:nvSpPr>
              <p:cNvPr id="40" name="Oval 14">
                <a:extLst>
                  <a:ext uri="{FF2B5EF4-FFF2-40B4-BE49-F238E27FC236}">
                    <a16:creationId xmlns:a16="http://schemas.microsoft.com/office/drawing/2014/main" id="{2B10982D-D37B-463C-933A-D243B99B4DCA}"/>
                  </a:ext>
                </a:extLst>
              </p:cNvPr>
              <p:cNvSpPr>
                <a:spLocks noChangeArrowheads="1"/>
              </p:cNvSpPr>
              <p:nvPr/>
            </p:nvSpPr>
            <p:spPr bwMode="auto">
              <a:xfrm>
                <a:off x="2954453" y="1365774"/>
                <a:ext cx="285750" cy="2905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41" name="Oval 15">
                <a:extLst>
                  <a:ext uri="{FF2B5EF4-FFF2-40B4-BE49-F238E27FC236}">
                    <a16:creationId xmlns:a16="http://schemas.microsoft.com/office/drawing/2014/main" id="{FAA8E999-420C-49C3-AC4F-04B0898C30D0}"/>
                  </a:ext>
                </a:extLst>
              </p:cNvPr>
              <p:cNvSpPr>
                <a:spLocks noChangeArrowheads="1"/>
              </p:cNvSpPr>
              <p:nvPr/>
            </p:nvSpPr>
            <p:spPr bwMode="auto">
              <a:xfrm>
                <a:off x="2954453" y="1803924"/>
                <a:ext cx="285750" cy="292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42" name="Rectangle 16">
                <a:extLst>
                  <a:ext uri="{FF2B5EF4-FFF2-40B4-BE49-F238E27FC236}">
                    <a16:creationId xmlns:a16="http://schemas.microsoft.com/office/drawing/2014/main" id="{444784F1-6338-4BE7-906F-119EBEB0FF80}"/>
                  </a:ext>
                </a:extLst>
              </p:cNvPr>
              <p:cNvSpPr>
                <a:spLocks noChangeArrowheads="1"/>
              </p:cNvSpPr>
              <p:nvPr/>
            </p:nvSpPr>
            <p:spPr bwMode="auto">
              <a:xfrm>
                <a:off x="3021128" y="1584849"/>
                <a:ext cx="152400" cy="290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43" name="Freeform 17">
                <a:extLst>
                  <a:ext uri="{FF2B5EF4-FFF2-40B4-BE49-F238E27FC236}">
                    <a16:creationId xmlns:a16="http://schemas.microsoft.com/office/drawing/2014/main" id="{436F2F73-6185-4C75-907B-9C2978A7C286}"/>
                  </a:ext>
                </a:extLst>
              </p:cNvPr>
              <p:cNvSpPr>
                <a:spLocks/>
              </p:cNvSpPr>
              <p:nvPr/>
            </p:nvSpPr>
            <p:spPr bwMode="auto">
              <a:xfrm>
                <a:off x="3056053" y="1826149"/>
                <a:ext cx="206375" cy="184150"/>
              </a:xfrm>
              <a:custGeom>
                <a:avLst/>
                <a:gdLst>
                  <a:gd name="T0" fmla="*/ 14 w 46"/>
                  <a:gd name="T1" fmla="*/ 0 h 41"/>
                  <a:gd name="T2" fmla="*/ 0 w 46"/>
                  <a:gd name="T3" fmla="*/ 21 h 41"/>
                  <a:gd name="T4" fmla="*/ 11 w 46"/>
                  <a:gd name="T5" fmla="*/ 40 h 41"/>
                  <a:gd name="T6" fmla="*/ 11 w 46"/>
                  <a:gd name="T7" fmla="*/ 21 h 41"/>
                  <a:gd name="T8" fmla="*/ 23 w 46"/>
                  <a:gd name="T9" fmla="*/ 15 h 41"/>
                  <a:gd name="T10" fmla="*/ 34 w 46"/>
                  <a:gd name="T11" fmla="*/ 21 h 41"/>
                  <a:gd name="T12" fmla="*/ 34 w 46"/>
                  <a:gd name="T13" fmla="*/ 41 h 41"/>
                  <a:gd name="T14" fmla="*/ 46 w 46"/>
                  <a:gd name="T15" fmla="*/ 21 h 41"/>
                  <a:gd name="T16" fmla="*/ 32 w 46"/>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1">
                    <a:moveTo>
                      <a:pt x="14" y="0"/>
                    </a:moveTo>
                    <a:cubicBezTo>
                      <a:pt x="6" y="3"/>
                      <a:pt x="0" y="12"/>
                      <a:pt x="0" y="21"/>
                    </a:cubicBezTo>
                    <a:cubicBezTo>
                      <a:pt x="0" y="29"/>
                      <a:pt x="4" y="36"/>
                      <a:pt x="11" y="40"/>
                    </a:cubicBezTo>
                    <a:cubicBezTo>
                      <a:pt x="11" y="21"/>
                      <a:pt x="11" y="21"/>
                      <a:pt x="11" y="21"/>
                    </a:cubicBezTo>
                    <a:cubicBezTo>
                      <a:pt x="23" y="15"/>
                      <a:pt x="23" y="15"/>
                      <a:pt x="23" y="15"/>
                    </a:cubicBezTo>
                    <a:cubicBezTo>
                      <a:pt x="34" y="21"/>
                      <a:pt x="34" y="21"/>
                      <a:pt x="34" y="21"/>
                    </a:cubicBezTo>
                    <a:cubicBezTo>
                      <a:pt x="34" y="41"/>
                      <a:pt x="34" y="41"/>
                      <a:pt x="34" y="41"/>
                    </a:cubicBezTo>
                    <a:cubicBezTo>
                      <a:pt x="41" y="37"/>
                      <a:pt x="46" y="29"/>
                      <a:pt x="46" y="21"/>
                    </a:cubicBezTo>
                    <a:cubicBezTo>
                      <a:pt x="46" y="11"/>
                      <a:pt x="40" y="3"/>
                      <a:pt x="32" y="0"/>
                    </a:cubicBezTo>
                  </a:path>
                </a:pathLst>
              </a:custGeom>
              <a:grpFill/>
              <a:ln w="12700" cap="rnd">
                <a:solidFill>
                  <a:srgbClr val="30373B"/>
                </a:solid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44" name="Freeform 19">
                <a:extLst>
                  <a:ext uri="{FF2B5EF4-FFF2-40B4-BE49-F238E27FC236}">
                    <a16:creationId xmlns:a16="http://schemas.microsoft.com/office/drawing/2014/main" id="{A65094AD-8BAF-41FE-ABDA-A5E69B845F70}"/>
                  </a:ext>
                </a:extLst>
              </p:cNvPr>
              <p:cNvSpPr>
                <a:spLocks/>
              </p:cNvSpPr>
              <p:nvPr/>
            </p:nvSpPr>
            <p:spPr bwMode="auto">
              <a:xfrm>
                <a:off x="3056053" y="1402286"/>
                <a:ext cx="206375" cy="182563"/>
              </a:xfrm>
              <a:custGeom>
                <a:avLst/>
                <a:gdLst>
                  <a:gd name="T0" fmla="*/ 32 w 46"/>
                  <a:gd name="T1" fmla="*/ 41 h 41"/>
                  <a:gd name="T2" fmla="*/ 46 w 46"/>
                  <a:gd name="T3" fmla="*/ 20 h 41"/>
                  <a:gd name="T4" fmla="*/ 35 w 46"/>
                  <a:gd name="T5" fmla="*/ 0 h 41"/>
                  <a:gd name="T6" fmla="*/ 35 w 46"/>
                  <a:gd name="T7" fmla="*/ 19 h 41"/>
                  <a:gd name="T8" fmla="*/ 23 w 46"/>
                  <a:gd name="T9" fmla="*/ 26 h 41"/>
                  <a:gd name="T10" fmla="*/ 12 w 46"/>
                  <a:gd name="T11" fmla="*/ 19 h 41"/>
                  <a:gd name="T12" fmla="*/ 12 w 46"/>
                  <a:gd name="T13" fmla="*/ 0 h 41"/>
                  <a:gd name="T14" fmla="*/ 0 w 46"/>
                  <a:gd name="T15" fmla="*/ 20 h 41"/>
                  <a:gd name="T16" fmla="*/ 14 w 46"/>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1">
                    <a:moveTo>
                      <a:pt x="32" y="41"/>
                    </a:moveTo>
                    <a:cubicBezTo>
                      <a:pt x="40" y="37"/>
                      <a:pt x="46" y="29"/>
                      <a:pt x="46" y="20"/>
                    </a:cubicBezTo>
                    <a:cubicBezTo>
                      <a:pt x="46" y="12"/>
                      <a:pt x="41" y="4"/>
                      <a:pt x="35" y="0"/>
                    </a:cubicBezTo>
                    <a:cubicBezTo>
                      <a:pt x="35" y="19"/>
                      <a:pt x="35" y="19"/>
                      <a:pt x="35" y="19"/>
                    </a:cubicBezTo>
                    <a:cubicBezTo>
                      <a:pt x="23" y="26"/>
                      <a:pt x="23" y="26"/>
                      <a:pt x="23" y="26"/>
                    </a:cubicBezTo>
                    <a:cubicBezTo>
                      <a:pt x="12" y="19"/>
                      <a:pt x="12" y="19"/>
                      <a:pt x="12" y="19"/>
                    </a:cubicBezTo>
                    <a:cubicBezTo>
                      <a:pt x="12" y="0"/>
                      <a:pt x="12" y="0"/>
                      <a:pt x="12" y="0"/>
                    </a:cubicBezTo>
                    <a:cubicBezTo>
                      <a:pt x="5" y="4"/>
                      <a:pt x="0" y="11"/>
                      <a:pt x="0" y="20"/>
                    </a:cubicBezTo>
                    <a:cubicBezTo>
                      <a:pt x="0" y="29"/>
                      <a:pt x="6" y="37"/>
                      <a:pt x="14" y="41"/>
                    </a:cubicBezTo>
                  </a:path>
                </a:pathLst>
              </a:custGeom>
              <a:grpFill/>
              <a:ln w="12700" cap="rnd">
                <a:solidFill>
                  <a:srgbClr val="30373B"/>
                </a:solid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grpSp>
        <p:grpSp>
          <p:nvGrpSpPr>
            <p:cNvPr id="37" name="Group 36">
              <a:extLst>
                <a:ext uri="{FF2B5EF4-FFF2-40B4-BE49-F238E27FC236}">
                  <a16:creationId xmlns:a16="http://schemas.microsoft.com/office/drawing/2014/main" id="{587589D9-6BFF-420B-9684-61BE9611ED62}"/>
                </a:ext>
              </a:extLst>
            </p:cNvPr>
            <p:cNvGrpSpPr/>
            <p:nvPr/>
          </p:nvGrpSpPr>
          <p:grpSpPr>
            <a:xfrm>
              <a:off x="3127491" y="1584849"/>
              <a:ext cx="63500" cy="241300"/>
              <a:chOff x="3127491" y="1584849"/>
              <a:chExt cx="63500" cy="241300"/>
            </a:xfrm>
            <a:grpFill/>
          </p:grpSpPr>
          <p:sp>
            <p:nvSpPr>
              <p:cNvPr id="38" name="Line 18">
                <a:extLst>
                  <a:ext uri="{FF2B5EF4-FFF2-40B4-BE49-F238E27FC236}">
                    <a16:creationId xmlns:a16="http://schemas.microsoft.com/office/drawing/2014/main" id="{A257927F-ED82-4B7C-B67C-6187E45C4523}"/>
                  </a:ext>
                </a:extLst>
              </p:cNvPr>
              <p:cNvSpPr>
                <a:spLocks noChangeShapeType="1"/>
              </p:cNvSpPr>
              <p:nvPr/>
            </p:nvSpPr>
            <p:spPr bwMode="auto">
              <a:xfrm>
                <a:off x="3127491" y="1584849"/>
                <a:ext cx="0" cy="241300"/>
              </a:xfrm>
              <a:prstGeom prst="line">
                <a:avLst/>
              </a:prstGeom>
              <a:grpFill/>
              <a:ln w="12700" cap="rnd">
                <a:solidFill>
                  <a:srgbClr val="30373B"/>
                </a:solid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39" name="Line 20">
                <a:extLst>
                  <a:ext uri="{FF2B5EF4-FFF2-40B4-BE49-F238E27FC236}">
                    <a16:creationId xmlns:a16="http://schemas.microsoft.com/office/drawing/2014/main" id="{893ED022-205A-41A7-BF78-45640667AAFD}"/>
                  </a:ext>
                </a:extLst>
              </p:cNvPr>
              <p:cNvSpPr>
                <a:spLocks noChangeShapeType="1"/>
              </p:cNvSpPr>
              <p:nvPr/>
            </p:nvSpPr>
            <p:spPr bwMode="auto">
              <a:xfrm flipV="1">
                <a:off x="3190991" y="1584849"/>
                <a:ext cx="0" cy="206375"/>
              </a:xfrm>
              <a:prstGeom prst="line">
                <a:avLst/>
              </a:prstGeom>
              <a:grpFill/>
              <a:ln w="12700" cap="rnd">
                <a:solidFill>
                  <a:srgbClr val="30373B"/>
                </a:solid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grpSp>
      </p:grpSp>
      <p:sp>
        <p:nvSpPr>
          <p:cNvPr id="18" name="Pladsholder til diasnummer 5">
            <a:extLst>
              <a:ext uri="{FF2B5EF4-FFF2-40B4-BE49-F238E27FC236}">
                <a16:creationId xmlns:a16="http://schemas.microsoft.com/office/drawing/2014/main" id="{0E5E18F3-3140-46DA-82D6-875F348C7038}"/>
              </a:ext>
            </a:extLst>
          </p:cNvPr>
          <p:cNvSpPr txBox="1">
            <a:spLocks/>
          </p:cNvSpPr>
          <p:nvPr/>
        </p:nvSpPr>
        <p:spPr>
          <a:xfrm>
            <a:off x="4124325" y="6421930"/>
            <a:ext cx="990600" cy="297265"/>
          </a:xfrm>
          <a:prstGeom prst="rect">
            <a:avLst/>
          </a:prstGeom>
        </p:spPr>
        <p:txBody>
          <a:bodyPr/>
          <a:lstStyle>
            <a:defPPr>
              <a:defRPr lang="da-DK"/>
            </a:defPPr>
            <a:lvl1pPr marL="0" algn="r" defTabSz="914400" rtl="0" eaLnBrk="1" latinLnBrk="0" hangingPunct="1">
              <a:defRPr sz="1400" kern="1200">
                <a:solidFill>
                  <a:schemeClr val="accent6"/>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900" b="0">
                <a:solidFill>
                  <a:schemeClr val="tx1"/>
                </a:solidFill>
                <a:latin typeface="Verdana" panose="020B0604030504040204" pitchFamily="34" charset="0"/>
                <a:ea typeface="Verdana" panose="020B0604030504040204" pitchFamily="34" charset="0"/>
                <a:cs typeface="Verdana" panose="020B0604030504040204" pitchFamily="34" charset="0"/>
              </a:rPr>
              <a:t>Side </a:t>
            </a:r>
            <a:fld id="{C7AC859A-AE19-4543-AC75-3D2F5ABF6574}" type="slidenum">
              <a:rPr lang="da-DK" sz="900" b="0" smtClean="0">
                <a:solidFill>
                  <a:schemeClr val="tx1"/>
                </a:solidFill>
                <a:latin typeface="Verdana" panose="020B0604030504040204" pitchFamily="34" charset="0"/>
                <a:ea typeface="Verdana" panose="020B0604030504040204" pitchFamily="34" charset="0"/>
                <a:cs typeface="Verdana" panose="020B0604030504040204" pitchFamily="34" charset="0"/>
              </a:rPr>
              <a:pPr algn="ctr"/>
              <a:t>7</a:t>
            </a:fld>
            <a:endParaRPr lang="da-DK" sz="900" b="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a:extLst>
              <a:ext uri="{FF2B5EF4-FFF2-40B4-BE49-F238E27FC236}">
                <a16:creationId xmlns:a16="http://schemas.microsoft.com/office/drawing/2014/main" id="{9B5A3A53-D45F-4414-8F25-F140D5ACDAD4}"/>
              </a:ext>
            </a:extLst>
          </p:cNvPr>
          <p:cNvSpPr/>
          <p:nvPr/>
        </p:nvSpPr>
        <p:spPr>
          <a:xfrm>
            <a:off x="6869928" y="6008397"/>
            <a:ext cx="2099143" cy="791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7016881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70FC872-01C8-4864-A3C7-684A17B20BDC}"/>
              </a:ext>
            </a:extLst>
          </p:cNvPr>
          <p:cNvSpPr/>
          <p:nvPr/>
        </p:nvSpPr>
        <p:spPr>
          <a:xfrm>
            <a:off x="7044856" y="6094006"/>
            <a:ext cx="2099143" cy="791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28">
            <a:extLst>
              <a:ext uri="{FF2B5EF4-FFF2-40B4-BE49-F238E27FC236}">
                <a16:creationId xmlns:a16="http://schemas.microsoft.com/office/drawing/2014/main" id="{0BAC63CA-1B5C-4BF6-B398-A27DB0F77DA3}"/>
              </a:ext>
            </a:extLst>
          </p:cNvPr>
          <p:cNvSpPr/>
          <p:nvPr/>
        </p:nvSpPr>
        <p:spPr>
          <a:xfrm>
            <a:off x="0" y="1628775"/>
            <a:ext cx="6535971" cy="5229225"/>
          </a:xfrm>
          <a:prstGeom prst="rect">
            <a:avLst/>
          </a:prstGeom>
          <a:solidFill>
            <a:srgbClr val="FBF9F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t" anchorCtr="0"/>
          <a:lstStyle/>
          <a:p>
            <a:pPr algn="l"/>
            <a:endParaRPr lang="da-DK" sz="923">
              <a:solidFill>
                <a:srgbClr val="2F363B"/>
              </a:solidFill>
            </a:endParaRPr>
          </a:p>
        </p:txBody>
      </p:sp>
      <p:sp>
        <p:nvSpPr>
          <p:cNvPr id="30" name="Content Placeholder 7">
            <a:extLst>
              <a:ext uri="{FF2B5EF4-FFF2-40B4-BE49-F238E27FC236}">
                <a16:creationId xmlns:a16="http://schemas.microsoft.com/office/drawing/2014/main" id="{14BE369B-EBC2-48BA-9650-8705B7DD355F}"/>
              </a:ext>
            </a:extLst>
          </p:cNvPr>
          <p:cNvSpPr txBox="1">
            <a:spLocks/>
          </p:cNvSpPr>
          <p:nvPr/>
        </p:nvSpPr>
        <p:spPr>
          <a:xfrm>
            <a:off x="6192893" y="1196975"/>
            <a:ext cx="2239200" cy="4820367"/>
          </a:xfrm>
          <a:prstGeom prst="rect">
            <a:avLst/>
          </a:prstGeom>
          <a:solidFill>
            <a:srgbClr val="C3CFCB"/>
          </a:solidFill>
          <a:ln w="635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6800" tIns="136800" rIns="136800" bIns="136800" numCol="1" spcCol="0" rtlCol="0" fromWordArt="0" anchor="t" anchorCtr="0" forceAA="0" compatLnSpc="1">
            <a:prstTxWarp prst="textNoShape">
              <a:avLst/>
            </a:prstTxWarp>
            <a:noAutofit/>
          </a:bodyPr>
          <a:lstStyle>
            <a:defPPr>
              <a:defRPr lang="en-US"/>
            </a:defPPr>
            <a:lvl1pPr marL="0" indent="0" algn="l" defTabSz="914400" rtl="0" eaLnBrk="1" latinLnBrk="0" hangingPunct="1">
              <a:lnSpc>
                <a:spcPct val="150000"/>
              </a:lnSpc>
              <a:spcBef>
                <a:spcPts val="0"/>
              </a:spcBef>
              <a:buFont typeface="Arial" panose="020B0604020202020204" pitchFamily="34" charset="0"/>
              <a:buNone/>
              <a:defRPr sz="1100" kern="1200">
                <a:solidFill>
                  <a:srgbClr val="2F363B"/>
                </a:solidFill>
                <a:latin typeface="Verdana" panose="020B0604030504040204" pitchFamily="34" charset="0"/>
                <a:ea typeface="Verdana" panose="020B0604030504040204" pitchFamily="34" charset="0"/>
                <a:cs typeface="Verdana" panose="020B0604030504040204" pitchFamily="34" charset="0"/>
              </a:defRPr>
            </a:lvl1pPr>
            <a:lvl2pPr marL="0" lvl="1" indent="0" algn="l" defTabSz="914400" rtl="0" eaLnBrk="1" latinLnBrk="0" hangingPunct="1">
              <a:lnSpc>
                <a:spcPct val="150000"/>
              </a:lnSpc>
              <a:spcBef>
                <a:spcPts val="0"/>
              </a:spcBef>
              <a:buSzPct val="100000"/>
              <a:buFont typeface="Arial" panose="020B0604020202020204" pitchFamily="34" charset="0"/>
              <a:buChar char="​"/>
              <a:defRPr sz="1100" kern="1200">
                <a:solidFill>
                  <a:srgbClr val="2F363B"/>
                </a:solidFill>
                <a:latin typeface="Arial" panose="020B0604020202020204" pitchFamily="34" charset="0"/>
                <a:ea typeface="Verdana" panose="020B0604030504040204" pitchFamily="34" charset="0"/>
                <a:cs typeface="Verdana" panose="020B0604030504040204" pitchFamily="34" charset="0"/>
              </a:defRPr>
            </a:lvl2pPr>
            <a:lvl3pPr marL="1257300" indent="-342900" algn="l" defTabSz="914400" rtl="0" eaLnBrk="1" latinLnBrk="0" hangingPunct="1">
              <a:lnSpc>
                <a:spcPct val="150000"/>
              </a:lnSpc>
              <a:spcBef>
                <a:spcPts val="0"/>
              </a:spcBef>
              <a:buFont typeface="Courier New" panose="02070309020205020404" pitchFamily="49" charset="0"/>
              <a:buChar char="o"/>
              <a:defRPr sz="1400" kern="1200">
                <a:solidFill>
                  <a:schemeClr val="lt1"/>
                </a:solidFill>
                <a:latin typeface="Verdana" panose="020B0604030504040204" pitchFamily="34" charset="0"/>
                <a:ea typeface="Verdana" panose="020B0604030504040204" pitchFamily="34" charset="0"/>
                <a:cs typeface="Verdana" panose="020B0604030504040204" pitchFamily="34" charset="0"/>
              </a:defRPr>
            </a:lvl3pPr>
            <a:lvl4pPr marL="1714500" indent="-342900" algn="l" defTabSz="914400" rtl="0" eaLnBrk="1" latinLnBrk="0" hangingPunct="1">
              <a:lnSpc>
                <a:spcPct val="150000"/>
              </a:lnSpc>
              <a:spcBef>
                <a:spcPts val="0"/>
              </a:spcBef>
              <a:buFont typeface="Wingdings" panose="05000000000000000000" pitchFamily="2" charset="2"/>
              <a:buChar char="§"/>
              <a:defRPr sz="1300" kern="1200">
                <a:solidFill>
                  <a:schemeClr val="lt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150000"/>
              </a:lnSpc>
              <a:spcBef>
                <a:spcPts val="0"/>
              </a:spcBef>
              <a:buFont typeface="Arial" panose="020B0604020202020204" pitchFamily="34" charset="0"/>
              <a:buChar char="•"/>
              <a:defRPr sz="1100" kern="1200">
                <a:solidFill>
                  <a:schemeClr val="lt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lvl="1">
              <a:lnSpc>
                <a:spcPct val="100000"/>
              </a:lnSpc>
              <a:buNone/>
              <a:defRPr/>
            </a:pPr>
            <a:r>
              <a:rPr lang="da-DK" sz="900" b="1" dirty="0">
                <a:solidFill>
                  <a:schemeClr val="tx1"/>
                </a:solidFill>
                <a:latin typeface="+mj-lt"/>
                <a:ea typeface="Verdana"/>
                <a:cs typeface="Verdana"/>
              </a:rPr>
              <a:t>Spørgsmål, som ønskes besvaret af leverandøren: </a:t>
            </a:r>
          </a:p>
          <a:p>
            <a:pPr lvl="1">
              <a:lnSpc>
                <a:spcPct val="100000"/>
              </a:lnSpc>
              <a:spcBef>
                <a:spcPts val="600"/>
              </a:spcBef>
              <a:spcAft>
                <a:spcPts val="300"/>
              </a:spcAft>
              <a:buNone/>
              <a:defRPr/>
            </a:pPr>
            <a:r>
              <a:rPr lang="da-DK" sz="900" b="1" dirty="0">
                <a:solidFill>
                  <a:schemeClr val="tx1"/>
                </a:solidFill>
                <a:latin typeface="+mj-lt"/>
                <a:ea typeface="Verdana"/>
                <a:cs typeface="Verdana"/>
              </a:rPr>
              <a:t>3.1.a: Vision for fagområdet</a:t>
            </a:r>
          </a:p>
          <a:p>
            <a:pPr lvl="1">
              <a:lnSpc>
                <a:spcPct val="100000"/>
              </a:lnSpc>
              <a:spcAft>
                <a:spcPts val="300"/>
              </a:spcAft>
              <a:buNone/>
              <a:defRPr/>
            </a:pPr>
            <a:r>
              <a:rPr lang="da-DK" sz="900" dirty="0">
                <a:solidFill>
                  <a:schemeClr val="tx1"/>
                </a:solidFill>
                <a:latin typeface="+mj-lt"/>
                <a:ea typeface="Verdana"/>
                <a:cs typeface="Arial"/>
              </a:rPr>
              <a:t>Leverandøren bedes kort redegøre for, hvilke muligheder og visioner </a:t>
            </a:r>
            <a:r>
              <a:rPr lang="da-DK" sz="900" dirty="0">
                <a:solidFill>
                  <a:schemeClr val="tx1"/>
                </a:solidFill>
                <a:latin typeface="+mn-lt"/>
                <a:ea typeface="Verdana"/>
                <a:cs typeface="Arial"/>
              </a:rPr>
              <a:t>leverandøren ser for </a:t>
            </a:r>
            <a:r>
              <a:rPr lang="da-DK" sz="900" dirty="0">
                <a:solidFill>
                  <a:schemeClr val="tx1"/>
                </a:solidFill>
                <a:latin typeface="+mn-lt"/>
                <a:ea typeface="+mn-lt"/>
                <a:cs typeface="+mn-lt"/>
              </a:rPr>
              <a:t>indkøbs- og fakturagodkendelsesprocesser </a:t>
            </a:r>
            <a:r>
              <a:rPr lang="da-DK" sz="900" dirty="0">
                <a:solidFill>
                  <a:schemeClr val="tx1"/>
                </a:solidFill>
                <a:latin typeface="+mn-lt"/>
                <a:ea typeface="Verdana"/>
                <a:cs typeface="Arial"/>
              </a:rPr>
              <a:t>i fremtiden.</a:t>
            </a:r>
          </a:p>
          <a:p>
            <a:pPr>
              <a:lnSpc>
                <a:spcPct val="100000"/>
              </a:lnSpc>
              <a:spcAft>
                <a:spcPts val="600"/>
              </a:spcAft>
              <a:defRPr/>
            </a:pPr>
            <a:r>
              <a:rPr lang="da-DK" sz="900" b="1" dirty="0">
                <a:latin typeface="+mn-lt"/>
                <a:ea typeface="Verdana"/>
              </a:rPr>
              <a:t>3.1.b: </a:t>
            </a:r>
            <a:r>
              <a:rPr lang="da-DK" sz="900" b="1" dirty="0" smtClean="0">
                <a:latin typeface="+mn-lt"/>
                <a:ea typeface="Verdana"/>
              </a:rPr>
              <a:t>Digitaliserings-potentialer</a:t>
            </a:r>
            <a:r>
              <a:rPr lang="da-DK" sz="900" b="1" dirty="0">
                <a:latin typeface="+mn-lt"/>
                <a:ea typeface="Verdana"/>
              </a:rPr>
              <a:t> </a:t>
            </a:r>
            <a:endParaRPr lang="en-US" sz="900" b="1" dirty="0">
              <a:latin typeface="+mn-lt"/>
              <a:ea typeface="Verdana"/>
            </a:endParaRPr>
          </a:p>
          <a:p>
            <a:pPr>
              <a:lnSpc>
                <a:spcPct val="100000"/>
              </a:lnSpc>
              <a:spcAft>
                <a:spcPts val="600"/>
              </a:spcAft>
              <a:defRPr/>
            </a:pPr>
            <a:r>
              <a:rPr lang="da-DK" sz="900" dirty="0">
                <a:latin typeface="+mn-lt"/>
                <a:ea typeface="Verdana"/>
              </a:rPr>
              <a:t>Leverandøren bedes kort redegøre for, hvor leverandøren ser de </a:t>
            </a:r>
            <a:r>
              <a:rPr lang="da-DK" sz="900" dirty="0" smtClean="0">
                <a:latin typeface="+mn-lt"/>
                <a:ea typeface="Verdana"/>
              </a:rPr>
              <a:t>største </a:t>
            </a:r>
            <a:r>
              <a:rPr lang="da-DK" sz="900" dirty="0">
                <a:latin typeface="+mn-lt"/>
                <a:ea typeface="Verdana"/>
              </a:rPr>
              <a:t>perspektiver i forhold til at optimere den digitale understøttelse af kerneopgaven.</a:t>
            </a:r>
          </a:p>
          <a:p>
            <a:pPr>
              <a:lnSpc>
                <a:spcPct val="100000"/>
              </a:lnSpc>
              <a:spcAft>
                <a:spcPts val="600"/>
              </a:spcAft>
              <a:defRPr/>
            </a:pPr>
            <a:r>
              <a:rPr lang="da-DK" sz="900" b="1" dirty="0">
                <a:latin typeface="+mn-lt"/>
                <a:ea typeface="Verdana"/>
              </a:rPr>
              <a:t>3.1.1.a: </a:t>
            </a:r>
            <a:r>
              <a:rPr lang="da-DK" sz="900" b="1" dirty="0" err="1">
                <a:latin typeface="+mn-lt"/>
                <a:ea typeface="Verdana"/>
              </a:rPr>
              <a:t>Scope</a:t>
            </a:r>
            <a:r>
              <a:rPr lang="da-DK" sz="900" b="1" dirty="0">
                <a:latin typeface="+mn-lt"/>
                <a:ea typeface="Verdana"/>
              </a:rPr>
              <a:t> og yderligere funktionalitet</a:t>
            </a:r>
          </a:p>
          <a:p>
            <a:pPr>
              <a:lnSpc>
                <a:spcPct val="100000"/>
              </a:lnSpc>
              <a:spcAft>
                <a:spcPts val="600"/>
              </a:spcAft>
            </a:pPr>
            <a:r>
              <a:rPr lang="da-DK" sz="900" dirty="0">
                <a:solidFill>
                  <a:schemeClr val="tx1"/>
                </a:solidFill>
                <a:ea typeface="Verdana"/>
              </a:rPr>
              <a:t>Leverandøren bedes udfylde Bilag 3 (</a:t>
            </a:r>
            <a:r>
              <a:rPr lang="da-DK" sz="900" dirty="0" err="1">
                <a:solidFill>
                  <a:schemeClr val="tx1"/>
                </a:solidFill>
                <a:ea typeface="Verdana"/>
              </a:rPr>
              <a:t>excelark</a:t>
            </a:r>
            <a:r>
              <a:rPr lang="da-DK" sz="900" dirty="0">
                <a:solidFill>
                  <a:schemeClr val="tx1"/>
                </a:solidFill>
                <a:ea typeface="Verdana"/>
              </a:rPr>
              <a:t> vedr. </a:t>
            </a:r>
            <a:r>
              <a:rPr lang="da-DK" sz="900" dirty="0" err="1">
                <a:solidFill>
                  <a:schemeClr val="tx1"/>
                </a:solidFill>
                <a:ea typeface="Verdana"/>
              </a:rPr>
              <a:t>scope</a:t>
            </a:r>
            <a:r>
              <a:rPr lang="da-DK" sz="900" dirty="0">
                <a:solidFill>
                  <a:schemeClr val="tx1"/>
                </a:solidFill>
                <a:ea typeface="Verdana"/>
              </a:rPr>
              <a:t>)</a:t>
            </a:r>
          </a:p>
          <a:p>
            <a:pPr>
              <a:lnSpc>
                <a:spcPct val="100000"/>
              </a:lnSpc>
              <a:spcAft>
                <a:spcPts val="600"/>
              </a:spcAft>
              <a:defRPr/>
            </a:pPr>
            <a:r>
              <a:rPr lang="da-DK" sz="900" b="1" dirty="0">
                <a:latin typeface="+mn-lt"/>
                <a:ea typeface="Verdana"/>
                <a:cs typeface="Verdana"/>
              </a:rPr>
              <a:t>3.1.2.a: Optimeringspotentiale for kerneprocesser</a:t>
            </a:r>
            <a:r>
              <a:rPr lang="da-DK" sz="900" dirty="0">
                <a:latin typeface="+mn-lt"/>
                <a:ea typeface="Verdana"/>
                <a:cs typeface="Verdana"/>
              </a:rPr>
              <a:t> </a:t>
            </a:r>
          </a:p>
          <a:p>
            <a:pPr>
              <a:lnSpc>
                <a:spcPct val="100000"/>
              </a:lnSpc>
              <a:spcAft>
                <a:spcPts val="600"/>
              </a:spcAft>
              <a:defRPr/>
            </a:pPr>
            <a:r>
              <a:rPr lang="da-DK" sz="900" dirty="0">
                <a:latin typeface="+mn-lt"/>
                <a:ea typeface="Verdana"/>
                <a:cs typeface="Verdana"/>
              </a:rPr>
              <a:t>Leverandøren bedes kort redegøre for, hvordan leverandøren ser den optimale løsning for processer illustreret i hver </a:t>
            </a:r>
            <a:r>
              <a:rPr lang="da-DK" sz="900" dirty="0" err="1">
                <a:latin typeface="+mn-lt"/>
                <a:ea typeface="Verdana"/>
                <a:cs typeface="Verdana"/>
              </a:rPr>
              <a:t>use</a:t>
            </a:r>
            <a:r>
              <a:rPr lang="da-DK" sz="900" dirty="0">
                <a:latin typeface="+mn-lt"/>
                <a:ea typeface="Verdana"/>
                <a:cs typeface="Verdana"/>
              </a:rPr>
              <a:t> case </a:t>
            </a:r>
            <a:r>
              <a:rPr lang="da-DK" sz="900" dirty="0" smtClean="0">
                <a:latin typeface="+mn-lt"/>
                <a:ea typeface="Verdana"/>
                <a:cs typeface="Verdana"/>
              </a:rPr>
              <a:t>i sektion </a:t>
            </a:r>
            <a:r>
              <a:rPr lang="da-DK" sz="900" dirty="0">
                <a:latin typeface="+mn-lt"/>
                <a:ea typeface="Verdana"/>
                <a:cs typeface="Verdana"/>
              </a:rPr>
              <a:t>3.1.2.  </a:t>
            </a:r>
          </a:p>
          <a:p>
            <a:pPr>
              <a:lnSpc>
                <a:spcPct val="100000"/>
              </a:lnSpc>
              <a:spcAft>
                <a:spcPts val="600"/>
              </a:spcAft>
            </a:pPr>
            <a:endParaRPr lang="da-DK" sz="900" dirty="0">
              <a:solidFill>
                <a:schemeClr val="tx1"/>
              </a:solidFill>
              <a:ea typeface="Verdana"/>
            </a:endParaRPr>
          </a:p>
          <a:p>
            <a:pPr>
              <a:lnSpc>
                <a:spcPct val="100000"/>
              </a:lnSpc>
              <a:spcAft>
                <a:spcPts val="600"/>
              </a:spcAft>
              <a:defRPr/>
            </a:pPr>
            <a:endParaRPr lang="da-DK" sz="900" dirty="0">
              <a:solidFill>
                <a:schemeClr val="tx1"/>
              </a:solidFill>
              <a:ea typeface="Verdana"/>
            </a:endParaRPr>
          </a:p>
          <a:p>
            <a:pPr lvl="1">
              <a:lnSpc>
                <a:spcPct val="100000"/>
              </a:lnSpc>
              <a:spcAft>
                <a:spcPts val="300"/>
              </a:spcAft>
              <a:buNone/>
              <a:defRPr/>
            </a:pPr>
            <a:endParaRPr lang="da-DK" sz="900" dirty="0">
              <a:solidFill>
                <a:schemeClr val="tx1"/>
              </a:solidFill>
              <a:latin typeface="+mn-lt"/>
              <a:ea typeface="Verdana"/>
              <a:cs typeface="Arial"/>
            </a:endParaRPr>
          </a:p>
          <a:p>
            <a:pPr lvl="1">
              <a:lnSpc>
                <a:spcPct val="100000"/>
              </a:lnSpc>
              <a:spcBef>
                <a:spcPts val="300"/>
              </a:spcBef>
              <a:spcAft>
                <a:spcPts val="300"/>
              </a:spcAft>
              <a:buNone/>
              <a:defRPr/>
            </a:pPr>
            <a:endParaRPr lang="da-DK" sz="900" dirty="0">
              <a:solidFill>
                <a:schemeClr val="tx1"/>
              </a:solidFill>
              <a:latin typeface="+mj-lt"/>
            </a:endParaRPr>
          </a:p>
        </p:txBody>
      </p:sp>
      <p:sp>
        <p:nvSpPr>
          <p:cNvPr id="12" name="TextBox 11">
            <a:extLst>
              <a:ext uri="{FF2B5EF4-FFF2-40B4-BE49-F238E27FC236}">
                <a16:creationId xmlns:a16="http://schemas.microsoft.com/office/drawing/2014/main" id="{FD4E8E0F-A988-4FAB-A057-0FBC7DDE23CC}"/>
              </a:ext>
            </a:extLst>
          </p:cNvPr>
          <p:cNvSpPr txBox="1"/>
          <p:nvPr/>
        </p:nvSpPr>
        <p:spPr>
          <a:xfrm>
            <a:off x="719138" y="2679707"/>
            <a:ext cx="5058490" cy="2235997"/>
          </a:xfrm>
          <a:prstGeom prst="rect">
            <a:avLst/>
          </a:prstGeom>
          <a:noFill/>
        </p:spPr>
        <p:txBody>
          <a:bodyPr wrap="square" lIns="0" tIns="0" rIns="0" bIns="0" rtlCol="0" anchor="t">
            <a:spAutoFit/>
          </a:bodyPr>
          <a:lstStyle>
            <a:defPPr>
              <a:defRPr lang="en-US"/>
            </a:defPPr>
            <a:lvl1pPr lvl="0" algn="just" defTabSz="742950">
              <a:lnSpc>
                <a:spcPct val="90000"/>
              </a:lnSpc>
              <a:spcBef>
                <a:spcPts val="300"/>
              </a:spcBef>
              <a:spcAft>
                <a:spcPts val="600"/>
              </a:spcAft>
              <a:buFont typeface="Arial" panose="020B0604020202020204" pitchFamily="34" charset="0"/>
              <a:buChar char="​"/>
              <a:defRPr sz="1100">
                <a:solidFill>
                  <a:srgbClr val="1F2023"/>
                </a:solidFill>
                <a:latin typeface="Arial"/>
              </a:defRPr>
            </a:lvl1pPr>
          </a:lstStyle>
          <a:p>
            <a:pPr algn="l" defTabSz="457200">
              <a:spcBef>
                <a:spcPts val="600"/>
              </a:spcBef>
              <a:buNone/>
            </a:pPr>
            <a:r>
              <a:rPr lang="da-DK" sz="900" kern="1400">
                <a:solidFill>
                  <a:srgbClr val="000000"/>
                </a:solidFill>
                <a:latin typeface="+mn-lt"/>
                <a:cs typeface="Times New Roman"/>
              </a:rPr>
              <a:t>Formålet med dette afsnit er at give leverandørerne et overordnet indblik i den forventede anvendelse af IndFak. </a:t>
            </a:r>
            <a:endParaRPr lang="da-DK" sz="900">
              <a:latin typeface="+mn-lt"/>
              <a:cs typeface="Verdana"/>
            </a:endParaRPr>
          </a:p>
          <a:p>
            <a:pPr algn="l" defTabSz="457200">
              <a:spcBef>
                <a:spcPts val="600"/>
              </a:spcBef>
              <a:buNone/>
            </a:pPr>
            <a:r>
              <a:rPr lang="da-DK" sz="900">
                <a:latin typeface="+mn-lt"/>
                <a:cs typeface="Verdana"/>
              </a:rPr>
              <a:t>På</a:t>
            </a:r>
            <a:r>
              <a:rPr lang="da-DK" sz="900">
                <a:latin typeface="+mn-lt"/>
              </a:rPr>
              <a:t> de næste sider præsenteres: </a:t>
            </a:r>
            <a:endParaRPr lang="da-DK" sz="900">
              <a:latin typeface="+mn-lt"/>
              <a:ea typeface="Verdana"/>
              <a:cs typeface="Verdana"/>
            </a:endParaRPr>
          </a:p>
          <a:p>
            <a:pPr algn="l"/>
            <a:r>
              <a:rPr lang="da-DK" sz="900" b="1">
                <a:latin typeface="+mn-lt"/>
              </a:rPr>
              <a:t>Funktionelt </a:t>
            </a:r>
            <a:r>
              <a:rPr lang="da-DK" sz="900" b="1" err="1">
                <a:latin typeface="+mn-lt"/>
              </a:rPr>
              <a:t>scope</a:t>
            </a:r>
            <a:r>
              <a:rPr lang="da-DK" sz="900" b="1">
                <a:latin typeface="+mn-lt"/>
              </a:rPr>
              <a:t> for IndFak. </a:t>
            </a:r>
            <a:r>
              <a:rPr lang="da-DK" sz="900">
                <a:latin typeface="+mn-lt"/>
              </a:rPr>
              <a:t>Siden viser den overordnede kernefunktionalitet forbundet med </a:t>
            </a:r>
            <a:r>
              <a:rPr lang="da-DK" sz="900" err="1">
                <a:latin typeface="+mn-lt"/>
              </a:rPr>
              <a:t>Indfak</a:t>
            </a:r>
            <a:r>
              <a:rPr lang="da-DK" sz="900">
                <a:latin typeface="+mn-lt"/>
              </a:rPr>
              <a:t>. Der lægges op til, at der i markedsdialogen skal drøftes optimeringspotentialer i forbindelse med de funktionelle krav.</a:t>
            </a:r>
            <a:endParaRPr lang="da-DK" sz="900">
              <a:latin typeface="+mn-lt"/>
              <a:ea typeface="Verdana"/>
              <a:cs typeface="Verdana"/>
            </a:endParaRPr>
          </a:p>
          <a:p>
            <a:pPr algn="l"/>
            <a:r>
              <a:rPr lang="da-DK" sz="900" b="1" err="1">
                <a:latin typeface="+mn-lt"/>
              </a:rPr>
              <a:t>Use</a:t>
            </a:r>
            <a:r>
              <a:rPr lang="da-DK" sz="900" b="1">
                <a:latin typeface="+mn-lt"/>
              </a:rPr>
              <a:t> cases. </a:t>
            </a:r>
            <a:r>
              <a:rPr lang="da-DK" sz="900">
                <a:latin typeface="+mn-lt"/>
              </a:rPr>
              <a:t>Som det fremgår af sektion 1 (Baggrund og formål), så er IndFak et etableret system, der understøtter mange af Økonomistyrelsens forretningsprocesser. </a:t>
            </a:r>
            <a:r>
              <a:rPr lang="da-DK" sz="900" err="1">
                <a:latin typeface="+mn-lt"/>
              </a:rPr>
              <a:t>Use</a:t>
            </a:r>
            <a:r>
              <a:rPr lang="da-DK" sz="900">
                <a:latin typeface="+mn-lt"/>
              </a:rPr>
              <a:t> cases illustrerer udvalgte delprocesser i IndFak, hvor Økonomistyrelsen gerne ser en forbedring under en fremtidig kontrakt. Leverandøren bedes redegøre for, hvordan gode løsninger for de nævnte delprocesser kunne tænkes. </a:t>
            </a:r>
            <a:endParaRPr lang="da-DK" sz="900">
              <a:latin typeface="+mn-lt"/>
              <a:ea typeface="Verdana"/>
              <a:cs typeface="Verdana"/>
            </a:endParaRPr>
          </a:p>
          <a:p>
            <a:pPr algn="l"/>
            <a:endParaRPr lang="da-DK" sz="900">
              <a:highlight>
                <a:srgbClr val="FFFF00"/>
              </a:highlight>
              <a:latin typeface="+mn-lt"/>
              <a:ea typeface="Verdana"/>
              <a:cs typeface="Verdana"/>
            </a:endParaRPr>
          </a:p>
          <a:p>
            <a:pPr algn="l"/>
            <a:endParaRPr lang="da-DK" sz="900">
              <a:solidFill>
                <a:srgbClr val="FF0000"/>
              </a:solidFill>
              <a:latin typeface="+mn-lt"/>
              <a:ea typeface="Verdana"/>
              <a:cs typeface="Verdana"/>
            </a:endParaRPr>
          </a:p>
        </p:txBody>
      </p:sp>
      <p:sp>
        <p:nvSpPr>
          <p:cNvPr id="6" name="Content Placeholder 7">
            <a:extLst>
              <a:ext uri="{FF2B5EF4-FFF2-40B4-BE49-F238E27FC236}">
                <a16:creationId xmlns:a16="http://schemas.microsoft.com/office/drawing/2014/main" id="{13543273-572A-4AFA-8479-DF320026144A}"/>
              </a:ext>
            </a:extLst>
          </p:cNvPr>
          <p:cNvSpPr txBox="1">
            <a:spLocks/>
          </p:cNvSpPr>
          <p:nvPr/>
        </p:nvSpPr>
        <p:spPr>
          <a:xfrm>
            <a:off x="1320269" y="2061443"/>
            <a:ext cx="3976445" cy="184666"/>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da-DK" sz="1200" b="1">
                <a:latin typeface="+mj-lt"/>
              </a:rPr>
              <a:t>3.1 Anvendelse af </a:t>
            </a:r>
            <a:r>
              <a:rPr lang="da-DK" sz="1200" b="1" err="1">
                <a:latin typeface="+mj-lt"/>
              </a:rPr>
              <a:t>IndFak</a:t>
            </a:r>
            <a:endParaRPr lang="da-DK" sz="1200" b="1">
              <a:latin typeface="+mj-lt"/>
            </a:endParaRPr>
          </a:p>
        </p:txBody>
      </p:sp>
      <p:sp>
        <p:nvSpPr>
          <p:cNvPr id="20" name="Pladsholder til diasnummer 5">
            <a:extLst>
              <a:ext uri="{FF2B5EF4-FFF2-40B4-BE49-F238E27FC236}">
                <a16:creationId xmlns:a16="http://schemas.microsoft.com/office/drawing/2014/main" id="{2EF014F5-5C9B-4BD1-AF70-C19BDEFB1BCB}"/>
              </a:ext>
            </a:extLst>
          </p:cNvPr>
          <p:cNvSpPr txBox="1">
            <a:spLocks/>
          </p:cNvSpPr>
          <p:nvPr/>
        </p:nvSpPr>
        <p:spPr>
          <a:xfrm>
            <a:off x="4124325" y="6421930"/>
            <a:ext cx="990600" cy="297265"/>
          </a:xfrm>
          <a:prstGeom prst="rect">
            <a:avLst/>
          </a:prstGeom>
        </p:spPr>
        <p:txBody>
          <a:bodyPr/>
          <a:lstStyle>
            <a:defPPr>
              <a:defRPr lang="da-DK"/>
            </a:defPPr>
            <a:lvl1pPr marL="0" algn="r" defTabSz="914400" rtl="0" eaLnBrk="1" latinLnBrk="0" hangingPunct="1">
              <a:defRPr sz="1400" kern="1200">
                <a:solidFill>
                  <a:schemeClr val="accent6"/>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900" b="0">
                <a:solidFill>
                  <a:schemeClr val="tx1"/>
                </a:solidFill>
                <a:latin typeface="Verdana" panose="020B0604030504040204" pitchFamily="34" charset="0"/>
                <a:ea typeface="Verdana" panose="020B0604030504040204" pitchFamily="34" charset="0"/>
                <a:cs typeface="Verdana" panose="020B0604030504040204" pitchFamily="34" charset="0"/>
              </a:rPr>
              <a:t>Side </a:t>
            </a:r>
            <a:fld id="{C7AC859A-AE19-4543-AC75-3D2F5ABF6574}" type="slidenum">
              <a:rPr lang="da-DK" sz="900" b="0" dirty="0" smtClean="0">
                <a:solidFill>
                  <a:schemeClr val="tx1"/>
                </a:solidFill>
                <a:latin typeface="Verdana" panose="020B0604030504040204" pitchFamily="34" charset="0"/>
                <a:ea typeface="Verdana" panose="020B0604030504040204" pitchFamily="34" charset="0"/>
                <a:cs typeface="Verdana" panose="020B0604030504040204" pitchFamily="34" charset="0"/>
              </a:rPr>
              <a:pPr algn="ctr"/>
              <a:t>8</a:t>
            </a:fld>
            <a:endParaRPr lang="da-DK" sz="900" b="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grpSp>
        <p:nvGrpSpPr>
          <p:cNvPr id="34" name="Group 33">
            <a:extLst>
              <a:ext uri="{FF2B5EF4-FFF2-40B4-BE49-F238E27FC236}">
                <a16:creationId xmlns:a16="http://schemas.microsoft.com/office/drawing/2014/main" id="{9F512D46-41B0-4D18-ADCD-5B3F800B16A9}"/>
              </a:ext>
            </a:extLst>
          </p:cNvPr>
          <p:cNvGrpSpPr/>
          <p:nvPr/>
        </p:nvGrpSpPr>
        <p:grpSpPr>
          <a:xfrm>
            <a:off x="769406" y="1909403"/>
            <a:ext cx="490537" cy="485775"/>
            <a:chOff x="2738211" y="3263578"/>
            <a:chExt cx="490537" cy="485775"/>
          </a:xfrm>
        </p:grpSpPr>
        <p:sp>
          <p:nvSpPr>
            <p:cNvPr id="35" name="Oval 47">
              <a:extLst>
                <a:ext uri="{FF2B5EF4-FFF2-40B4-BE49-F238E27FC236}">
                  <a16:creationId xmlns:a16="http://schemas.microsoft.com/office/drawing/2014/main" id="{9EA4AC60-0339-46CC-A5A6-DCF9FC09481F}"/>
                </a:ext>
              </a:extLst>
            </p:cNvPr>
            <p:cNvSpPr>
              <a:spLocks noChangeArrowheads="1"/>
            </p:cNvSpPr>
            <p:nvPr/>
          </p:nvSpPr>
          <p:spPr bwMode="auto">
            <a:xfrm>
              <a:off x="2738211" y="3295328"/>
              <a:ext cx="436563" cy="436563"/>
            </a:xfrm>
            <a:prstGeom prst="ellipse">
              <a:avLst/>
            </a:pr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36" name="Group 35">
              <a:extLst>
                <a:ext uri="{FF2B5EF4-FFF2-40B4-BE49-F238E27FC236}">
                  <a16:creationId xmlns:a16="http://schemas.microsoft.com/office/drawing/2014/main" id="{5E26E27C-D111-43FA-857F-8B1E40C95470}"/>
                </a:ext>
              </a:extLst>
            </p:cNvPr>
            <p:cNvGrpSpPr/>
            <p:nvPr/>
          </p:nvGrpSpPr>
          <p:grpSpPr>
            <a:xfrm>
              <a:off x="2742973" y="3263578"/>
              <a:ext cx="485775" cy="485775"/>
              <a:chOff x="2742973" y="3263578"/>
              <a:chExt cx="485775" cy="485775"/>
            </a:xfrm>
          </p:grpSpPr>
          <p:sp>
            <p:nvSpPr>
              <p:cNvPr id="37" name="Freeform 48">
                <a:extLst>
                  <a:ext uri="{FF2B5EF4-FFF2-40B4-BE49-F238E27FC236}">
                    <a16:creationId xmlns:a16="http://schemas.microsoft.com/office/drawing/2014/main" id="{AE56CB09-06CA-48E9-803E-42FFC27C8416}"/>
                  </a:ext>
                </a:extLst>
              </p:cNvPr>
              <p:cNvSpPr>
                <a:spLocks/>
              </p:cNvSpPr>
              <p:nvPr/>
            </p:nvSpPr>
            <p:spPr bwMode="auto">
              <a:xfrm>
                <a:off x="2742973" y="3263578"/>
                <a:ext cx="485775" cy="485775"/>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8" name="Freeform 49">
                <a:extLst>
                  <a:ext uri="{FF2B5EF4-FFF2-40B4-BE49-F238E27FC236}">
                    <a16:creationId xmlns:a16="http://schemas.microsoft.com/office/drawing/2014/main" id="{03A0D947-6459-4058-9497-CB4929A10314}"/>
                  </a:ext>
                </a:extLst>
              </p:cNvPr>
              <p:cNvSpPr>
                <a:spLocks/>
              </p:cNvSpPr>
              <p:nvPr/>
            </p:nvSpPr>
            <p:spPr bwMode="auto">
              <a:xfrm>
                <a:off x="2877911" y="3442965"/>
                <a:ext cx="49213" cy="22225"/>
              </a:xfrm>
              <a:custGeom>
                <a:avLst/>
                <a:gdLst>
                  <a:gd name="T0" fmla="*/ 0 w 11"/>
                  <a:gd name="T1" fmla="*/ 5 h 5"/>
                  <a:gd name="T2" fmla="*/ 5 w 11"/>
                  <a:gd name="T3" fmla="*/ 0 h 5"/>
                  <a:gd name="T4" fmla="*/ 11 w 11"/>
                  <a:gd name="T5" fmla="*/ 5 h 5"/>
                </a:gdLst>
                <a:ahLst/>
                <a:cxnLst>
                  <a:cxn ang="0">
                    <a:pos x="T0" y="T1"/>
                  </a:cxn>
                  <a:cxn ang="0">
                    <a:pos x="T2" y="T3"/>
                  </a:cxn>
                  <a:cxn ang="0">
                    <a:pos x="T4" y="T5"/>
                  </a:cxn>
                </a:cxnLst>
                <a:rect l="0" t="0" r="r" b="b"/>
                <a:pathLst>
                  <a:path w="11" h="5">
                    <a:moveTo>
                      <a:pt x="0" y="5"/>
                    </a:moveTo>
                    <a:cubicBezTo>
                      <a:pt x="0" y="2"/>
                      <a:pt x="2" y="0"/>
                      <a:pt x="5" y="0"/>
                    </a:cubicBezTo>
                    <a:cubicBezTo>
                      <a:pt x="8" y="0"/>
                      <a:pt x="11" y="2"/>
                      <a:pt x="11" y="5"/>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9" name="Freeform 50">
                <a:extLst>
                  <a:ext uri="{FF2B5EF4-FFF2-40B4-BE49-F238E27FC236}">
                    <a16:creationId xmlns:a16="http://schemas.microsoft.com/office/drawing/2014/main" id="{3812F3CE-56A8-45D2-A14F-752CD7BFC321}"/>
                  </a:ext>
                </a:extLst>
              </p:cNvPr>
              <p:cNvSpPr>
                <a:spLocks/>
              </p:cNvSpPr>
              <p:nvPr/>
            </p:nvSpPr>
            <p:spPr bwMode="auto">
              <a:xfrm>
                <a:off x="3044598" y="3442965"/>
                <a:ext cx="49213" cy="22225"/>
              </a:xfrm>
              <a:custGeom>
                <a:avLst/>
                <a:gdLst>
                  <a:gd name="T0" fmla="*/ 0 w 11"/>
                  <a:gd name="T1" fmla="*/ 5 h 5"/>
                  <a:gd name="T2" fmla="*/ 5 w 11"/>
                  <a:gd name="T3" fmla="*/ 0 h 5"/>
                  <a:gd name="T4" fmla="*/ 11 w 11"/>
                  <a:gd name="T5" fmla="*/ 5 h 5"/>
                </a:gdLst>
                <a:ahLst/>
                <a:cxnLst>
                  <a:cxn ang="0">
                    <a:pos x="T0" y="T1"/>
                  </a:cxn>
                  <a:cxn ang="0">
                    <a:pos x="T2" y="T3"/>
                  </a:cxn>
                  <a:cxn ang="0">
                    <a:pos x="T4" y="T5"/>
                  </a:cxn>
                </a:cxnLst>
                <a:rect l="0" t="0" r="r" b="b"/>
                <a:pathLst>
                  <a:path w="11" h="5">
                    <a:moveTo>
                      <a:pt x="0" y="5"/>
                    </a:moveTo>
                    <a:cubicBezTo>
                      <a:pt x="0" y="2"/>
                      <a:pt x="2" y="0"/>
                      <a:pt x="5" y="0"/>
                    </a:cubicBezTo>
                    <a:cubicBezTo>
                      <a:pt x="9" y="0"/>
                      <a:pt x="11" y="2"/>
                      <a:pt x="11" y="5"/>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40" name="Freeform 51">
                <a:extLst>
                  <a:ext uri="{FF2B5EF4-FFF2-40B4-BE49-F238E27FC236}">
                    <a16:creationId xmlns:a16="http://schemas.microsoft.com/office/drawing/2014/main" id="{62907A52-54A7-4A1A-A772-FD179072031D}"/>
                  </a:ext>
                </a:extLst>
              </p:cNvPr>
              <p:cNvSpPr>
                <a:spLocks/>
              </p:cNvSpPr>
              <p:nvPr/>
            </p:nvSpPr>
            <p:spPr bwMode="auto">
              <a:xfrm>
                <a:off x="2895373" y="3582665"/>
                <a:ext cx="180975" cy="49213"/>
              </a:xfrm>
              <a:custGeom>
                <a:avLst/>
                <a:gdLst>
                  <a:gd name="T0" fmla="*/ 0 w 40"/>
                  <a:gd name="T1" fmla="*/ 0 h 11"/>
                  <a:gd name="T2" fmla="*/ 20 w 40"/>
                  <a:gd name="T3" fmla="*/ 11 h 11"/>
                  <a:gd name="T4" fmla="*/ 40 w 40"/>
                  <a:gd name="T5" fmla="*/ 0 h 11"/>
                </a:gdLst>
                <a:ahLst/>
                <a:cxnLst>
                  <a:cxn ang="0">
                    <a:pos x="T0" y="T1"/>
                  </a:cxn>
                  <a:cxn ang="0">
                    <a:pos x="T2" y="T3"/>
                  </a:cxn>
                  <a:cxn ang="0">
                    <a:pos x="T4" y="T5"/>
                  </a:cxn>
                </a:cxnLst>
                <a:rect l="0" t="0" r="r" b="b"/>
                <a:pathLst>
                  <a:path w="40" h="11">
                    <a:moveTo>
                      <a:pt x="0" y="0"/>
                    </a:moveTo>
                    <a:cubicBezTo>
                      <a:pt x="4" y="7"/>
                      <a:pt x="12" y="11"/>
                      <a:pt x="20" y="11"/>
                    </a:cubicBezTo>
                    <a:cubicBezTo>
                      <a:pt x="28" y="11"/>
                      <a:pt x="36" y="7"/>
                      <a:pt x="40"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sp>
        <p:nvSpPr>
          <p:cNvPr id="41" name="Title 1">
            <a:extLst>
              <a:ext uri="{FF2B5EF4-FFF2-40B4-BE49-F238E27FC236}">
                <a16:creationId xmlns:a16="http://schemas.microsoft.com/office/drawing/2014/main" id="{FE7A96DF-ADCB-4912-84E9-F6AC045D3B66}"/>
              </a:ext>
            </a:extLst>
          </p:cNvPr>
          <p:cNvSpPr>
            <a:spLocks noGrp="1"/>
          </p:cNvSpPr>
          <p:nvPr>
            <p:ph type="title"/>
          </p:nvPr>
        </p:nvSpPr>
        <p:spPr>
          <a:xfrm>
            <a:off x="276225" y="365127"/>
            <a:ext cx="7981950" cy="689476"/>
          </a:xfrm>
        </p:spPr>
        <p:txBody>
          <a:bodyPr>
            <a:noAutofit/>
          </a:bodyPr>
          <a:lstStyle/>
          <a:p>
            <a:r>
              <a:rPr lang="da-DK" sz="2490" b="0">
                <a:solidFill>
                  <a:schemeClr val="tx1"/>
                </a:solidFill>
                <a:latin typeface="Impact" panose="020B0806030902050204" pitchFamily="34" charset="0"/>
              </a:rPr>
              <a:t>3. Løsningen</a:t>
            </a:r>
            <a:r>
              <a:rPr lang="da-DK" sz="2490">
                <a:latin typeface="Impact" panose="020B0806030902050204" pitchFamily="34" charset="0"/>
              </a:rPr>
              <a:t/>
            </a:r>
            <a:br>
              <a:rPr lang="da-DK" sz="2490">
                <a:latin typeface="Impact" panose="020B0806030902050204" pitchFamily="34" charset="0"/>
              </a:rPr>
            </a:br>
            <a:r>
              <a:rPr lang="da-DK" sz="2490">
                <a:latin typeface="Impact" panose="020B0806030902050204" pitchFamily="34" charset="0"/>
              </a:rPr>
              <a:t> </a:t>
            </a:r>
          </a:p>
        </p:txBody>
      </p:sp>
    </p:spTree>
    <p:extLst>
      <p:ext uri="{BB962C8B-B14F-4D97-AF65-F5344CB8AC3E}">
        <p14:creationId xmlns:p14="http://schemas.microsoft.com/office/powerpoint/2010/main" val="2870229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_LOCKS" val="0"/>
</p:tagLst>
</file>

<file path=ppt/tags/tag11.xml><?xml version="1.0" encoding="utf-8"?>
<p:tagLst xmlns:a="http://schemas.openxmlformats.org/drawingml/2006/main" xmlns:r="http://schemas.openxmlformats.org/officeDocument/2006/relationships" xmlns:p="http://schemas.openxmlformats.org/presentationml/2006/main">
  <p:tag name="SHAPE_LOCKS" val="0"/>
</p:tagLst>
</file>

<file path=ppt/tags/tag12.xml><?xml version="1.0" encoding="utf-8"?>
<p:tagLst xmlns:a="http://schemas.openxmlformats.org/drawingml/2006/main" xmlns:r="http://schemas.openxmlformats.org/officeDocument/2006/relationships" xmlns:p="http://schemas.openxmlformats.org/presentationml/2006/main">
  <p:tag name="SHAPE_LOCKS" val="0"/>
</p:tagLst>
</file>

<file path=ppt/tags/tag13.xml><?xml version="1.0" encoding="utf-8"?>
<p:tagLst xmlns:a="http://schemas.openxmlformats.org/drawingml/2006/main" xmlns:r="http://schemas.openxmlformats.org/officeDocument/2006/relationships" xmlns:p="http://schemas.openxmlformats.org/presentationml/2006/main">
  <p:tag name="SHAPE_LOCKS" val="0"/>
</p:tagLst>
</file>

<file path=ppt/tags/tag14.xml><?xml version="1.0" encoding="utf-8"?>
<p:tagLst xmlns:a="http://schemas.openxmlformats.org/drawingml/2006/main" xmlns:r="http://schemas.openxmlformats.org/officeDocument/2006/relationships" xmlns:p="http://schemas.openxmlformats.org/presentationml/2006/main">
  <p:tag name="SHAPE_LOCKS" val="0"/>
</p:tagLst>
</file>

<file path=ppt/tags/tag15.xml><?xml version="1.0" encoding="utf-8"?>
<p:tagLst xmlns:a="http://schemas.openxmlformats.org/drawingml/2006/main" xmlns:r="http://schemas.openxmlformats.org/officeDocument/2006/relationships" xmlns:p="http://schemas.openxmlformats.org/presentationml/2006/main">
  <p:tag name="SHAPE_LOCKS" val="0"/>
</p:tagLst>
</file>

<file path=ppt/tags/tag16.xml><?xml version="1.0" encoding="utf-8"?>
<p:tagLst xmlns:a="http://schemas.openxmlformats.org/drawingml/2006/main" xmlns:r="http://schemas.openxmlformats.org/officeDocument/2006/relationships" xmlns:p="http://schemas.openxmlformats.org/presentationml/2006/main">
  <p:tag name="SHAPE_LOCKS" val="0"/>
</p:tagLst>
</file>

<file path=ppt/tags/tag17.xml><?xml version="1.0" encoding="utf-8"?>
<p:tagLst xmlns:a="http://schemas.openxmlformats.org/drawingml/2006/main" xmlns:r="http://schemas.openxmlformats.org/officeDocument/2006/relationships" xmlns:p="http://schemas.openxmlformats.org/presentationml/2006/main">
  <p:tag name="SHAPE_LOCKS" val="0"/>
</p:tagLst>
</file>

<file path=ppt/tags/tag18.xml><?xml version="1.0" encoding="utf-8"?>
<p:tagLst xmlns:a="http://schemas.openxmlformats.org/drawingml/2006/main" xmlns:r="http://schemas.openxmlformats.org/officeDocument/2006/relationships" xmlns:p="http://schemas.openxmlformats.org/presentationml/2006/main">
  <p:tag name="SHAPE_LOCKS" val="0"/>
</p:tagLst>
</file>

<file path=ppt/tags/tag19.xml><?xml version="1.0" encoding="utf-8"?>
<p:tagLst xmlns:a="http://schemas.openxmlformats.org/drawingml/2006/main" xmlns:r="http://schemas.openxmlformats.org/officeDocument/2006/relationships" xmlns:p="http://schemas.openxmlformats.org/presentationml/2006/main">
  <p:tag name="SHAPE_LOCKS"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_LOCKS" val="0"/>
</p:tagLst>
</file>

<file path=ppt/tags/tag21.xml><?xml version="1.0" encoding="utf-8"?>
<p:tagLst xmlns:a="http://schemas.openxmlformats.org/drawingml/2006/main" xmlns:r="http://schemas.openxmlformats.org/officeDocument/2006/relationships" xmlns:p="http://schemas.openxmlformats.org/presentationml/2006/main">
  <p:tag name="SHAPE_LOCKS" val="0"/>
</p:tagLst>
</file>

<file path=ppt/tags/tag22.xml><?xml version="1.0" encoding="utf-8"?>
<p:tagLst xmlns:a="http://schemas.openxmlformats.org/drawingml/2006/main" xmlns:r="http://schemas.openxmlformats.org/officeDocument/2006/relationships" xmlns:p="http://schemas.openxmlformats.org/presentationml/2006/main">
  <p:tag name="SHAPE_LOCKS" val="0"/>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r1TO60PSwyplZsH7wXLTA"/>
</p:tagLst>
</file>

<file path=ppt/tags/tag25.xml><?xml version="1.0" encoding="utf-8"?>
<p:tagLst xmlns:a="http://schemas.openxmlformats.org/drawingml/2006/main" xmlns:r="http://schemas.openxmlformats.org/officeDocument/2006/relationships" xmlns:p="http://schemas.openxmlformats.org/presentationml/2006/main">
  <p:tag name="SHAPE_LOCKS" val="0"/>
</p:tagLst>
</file>

<file path=ppt/tags/tag26.xml><?xml version="1.0" encoding="utf-8"?>
<p:tagLst xmlns:a="http://schemas.openxmlformats.org/drawingml/2006/main" xmlns:r="http://schemas.openxmlformats.org/officeDocument/2006/relationships" xmlns:p="http://schemas.openxmlformats.org/presentationml/2006/main">
  <p:tag name="SHAPE_LOCKS" val="0"/>
</p:tagLst>
</file>

<file path=ppt/tags/tag27.xml><?xml version="1.0" encoding="utf-8"?>
<p:tagLst xmlns:a="http://schemas.openxmlformats.org/drawingml/2006/main" xmlns:r="http://schemas.openxmlformats.org/officeDocument/2006/relationships" xmlns:p="http://schemas.openxmlformats.org/presentationml/2006/main">
  <p:tag name="SHAPE_LOCKS" val="0"/>
</p:tagLst>
</file>

<file path=ppt/tags/tag28.xml><?xml version="1.0" encoding="utf-8"?>
<p:tagLst xmlns:a="http://schemas.openxmlformats.org/drawingml/2006/main" xmlns:r="http://schemas.openxmlformats.org/officeDocument/2006/relationships" xmlns:p="http://schemas.openxmlformats.org/presentationml/2006/main">
  <p:tag name="SHAPE_LOCKS" val="0"/>
</p:tagLst>
</file>

<file path=ppt/tags/tag29.xml><?xml version="1.0" encoding="utf-8"?>
<p:tagLst xmlns:a="http://schemas.openxmlformats.org/drawingml/2006/main" xmlns:r="http://schemas.openxmlformats.org/officeDocument/2006/relationships" xmlns:p="http://schemas.openxmlformats.org/presentationml/2006/main">
  <p:tag name="SHAPE_LOCKS"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HAPE_LOCKS" val="0"/>
</p:tagLst>
</file>

<file path=ppt/tags/tag31.xml><?xml version="1.0" encoding="utf-8"?>
<p:tagLst xmlns:a="http://schemas.openxmlformats.org/drawingml/2006/main" xmlns:r="http://schemas.openxmlformats.org/officeDocument/2006/relationships" xmlns:p="http://schemas.openxmlformats.org/presentationml/2006/main">
  <p:tag name="SHAPE_LOCKS" val="0"/>
</p:tagLst>
</file>

<file path=ppt/tags/tag32.xml><?xml version="1.0" encoding="utf-8"?>
<p:tagLst xmlns:a="http://schemas.openxmlformats.org/drawingml/2006/main" xmlns:r="http://schemas.openxmlformats.org/officeDocument/2006/relationships" xmlns:p="http://schemas.openxmlformats.org/presentationml/2006/main">
  <p:tag name="SHAPE_LOCKS" val="0"/>
</p:tagLst>
</file>

<file path=ppt/tags/tag33.xml><?xml version="1.0" encoding="utf-8"?>
<p:tagLst xmlns:a="http://schemas.openxmlformats.org/drawingml/2006/main" xmlns:r="http://schemas.openxmlformats.org/officeDocument/2006/relationships" xmlns:p="http://schemas.openxmlformats.org/presentationml/2006/main">
  <p:tag name="SHAPE_LOCKS" val="0"/>
</p:tagLst>
</file>

<file path=ppt/tags/tag34.xml><?xml version="1.0" encoding="utf-8"?>
<p:tagLst xmlns:a="http://schemas.openxmlformats.org/drawingml/2006/main" xmlns:r="http://schemas.openxmlformats.org/officeDocument/2006/relationships" xmlns:p="http://schemas.openxmlformats.org/presentationml/2006/main">
  <p:tag name="SHAPE_LOCKS" val="0"/>
</p:tagLst>
</file>

<file path=ppt/tags/tag35.xml><?xml version="1.0" encoding="utf-8"?>
<p:tagLst xmlns:a="http://schemas.openxmlformats.org/drawingml/2006/main" xmlns:r="http://schemas.openxmlformats.org/officeDocument/2006/relationships" xmlns:p="http://schemas.openxmlformats.org/presentationml/2006/main">
  <p:tag name="SHAPE_LOCKS" val="0"/>
</p:tagLst>
</file>

<file path=ppt/tags/tag36.xml><?xml version="1.0" encoding="utf-8"?>
<p:tagLst xmlns:a="http://schemas.openxmlformats.org/drawingml/2006/main" xmlns:r="http://schemas.openxmlformats.org/officeDocument/2006/relationships" xmlns:p="http://schemas.openxmlformats.org/presentationml/2006/main">
  <p:tag name="SHAPE_LOCKS" val="0"/>
</p:tagLst>
</file>

<file path=ppt/tags/tag37.xml><?xml version="1.0" encoding="utf-8"?>
<p:tagLst xmlns:a="http://schemas.openxmlformats.org/drawingml/2006/main" xmlns:r="http://schemas.openxmlformats.org/officeDocument/2006/relationships" xmlns:p="http://schemas.openxmlformats.org/presentationml/2006/main">
  <p:tag name="SHAPE_LOCKS" val="0"/>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cb3m8oSRv.4iInDXybm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lh7mXBOT6CX9V7m0F79s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B3cKhE0SBuzgDProAbMqA"/>
</p:tagLst>
</file>

<file path=ppt/tags/tag42.xml><?xml version="1.0" encoding="utf-8"?>
<p:tagLst xmlns:a="http://schemas.openxmlformats.org/drawingml/2006/main" xmlns:r="http://schemas.openxmlformats.org/officeDocument/2006/relationships" xmlns:p="http://schemas.openxmlformats.org/presentationml/2006/main">
  <p:tag name="SHAPE_LOCKS" val="0"/>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B3cKhE0SBuzgDProAbMqA"/>
</p:tagLst>
</file>

<file path=ppt/tags/tag45.xml><?xml version="1.0" encoding="utf-8"?>
<p:tagLst xmlns:a="http://schemas.openxmlformats.org/drawingml/2006/main" xmlns:r="http://schemas.openxmlformats.org/officeDocument/2006/relationships" xmlns:p="http://schemas.openxmlformats.org/presentationml/2006/main">
  <p:tag name="SHAPE_LOCKS" val="0"/>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B3cKhE0SBuzgDProAbMqA"/>
</p:tagLst>
</file>

<file path=ppt/tags/tag48.xml><?xml version="1.0" encoding="utf-8"?>
<p:tagLst xmlns:a="http://schemas.openxmlformats.org/drawingml/2006/main" xmlns:r="http://schemas.openxmlformats.org/officeDocument/2006/relationships" xmlns:p="http://schemas.openxmlformats.org/presentationml/2006/main">
  <p:tag name="SHAPE_LOCKS" val="0"/>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_LOCKS" val="0"/>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yB3cKhE0SBuzgDProAbMqA"/>
</p:tagLst>
</file>

<file path=ppt/tags/tag51.xml><?xml version="1.0" encoding="utf-8"?>
<p:tagLst xmlns:a="http://schemas.openxmlformats.org/drawingml/2006/main" xmlns:r="http://schemas.openxmlformats.org/officeDocument/2006/relationships" xmlns:p="http://schemas.openxmlformats.org/presentationml/2006/main">
  <p:tag name="SHAPE_LOCKS" val="0"/>
</p:tagLst>
</file>

<file path=ppt/tags/tag52.xml><?xml version="1.0" encoding="utf-8"?>
<p:tagLst xmlns:a="http://schemas.openxmlformats.org/drawingml/2006/main" xmlns:r="http://schemas.openxmlformats.org/officeDocument/2006/relationships" xmlns:p="http://schemas.openxmlformats.org/presentationml/2006/main">
  <p:tag name="SHAPE_LOCKS" val="0"/>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B3cKhE0SBuzgDProAbMqA"/>
</p:tagLst>
</file>

<file path=ppt/tags/tag55.xml><?xml version="1.0" encoding="utf-8"?>
<p:tagLst xmlns:a="http://schemas.openxmlformats.org/drawingml/2006/main" xmlns:r="http://schemas.openxmlformats.org/officeDocument/2006/relationships" xmlns:p="http://schemas.openxmlformats.org/presentationml/2006/main">
  <p:tag name="SHAPE_LOCKS" val="0"/>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MBrqF.0Sr6sbkzqGjbABg"/>
</p:tagLst>
</file>

<file path=ppt/tags/tag58.xml><?xml version="1.0" encoding="utf-8"?>
<p:tagLst xmlns:a="http://schemas.openxmlformats.org/drawingml/2006/main" xmlns:r="http://schemas.openxmlformats.org/officeDocument/2006/relationships" xmlns:p="http://schemas.openxmlformats.org/presentationml/2006/main">
  <p:tag name="SMART" val="&lt;smart xmlns:xsi=&quot;http://www.w3.org/2001/XMLSchema-instance&quot; xmlns:xsd=&quot;http://www.w3.org/2001/XMLSchema&quot;&gt;&lt;slideSettings id=&quot;12a19f3e-5b70-4d40-b8ef-8ab199eeb289&quot;&gt;&lt;agenda agendaId=&quot;00000000-0000-0000-0000-000000000000&quot; agendaRowId=&quot;00000000-0000-0000-0000-000000000000&quot; /&gt;&lt;executiveSummary isExecutiveSummary=&quot;false&quot; /&gt;&lt;/slideSettings&gt;&lt;/smart&gt;"/>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dIaStHKtQ0Cb9IQiNQKIi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dIaStHKtQ0Cb9IQiNQKIiA"/>
</p:tagLst>
</file>

<file path=ppt/tags/tag64.xml><?xml version="1.0" encoding="utf-8"?>
<p:tagLst xmlns:a="http://schemas.openxmlformats.org/drawingml/2006/main" xmlns:r="http://schemas.openxmlformats.org/officeDocument/2006/relationships" xmlns:p="http://schemas.openxmlformats.org/presentationml/2006/main">
  <p:tag name="SMART" val="&lt;smart xmlns:xsd=&quot;http://www.w3.org/2001/XMLSchema&quot; xmlns:xsi=&quot;http://www.w3.org/2001/XMLSchema-instance&quot;&gt;&lt;slideSettings id=&quot;a7d833dc-95ce-4b9a-b6cd-5fea47095c1b&quot;&gt;&lt;agenda agendaId=&quot;00000000-0000-0000-0000-000000000000&quot; agendaRowId=&quot;00000000-0000-0000-0000-000000000000&quot; /&gt;&lt;executiveSummary isExecutiveSummary=&quot;false&quot; /&gt;&lt;/slideSettings&gt;&lt;/smart&gt;"/>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xE0Y6Z2SeGf8xi6FdLlo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uPKCN7McRRSqnL9dQVgyu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2ur0V1FE6kTVKvg2hlJuk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uPKCN7McRRSqnL9dQVgyu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PKCN7McRRSqnL9dQVgyu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uPKCN7McRRSqnL9dQVgyu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PKCN7McRRSqnL9dQVgyu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PKCN7McRRSqnL9dQVgyu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SHAPE_LOCKS" val="0"/>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PKCN7McRRSqnL9dQVgyu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uPKCN7McRRSqnL9dQVgyu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uPKCN7McRRSqnL9dQVgyu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dIaStHKtQ0Cb9IQiNQKIi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SMART" val="&lt;smart xmlns:xsi=&quot;http://www.w3.org/2001/XMLSchema-instance&quot; xmlns:xsd=&quot;http://www.w3.org/2001/XMLSchema&quot;&gt;&lt;slideSettings id=&quot;1d66d0a9-d8b7-4f37-8c4c-adda7f78c146&quot;&gt;&lt;agenda agendaId=&quot;00000000-0000-0000-0000-000000000000&quot; agendaRowId=&quot;00000000-0000-0000-0000-000000000000&quot; /&gt;&lt;executiveSummary isExecutiveSummary=&quot;false&quot; /&gt;&lt;/slideSettings&gt;&lt;/smart&gt;"/>
</p:tagLst>
</file>

<file path=ppt/tags/tag9.xml><?xml version="1.0" encoding="utf-8"?>
<p:tagLst xmlns:a="http://schemas.openxmlformats.org/drawingml/2006/main" xmlns:r="http://schemas.openxmlformats.org/officeDocument/2006/relationships" xmlns:p="http://schemas.openxmlformats.org/presentationml/2006/main">
  <p:tag name="SHAPE_LOCKS" val="0"/>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9KFaWLJnTp.7m2NkDCKCb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CaJJMX_yQ.ers96oPyE4DA"/>
</p:tagLst>
</file>

<file path=ppt/theme/theme1.xml><?xml version="1.0" encoding="utf-8"?>
<a:theme xmlns:a="http://schemas.openxmlformats.org/drawingml/2006/main" name="Office-tema">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IGIT">
      <a:majorFont>
        <a:latin typeface="Verdana"/>
        <a:ea typeface=""/>
        <a:cs typeface=""/>
      </a:majorFont>
      <a:minorFont>
        <a:latin typeface="Verdana"/>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Interviewguide_fokusgruppeinterviews 28 nov_DIGIT fælles social-sundhedsogomsorgssystem" id="{B5CC93E1-7D25-4094-A8F1-D93D9DA80718}" vid="{EFBE0BCE-282C-42F1-A901-8F0C79C7FCC8}"/>
    </a:ext>
  </a:extLst>
</a:theme>
</file>

<file path=ppt/theme/theme2.xml><?xml version="1.0" encoding="utf-8"?>
<a:theme xmlns:a="http://schemas.openxmlformats.org/drawingml/2006/main" name="Implement PowerPoint A4">
  <a:themeElements>
    <a:clrScheme name="Implement 2018">
      <a:dk1>
        <a:srgbClr val="000000"/>
      </a:dk1>
      <a:lt1>
        <a:srgbClr val="FFFFFF"/>
      </a:lt1>
      <a:dk2>
        <a:srgbClr val="000000"/>
      </a:dk2>
      <a:lt2>
        <a:srgbClr val="FFFFFF"/>
      </a:lt2>
      <a:accent1>
        <a:srgbClr val="EAEAEA"/>
      </a:accent1>
      <a:accent2>
        <a:srgbClr val="C0C0C0"/>
      </a:accent2>
      <a:accent3>
        <a:srgbClr val="DDDDDD"/>
      </a:accent3>
      <a:accent4>
        <a:srgbClr val="838789"/>
      </a:accent4>
      <a:accent5>
        <a:srgbClr val="1F2023"/>
      </a:accent5>
      <a:accent6>
        <a:srgbClr val="898C96"/>
      </a:accent6>
      <a:hlink>
        <a:srgbClr val="838789"/>
      </a:hlink>
      <a:folHlink>
        <a:srgbClr val="E2DED9"/>
      </a:folHlink>
    </a:clrScheme>
    <a:fontScheme name="Impleme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2DED9"/>
        </a:solidFill>
        <a:ln w="6350">
          <a:noFill/>
        </a:ln>
      </a:spPr>
      <a:bodyPr lIns="108000" tIns="108000" rIns="108000" bIns="108000" rtlCol="0" anchor="t" anchorCtr="0">
        <a:noAutofit/>
      </a:bodyPr>
      <a:lstStyle>
        <a:defPPr algn="l">
          <a:defRPr sz="1100" noProof="0" dirty="0" err="1" smtClean="0">
            <a:solidFill>
              <a:srgbClr val="2F363B"/>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1F202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a:noFill/>
          <a:prstDash val="sysDash"/>
        </a:ln>
      </a:spPr>
      <a:bodyPr wrap="square" lIns="0" tIns="0" rIns="0" bIns="0" rtlCol="0">
        <a:spAutoFit/>
      </a:bodyPr>
      <a:lstStyle>
        <a:defPPr algn="l">
          <a:defRPr sz="1100"/>
        </a:defPPr>
      </a:lstStyle>
    </a:txDef>
  </a:objectDefaults>
  <a:extraClrSchemeLst/>
  <a:custClrLst>
    <a:custClr name="226, 222, 217">
      <a:srgbClr val="E2DED9"/>
    </a:custClr>
    <a:custClr name="248, 245, 231">
      <a:srgbClr val="F8F5E7"/>
    </a:custClr>
    <a:custClr name="48, 55, 59">
      <a:srgbClr val="30373B"/>
    </a:custClr>
    <a:custClr name="31, 32, 35">
      <a:srgbClr val="1F2023"/>
    </a:custClr>
    <a:custClr name="224, 188, 166">
      <a:srgbClr val="E0BCA6"/>
    </a:custClr>
    <a:custClr name="138, 162, 153">
      <a:srgbClr val="8AA299"/>
    </a:custClr>
    <a:custClr name="228, 183, 59">
      <a:srgbClr val="E4B73B"/>
    </a:custClr>
    <a:custClr name="64, 97, 95">
      <a:srgbClr val="40615F"/>
    </a:custClr>
    <a:custClr name="137, 62, 69">
      <a:srgbClr val="893E45"/>
    </a:custClr>
    <a:custClr name="154, 110, 58">
      <a:srgbClr val="9A6E3A"/>
    </a:custClr>
    <a:custClr name="232, 229, 225">
      <a:srgbClr val="E8E5E1"/>
    </a:custClr>
    <a:custClr name="249, 247, 236">
      <a:srgbClr val="F9F7EC"/>
    </a:custClr>
    <a:custClr name="89, 95, 98">
      <a:srgbClr val="595F62"/>
    </a:custClr>
    <a:custClr name="76, 77, 79">
      <a:srgbClr val="4C4D4F"/>
    </a:custClr>
    <a:custClr name="230, 201, 184">
      <a:srgbClr val="E6C9B8"/>
    </a:custClr>
    <a:custClr name="161, 181, 173">
      <a:srgbClr val="A1B5AD"/>
    </a:custClr>
    <a:custClr name="​233, 197, 98">
      <a:srgbClr val="E9C562"/>
    </a:custClr>
    <a:custClr name="102, 129, 127">
      <a:srgbClr val="66817F"/>
    </a:custClr>
    <a:custClr name="161, 101, 106">
      <a:srgbClr val="A1656A"/>
    </a:custClr>
    <a:custClr name="174, 139, 97">
      <a:srgbClr val="AE8B61"/>
    </a:custClr>
    <a:custClr name="238, 235, 232">
      <a:srgbClr val="EEEBE8"/>
    </a:custClr>
    <a:custClr name="251, 249, 241">
      <a:srgbClr val="FBF9F1"/>
    </a:custClr>
    <a:custClr name="149,153,155">
      <a:srgbClr val="95999B"/>
    </a:custClr>
    <a:custClr name="141,141,143">
      <a:srgbClr val="8D8D8F"/>
    </a:custClr>
    <a:custClr name="239,221,210">
      <a:srgbClr val="EFDDD2"/>
    </a:custClr>
    <a:custClr name="195,207,203">
      <a:srgbClr val="C3CFCB"/>
    </a:custClr>
    <a:custClr name="241,218,155">
      <a:srgbClr val="F1DA9B"/>
    </a:custClr>
    <a:custClr name="157,174,173">
      <a:srgbClr val="9DAEAD"/>
    </a:custClr>
    <a:custClr name="195,156,160">
      <a:srgbClr val="C39CA0"/>
    </a:custClr>
    <a:custClr name="203,181,155">
      <a:srgbClr val="CBB59B"/>
    </a:custClr>
    <a:custClr name="243, 242, 240">
      <a:srgbClr val="F3F2F0"/>
    </a:custClr>
    <a:custClr name="252, 251, 245">
      <a:srgbClr val="FCFBF5"/>
    </a:custClr>
    <a:custClr name="184,187,189">
      <a:srgbClr val="B8BBBD"/>
    </a:custClr>
    <a:custClr name="178,179,180">
      <a:srgbClr val="B2B3B4"/>
    </a:custClr>
    <a:custClr name="245,232,224">
      <a:srgbClr val="F5E8E0"/>
    </a:custClr>
    <a:custClr name="215,224,220">
      <a:srgbClr val="D7E0DC"/>
    </a:custClr>
    <a:custClr name="246,230,189">
      <a:srgbClr val="F6E6BD"/>
    </a:custClr>
    <a:custClr name="190,201,201">
      <a:srgbClr val="BEC9C9"/>
    </a:custClr>
    <a:custClr name="215,189,192">
      <a:srgbClr val="D7BDC0"/>
    </a:custClr>
    <a:custClr name="221,206,188">
      <a:srgbClr val="DDCEBC"/>
    </a:custClr>
  </a:custClrLst>
  <a:extLst>
    <a:ext uri="{05A4C25C-085E-4340-85A3-A5531E510DB2}">
      <thm15:themeFamily xmlns:thm15="http://schemas.microsoft.com/office/thememl/2012/main" name="Implement PowerPoint A4" id="{76B26481-330D-42CD-884F-8D1312153561}" vid="{AC423D88-00B6-400A-B7E9-AB709D9723B9}"/>
    </a:ext>
  </a:extLst>
</a:theme>
</file>

<file path=ppt/theme/theme3.xml><?xml version="1.0" encoding="utf-8"?>
<a:theme xmlns:a="http://schemas.openxmlformats.org/drawingml/2006/main" name="1_Implement PowerPoint A4">
  <a:themeElements>
    <a:clrScheme name="Implement 2018">
      <a:dk1>
        <a:srgbClr val="000000"/>
      </a:dk1>
      <a:lt1>
        <a:srgbClr val="FFFFFF"/>
      </a:lt1>
      <a:dk2>
        <a:srgbClr val="000000"/>
      </a:dk2>
      <a:lt2>
        <a:srgbClr val="FFFFFF"/>
      </a:lt2>
      <a:accent1>
        <a:srgbClr val="EAEAEA"/>
      </a:accent1>
      <a:accent2>
        <a:srgbClr val="C0C0C0"/>
      </a:accent2>
      <a:accent3>
        <a:srgbClr val="DDDDDD"/>
      </a:accent3>
      <a:accent4>
        <a:srgbClr val="838789"/>
      </a:accent4>
      <a:accent5>
        <a:srgbClr val="1F2023"/>
      </a:accent5>
      <a:accent6>
        <a:srgbClr val="898C96"/>
      </a:accent6>
      <a:hlink>
        <a:srgbClr val="838789"/>
      </a:hlink>
      <a:folHlink>
        <a:srgbClr val="E2DED9"/>
      </a:folHlink>
    </a:clrScheme>
    <a:fontScheme name="Impleme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2DED9"/>
        </a:solidFill>
        <a:ln w="6350">
          <a:noFill/>
        </a:ln>
      </a:spPr>
      <a:bodyPr lIns="108000" tIns="108000" rIns="108000" bIns="108000" rtlCol="0" anchor="t" anchorCtr="0">
        <a:noAutofit/>
      </a:bodyPr>
      <a:lstStyle>
        <a:defPPr algn="l">
          <a:defRPr sz="1100" noProof="0" dirty="0" err="1" smtClean="0">
            <a:solidFill>
              <a:srgbClr val="2F363B"/>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1F202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a:noFill/>
          <a:prstDash val="sysDash"/>
        </a:ln>
      </a:spPr>
      <a:bodyPr wrap="square" lIns="0" tIns="0" rIns="0" bIns="0" rtlCol="0">
        <a:spAutoFit/>
      </a:bodyPr>
      <a:lstStyle>
        <a:defPPr algn="l">
          <a:defRPr sz="1100"/>
        </a:defPPr>
      </a:lstStyle>
    </a:txDef>
  </a:objectDefaults>
  <a:extraClrSchemeLst/>
  <a:custClrLst>
    <a:custClr name="226, 222, 217">
      <a:srgbClr val="E2DED9"/>
    </a:custClr>
    <a:custClr name="248, 245, 231">
      <a:srgbClr val="F8F5E7"/>
    </a:custClr>
    <a:custClr name="48, 55, 59">
      <a:srgbClr val="30373B"/>
    </a:custClr>
    <a:custClr name="31, 32, 35">
      <a:srgbClr val="1F2023"/>
    </a:custClr>
    <a:custClr name="224, 188, 166">
      <a:srgbClr val="E0BCA6"/>
    </a:custClr>
    <a:custClr name="138, 162, 153">
      <a:srgbClr val="8AA299"/>
    </a:custClr>
    <a:custClr name="228, 183, 59">
      <a:srgbClr val="E4B73B"/>
    </a:custClr>
    <a:custClr name="64, 97, 95">
      <a:srgbClr val="40615F"/>
    </a:custClr>
    <a:custClr name="137, 62, 69">
      <a:srgbClr val="893E45"/>
    </a:custClr>
    <a:custClr name="154, 110, 58">
      <a:srgbClr val="9A6E3A"/>
    </a:custClr>
    <a:custClr name="232, 229, 225">
      <a:srgbClr val="E8E5E1"/>
    </a:custClr>
    <a:custClr name="249, 247, 236">
      <a:srgbClr val="F9F7EC"/>
    </a:custClr>
    <a:custClr name="89, 95, 98">
      <a:srgbClr val="595F62"/>
    </a:custClr>
    <a:custClr name="76, 77, 79">
      <a:srgbClr val="4C4D4F"/>
    </a:custClr>
    <a:custClr name="230, 201, 184">
      <a:srgbClr val="E6C9B8"/>
    </a:custClr>
    <a:custClr name="161, 181, 173">
      <a:srgbClr val="A1B5AD"/>
    </a:custClr>
    <a:custClr name="​233, 197, 98">
      <a:srgbClr val="E9C562"/>
    </a:custClr>
    <a:custClr name="102, 129, 127">
      <a:srgbClr val="66817F"/>
    </a:custClr>
    <a:custClr name="161, 101, 106">
      <a:srgbClr val="A1656A"/>
    </a:custClr>
    <a:custClr name="174, 139, 97">
      <a:srgbClr val="AE8B61"/>
    </a:custClr>
    <a:custClr name="238, 235, 232">
      <a:srgbClr val="EEEBE8"/>
    </a:custClr>
    <a:custClr name="251, 249, 241">
      <a:srgbClr val="FBF9F1"/>
    </a:custClr>
    <a:custClr name="149,153,155">
      <a:srgbClr val="95999B"/>
    </a:custClr>
    <a:custClr name="141,141,143">
      <a:srgbClr val="8D8D8F"/>
    </a:custClr>
    <a:custClr name="239,221,210">
      <a:srgbClr val="EFDDD2"/>
    </a:custClr>
    <a:custClr name="195,207,203">
      <a:srgbClr val="C3CFCB"/>
    </a:custClr>
    <a:custClr name="241,218,155">
      <a:srgbClr val="F1DA9B"/>
    </a:custClr>
    <a:custClr name="157,174,173">
      <a:srgbClr val="9DAEAD"/>
    </a:custClr>
    <a:custClr name="195,156,160">
      <a:srgbClr val="C39CA0"/>
    </a:custClr>
    <a:custClr name="203,181,155">
      <a:srgbClr val="CBB59B"/>
    </a:custClr>
    <a:custClr name="243, 242, 240">
      <a:srgbClr val="F3F2F0"/>
    </a:custClr>
    <a:custClr name="252, 251, 245">
      <a:srgbClr val="FCFBF5"/>
    </a:custClr>
    <a:custClr name="184,187,189">
      <a:srgbClr val="B8BBBD"/>
    </a:custClr>
    <a:custClr name="178,179,180">
      <a:srgbClr val="B2B3B4"/>
    </a:custClr>
    <a:custClr name="245,232,224">
      <a:srgbClr val="F5E8E0"/>
    </a:custClr>
    <a:custClr name="215,224,220">
      <a:srgbClr val="D7E0DC"/>
    </a:custClr>
    <a:custClr name="246,230,189">
      <a:srgbClr val="F6E6BD"/>
    </a:custClr>
    <a:custClr name="190,201,201">
      <a:srgbClr val="BEC9C9"/>
    </a:custClr>
    <a:custClr name="215,189,192">
      <a:srgbClr val="D7BDC0"/>
    </a:custClr>
    <a:custClr name="221,206,188">
      <a:srgbClr val="DDCEBC"/>
    </a:custClr>
    <a:custClr name="0,153,0">
      <a:srgbClr val="009900"/>
    </a:custClr>
    <a:custClr name="255,204,0">
      <a:srgbClr val="FFCC00"/>
    </a:custClr>
    <a:custClr name="255,102,0">
      <a:srgbClr val="FF6600"/>
    </a:custClr>
    <a:custClr name="204,0,0">
      <a:srgbClr val="CC0000"/>
    </a:custClr>
    <a:custClr name="0,112,192">
      <a:srgbClr val="0070C0"/>
    </a:custClr>
  </a:custClrLst>
  <a:extLst>
    <a:ext uri="{05A4C25C-085E-4340-85A3-A5531E510DB2}">
      <thm15:themeFamily xmlns:thm15="http://schemas.microsoft.com/office/thememl/2012/main" name="SmartLibraryijfae5hahut" id="{E8E949B8-4D37-4CFE-A6AF-0141C5AFEABA}" vid="{5802BD7B-BD7F-4ABC-9057-0D54793613FA}"/>
    </a:ext>
  </a:extLst>
</a:theme>
</file>

<file path=ppt/theme/theme4.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c3bb5cf3-9dc5-49d8-85d1-5aa2521ae5e0">
      <UserInfo>
        <DisplayName>Jesper Pape - Implement Consulting Group</DisplayName>
        <AccountId>23</AccountId>
        <AccountType/>
      </UserInfo>
      <UserInfo>
        <DisplayName>Michael de Fine Strand - Implement Consulting Group</DisplayName>
        <AccountId>24</AccountId>
        <AccountType/>
      </UserInfo>
      <UserInfo>
        <DisplayName>Søren Amstrup - Implement Consulting Group</DisplayName>
        <AccountId>13</AccountId>
        <AccountType/>
      </UserInfo>
      <UserInfo>
        <DisplayName>Philip Schwalm - Implement Consulting Group</DisplayName>
        <AccountId>10</AccountId>
        <AccountType/>
      </UserInfo>
      <UserInfo>
        <DisplayName>Klaus Stange - Implement Consulting Group</DisplayName>
        <AccountId>12</AccountId>
        <AccountType/>
      </UserInfo>
      <UserInfo>
        <DisplayName>Martin H. Bjerre - Implement Consulting Group</DisplayName>
        <AccountId>20</AccountId>
        <AccountType/>
      </UserInfo>
    </SharedWithUsers>
    <MatterName xmlns="c3bb5cf3-9dc5-49d8-85d1-5aa2521ae5e0">Brand</MatterName>
    <ClientName xmlns="c3bb5cf3-9dc5-49d8-85d1-5aa2521ae5e0">Digitaliseringsforening Sjælland (DIGIT)</ClientName>
    <ClientCode xmlns="c3bb5cf3-9dc5-49d8-85d1-5aa2521ae5e0">15455</ClientCode>
    <ProjectManager xmlns="c3bb5cf3-9dc5-49d8-85d1-5aa2521ae5e0">
      <UserInfo>
        <DisplayName>Helle Falholt - Implement Consulting Group</DisplayName>
        <AccountId>22</AccountId>
        <AccountType/>
      </UserInfo>
    </ProjectManager>
    <MatterCode xmlns="c3bb5cf3-9dc5-49d8-85d1-5aa2521ae5e0">28535</MatterCod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 Document" ma:contentTypeID="0x0101002D07A82CD60E66488F5A81FA63D67C0B0057D11F6E3204FD49906F467557E650C4" ma:contentTypeVersion="14" ma:contentTypeDescription="Opret et nyt dokument." ma:contentTypeScope="" ma:versionID="6dc62dcc1d1520ed7b1733b30894c0c6">
  <xsd:schema xmlns:xsd="http://www.w3.org/2001/XMLSchema" xmlns:xs="http://www.w3.org/2001/XMLSchema" xmlns:p="http://schemas.microsoft.com/office/2006/metadata/properties" xmlns:ns1="c3bb5cf3-9dc5-49d8-85d1-5aa2521ae5e0" xmlns:ns3="783856c9-fe56-40a5-9d57-cb53885fc8b7" targetNamespace="http://schemas.microsoft.com/office/2006/metadata/properties" ma:root="true" ma:fieldsID="2c4b24c0a5e26a778c27ee4babd79147" ns1:_="" ns3:_="">
    <xsd:import namespace="c3bb5cf3-9dc5-49d8-85d1-5aa2521ae5e0"/>
    <xsd:import namespace="783856c9-fe56-40a5-9d57-cb53885fc8b7"/>
    <xsd:element name="properties">
      <xsd:complexType>
        <xsd:sequence>
          <xsd:element name="documentManagement">
            <xsd:complexType>
              <xsd:all>
                <xsd:element ref="ns1:ClientName" minOccurs="0"/>
                <xsd:element ref="ns1:ClientCode" minOccurs="0"/>
                <xsd:element ref="ns1:ProjectManager" minOccurs="0"/>
                <xsd:element ref="ns1:MatterName" minOccurs="0"/>
                <xsd:element ref="ns1:MatterCode" minOccurs="0"/>
                <xsd:element ref="ns1:SharedWithUsers" minOccurs="0"/>
                <xsd:element ref="ns1: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bb5cf3-9dc5-49d8-85d1-5aa2521ae5e0" elementFormDefault="qualified">
    <xsd:import namespace="http://schemas.microsoft.com/office/2006/documentManagement/types"/>
    <xsd:import namespace="http://schemas.microsoft.com/office/infopath/2007/PartnerControls"/>
    <xsd:element name="ClientName" ma:index="0" nillable="true" ma:displayName="ClientName" ma:default="Økonomistyrelsen" ma:internalName="ClientName" ma:readOnly="false">
      <xsd:simpleType>
        <xsd:restriction base="dms:Text"/>
      </xsd:simpleType>
    </xsd:element>
    <xsd:element name="ClientCode" ma:index="1" nillable="true" ma:displayName="ClientCode" ma:default="12541" ma:internalName="ClientCode" ma:readOnly="false">
      <xsd:simpleType>
        <xsd:restriction base="dms:Text"/>
      </xsd:simpleType>
    </xsd:element>
    <xsd:element name="ProjectManager" ma:index="2" nillable="true" ma:displayName="ProjectManager" ma:default="10;#i:0#.f|membership|psc@implement.dk" ma:internalName="ProjectManage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atterName" ma:index="10" nillable="true" ma:displayName="ProjectName" ma:default="Opstartsunderstøttelse på IndFak udbud" ma:internalName="MatterName" ma:readOnly="false">
      <xsd:simpleType>
        <xsd:restriction base="dms:Text"/>
      </xsd:simpleType>
    </xsd:element>
    <xsd:element name="MatterCode" ma:index="11" nillable="true" ma:displayName="ProjectCode" ma:default="29730" ma:internalName="MatterCode" ma:readOnly="false">
      <xsd:simpleType>
        <xsd:restriction base="dms:Text"/>
      </xsd:simpleType>
    </xsd:element>
    <xsd:element name="SharedWithUsers" ma:index="13"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Delt med detaljer"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83856c9-fe56-40a5-9d57-cb53885fc8b7" elementFormDefault="qualified">
    <xsd:import namespace="http://schemas.microsoft.com/office/2006/documentManagement/types"/>
    <xsd:import namespace="http://schemas.microsoft.com/office/infopath/2007/PartnerControls"/>
    <xsd:element name="MediaServiceMetadata" ma:index="15" nillable="true" ma:displayName="MediaServiceMetadata" ma:hidden="true" ma:internalName="MediaServiceMetadata" ma:readOnly="true">
      <xsd:simpleType>
        <xsd:restriction base="dms:Note"/>
      </xsd:simpleType>
    </xsd:element>
    <xsd:element name="MediaServiceFastMetadata" ma:index="16" nillable="true" ma:displayName="MediaServiceFastMetadata" ma:hidden="true" ma:internalName="MediaServiceFastMetadata" ma:readOnly="true">
      <xsd:simpleType>
        <xsd:restriction base="dms:Note"/>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AA6EC19-3F93-437D-A38E-C5D079151225}">
  <ds:schemaRefs>
    <ds:schemaRef ds:uri="http://purl.org/dc/terms/"/>
    <ds:schemaRef ds:uri="http://schemas.microsoft.com/office/infopath/2007/PartnerControls"/>
    <ds:schemaRef ds:uri="http://schemas.microsoft.com/office/2006/documentManagement/types"/>
    <ds:schemaRef ds:uri="783856c9-fe56-40a5-9d57-cb53885fc8b7"/>
    <ds:schemaRef ds:uri="http://purl.org/dc/elements/1.1/"/>
    <ds:schemaRef ds:uri="http://schemas.microsoft.com/office/2006/metadata/properties"/>
    <ds:schemaRef ds:uri="c3bb5cf3-9dc5-49d8-85d1-5aa2521ae5e0"/>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65F46133-B73B-4662-8204-DEA70793EF05}">
  <ds:schemaRefs>
    <ds:schemaRef ds:uri="http://schemas.microsoft.com/sharepoint/v3/contenttype/forms"/>
  </ds:schemaRefs>
</ds:datastoreItem>
</file>

<file path=customXml/itemProps3.xml><?xml version="1.0" encoding="utf-8"?>
<ds:datastoreItem xmlns:ds="http://schemas.openxmlformats.org/officeDocument/2006/customXml" ds:itemID="{2AA4FFD2-07D7-43B2-BA3A-9EB1F370BC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3bb5cf3-9dc5-49d8-85d1-5aa2521ae5e0"/>
    <ds:schemaRef ds:uri="783856c9-fe56-40a5-9d57-cb53885fc8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Interviewguide_fokusgruppeinterviews 28 nov_DIGIT fælles social-sundhedsogomsorgssystem</Template>
  <TotalTime>1447</TotalTime>
  <Words>5322</Words>
  <Application>Microsoft Office PowerPoint</Application>
  <PresentationFormat>Skærmshow (4:3)</PresentationFormat>
  <Paragraphs>555</Paragraphs>
  <Slides>24</Slides>
  <Notes>24</Notes>
  <HiddenSlides>0</HiddenSlides>
  <MMClips>0</MMClips>
  <ScaleCrop>false</ScaleCrop>
  <HeadingPairs>
    <vt:vector size="8" baseType="variant">
      <vt:variant>
        <vt:lpstr>Benyttede skrifttyper</vt:lpstr>
      </vt:variant>
      <vt:variant>
        <vt:i4>11</vt:i4>
      </vt:variant>
      <vt:variant>
        <vt:lpstr>Tema</vt:lpstr>
      </vt:variant>
      <vt:variant>
        <vt:i4>3</vt:i4>
      </vt:variant>
      <vt:variant>
        <vt:lpstr>Integrerede OLE-servere</vt:lpstr>
      </vt:variant>
      <vt:variant>
        <vt:i4>1</vt:i4>
      </vt:variant>
      <vt:variant>
        <vt:lpstr>Slidetitler</vt:lpstr>
      </vt:variant>
      <vt:variant>
        <vt:i4>24</vt:i4>
      </vt:variant>
    </vt:vector>
  </HeadingPairs>
  <TitlesOfParts>
    <vt:vector size="39" baseType="lpstr">
      <vt:lpstr>ＭＳ Ｐゴシック</vt:lpstr>
      <vt:lpstr>Arial</vt:lpstr>
      <vt:lpstr>Calibri</vt:lpstr>
      <vt:lpstr>Courier New</vt:lpstr>
      <vt:lpstr>Grotzec More Condensed</vt:lpstr>
      <vt:lpstr>Impact</vt:lpstr>
      <vt:lpstr>Segoe UI</vt:lpstr>
      <vt:lpstr>Times New Roman</vt:lpstr>
      <vt:lpstr>Trebuchet MS</vt:lpstr>
      <vt:lpstr>Verdana</vt:lpstr>
      <vt:lpstr>Wingdings</vt:lpstr>
      <vt:lpstr>Office-tema</vt:lpstr>
      <vt:lpstr>Implement PowerPoint A4</vt:lpstr>
      <vt:lpstr>1_Implement PowerPoint A4</vt:lpstr>
      <vt:lpstr>think-cell Slide</vt:lpstr>
      <vt:lpstr>Forhold som ønskes belyst i besvarelsen   Bilag 2 til RFI vejledning  02. 10 2020 </vt:lpstr>
      <vt:lpstr>INDHOLD</vt:lpstr>
      <vt:lpstr>Formål med dokumentet   </vt:lpstr>
      <vt:lpstr>Formål med hovedelementerne i RFI’EN  </vt:lpstr>
      <vt:lpstr>1. BAGGRUND OG FORMÅL  </vt:lpstr>
      <vt:lpstr>1. BAGGRUND OG FORMÅL  </vt:lpstr>
      <vt:lpstr>1. BAGGRUND OG FORMÅL  </vt:lpstr>
      <vt:lpstr>2. Leverandøren  </vt:lpstr>
      <vt:lpstr>3. Løsningen  </vt:lpstr>
      <vt:lpstr>3. Løsningen 3.1.1 FUNKTIONELT SCOPE FOR NY INDFAK LØSNING </vt:lpstr>
      <vt:lpstr>3. Løsningen 3.1.2 FORMÅL OG OVERSIGT OVER USE CASES</vt:lpstr>
      <vt:lpstr>3. Løsningen 3.1.2.1 use case: Udenlandsk faktura i PDF</vt:lpstr>
      <vt:lpstr>3. Løsningen 3.1.2.2 use case: GDPR compliance</vt:lpstr>
      <vt:lpstr>3. Løsningen 3.1.2.3 use case: AI-teknologi til anvendelse ved FoRkontering af fakturaer</vt:lpstr>
      <vt:lpstr>3. Løsningen 3.1.2.4 use case: Fra indkøbsaftale/kontrakter til match med indkøbsordre  </vt:lpstr>
      <vt:lpstr>3. Løsningen 3.1.2.5 use case: Funktionsadskillelse</vt:lpstr>
      <vt:lpstr>3. Løsningen 3.1.2.6 use case: RAPPORTERING</vt:lpstr>
      <vt:lpstr>3. Løsningen 3.1.2.7 use case: PEPPOL</vt:lpstr>
      <vt:lpstr>3. Løsningen 3.1.2.8 use case: RESSORTÆNDRING</vt:lpstr>
      <vt:lpstr>3. LØSNINGEN  </vt:lpstr>
      <vt:lpstr>3. Løsningen  </vt:lpstr>
      <vt:lpstr>3. Løsningen  </vt:lpstr>
      <vt:lpstr>4. PLANEN OG PROCESSEN     4.1 OVERBLIK OVER ANSKAFFELSESPROCESSEN  </vt:lpstr>
      <vt:lpstr>5. Kommercielle forhold   GRUNDLAG FOR ET EFFEKTIVT SAMARBEJD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brina Mai Bendjazia - Implement Consulting Group</dc:creator>
  <cp:lastModifiedBy>Morten Holt Petersen</cp:lastModifiedBy>
  <cp:revision>57</cp:revision>
  <cp:lastPrinted>2019-05-07T06:21:34Z</cp:lastPrinted>
  <dcterms:created xsi:type="dcterms:W3CDTF">2018-11-26T08:02:55Z</dcterms:created>
  <dcterms:modified xsi:type="dcterms:W3CDTF">2020-10-02T07:2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07A82CD60E66488F5A81FA63D67C0B0057D11F6E3204FD49906F467557E650C4</vt:lpwstr>
  </property>
  <property fmtid="{D5CDD505-2E9C-101B-9397-08002B2CF9AE}" pid="3" name="Order">
    <vt:r8>4100</vt:r8>
  </property>
  <property fmtid="{D5CDD505-2E9C-101B-9397-08002B2CF9AE}" pid="4" name="xd_Signature">
    <vt:bool>false</vt:bool>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DocumentInfoFinished">
    <vt:lpwstr>True</vt:lpwstr>
  </property>
</Properties>
</file>